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7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8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3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0" r:id="rId1"/>
  </p:sldMasterIdLst>
  <p:notesMasterIdLst>
    <p:notesMasterId r:id="rId21"/>
  </p:notesMasterIdLst>
  <p:handoutMasterIdLst>
    <p:handoutMasterId r:id="rId22"/>
  </p:handoutMasterIdLst>
  <p:sldIdLst>
    <p:sldId id="2130" r:id="rId2"/>
    <p:sldId id="2154" r:id="rId3"/>
    <p:sldId id="2164" r:id="rId4"/>
    <p:sldId id="2169" r:id="rId5"/>
    <p:sldId id="2166" r:id="rId6"/>
    <p:sldId id="2155" r:id="rId7"/>
    <p:sldId id="2157" r:id="rId8"/>
    <p:sldId id="2159" r:id="rId9"/>
    <p:sldId id="2145" r:id="rId10"/>
    <p:sldId id="2163" r:id="rId11"/>
    <p:sldId id="2167" r:id="rId12"/>
    <p:sldId id="2168" r:id="rId13"/>
    <p:sldId id="2132" r:id="rId14"/>
    <p:sldId id="2148" r:id="rId15"/>
    <p:sldId id="2144" r:id="rId16"/>
    <p:sldId id="2146" r:id="rId17"/>
    <p:sldId id="2125" r:id="rId18"/>
    <p:sldId id="2137" r:id="rId19"/>
    <p:sldId id="2150" r:id="rId20"/>
  </p:sldIdLst>
  <p:sldSz cx="9906000" cy="6858000" type="A4"/>
  <p:notesSz cx="6797675" cy="9926638"/>
  <p:custDataLst>
    <p:tags r:id="rId23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200" kern="1200">
        <a:solidFill>
          <a:schemeClr val="tx2"/>
        </a:solidFill>
        <a:latin typeface="Verdana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200" kern="1200">
        <a:solidFill>
          <a:schemeClr val="tx2"/>
        </a:solidFill>
        <a:latin typeface="Verdana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200" kern="1200">
        <a:solidFill>
          <a:schemeClr val="tx2"/>
        </a:solidFill>
        <a:latin typeface="Verdana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200" kern="1200">
        <a:solidFill>
          <a:schemeClr val="tx2"/>
        </a:solidFill>
        <a:latin typeface="Verdana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200" kern="1200">
        <a:solidFill>
          <a:schemeClr val="tx2"/>
        </a:solidFill>
        <a:latin typeface="Verdana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2"/>
        </a:solidFill>
        <a:latin typeface="Verdana" pitchFamily="34" charset="0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2"/>
        </a:solidFill>
        <a:latin typeface="Verdana" pitchFamily="34" charset="0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2"/>
        </a:solidFill>
        <a:latin typeface="Verdana" pitchFamily="34" charset="0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2"/>
        </a:solidFill>
        <a:latin typeface="Verdana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024" userDrawn="1">
          <p15:clr>
            <a:srgbClr val="A4A3A4"/>
          </p15:clr>
        </p15:guide>
        <p15:guide id="2" orient="horz" pos="2341" userDrawn="1">
          <p15:clr>
            <a:srgbClr val="A4A3A4"/>
          </p15:clr>
        </p15:guide>
        <p15:guide id="3" orient="horz" pos="346" userDrawn="1">
          <p15:clr>
            <a:srgbClr val="A4A3A4"/>
          </p15:clr>
        </p15:guide>
        <p15:guide id="4" orient="horz" pos="4020" userDrawn="1">
          <p15:clr>
            <a:srgbClr val="A4A3A4"/>
          </p15:clr>
        </p15:guide>
        <p15:guide id="5" orient="horz" pos="2704" userDrawn="1">
          <p15:clr>
            <a:srgbClr val="A4A3A4"/>
          </p15:clr>
        </p15:guide>
        <p15:guide id="6" orient="horz" pos="119" userDrawn="1">
          <p15:clr>
            <a:srgbClr val="A4A3A4"/>
          </p15:clr>
        </p15:guide>
        <p15:guide id="7" orient="horz" pos="3884" userDrawn="1">
          <p15:clr>
            <a:srgbClr val="A4A3A4"/>
          </p15:clr>
        </p15:guide>
        <p15:guide id="8" orient="horz" pos="1706" userDrawn="1">
          <p15:clr>
            <a:srgbClr val="A4A3A4"/>
          </p15:clr>
        </p15:guide>
        <p15:guide id="9" orient="horz" pos="572" userDrawn="1">
          <p15:clr>
            <a:srgbClr val="A4A3A4"/>
          </p15:clr>
        </p15:guide>
        <p15:guide id="10" pos="3120" userDrawn="1">
          <p15:clr>
            <a:srgbClr val="A4A3A4"/>
          </p15:clr>
        </p15:guide>
        <p15:guide id="11" pos="172" userDrawn="1">
          <p15:clr>
            <a:srgbClr val="A4A3A4"/>
          </p15:clr>
        </p15:guide>
        <p15:guide id="12" pos="6068" userDrawn="1">
          <p15:clr>
            <a:srgbClr val="A4A3A4"/>
          </p15:clr>
        </p15:guide>
        <p15:guide id="13" pos="470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Vendrusculo, Felipe de Campos (BR - Sao Paulo)" initials="VFdC(-SP" lastIdx="4" clrIdx="0"/>
  <p:cmAuthor id="1" name="Castro, Fernanda Mayra Girao (BR - Sao Paulo)" initials="CFMG(-SP" lastIdx="7" clrIdx="1"/>
  <p:cmAuthor id="2" name="Silva, Giselly Dos Santos (BR - Sao Paulo)" initials="SGDS(-SP" lastIdx="1" clrIdx="2"/>
  <p:cmAuthor id="3" name="Sinisterra, Alejandra Aragon (BR - Sao Paulo)" initials="SAA(-SP" lastIdx="4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D83"/>
    <a:srgbClr val="B2B2B2"/>
    <a:srgbClr val="002492"/>
    <a:srgbClr val="0030B8"/>
    <a:srgbClr val="00A1DE"/>
    <a:srgbClr val="DEF408"/>
    <a:srgbClr val="002776"/>
    <a:srgbClr val="D2028D"/>
    <a:srgbClr val="E6D4D7"/>
    <a:srgbClr val="F9F9F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375" autoAdjust="0"/>
    <p:restoredTop sz="93716" autoAdjust="0"/>
  </p:normalViewPr>
  <p:slideViewPr>
    <p:cSldViewPr>
      <p:cViewPr varScale="1">
        <p:scale>
          <a:sx n="116" d="100"/>
          <a:sy n="116" d="100"/>
        </p:scale>
        <p:origin x="1548" y="84"/>
      </p:cViewPr>
      <p:guideLst>
        <p:guide orient="horz" pos="2024"/>
        <p:guide orient="horz" pos="2341"/>
        <p:guide orient="horz" pos="346"/>
        <p:guide orient="horz" pos="4020"/>
        <p:guide orient="horz" pos="2704"/>
        <p:guide orient="horz" pos="119"/>
        <p:guide orient="horz" pos="3884"/>
        <p:guide orient="horz" pos="1706"/>
        <p:guide orient="horz" pos="572"/>
        <p:guide pos="3120"/>
        <p:guide pos="172"/>
        <p:guide pos="6068"/>
        <p:guide pos="470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>
      <p:cViewPr varScale="1">
        <p:scale>
          <a:sx n="52" d="100"/>
          <a:sy n="52" d="100"/>
        </p:scale>
        <p:origin x="-2982" y="-102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gs" Target="tags/tag1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handoutMaster" Target="handoutMasters/handoutMaster1.xml"/><Relationship Id="rId27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1D601B8-CF1A-48DC-AC7F-B31909B1982F}" type="doc">
      <dgm:prSet loTypeId="urn:microsoft.com/office/officeart/2005/8/layout/lProcess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58F5AD9E-AE15-465B-A0E2-B197FC2E275D}">
      <dgm:prSet phldrT="[Texto]"/>
      <dgm:spPr/>
      <dgm:t>
        <a:bodyPr/>
        <a:lstStyle/>
        <a:p>
          <a:r>
            <a:rPr lang="pt-BR" dirty="0" smtClean="0"/>
            <a:t>Remuneração Variável de Dirigentes</a:t>
          </a:r>
          <a:endParaRPr lang="pt-BR" dirty="0"/>
        </a:p>
      </dgm:t>
    </dgm:pt>
    <dgm:pt modelId="{F583D39B-0E08-406B-A495-7D1F5324662C}" type="parTrans" cxnId="{EA9355B4-4496-498F-AD12-CAAAB03DA6DB}">
      <dgm:prSet/>
      <dgm:spPr/>
      <dgm:t>
        <a:bodyPr/>
        <a:lstStyle/>
        <a:p>
          <a:endParaRPr lang="pt-BR"/>
        </a:p>
      </dgm:t>
    </dgm:pt>
    <dgm:pt modelId="{24478746-B2A5-4E98-B873-4B9C2CDCC71C}" type="sibTrans" cxnId="{EA9355B4-4496-498F-AD12-CAAAB03DA6DB}">
      <dgm:prSet/>
      <dgm:spPr/>
      <dgm:t>
        <a:bodyPr/>
        <a:lstStyle/>
        <a:p>
          <a:endParaRPr lang="pt-BR"/>
        </a:p>
      </dgm:t>
    </dgm:pt>
    <dgm:pt modelId="{055B3CC3-3979-4A02-B4DD-BC20B26A0996}">
      <dgm:prSet phldrT="[Texto]"/>
      <dgm:spPr/>
      <dgm:t>
        <a:bodyPr/>
        <a:lstStyle/>
        <a:p>
          <a:r>
            <a:rPr lang="pt-BR" dirty="0" smtClean="0"/>
            <a:t>Metas Empresariais</a:t>
          </a:r>
        </a:p>
        <a:p>
          <a:r>
            <a:rPr lang="pt-BR" dirty="0" smtClean="0"/>
            <a:t>(Bonificação Anual)</a:t>
          </a:r>
          <a:endParaRPr lang="pt-BR" dirty="0"/>
        </a:p>
      </dgm:t>
    </dgm:pt>
    <dgm:pt modelId="{B25901BA-3C00-42FA-A8A5-0F50EDFDB7C2}" type="parTrans" cxnId="{458AD158-0E93-44C4-9FD3-74834C9DFF40}">
      <dgm:prSet/>
      <dgm:spPr/>
      <dgm:t>
        <a:bodyPr/>
        <a:lstStyle/>
        <a:p>
          <a:endParaRPr lang="pt-BR"/>
        </a:p>
      </dgm:t>
    </dgm:pt>
    <dgm:pt modelId="{27A0F53A-6B00-49E8-8147-AECBD1C79F1A}" type="sibTrans" cxnId="{458AD158-0E93-44C4-9FD3-74834C9DFF40}">
      <dgm:prSet/>
      <dgm:spPr/>
      <dgm:t>
        <a:bodyPr/>
        <a:lstStyle/>
        <a:p>
          <a:endParaRPr lang="pt-BR"/>
        </a:p>
      </dgm:t>
    </dgm:pt>
    <dgm:pt modelId="{7DB31D74-6569-4688-94AB-E2483BDBA251}">
      <dgm:prSet phldrT="[Texto]"/>
      <dgm:spPr/>
      <dgm:t>
        <a:bodyPr/>
        <a:lstStyle/>
        <a:p>
          <a:r>
            <a:rPr lang="pt-BR" dirty="0" smtClean="0"/>
            <a:t>Metas de Gestão</a:t>
          </a:r>
        </a:p>
        <a:p>
          <a:r>
            <a:rPr lang="pt-BR" dirty="0" smtClean="0"/>
            <a:t>(Honorário Variável Mensal)</a:t>
          </a:r>
        </a:p>
      </dgm:t>
    </dgm:pt>
    <dgm:pt modelId="{6CFF93CD-0D50-43CE-A7A6-96FDB9A6984C}" type="parTrans" cxnId="{D4610389-654E-4417-9165-29FB5A72BF2B}">
      <dgm:prSet/>
      <dgm:spPr/>
      <dgm:t>
        <a:bodyPr/>
        <a:lstStyle/>
        <a:p>
          <a:endParaRPr lang="pt-BR"/>
        </a:p>
      </dgm:t>
    </dgm:pt>
    <dgm:pt modelId="{981C5E86-A5B5-406D-8572-35E826BB13B9}" type="sibTrans" cxnId="{D4610389-654E-4417-9165-29FB5A72BF2B}">
      <dgm:prSet/>
      <dgm:spPr/>
      <dgm:t>
        <a:bodyPr/>
        <a:lstStyle/>
        <a:p>
          <a:endParaRPr lang="pt-BR"/>
        </a:p>
      </dgm:t>
    </dgm:pt>
    <dgm:pt modelId="{5132C7C8-58CD-4581-8B1F-A1D4628C7929}">
      <dgm:prSet phldrT="[Texto]"/>
      <dgm:spPr/>
      <dgm:t>
        <a:bodyPr/>
        <a:lstStyle/>
        <a:p>
          <a:r>
            <a:rPr lang="pt-BR" dirty="0" smtClean="0"/>
            <a:t>Reforma Estatutária</a:t>
          </a:r>
          <a:endParaRPr lang="pt-BR" dirty="0"/>
        </a:p>
      </dgm:t>
    </dgm:pt>
    <dgm:pt modelId="{13CEB08D-A45C-47D7-A9F1-49249C774DD2}" type="parTrans" cxnId="{FFC2E85D-3FD1-4133-8FC3-BEF522F1E7C4}">
      <dgm:prSet/>
      <dgm:spPr/>
      <dgm:t>
        <a:bodyPr/>
        <a:lstStyle/>
        <a:p>
          <a:endParaRPr lang="pt-BR"/>
        </a:p>
      </dgm:t>
    </dgm:pt>
    <dgm:pt modelId="{7749999C-A5FC-4639-B15C-2F80CD4A289C}" type="sibTrans" cxnId="{FFC2E85D-3FD1-4133-8FC3-BEF522F1E7C4}">
      <dgm:prSet/>
      <dgm:spPr/>
      <dgm:t>
        <a:bodyPr/>
        <a:lstStyle/>
        <a:p>
          <a:endParaRPr lang="pt-BR"/>
        </a:p>
      </dgm:t>
    </dgm:pt>
    <dgm:pt modelId="{DF6DF792-8DB1-4619-B781-295CCD7D4ABC}">
      <dgm:prSet phldrT="[Texto]"/>
      <dgm:spPr/>
      <dgm:t>
        <a:bodyPr/>
        <a:lstStyle/>
        <a:p>
          <a:r>
            <a:rPr lang="pt-BR" dirty="0" smtClean="0"/>
            <a:t>Adequação ao Marco Regulatório</a:t>
          </a:r>
          <a:endParaRPr lang="pt-BR" dirty="0"/>
        </a:p>
      </dgm:t>
    </dgm:pt>
    <dgm:pt modelId="{F37BA32E-1388-4FC7-9B58-C6AD11EE827F}" type="parTrans" cxnId="{8187B337-A97C-4647-A521-78C83B520127}">
      <dgm:prSet/>
      <dgm:spPr/>
      <dgm:t>
        <a:bodyPr/>
        <a:lstStyle/>
        <a:p>
          <a:endParaRPr lang="pt-BR"/>
        </a:p>
      </dgm:t>
    </dgm:pt>
    <dgm:pt modelId="{DF127A40-6D0A-48D6-98D8-5601546BE613}" type="sibTrans" cxnId="{8187B337-A97C-4647-A521-78C83B520127}">
      <dgm:prSet/>
      <dgm:spPr/>
      <dgm:t>
        <a:bodyPr/>
        <a:lstStyle/>
        <a:p>
          <a:endParaRPr lang="pt-BR"/>
        </a:p>
      </dgm:t>
    </dgm:pt>
    <dgm:pt modelId="{5E274D17-0EBD-4853-9566-8114DF347426}">
      <dgm:prSet phldrT="[Texto]"/>
      <dgm:spPr/>
      <dgm:t>
        <a:bodyPr/>
        <a:lstStyle/>
        <a:p>
          <a:r>
            <a:rPr lang="pt-BR" dirty="0" smtClean="0"/>
            <a:t>Padronização e Boas Práticas de Governança</a:t>
          </a:r>
          <a:endParaRPr lang="pt-BR" dirty="0"/>
        </a:p>
      </dgm:t>
    </dgm:pt>
    <dgm:pt modelId="{94EE92E5-8E7B-4B37-90F5-FE488BDD1E25}" type="parTrans" cxnId="{7D682ECB-2B2D-4BE4-A638-3A5C88BB70B1}">
      <dgm:prSet/>
      <dgm:spPr/>
      <dgm:t>
        <a:bodyPr/>
        <a:lstStyle/>
        <a:p>
          <a:endParaRPr lang="pt-BR"/>
        </a:p>
      </dgm:t>
    </dgm:pt>
    <dgm:pt modelId="{0079457A-0C79-43F3-8CB5-A7DBF1FA5972}" type="sibTrans" cxnId="{7D682ECB-2B2D-4BE4-A638-3A5C88BB70B1}">
      <dgm:prSet/>
      <dgm:spPr/>
      <dgm:t>
        <a:bodyPr/>
        <a:lstStyle/>
        <a:p>
          <a:endParaRPr lang="pt-BR"/>
        </a:p>
      </dgm:t>
    </dgm:pt>
    <dgm:pt modelId="{CBECEAB1-800B-4ADC-B0F3-018E2E7534D0}">
      <dgm:prSet phldrT="[Texto]"/>
      <dgm:spPr/>
      <dgm:t>
        <a:bodyPr/>
        <a:lstStyle/>
        <a:p>
          <a:r>
            <a:rPr lang="pt-BR" dirty="0" smtClean="0"/>
            <a:t>Projeto de Modernização da Gestão Portuária</a:t>
          </a:r>
        </a:p>
        <a:p>
          <a:r>
            <a:rPr lang="pt-BR" dirty="0" smtClean="0"/>
            <a:t>PMGP</a:t>
          </a:r>
          <a:endParaRPr lang="pt-BR" dirty="0"/>
        </a:p>
      </dgm:t>
    </dgm:pt>
    <dgm:pt modelId="{19B9B319-3931-499B-8ED2-DE946B7A01D8}" type="parTrans" cxnId="{2566060A-0B32-4D50-A6F2-005EBDCDA746}">
      <dgm:prSet/>
      <dgm:spPr/>
      <dgm:t>
        <a:bodyPr/>
        <a:lstStyle/>
        <a:p>
          <a:endParaRPr lang="pt-BR"/>
        </a:p>
      </dgm:t>
    </dgm:pt>
    <dgm:pt modelId="{9E3055A8-786D-4858-9C23-A75C19FA491D}" type="sibTrans" cxnId="{2566060A-0B32-4D50-A6F2-005EBDCDA746}">
      <dgm:prSet/>
      <dgm:spPr/>
      <dgm:t>
        <a:bodyPr/>
        <a:lstStyle/>
        <a:p>
          <a:endParaRPr lang="pt-BR"/>
        </a:p>
      </dgm:t>
    </dgm:pt>
    <dgm:pt modelId="{141DC4FA-A232-4239-BFCA-E96393425D2C}">
      <dgm:prSet phldrT="[Texto]"/>
      <dgm:spPr/>
      <dgm:t>
        <a:bodyPr/>
        <a:lstStyle/>
        <a:p>
          <a:r>
            <a:rPr lang="pt-BR" dirty="0" smtClean="0"/>
            <a:t>Processos Logístico - Portuários</a:t>
          </a:r>
          <a:endParaRPr lang="pt-BR" dirty="0"/>
        </a:p>
      </dgm:t>
    </dgm:pt>
    <dgm:pt modelId="{7E4927A2-6BE8-4CF6-9170-53D42D8D568E}" type="parTrans" cxnId="{EF70C8A8-1911-47F9-B3CC-CD0231118A42}">
      <dgm:prSet/>
      <dgm:spPr/>
      <dgm:t>
        <a:bodyPr/>
        <a:lstStyle/>
        <a:p>
          <a:endParaRPr lang="pt-BR"/>
        </a:p>
      </dgm:t>
    </dgm:pt>
    <dgm:pt modelId="{6D6C8C9D-2EFA-410E-8AAD-2FFB6826B26F}" type="sibTrans" cxnId="{EF70C8A8-1911-47F9-B3CC-CD0231118A42}">
      <dgm:prSet/>
      <dgm:spPr/>
      <dgm:t>
        <a:bodyPr/>
        <a:lstStyle/>
        <a:p>
          <a:endParaRPr lang="pt-BR"/>
        </a:p>
      </dgm:t>
    </dgm:pt>
    <dgm:pt modelId="{0678CAD5-E179-49E0-9915-6A89562051B9}">
      <dgm:prSet phldrT="[Texto]"/>
      <dgm:spPr/>
      <dgm:t>
        <a:bodyPr/>
        <a:lstStyle/>
        <a:p>
          <a:r>
            <a:rPr lang="pt-BR" dirty="0" smtClean="0"/>
            <a:t>Processos de Gestão Interna</a:t>
          </a:r>
          <a:endParaRPr lang="pt-BR" dirty="0"/>
        </a:p>
      </dgm:t>
    </dgm:pt>
    <dgm:pt modelId="{6A30C30E-0FF4-47DE-9B67-F19DD115416F}" type="parTrans" cxnId="{AAEA88AD-F342-4EC1-A74E-7C69E7C15EE2}">
      <dgm:prSet/>
      <dgm:spPr/>
      <dgm:t>
        <a:bodyPr/>
        <a:lstStyle/>
        <a:p>
          <a:endParaRPr lang="pt-BR"/>
        </a:p>
      </dgm:t>
    </dgm:pt>
    <dgm:pt modelId="{4B95571E-0D52-4FE2-BE08-D847384CD819}" type="sibTrans" cxnId="{AAEA88AD-F342-4EC1-A74E-7C69E7C15EE2}">
      <dgm:prSet/>
      <dgm:spPr/>
      <dgm:t>
        <a:bodyPr/>
        <a:lstStyle/>
        <a:p>
          <a:endParaRPr lang="pt-BR"/>
        </a:p>
      </dgm:t>
    </dgm:pt>
    <dgm:pt modelId="{C892AC62-E490-4760-9385-F8A2F2A28D70}" type="pres">
      <dgm:prSet presAssocID="{91D601B8-CF1A-48DC-AC7F-B31909B1982F}" presName="theList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0A5E8930-899E-4F2C-8563-420509BB5D03}" type="pres">
      <dgm:prSet presAssocID="{58F5AD9E-AE15-465B-A0E2-B197FC2E275D}" presName="compNode" presStyleCnt="0"/>
      <dgm:spPr/>
    </dgm:pt>
    <dgm:pt modelId="{EFD384D0-655A-41D8-AAF3-1A6E7CF9C5A1}" type="pres">
      <dgm:prSet presAssocID="{58F5AD9E-AE15-465B-A0E2-B197FC2E275D}" presName="aNode" presStyleLbl="bgShp" presStyleIdx="0" presStyleCnt="3" custLinFactNeighborX="-3651" custLinFactNeighborY="-5370"/>
      <dgm:spPr/>
      <dgm:t>
        <a:bodyPr/>
        <a:lstStyle/>
        <a:p>
          <a:endParaRPr lang="pt-BR"/>
        </a:p>
      </dgm:t>
    </dgm:pt>
    <dgm:pt modelId="{8E745A55-F4F9-4AF2-A6A9-C35C3B7C4CDE}" type="pres">
      <dgm:prSet presAssocID="{58F5AD9E-AE15-465B-A0E2-B197FC2E275D}" presName="textNode" presStyleLbl="bgShp" presStyleIdx="0" presStyleCnt="3"/>
      <dgm:spPr/>
      <dgm:t>
        <a:bodyPr/>
        <a:lstStyle/>
        <a:p>
          <a:endParaRPr lang="pt-BR"/>
        </a:p>
      </dgm:t>
    </dgm:pt>
    <dgm:pt modelId="{DEF36155-9893-4F6A-9119-7EC4FB99E841}" type="pres">
      <dgm:prSet presAssocID="{58F5AD9E-AE15-465B-A0E2-B197FC2E275D}" presName="compChildNode" presStyleCnt="0"/>
      <dgm:spPr/>
    </dgm:pt>
    <dgm:pt modelId="{2C33A298-E041-4BC9-9449-CAAAD25C9178}" type="pres">
      <dgm:prSet presAssocID="{58F5AD9E-AE15-465B-A0E2-B197FC2E275D}" presName="theInnerList" presStyleCnt="0"/>
      <dgm:spPr/>
    </dgm:pt>
    <dgm:pt modelId="{5A3259C3-9617-4607-8417-592A85D91ED5}" type="pres">
      <dgm:prSet presAssocID="{055B3CC3-3979-4A02-B4DD-BC20B26A0996}" presName="childNode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14EC6144-A0D8-4170-8D35-A82CB9D37F16}" type="pres">
      <dgm:prSet presAssocID="{055B3CC3-3979-4A02-B4DD-BC20B26A0996}" presName="aSpace2" presStyleCnt="0"/>
      <dgm:spPr/>
    </dgm:pt>
    <dgm:pt modelId="{60ACECD7-87E4-4843-A2A6-52333D53DACD}" type="pres">
      <dgm:prSet presAssocID="{7DB31D74-6569-4688-94AB-E2483BDBA251}" presName="childNode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61DAD37A-964B-4109-AAAD-6248C10813B2}" type="pres">
      <dgm:prSet presAssocID="{58F5AD9E-AE15-465B-A0E2-B197FC2E275D}" presName="aSpace" presStyleCnt="0"/>
      <dgm:spPr/>
    </dgm:pt>
    <dgm:pt modelId="{2973BCD5-316B-474F-88D7-CA28B6EED458}" type="pres">
      <dgm:prSet presAssocID="{5132C7C8-58CD-4581-8B1F-A1D4628C7929}" presName="compNode" presStyleCnt="0"/>
      <dgm:spPr/>
    </dgm:pt>
    <dgm:pt modelId="{EE2DE999-7F88-4481-8663-7D4723F5F7B2}" type="pres">
      <dgm:prSet presAssocID="{5132C7C8-58CD-4581-8B1F-A1D4628C7929}" presName="aNode" presStyleLbl="bgShp" presStyleIdx="1" presStyleCnt="3"/>
      <dgm:spPr/>
      <dgm:t>
        <a:bodyPr/>
        <a:lstStyle/>
        <a:p>
          <a:endParaRPr lang="pt-BR"/>
        </a:p>
      </dgm:t>
    </dgm:pt>
    <dgm:pt modelId="{4D45418D-DE68-4146-9E65-9B595890168A}" type="pres">
      <dgm:prSet presAssocID="{5132C7C8-58CD-4581-8B1F-A1D4628C7929}" presName="textNode" presStyleLbl="bgShp" presStyleIdx="1" presStyleCnt="3"/>
      <dgm:spPr/>
      <dgm:t>
        <a:bodyPr/>
        <a:lstStyle/>
        <a:p>
          <a:endParaRPr lang="pt-BR"/>
        </a:p>
      </dgm:t>
    </dgm:pt>
    <dgm:pt modelId="{11792569-052B-445A-93A9-8EB811CE4B97}" type="pres">
      <dgm:prSet presAssocID="{5132C7C8-58CD-4581-8B1F-A1D4628C7929}" presName="compChildNode" presStyleCnt="0"/>
      <dgm:spPr/>
    </dgm:pt>
    <dgm:pt modelId="{A801E635-B21F-49B1-8557-04B193F50A84}" type="pres">
      <dgm:prSet presAssocID="{5132C7C8-58CD-4581-8B1F-A1D4628C7929}" presName="theInnerList" presStyleCnt="0"/>
      <dgm:spPr/>
    </dgm:pt>
    <dgm:pt modelId="{F45798E1-2641-4CCF-9672-8922BCD58759}" type="pres">
      <dgm:prSet presAssocID="{DF6DF792-8DB1-4619-B781-295CCD7D4ABC}" presName="childNode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C6912D3F-2AE4-42A4-A055-640DDDFA22CC}" type="pres">
      <dgm:prSet presAssocID="{DF6DF792-8DB1-4619-B781-295CCD7D4ABC}" presName="aSpace2" presStyleCnt="0"/>
      <dgm:spPr/>
    </dgm:pt>
    <dgm:pt modelId="{8D1610CE-B5EF-401E-A248-DBED0A1EF0E8}" type="pres">
      <dgm:prSet presAssocID="{5E274D17-0EBD-4853-9566-8114DF347426}" presName="childNode" presStyleLbl="node1" presStyleIdx="3" presStyleCnt="6" custScaleX="100000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8425F731-2C86-4FC3-BA02-1B7C979555BB}" type="pres">
      <dgm:prSet presAssocID="{5132C7C8-58CD-4581-8B1F-A1D4628C7929}" presName="aSpace" presStyleCnt="0"/>
      <dgm:spPr/>
    </dgm:pt>
    <dgm:pt modelId="{3568CCDC-E030-46B6-B535-512B10D43E6F}" type="pres">
      <dgm:prSet presAssocID="{CBECEAB1-800B-4ADC-B0F3-018E2E7534D0}" presName="compNode" presStyleCnt="0"/>
      <dgm:spPr/>
    </dgm:pt>
    <dgm:pt modelId="{8B877B22-CD64-47BE-966F-F7FE070FAE0E}" type="pres">
      <dgm:prSet presAssocID="{CBECEAB1-800B-4ADC-B0F3-018E2E7534D0}" presName="aNode" presStyleLbl="bgShp" presStyleIdx="2" presStyleCnt="3"/>
      <dgm:spPr/>
      <dgm:t>
        <a:bodyPr/>
        <a:lstStyle/>
        <a:p>
          <a:endParaRPr lang="pt-BR"/>
        </a:p>
      </dgm:t>
    </dgm:pt>
    <dgm:pt modelId="{A8FCBFE4-E2AC-46EF-AFA3-FE0708667EB3}" type="pres">
      <dgm:prSet presAssocID="{CBECEAB1-800B-4ADC-B0F3-018E2E7534D0}" presName="textNode" presStyleLbl="bgShp" presStyleIdx="2" presStyleCnt="3"/>
      <dgm:spPr/>
      <dgm:t>
        <a:bodyPr/>
        <a:lstStyle/>
        <a:p>
          <a:endParaRPr lang="pt-BR"/>
        </a:p>
      </dgm:t>
    </dgm:pt>
    <dgm:pt modelId="{AE98F80D-9FE0-456D-828A-034E7127744F}" type="pres">
      <dgm:prSet presAssocID="{CBECEAB1-800B-4ADC-B0F3-018E2E7534D0}" presName="compChildNode" presStyleCnt="0"/>
      <dgm:spPr/>
    </dgm:pt>
    <dgm:pt modelId="{0788AD81-8B19-4E29-8A34-85639EBEE2A1}" type="pres">
      <dgm:prSet presAssocID="{CBECEAB1-800B-4ADC-B0F3-018E2E7534D0}" presName="theInnerList" presStyleCnt="0"/>
      <dgm:spPr/>
    </dgm:pt>
    <dgm:pt modelId="{DEDEF8CC-C23A-4AEF-B846-1E17F80B3E90}" type="pres">
      <dgm:prSet presAssocID="{141DC4FA-A232-4239-BFCA-E96393425D2C}" presName="childNode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C426D4AC-EBDE-4FB9-BA4F-7D1E6F8C575B}" type="pres">
      <dgm:prSet presAssocID="{141DC4FA-A232-4239-BFCA-E96393425D2C}" presName="aSpace2" presStyleCnt="0"/>
      <dgm:spPr/>
    </dgm:pt>
    <dgm:pt modelId="{5C49973C-BC25-4099-86E6-B5F898506219}" type="pres">
      <dgm:prSet presAssocID="{0678CAD5-E179-49E0-9915-6A89562051B9}" presName="childNode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458AD158-0E93-44C4-9FD3-74834C9DFF40}" srcId="{58F5AD9E-AE15-465B-A0E2-B197FC2E275D}" destId="{055B3CC3-3979-4A02-B4DD-BC20B26A0996}" srcOrd="0" destOrd="0" parTransId="{B25901BA-3C00-42FA-A8A5-0F50EDFDB7C2}" sibTransId="{27A0F53A-6B00-49E8-8147-AECBD1C79F1A}"/>
    <dgm:cxn modelId="{D4610389-654E-4417-9165-29FB5A72BF2B}" srcId="{58F5AD9E-AE15-465B-A0E2-B197FC2E275D}" destId="{7DB31D74-6569-4688-94AB-E2483BDBA251}" srcOrd="1" destOrd="0" parTransId="{6CFF93CD-0D50-43CE-A7A6-96FDB9A6984C}" sibTransId="{981C5E86-A5B5-406D-8572-35E826BB13B9}"/>
    <dgm:cxn modelId="{63ADA6A8-215B-437C-8B61-584E247648CF}" type="presOf" srcId="{DF6DF792-8DB1-4619-B781-295CCD7D4ABC}" destId="{F45798E1-2641-4CCF-9672-8922BCD58759}" srcOrd="0" destOrd="0" presId="urn:microsoft.com/office/officeart/2005/8/layout/lProcess2"/>
    <dgm:cxn modelId="{FFCF8FF4-F189-49F7-B0B3-1943CF3783DC}" type="presOf" srcId="{58F5AD9E-AE15-465B-A0E2-B197FC2E275D}" destId="{EFD384D0-655A-41D8-AAF3-1A6E7CF9C5A1}" srcOrd="0" destOrd="0" presId="urn:microsoft.com/office/officeart/2005/8/layout/lProcess2"/>
    <dgm:cxn modelId="{02D30A6D-E13F-4E5F-BD81-C030A45B7DBE}" type="presOf" srcId="{5132C7C8-58CD-4581-8B1F-A1D4628C7929}" destId="{EE2DE999-7F88-4481-8663-7D4723F5F7B2}" srcOrd="0" destOrd="0" presId="urn:microsoft.com/office/officeart/2005/8/layout/lProcess2"/>
    <dgm:cxn modelId="{7D682ECB-2B2D-4BE4-A638-3A5C88BB70B1}" srcId="{5132C7C8-58CD-4581-8B1F-A1D4628C7929}" destId="{5E274D17-0EBD-4853-9566-8114DF347426}" srcOrd="1" destOrd="0" parTransId="{94EE92E5-8E7B-4B37-90F5-FE488BDD1E25}" sibTransId="{0079457A-0C79-43F3-8CB5-A7DBF1FA5972}"/>
    <dgm:cxn modelId="{2847F50D-F18F-46A1-86E4-318A933F37CD}" type="presOf" srcId="{141DC4FA-A232-4239-BFCA-E96393425D2C}" destId="{DEDEF8CC-C23A-4AEF-B846-1E17F80B3E90}" srcOrd="0" destOrd="0" presId="urn:microsoft.com/office/officeart/2005/8/layout/lProcess2"/>
    <dgm:cxn modelId="{8187B337-A97C-4647-A521-78C83B520127}" srcId="{5132C7C8-58CD-4581-8B1F-A1D4628C7929}" destId="{DF6DF792-8DB1-4619-B781-295CCD7D4ABC}" srcOrd="0" destOrd="0" parTransId="{F37BA32E-1388-4FC7-9B58-C6AD11EE827F}" sibTransId="{DF127A40-6D0A-48D6-98D8-5601546BE613}"/>
    <dgm:cxn modelId="{2566060A-0B32-4D50-A6F2-005EBDCDA746}" srcId="{91D601B8-CF1A-48DC-AC7F-B31909B1982F}" destId="{CBECEAB1-800B-4ADC-B0F3-018E2E7534D0}" srcOrd="2" destOrd="0" parTransId="{19B9B319-3931-499B-8ED2-DE946B7A01D8}" sibTransId="{9E3055A8-786D-4858-9C23-A75C19FA491D}"/>
    <dgm:cxn modelId="{FFC2E85D-3FD1-4133-8FC3-BEF522F1E7C4}" srcId="{91D601B8-CF1A-48DC-AC7F-B31909B1982F}" destId="{5132C7C8-58CD-4581-8B1F-A1D4628C7929}" srcOrd="1" destOrd="0" parTransId="{13CEB08D-A45C-47D7-A9F1-49249C774DD2}" sibTransId="{7749999C-A5FC-4639-B15C-2F80CD4A289C}"/>
    <dgm:cxn modelId="{EA9355B4-4496-498F-AD12-CAAAB03DA6DB}" srcId="{91D601B8-CF1A-48DC-AC7F-B31909B1982F}" destId="{58F5AD9E-AE15-465B-A0E2-B197FC2E275D}" srcOrd="0" destOrd="0" parTransId="{F583D39B-0E08-406B-A495-7D1F5324662C}" sibTransId="{24478746-B2A5-4E98-B873-4B9C2CDCC71C}"/>
    <dgm:cxn modelId="{18A6A7BC-12CC-4039-B8FB-131850E31753}" type="presOf" srcId="{CBECEAB1-800B-4ADC-B0F3-018E2E7534D0}" destId="{A8FCBFE4-E2AC-46EF-AFA3-FE0708667EB3}" srcOrd="1" destOrd="0" presId="urn:microsoft.com/office/officeart/2005/8/layout/lProcess2"/>
    <dgm:cxn modelId="{5E25B06C-24FA-44B3-AE1B-AA266F04F7B2}" type="presOf" srcId="{91D601B8-CF1A-48DC-AC7F-B31909B1982F}" destId="{C892AC62-E490-4760-9385-F8A2F2A28D70}" srcOrd="0" destOrd="0" presId="urn:microsoft.com/office/officeart/2005/8/layout/lProcess2"/>
    <dgm:cxn modelId="{EF70C8A8-1911-47F9-B3CC-CD0231118A42}" srcId="{CBECEAB1-800B-4ADC-B0F3-018E2E7534D0}" destId="{141DC4FA-A232-4239-BFCA-E96393425D2C}" srcOrd="0" destOrd="0" parTransId="{7E4927A2-6BE8-4CF6-9170-53D42D8D568E}" sibTransId="{6D6C8C9D-2EFA-410E-8AAD-2FFB6826B26F}"/>
    <dgm:cxn modelId="{D4DCE447-85C4-4010-B008-18C02F29589F}" type="presOf" srcId="{7DB31D74-6569-4688-94AB-E2483BDBA251}" destId="{60ACECD7-87E4-4843-A2A6-52333D53DACD}" srcOrd="0" destOrd="0" presId="urn:microsoft.com/office/officeart/2005/8/layout/lProcess2"/>
    <dgm:cxn modelId="{AAEA88AD-F342-4EC1-A74E-7C69E7C15EE2}" srcId="{CBECEAB1-800B-4ADC-B0F3-018E2E7534D0}" destId="{0678CAD5-E179-49E0-9915-6A89562051B9}" srcOrd="1" destOrd="0" parTransId="{6A30C30E-0FF4-47DE-9B67-F19DD115416F}" sibTransId="{4B95571E-0D52-4FE2-BE08-D847384CD819}"/>
    <dgm:cxn modelId="{E31DB82B-019C-407F-A133-35B9DB7F4F9D}" type="presOf" srcId="{5132C7C8-58CD-4581-8B1F-A1D4628C7929}" destId="{4D45418D-DE68-4146-9E65-9B595890168A}" srcOrd="1" destOrd="0" presId="urn:microsoft.com/office/officeart/2005/8/layout/lProcess2"/>
    <dgm:cxn modelId="{B7C68683-70D6-4BEF-8713-828499175A14}" type="presOf" srcId="{CBECEAB1-800B-4ADC-B0F3-018E2E7534D0}" destId="{8B877B22-CD64-47BE-966F-F7FE070FAE0E}" srcOrd="0" destOrd="0" presId="urn:microsoft.com/office/officeart/2005/8/layout/lProcess2"/>
    <dgm:cxn modelId="{2F7758E3-8C45-42E4-B0F1-9B941BE5E185}" type="presOf" srcId="{0678CAD5-E179-49E0-9915-6A89562051B9}" destId="{5C49973C-BC25-4099-86E6-B5F898506219}" srcOrd="0" destOrd="0" presId="urn:microsoft.com/office/officeart/2005/8/layout/lProcess2"/>
    <dgm:cxn modelId="{59E04B19-22E4-4E5B-AF3E-B498835B0CA5}" type="presOf" srcId="{5E274D17-0EBD-4853-9566-8114DF347426}" destId="{8D1610CE-B5EF-401E-A248-DBED0A1EF0E8}" srcOrd="0" destOrd="0" presId="urn:microsoft.com/office/officeart/2005/8/layout/lProcess2"/>
    <dgm:cxn modelId="{6401E7A4-5769-424C-A601-6EBD7B1D4304}" type="presOf" srcId="{055B3CC3-3979-4A02-B4DD-BC20B26A0996}" destId="{5A3259C3-9617-4607-8417-592A85D91ED5}" srcOrd="0" destOrd="0" presId="urn:microsoft.com/office/officeart/2005/8/layout/lProcess2"/>
    <dgm:cxn modelId="{CD1444F7-82F9-4DC0-93D8-13EA4BCC9260}" type="presOf" srcId="{58F5AD9E-AE15-465B-A0E2-B197FC2E275D}" destId="{8E745A55-F4F9-4AF2-A6A9-C35C3B7C4CDE}" srcOrd="1" destOrd="0" presId="urn:microsoft.com/office/officeart/2005/8/layout/lProcess2"/>
    <dgm:cxn modelId="{D3350410-C4C1-4E54-A894-7A85A470CFC7}" type="presParOf" srcId="{C892AC62-E490-4760-9385-F8A2F2A28D70}" destId="{0A5E8930-899E-4F2C-8563-420509BB5D03}" srcOrd="0" destOrd="0" presId="urn:microsoft.com/office/officeart/2005/8/layout/lProcess2"/>
    <dgm:cxn modelId="{61CB7EE7-6714-4410-B8A2-2CCEBE793CFA}" type="presParOf" srcId="{0A5E8930-899E-4F2C-8563-420509BB5D03}" destId="{EFD384D0-655A-41D8-AAF3-1A6E7CF9C5A1}" srcOrd="0" destOrd="0" presId="urn:microsoft.com/office/officeart/2005/8/layout/lProcess2"/>
    <dgm:cxn modelId="{A7439DA5-1F98-400B-BF77-78358C4268B6}" type="presParOf" srcId="{0A5E8930-899E-4F2C-8563-420509BB5D03}" destId="{8E745A55-F4F9-4AF2-A6A9-C35C3B7C4CDE}" srcOrd="1" destOrd="0" presId="urn:microsoft.com/office/officeart/2005/8/layout/lProcess2"/>
    <dgm:cxn modelId="{0D3CB8F6-A5AB-4C28-9CD4-208A34272F0E}" type="presParOf" srcId="{0A5E8930-899E-4F2C-8563-420509BB5D03}" destId="{DEF36155-9893-4F6A-9119-7EC4FB99E841}" srcOrd="2" destOrd="0" presId="urn:microsoft.com/office/officeart/2005/8/layout/lProcess2"/>
    <dgm:cxn modelId="{63CAE24F-341F-4F7E-95FB-9851EE1F3901}" type="presParOf" srcId="{DEF36155-9893-4F6A-9119-7EC4FB99E841}" destId="{2C33A298-E041-4BC9-9449-CAAAD25C9178}" srcOrd="0" destOrd="0" presId="urn:microsoft.com/office/officeart/2005/8/layout/lProcess2"/>
    <dgm:cxn modelId="{84F20179-AB4C-40F7-97B4-5E5C9FEE89DA}" type="presParOf" srcId="{2C33A298-E041-4BC9-9449-CAAAD25C9178}" destId="{5A3259C3-9617-4607-8417-592A85D91ED5}" srcOrd="0" destOrd="0" presId="urn:microsoft.com/office/officeart/2005/8/layout/lProcess2"/>
    <dgm:cxn modelId="{5A2A86CC-0C59-480F-A21F-7100E8881625}" type="presParOf" srcId="{2C33A298-E041-4BC9-9449-CAAAD25C9178}" destId="{14EC6144-A0D8-4170-8D35-A82CB9D37F16}" srcOrd="1" destOrd="0" presId="urn:microsoft.com/office/officeart/2005/8/layout/lProcess2"/>
    <dgm:cxn modelId="{7FB82D7E-02C9-46E8-B36C-BF1B4A887D9B}" type="presParOf" srcId="{2C33A298-E041-4BC9-9449-CAAAD25C9178}" destId="{60ACECD7-87E4-4843-A2A6-52333D53DACD}" srcOrd="2" destOrd="0" presId="urn:microsoft.com/office/officeart/2005/8/layout/lProcess2"/>
    <dgm:cxn modelId="{D5B825AD-4CA6-4848-8CD7-9FF8EF7AC3FB}" type="presParOf" srcId="{C892AC62-E490-4760-9385-F8A2F2A28D70}" destId="{61DAD37A-964B-4109-AAAD-6248C10813B2}" srcOrd="1" destOrd="0" presId="urn:microsoft.com/office/officeart/2005/8/layout/lProcess2"/>
    <dgm:cxn modelId="{441A0BE3-4691-430C-94BA-10C225C49B04}" type="presParOf" srcId="{C892AC62-E490-4760-9385-F8A2F2A28D70}" destId="{2973BCD5-316B-474F-88D7-CA28B6EED458}" srcOrd="2" destOrd="0" presId="urn:microsoft.com/office/officeart/2005/8/layout/lProcess2"/>
    <dgm:cxn modelId="{1787D444-AC58-47C6-A470-FFBC564D4730}" type="presParOf" srcId="{2973BCD5-316B-474F-88D7-CA28B6EED458}" destId="{EE2DE999-7F88-4481-8663-7D4723F5F7B2}" srcOrd="0" destOrd="0" presId="urn:microsoft.com/office/officeart/2005/8/layout/lProcess2"/>
    <dgm:cxn modelId="{820AF586-C579-4382-9B7B-E073562B8F6D}" type="presParOf" srcId="{2973BCD5-316B-474F-88D7-CA28B6EED458}" destId="{4D45418D-DE68-4146-9E65-9B595890168A}" srcOrd="1" destOrd="0" presId="urn:microsoft.com/office/officeart/2005/8/layout/lProcess2"/>
    <dgm:cxn modelId="{711F03B9-E360-45E6-BB63-7D0D00A9EF91}" type="presParOf" srcId="{2973BCD5-316B-474F-88D7-CA28B6EED458}" destId="{11792569-052B-445A-93A9-8EB811CE4B97}" srcOrd="2" destOrd="0" presId="urn:microsoft.com/office/officeart/2005/8/layout/lProcess2"/>
    <dgm:cxn modelId="{FF4242AA-A255-47D5-BBC1-A6F06690F75F}" type="presParOf" srcId="{11792569-052B-445A-93A9-8EB811CE4B97}" destId="{A801E635-B21F-49B1-8557-04B193F50A84}" srcOrd="0" destOrd="0" presId="urn:microsoft.com/office/officeart/2005/8/layout/lProcess2"/>
    <dgm:cxn modelId="{3626DDC4-EB0F-493B-93A1-459A77A68F49}" type="presParOf" srcId="{A801E635-B21F-49B1-8557-04B193F50A84}" destId="{F45798E1-2641-4CCF-9672-8922BCD58759}" srcOrd="0" destOrd="0" presId="urn:microsoft.com/office/officeart/2005/8/layout/lProcess2"/>
    <dgm:cxn modelId="{D584988F-EE33-4935-8C76-0E456EFED7D3}" type="presParOf" srcId="{A801E635-B21F-49B1-8557-04B193F50A84}" destId="{C6912D3F-2AE4-42A4-A055-640DDDFA22CC}" srcOrd="1" destOrd="0" presId="urn:microsoft.com/office/officeart/2005/8/layout/lProcess2"/>
    <dgm:cxn modelId="{E5A76122-A9BC-478A-A6CA-63E2BD20C36D}" type="presParOf" srcId="{A801E635-B21F-49B1-8557-04B193F50A84}" destId="{8D1610CE-B5EF-401E-A248-DBED0A1EF0E8}" srcOrd="2" destOrd="0" presId="urn:microsoft.com/office/officeart/2005/8/layout/lProcess2"/>
    <dgm:cxn modelId="{7699CDF2-8842-4660-9E37-0A9D868EF84A}" type="presParOf" srcId="{C892AC62-E490-4760-9385-F8A2F2A28D70}" destId="{8425F731-2C86-4FC3-BA02-1B7C979555BB}" srcOrd="3" destOrd="0" presId="urn:microsoft.com/office/officeart/2005/8/layout/lProcess2"/>
    <dgm:cxn modelId="{8C88A04F-1F4C-473C-AA30-D207B6BA123E}" type="presParOf" srcId="{C892AC62-E490-4760-9385-F8A2F2A28D70}" destId="{3568CCDC-E030-46B6-B535-512B10D43E6F}" srcOrd="4" destOrd="0" presId="urn:microsoft.com/office/officeart/2005/8/layout/lProcess2"/>
    <dgm:cxn modelId="{00776E4F-2416-47F6-A0BD-E956ECA95166}" type="presParOf" srcId="{3568CCDC-E030-46B6-B535-512B10D43E6F}" destId="{8B877B22-CD64-47BE-966F-F7FE070FAE0E}" srcOrd="0" destOrd="0" presId="urn:microsoft.com/office/officeart/2005/8/layout/lProcess2"/>
    <dgm:cxn modelId="{72B20C87-14F5-4683-A641-B3361A64BD99}" type="presParOf" srcId="{3568CCDC-E030-46B6-B535-512B10D43E6F}" destId="{A8FCBFE4-E2AC-46EF-AFA3-FE0708667EB3}" srcOrd="1" destOrd="0" presId="urn:microsoft.com/office/officeart/2005/8/layout/lProcess2"/>
    <dgm:cxn modelId="{DFD2BCEE-9A86-46FE-BF57-DFA9422C443F}" type="presParOf" srcId="{3568CCDC-E030-46B6-B535-512B10D43E6F}" destId="{AE98F80D-9FE0-456D-828A-034E7127744F}" srcOrd="2" destOrd="0" presId="urn:microsoft.com/office/officeart/2005/8/layout/lProcess2"/>
    <dgm:cxn modelId="{A674A27A-9FDE-414E-99AD-D6B42E9B3A6F}" type="presParOf" srcId="{AE98F80D-9FE0-456D-828A-034E7127744F}" destId="{0788AD81-8B19-4E29-8A34-85639EBEE2A1}" srcOrd="0" destOrd="0" presId="urn:microsoft.com/office/officeart/2005/8/layout/lProcess2"/>
    <dgm:cxn modelId="{AF5C86EC-DABC-4088-8227-7FDEF67746DD}" type="presParOf" srcId="{0788AD81-8B19-4E29-8A34-85639EBEE2A1}" destId="{DEDEF8CC-C23A-4AEF-B846-1E17F80B3E90}" srcOrd="0" destOrd="0" presId="urn:microsoft.com/office/officeart/2005/8/layout/lProcess2"/>
    <dgm:cxn modelId="{E0AFED6E-40A6-4332-801B-C680DE07BA90}" type="presParOf" srcId="{0788AD81-8B19-4E29-8A34-85639EBEE2A1}" destId="{C426D4AC-EBDE-4FB9-BA4F-7D1E6F8C575B}" srcOrd="1" destOrd="0" presId="urn:microsoft.com/office/officeart/2005/8/layout/lProcess2"/>
    <dgm:cxn modelId="{D522FC45-6BE8-4544-8F37-08B95313DC2E}" type="presParOf" srcId="{0788AD81-8B19-4E29-8A34-85639EBEE2A1}" destId="{5C49973C-BC25-4099-86E6-B5F898506219}" srcOrd="2" destOrd="0" presId="urn:microsoft.com/office/officeart/2005/8/layout/lProcess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37C01E70-9A21-435B-A563-1C1F9DC10429}" type="doc">
      <dgm:prSet loTypeId="urn:microsoft.com/office/officeart/2005/8/layout/hierarchy2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B460E91A-DF63-4EF8-8BB0-98DC4474ABF7}">
      <dgm:prSet phldrT="[Texto]"/>
      <dgm:spPr/>
      <dgm:t>
        <a:bodyPr/>
        <a:lstStyle/>
        <a:p>
          <a:r>
            <a:rPr lang="pt-BR" dirty="0" smtClean="0"/>
            <a:t>Remuneração Variável</a:t>
          </a:r>
          <a:endParaRPr lang="pt-BR" dirty="0"/>
        </a:p>
      </dgm:t>
    </dgm:pt>
    <dgm:pt modelId="{2495E430-9854-448C-832C-5675566F0431}" type="parTrans" cxnId="{4764AD84-0EC1-40C2-BADB-7ABC094016DD}">
      <dgm:prSet/>
      <dgm:spPr/>
      <dgm:t>
        <a:bodyPr/>
        <a:lstStyle/>
        <a:p>
          <a:endParaRPr lang="pt-BR"/>
        </a:p>
      </dgm:t>
    </dgm:pt>
    <dgm:pt modelId="{927E3CD2-EF90-47FC-980B-C97F2214880A}" type="sibTrans" cxnId="{4764AD84-0EC1-40C2-BADB-7ABC094016DD}">
      <dgm:prSet/>
      <dgm:spPr/>
      <dgm:t>
        <a:bodyPr/>
        <a:lstStyle/>
        <a:p>
          <a:endParaRPr lang="pt-BR"/>
        </a:p>
      </dgm:t>
    </dgm:pt>
    <dgm:pt modelId="{BA14C1A2-0893-43E6-BF50-1746ACF96162}">
      <dgm:prSet phldrT="[Texto]"/>
      <dgm:spPr/>
      <dgm:t>
        <a:bodyPr/>
        <a:lstStyle/>
        <a:p>
          <a:r>
            <a:rPr lang="pt-BR" dirty="0" smtClean="0"/>
            <a:t>Honorário Variável Mensal</a:t>
          </a:r>
          <a:endParaRPr lang="pt-BR" dirty="0"/>
        </a:p>
      </dgm:t>
    </dgm:pt>
    <dgm:pt modelId="{8F3A9860-5C07-4C49-AD94-1F1E3B0F94D3}" type="parTrans" cxnId="{C08D4528-B392-4ABB-86B4-ED8C0E1FDE08}">
      <dgm:prSet/>
      <dgm:spPr/>
      <dgm:t>
        <a:bodyPr/>
        <a:lstStyle/>
        <a:p>
          <a:endParaRPr lang="pt-BR"/>
        </a:p>
      </dgm:t>
    </dgm:pt>
    <dgm:pt modelId="{CE07EFDB-D769-4953-89CE-B2BCE8E8C9DA}" type="sibTrans" cxnId="{C08D4528-B392-4ABB-86B4-ED8C0E1FDE08}">
      <dgm:prSet/>
      <dgm:spPr/>
      <dgm:t>
        <a:bodyPr/>
        <a:lstStyle/>
        <a:p>
          <a:endParaRPr lang="pt-BR"/>
        </a:p>
      </dgm:t>
    </dgm:pt>
    <dgm:pt modelId="{87DBDC64-123C-4AB3-8ED1-A4E697F7A54E}">
      <dgm:prSet phldrT="[Texto]"/>
      <dgm:spPr/>
      <dgm:t>
        <a:bodyPr/>
        <a:lstStyle/>
        <a:p>
          <a:r>
            <a:rPr lang="pt-BR" dirty="0" smtClean="0"/>
            <a:t>Metas de Gestão Trimestrais</a:t>
          </a:r>
          <a:endParaRPr lang="pt-BR" dirty="0"/>
        </a:p>
      </dgm:t>
    </dgm:pt>
    <dgm:pt modelId="{07D726F6-C8EF-4A3B-BF0C-FBB0103A16DA}" type="parTrans" cxnId="{EE1139EA-F4B2-4EA5-BAD8-840D8C02E1EC}">
      <dgm:prSet/>
      <dgm:spPr/>
      <dgm:t>
        <a:bodyPr/>
        <a:lstStyle/>
        <a:p>
          <a:endParaRPr lang="pt-BR"/>
        </a:p>
      </dgm:t>
    </dgm:pt>
    <dgm:pt modelId="{B1B218D4-34C4-4AAD-AAAD-EB6AD681A1A7}" type="sibTrans" cxnId="{EE1139EA-F4B2-4EA5-BAD8-840D8C02E1EC}">
      <dgm:prSet/>
      <dgm:spPr/>
      <dgm:t>
        <a:bodyPr/>
        <a:lstStyle/>
        <a:p>
          <a:endParaRPr lang="pt-BR"/>
        </a:p>
      </dgm:t>
    </dgm:pt>
    <dgm:pt modelId="{E2E6D424-A85E-42F4-B82C-B255BAB56B86}">
      <dgm:prSet phldrT="[Texto]"/>
      <dgm:spPr/>
      <dgm:t>
        <a:bodyPr/>
        <a:lstStyle/>
        <a:p>
          <a:r>
            <a:rPr lang="pt-BR" smtClean="0"/>
            <a:t>Pagamento Mensal</a:t>
          </a:r>
          <a:endParaRPr lang="pt-BR" dirty="0"/>
        </a:p>
      </dgm:t>
    </dgm:pt>
    <dgm:pt modelId="{59D2DCF0-846C-4369-99EB-3BADA464AB84}" type="parTrans" cxnId="{71996022-B161-4234-92C5-3308C71951DA}">
      <dgm:prSet/>
      <dgm:spPr/>
      <dgm:t>
        <a:bodyPr/>
        <a:lstStyle/>
        <a:p>
          <a:endParaRPr lang="pt-BR"/>
        </a:p>
      </dgm:t>
    </dgm:pt>
    <dgm:pt modelId="{C2730FFE-B4AE-4F7C-9C5B-A1DBED6F7E03}" type="sibTrans" cxnId="{71996022-B161-4234-92C5-3308C71951DA}">
      <dgm:prSet/>
      <dgm:spPr/>
      <dgm:t>
        <a:bodyPr/>
        <a:lstStyle/>
        <a:p>
          <a:endParaRPr lang="pt-BR"/>
        </a:p>
      </dgm:t>
    </dgm:pt>
    <dgm:pt modelId="{0A064A1B-4843-46BF-BC83-F4E8157E39D7}">
      <dgm:prSet phldrT="[Texto]"/>
      <dgm:spPr/>
      <dgm:t>
        <a:bodyPr/>
        <a:lstStyle/>
        <a:p>
          <a:r>
            <a:rPr lang="pt-BR" dirty="0" smtClean="0"/>
            <a:t>Bonificação Anual</a:t>
          </a:r>
          <a:endParaRPr lang="pt-BR" dirty="0"/>
        </a:p>
      </dgm:t>
    </dgm:pt>
    <dgm:pt modelId="{014448E7-76BD-4B49-A96E-C7CA04125B44}" type="parTrans" cxnId="{54EDAD06-043B-4D99-95CE-FEA891D7CB74}">
      <dgm:prSet/>
      <dgm:spPr/>
      <dgm:t>
        <a:bodyPr/>
        <a:lstStyle/>
        <a:p>
          <a:endParaRPr lang="pt-BR"/>
        </a:p>
      </dgm:t>
    </dgm:pt>
    <dgm:pt modelId="{181A8E15-2837-4758-9594-DC7554FE5FD3}" type="sibTrans" cxnId="{54EDAD06-043B-4D99-95CE-FEA891D7CB74}">
      <dgm:prSet/>
      <dgm:spPr/>
      <dgm:t>
        <a:bodyPr/>
        <a:lstStyle/>
        <a:p>
          <a:endParaRPr lang="pt-BR"/>
        </a:p>
      </dgm:t>
    </dgm:pt>
    <dgm:pt modelId="{06FFE081-49D7-4567-9782-270C1D2C1472}">
      <dgm:prSet phldrT="[Texto]"/>
      <dgm:spPr/>
      <dgm:t>
        <a:bodyPr/>
        <a:lstStyle/>
        <a:p>
          <a:r>
            <a:rPr lang="pt-BR" dirty="0" smtClean="0"/>
            <a:t>Metas Empresariais Anuais</a:t>
          </a:r>
          <a:endParaRPr lang="pt-BR" dirty="0"/>
        </a:p>
      </dgm:t>
    </dgm:pt>
    <dgm:pt modelId="{9204127D-4859-4568-B8A5-10158B94D1BD}" type="parTrans" cxnId="{6A620247-CD05-4A5D-9CC2-619D61245DFE}">
      <dgm:prSet/>
      <dgm:spPr/>
      <dgm:t>
        <a:bodyPr/>
        <a:lstStyle/>
        <a:p>
          <a:endParaRPr lang="pt-BR"/>
        </a:p>
      </dgm:t>
    </dgm:pt>
    <dgm:pt modelId="{31A7BA16-87EA-4FE4-88EF-76AA2F53758A}" type="sibTrans" cxnId="{6A620247-CD05-4A5D-9CC2-619D61245DFE}">
      <dgm:prSet/>
      <dgm:spPr/>
      <dgm:t>
        <a:bodyPr/>
        <a:lstStyle/>
        <a:p>
          <a:endParaRPr lang="pt-BR"/>
        </a:p>
      </dgm:t>
    </dgm:pt>
    <dgm:pt modelId="{47C52B74-D969-4076-9CDA-B904F9A31DF9}">
      <dgm:prSet phldrT="[Texto]"/>
      <dgm:spPr/>
      <dgm:t>
        <a:bodyPr/>
        <a:lstStyle/>
        <a:p>
          <a:r>
            <a:rPr lang="pt-BR" dirty="0" smtClean="0"/>
            <a:t>Pagamento Anual</a:t>
          </a:r>
          <a:endParaRPr lang="pt-BR" dirty="0"/>
        </a:p>
      </dgm:t>
    </dgm:pt>
    <dgm:pt modelId="{6FDE696E-A9A1-4FA1-8190-8EE694BE0A30}" type="parTrans" cxnId="{FDFA71C9-133F-4C4D-9814-479CF3756303}">
      <dgm:prSet/>
      <dgm:spPr/>
      <dgm:t>
        <a:bodyPr/>
        <a:lstStyle/>
        <a:p>
          <a:endParaRPr lang="pt-BR"/>
        </a:p>
      </dgm:t>
    </dgm:pt>
    <dgm:pt modelId="{BCD82237-02B7-44A3-BACB-84D375AE6468}" type="sibTrans" cxnId="{FDFA71C9-133F-4C4D-9814-479CF3756303}">
      <dgm:prSet/>
      <dgm:spPr/>
      <dgm:t>
        <a:bodyPr/>
        <a:lstStyle/>
        <a:p>
          <a:endParaRPr lang="pt-BR"/>
        </a:p>
      </dgm:t>
    </dgm:pt>
    <dgm:pt modelId="{79979532-81F3-41DE-8FED-F957AA123B1F}" type="pres">
      <dgm:prSet presAssocID="{37C01E70-9A21-435B-A563-1C1F9DC10429}" presName="diagram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F53CA659-7DA0-45D0-958A-E0C71733562D}" type="pres">
      <dgm:prSet presAssocID="{B460E91A-DF63-4EF8-8BB0-98DC4474ABF7}" presName="root1" presStyleCnt="0"/>
      <dgm:spPr/>
    </dgm:pt>
    <dgm:pt modelId="{92036A4B-C173-4709-9F1F-F804814F972D}" type="pres">
      <dgm:prSet presAssocID="{B460E91A-DF63-4EF8-8BB0-98DC4474ABF7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pt-BR"/>
        </a:p>
      </dgm:t>
    </dgm:pt>
    <dgm:pt modelId="{D5378D3D-29AF-48E0-88EA-7E20F41CAC1F}" type="pres">
      <dgm:prSet presAssocID="{B460E91A-DF63-4EF8-8BB0-98DC4474ABF7}" presName="level2hierChild" presStyleCnt="0"/>
      <dgm:spPr/>
    </dgm:pt>
    <dgm:pt modelId="{76CE42EE-14F7-4D3E-AC22-13008CFF2719}" type="pres">
      <dgm:prSet presAssocID="{8F3A9860-5C07-4C49-AD94-1F1E3B0F94D3}" presName="conn2-1" presStyleLbl="parChTrans1D2" presStyleIdx="0" presStyleCnt="2"/>
      <dgm:spPr/>
      <dgm:t>
        <a:bodyPr/>
        <a:lstStyle/>
        <a:p>
          <a:endParaRPr lang="pt-BR"/>
        </a:p>
      </dgm:t>
    </dgm:pt>
    <dgm:pt modelId="{0E18A55D-657A-4E45-BCF1-EF7DCB9AB1EA}" type="pres">
      <dgm:prSet presAssocID="{8F3A9860-5C07-4C49-AD94-1F1E3B0F94D3}" presName="connTx" presStyleLbl="parChTrans1D2" presStyleIdx="0" presStyleCnt="2"/>
      <dgm:spPr/>
      <dgm:t>
        <a:bodyPr/>
        <a:lstStyle/>
        <a:p>
          <a:endParaRPr lang="pt-BR"/>
        </a:p>
      </dgm:t>
    </dgm:pt>
    <dgm:pt modelId="{9740C997-72E1-4592-B2A2-A1F60851210E}" type="pres">
      <dgm:prSet presAssocID="{BA14C1A2-0893-43E6-BF50-1746ACF96162}" presName="root2" presStyleCnt="0"/>
      <dgm:spPr/>
    </dgm:pt>
    <dgm:pt modelId="{D985B062-7E19-4468-92F4-392745CCCEC0}" type="pres">
      <dgm:prSet presAssocID="{BA14C1A2-0893-43E6-BF50-1746ACF96162}" presName="LevelTwoTextNode" presStyleLbl="node2" presStyleIdx="0" presStyleCnt="2">
        <dgm:presLayoutVars>
          <dgm:chPref val="3"/>
        </dgm:presLayoutVars>
      </dgm:prSet>
      <dgm:spPr/>
      <dgm:t>
        <a:bodyPr/>
        <a:lstStyle/>
        <a:p>
          <a:endParaRPr lang="pt-BR"/>
        </a:p>
      </dgm:t>
    </dgm:pt>
    <dgm:pt modelId="{96E1746E-3428-4CB2-95C8-EDE5DF45BD3C}" type="pres">
      <dgm:prSet presAssocID="{BA14C1A2-0893-43E6-BF50-1746ACF96162}" presName="level3hierChild" presStyleCnt="0"/>
      <dgm:spPr/>
    </dgm:pt>
    <dgm:pt modelId="{95410F55-BE9F-40E4-87F2-ED6AA96AFB92}" type="pres">
      <dgm:prSet presAssocID="{07D726F6-C8EF-4A3B-BF0C-FBB0103A16DA}" presName="conn2-1" presStyleLbl="parChTrans1D3" presStyleIdx="0" presStyleCnt="4"/>
      <dgm:spPr/>
      <dgm:t>
        <a:bodyPr/>
        <a:lstStyle/>
        <a:p>
          <a:endParaRPr lang="pt-BR"/>
        </a:p>
      </dgm:t>
    </dgm:pt>
    <dgm:pt modelId="{8CC51022-1216-4E3C-9DD1-6FF75CECB9A3}" type="pres">
      <dgm:prSet presAssocID="{07D726F6-C8EF-4A3B-BF0C-FBB0103A16DA}" presName="connTx" presStyleLbl="parChTrans1D3" presStyleIdx="0" presStyleCnt="4"/>
      <dgm:spPr/>
      <dgm:t>
        <a:bodyPr/>
        <a:lstStyle/>
        <a:p>
          <a:endParaRPr lang="pt-BR"/>
        </a:p>
      </dgm:t>
    </dgm:pt>
    <dgm:pt modelId="{DCF14F8D-98EC-493E-931C-EC284B794FC0}" type="pres">
      <dgm:prSet presAssocID="{87DBDC64-123C-4AB3-8ED1-A4E697F7A54E}" presName="root2" presStyleCnt="0"/>
      <dgm:spPr/>
    </dgm:pt>
    <dgm:pt modelId="{39B84C24-C44F-4546-8DF5-447404AC3DC9}" type="pres">
      <dgm:prSet presAssocID="{87DBDC64-123C-4AB3-8ED1-A4E697F7A54E}" presName="LevelTwoTextNode" presStyleLbl="node3" presStyleIdx="0" presStyleCnt="4">
        <dgm:presLayoutVars>
          <dgm:chPref val="3"/>
        </dgm:presLayoutVars>
      </dgm:prSet>
      <dgm:spPr/>
      <dgm:t>
        <a:bodyPr/>
        <a:lstStyle/>
        <a:p>
          <a:endParaRPr lang="pt-BR"/>
        </a:p>
      </dgm:t>
    </dgm:pt>
    <dgm:pt modelId="{033A9B18-E2DD-4DDA-B2DF-1CF5327C0B95}" type="pres">
      <dgm:prSet presAssocID="{87DBDC64-123C-4AB3-8ED1-A4E697F7A54E}" presName="level3hierChild" presStyleCnt="0"/>
      <dgm:spPr/>
    </dgm:pt>
    <dgm:pt modelId="{B2203B1E-6E18-497E-9303-E4F68408F5DD}" type="pres">
      <dgm:prSet presAssocID="{59D2DCF0-846C-4369-99EB-3BADA464AB84}" presName="conn2-1" presStyleLbl="parChTrans1D3" presStyleIdx="1" presStyleCnt="4"/>
      <dgm:spPr/>
      <dgm:t>
        <a:bodyPr/>
        <a:lstStyle/>
        <a:p>
          <a:endParaRPr lang="pt-BR"/>
        </a:p>
      </dgm:t>
    </dgm:pt>
    <dgm:pt modelId="{15D49224-D6BB-4BCB-84A8-674112FABD1C}" type="pres">
      <dgm:prSet presAssocID="{59D2DCF0-846C-4369-99EB-3BADA464AB84}" presName="connTx" presStyleLbl="parChTrans1D3" presStyleIdx="1" presStyleCnt="4"/>
      <dgm:spPr/>
      <dgm:t>
        <a:bodyPr/>
        <a:lstStyle/>
        <a:p>
          <a:endParaRPr lang="pt-BR"/>
        </a:p>
      </dgm:t>
    </dgm:pt>
    <dgm:pt modelId="{7CE25DDD-F178-46B2-AFE7-9EEEB28AE75B}" type="pres">
      <dgm:prSet presAssocID="{E2E6D424-A85E-42F4-B82C-B255BAB56B86}" presName="root2" presStyleCnt="0"/>
      <dgm:spPr/>
    </dgm:pt>
    <dgm:pt modelId="{CAB803E6-235F-4206-8F2D-830CA4373383}" type="pres">
      <dgm:prSet presAssocID="{E2E6D424-A85E-42F4-B82C-B255BAB56B86}" presName="LevelTwoTextNode" presStyleLbl="node3" presStyleIdx="1" presStyleCnt="4">
        <dgm:presLayoutVars>
          <dgm:chPref val="3"/>
        </dgm:presLayoutVars>
      </dgm:prSet>
      <dgm:spPr/>
      <dgm:t>
        <a:bodyPr/>
        <a:lstStyle/>
        <a:p>
          <a:endParaRPr lang="pt-BR"/>
        </a:p>
      </dgm:t>
    </dgm:pt>
    <dgm:pt modelId="{650FDAC0-9D91-4C80-8F85-7769A8084601}" type="pres">
      <dgm:prSet presAssocID="{E2E6D424-A85E-42F4-B82C-B255BAB56B86}" presName="level3hierChild" presStyleCnt="0"/>
      <dgm:spPr/>
    </dgm:pt>
    <dgm:pt modelId="{BD0C0E79-2E12-4923-B16F-282273744F1C}" type="pres">
      <dgm:prSet presAssocID="{014448E7-76BD-4B49-A96E-C7CA04125B44}" presName="conn2-1" presStyleLbl="parChTrans1D2" presStyleIdx="1" presStyleCnt="2"/>
      <dgm:spPr/>
      <dgm:t>
        <a:bodyPr/>
        <a:lstStyle/>
        <a:p>
          <a:endParaRPr lang="pt-BR"/>
        </a:p>
      </dgm:t>
    </dgm:pt>
    <dgm:pt modelId="{A0902BE2-30CB-44EA-BCC0-D63933BBEFCF}" type="pres">
      <dgm:prSet presAssocID="{014448E7-76BD-4B49-A96E-C7CA04125B44}" presName="connTx" presStyleLbl="parChTrans1D2" presStyleIdx="1" presStyleCnt="2"/>
      <dgm:spPr/>
      <dgm:t>
        <a:bodyPr/>
        <a:lstStyle/>
        <a:p>
          <a:endParaRPr lang="pt-BR"/>
        </a:p>
      </dgm:t>
    </dgm:pt>
    <dgm:pt modelId="{5E4D9EE2-286C-42E3-9E83-108DAE2560A1}" type="pres">
      <dgm:prSet presAssocID="{0A064A1B-4843-46BF-BC83-F4E8157E39D7}" presName="root2" presStyleCnt="0"/>
      <dgm:spPr/>
    </dgm:pt>
    <dgm:pt modelId="{1B86C2E2-4E18-4327-8F36-C3AD3308D981}" type="pres">
      <dgm:prSet presAssocID="{0A064A1B-4843-46BF-BC83-F4E8157E39D7}" presName="LevelTwoTextNode" presStyleLbl="node2" presStyleIdx="1" presStyleCnt="2">
        <dgm:presLayoutVars>
          <dgm:chPref val="3"/>
        </dgm:presLayoutVars>
      </dgm:prSet>
      <dgm:spPr/>
      <dgm:t>
        <a:bodyPr/>
        <a:lstStyle/>
        <a:p>
          <a:endParaRPr lang="pt-BR"/>
        </a:p>
      </dgm:t>
    </dgm:pt>
    <dgm:pt modelId="{88F01934-365E-44F5-9AF6-1B935DD94982}" type="pres">
      <dgm:prSet presAssocID="{0A064A1B-4843-46BF-BC83-F4E8157E39D7}" presName="level3hierChild" presStyleCnt="0"/>
      <dgm:spPr/>
    </dgm:pt>
    <dgm:pt modelId="{CA997C3B-BED3-43EE-B8BF-3BDBCD76B0EF}" type="pres">
      <dgm:prSet presAssocID="{9204127D-4859-4568-B8A5-10158B94D1BD}" presName="conn2-1" presStyleLbl="parChTrans1D3" presStyleIdx="2" presStyleCnt="4"/>
      <dgm:spPr/>
      <dgm:t>
        <a:bodyPr/>
        <a:lstStyle/>
        <a:p>
          <a:endParaRPr lang="pt-BR"/>
        </a:p>
      </dgm:t>
    </dgm:pt>
    <dgm:pt modelId="{FF748563-5A5C-4CE7-A2E7-3D714CE761E4}" type="pres">
      <dgm:prSet presAssocID="{9204127D-4859-4568-B8A5-10158B94D1BD}" presName="connTx" presStyleLbl="parChTrans1D3" presStyleIdx="2" presStyleCnt="4"/>
      <dgm:spPr/>
      <dgm:t>
        <a:bodyPr/>
        <a:lstStyle/>
        <a:p>
          <a:endParaRPr lang="pt-BR"/>
        </a:p>
      </dgm:t>
    </dgm:pt>
    <dgm:pt modelId="{54AA43B8-F4D4-4E9B-90CB-AAB68120B77C}" type="pres">
      <dgm:prSet presAssocID="{06FFE081-49D7-4567-9782-270C1D2C1472}" presName="root2" presStyleCnt="0"/>
      <dgm:spPr/>
    </dgm:pt>
    <dgm:pt modelId="{5DBFC0DD-7FC8-457C-B727-371AE722EE2D}" type="pres">
      <dgm:prSet presAssocID="{06FFE081-49D7-4567-9782-270C1D2C1472}" presName="LevelTwoTextNode" presStyleLbl="node3" presStyleIdx="2" presStyleCnt="4">
        <dgm:presLayoutVars>
          <dgm:chPref val="3"/>
        </dgm:presLayoutVars>
      </dgm:prSet>
      <dgm:spPr/>
      <dgm:t>
        <a:bodyPr/>
        <a:lstStyle/>
        <a:p>
          <a:endParaRPr lang="pt-BR"/>
        </a:p>
      </dgm:t>
    </dgm:pt>
    <dgm:pt modelId="{0296B686-B8EC-46CE-A0EF-4B92A3C35FCE}" type="pres">
      <dgm:prSet presAssocID="{06FFE081-49D7-4567-9782-270C1D2C1472}" presName="level3hierChild" presStyleCnt="0"/>
      <dgm:spPr/>
    </dgm:pt>
    <dgm:pt modelId="{0E5DF93C-AEBC-46F9-BA5C-E4CCEFADFD89}" type="pres">
      <dgm:prSet presAssocID="{6FDE696E-A9A1-4FA1-8190-8EE694BE0A30}" presName="conn2-1" presStyleLbl="parChTrans1D3" presStyleIdx="3" presStyleCnt="4"/>
      <dgm:spPr/>
      <dgm:t>
        <a:bodyPr/>
        <a:lstStyle/>
        <a:p>
          <a:endParaRPr lang="pt-BR"/>
        </a:p>
      </dgm:t>
    </dgm:pt>
    <dgm:pt modelId="{A6447F74-338D-456D-AD36-0CCF954EA0ED}" type="pres">
      <dgm:prSet presAssocID="{6FDE696E-A9A1-4FA1-8190-8EE694BE0A30}" presName="connTx" presStyleLbl="parChTrans1D3" presStyleIdx="3" presStyleCnt="4"/>
      <dgm:spPr/>
      <dgm:t>
        <a:bodyPr/>
        <a:lstStyle/>
        <a:p>
          <a:endParaRPr lang="pt-BR"/>
        </a:p>
      </dgm:t>
    </dgm:pt>
    <dgm:pt modelId="{3560C6CE-B13A-466E-832C-44B2F5CC0EAC}" type="pres">
      <dgm:prSet presAssocID="{47C52B74-D969-4076-9CDA-B904F9A31DF9}" presName="root2" presStyleCnt="0"/>
      <dgm:spPr/>
    </dgm:pt>
    <dgm:pt modelId="{6389398C-53B1-4F91-865D-479D66222BF0}" type="pres">
      <dgm:prSet presAssocID="{47C52B74-D969-4076-9CDA-B904F9A31DF9}" presName="LevelTwoTextNode" presStyleLbl="node3" presStyleIdx="3" presStyleCnt="4">
        <dgm:presLayoutVars>
          <dgm:chPref val="3"/>
        </dgm:presLayoutVars>
      </dgm:prSet>
      <dgm:spPr/>
      <dgm:t>
        <a:bodyPr/>
        <a:lstStyle/>
        <a:p>
          <a:endParaRPr lang="pt-BR"/>
        </a:p>
      </dgm:t>
    </dgm:pt>
    <dgm:pt modelId="{C0F81C84-40C0-4992-A94C-C3A21FC56459}" type="pres">
      <dgm:prSet presAssocID="{47C52B74-D969-4076-9CDA-B904F9A31DF9}" presName="level3hierChild" presStyleCnt="0"/>
      <dgm:spPr/>
    </dgm:pt>
  </dgm:ptLst>
  <dgm:cxnLst>
    <dgm:cxn modelId="{B040CF0B-718E-41BB-ACF9-FC9093BE9765}" type="presOf" srcId="{87DBDC64-123C-4AB3-8ED1-A4E697F7A54E}" destId="{39B84C24-C44F-4546-8DF5-447404AC3DC9}" srcOrd="0" destOrd="0" presId="urn:microsoft.com/office/officeart/2005/8/layout/hierarchy2"/>
    <dgm:cxn modelId="{BF875159-74E2-4A12-89A8-26E6867D819B}" type="presOf" srcId="{59D2DCF0-846C-4369-99EB-3BADA464AB84}" destId="{15D49224-D6BB-4BCB-84A8-674112FABD1C}" srcOrd="1" destOrd="0" presId="urn:microsoft.com/office/officeart/2005/8/layout/hierarchy2"/>
    <dgm:cxn modelId="{C08D4528-B392-4ABB-86B4-ED8C0E1FDE08}" srcId="{B460E91A-DF63-4EF8-8BB0-98DC4474ABF7}" destId="{BA14C1A2-0893-43E6-BF50-1746ACF96162}" srcOrd="0" destOrd="0" parTransId="{8F3A9860-5C07-4C49-AD94-1F1E3B0F94D3}" sibTransId="{CE07EFDB-D769-4953-89CE-B2BCE8E8C9DA}"/>
    <dgm:cxn modelId="{DA97C022-817B-43A9-B2F4-82A70AB6C064}" type="presOf" srcId="{6FDE696E-A9A1-4FA1-8190-8EE694BE0A30}" destId="{0E5DF93C-AEBC-46F9-BA5C-E4CCEFADFD89}" srcOrd="0" destOrd="0" presId="urn:microsoft.com/office/officeart/2005/8/layout/hierarchy2"/>
    <dgm:cxn modelId="{B3A233ED-183D-4DBA-9165-4ADAB0707857}" type="presOf" srcId="{E2E6D424-A85E-42F4-B82C-B255BAB56B86}" destId="{CAB803E6-235F-4206-8F2D-830CA4373383}" srcOrd="0" destOrd="0" presId="urn:microsoft.com/office/officeart/2005/8/layout/hierarchy2"/>
    <dgm:cxn modelId="{E7F24266-4BE9-4619-B1FE-37C684E0DD0F}" type="presOf" srcId="{014448E7-76BD-4B49-A96E-C7CA04125B44}" destId="{A0902BE2-30CB-44EA-BCC0-D63933BBEFCF}" srcOrd="1" destOrd="0" presId="urn:microsoft.com/office/officeart/2005/8/layout/hierarchy2"/>
    <dgm:cxn modelId="{71996022-B161-4234-92C5-3308C71951DA}" srcId="{BA14C1A2-0893-43E6-BF50-1746ACF96162}" destId="{E2E6D424-A85E-42F4-B82C-B255BAB56B86}" srcOrd="1" destOrd="0" parTransId="{59D2DCF0-846C-4369-99EB-3BADA464AB84}" sibTransId="{C2730FFE-B4AE-4F7C-9C5B-A1DBED6F7E03}"/>
    <dgm:cxn modelId="{D19A0FDC-8988-45E0-B72D-F2E84FA81A31}" type="presOf" srcId="{59D2DCF0-846C-4369-99EB-3BADA464AB84}" destId="{B2203B1E-6E18-497E-9303-E4F68408F5DD}" srcOrd="0" destOrd="0" presId="urn:microsoft.com/office/officeart/2005/8/layout/hierarchy2"/>
    <dgm:cxn modelId="{42798F82-BCEF-4BCD-9235-DFCB97F3184E}" type="presOf" srcId="{BA14C1A2-0893-43E6-BF50-1746ACF96162}" destId="{D985B062-7E19-4468-92F4-392745CCCEC0}" srcOrd="0" destOrd="0" presId="urn:microsoft.com/office/officeart/2005/8/layout/hierarchy2"/>
    <dgm:cxn modelId="{54EDAD06-043B-4D99-95CE-FEA891D7CB74}" srcId="{B460E91A-DF63-4EF8-8BB0-98DC4474ABF7}" destId="{0A064A1B-4843-46BF-BC83-F4E8157E39D7}" srcOrd="1" destOrd="0" parTransId="{014448E7-76BD-4B49-A96E-C7CA04125B44}" sibTransId="{181A8E15-2837-4758-9594-DC7554FE5FD3}"/>
    <dgm:cxn modelId="{A88EB0BE-AEDE-44F3-8E0E-DBD4B70B9175}" type="presOf" srcId="{47C52B74-D969-4076-9CDA-B904F9A31DF9}" destId="{6389398C-53B1-4F91-865D-479D66222BF0}" srcOrd="0" destOrd="0" presId="urn:microsoft.com/office/officeart/2005/8/layout/hierarchy2"/>
    <dgm:cxn modelId="{FDFA71C9-133F-4C4D-9814-479CF3756303}" srcId="{0A064A1B-4843-46BF-BC83-F4E8157E39D7}" destId="{47C52B74-D969-4076-9CDA-B904F9A31DF9}" srcOrd="1" destOrd="0" parTransId="{6FDE696E-A9A1-4FA1-8190-8EE694BE0A30}" sibTransId="{BCD82237-02B7-44A3-BACB-84D375AE6468}"/>
    <dgm:cxn modelId="{9FACD751-7F98-41AB-902E-1660EFF51588}" type="presOf" srcId="{9204127D-4859-4568-B8A5-10158B94D1BD}" destId="{FF748563-5A5C-4CE7-A2E7-3D714CE761E4}" srcOrd="1" destOrd="0" presId="urn:microsoft.com/office/officeart/2005/8/layout/hierarchy2"/>
    <dgm:cxn modelId="{9846DB7E-B399-4BD9-AE98-1924C92FF0EF}" type="presOf" srcId="{9204127D-4859-4568-B8A5-10158B94D1BD}" destId="{CA997C3B-BED3-43EE-B8BF-3BDBCD76B0EF}" srcOrd="0" destOrd="0" presId="urn:microsoft.com/office/officeart/2005/8/layout/hierarchy2"/>
    <dgm:cxn modelId="{3866BF81-C6DC-4FBF-AB07-1B109B285F3A}" type="presOf" srcId="{07D726F6-C8EF-4A3B-BF0C-FBB0103A16DA}" destId="{95410F55-BE9F-40E4-87F2-ED6AA96AFB92}" srcOrd="0" destOrd="0" presId="urn:microsoft.com/office/officeart/2005/8/layout/hierarchy2"/>
    <dgm:cxn modelId="{0CA0910F-495D-4A5F-A981-D9C220D09723}" type="presOf" srcId="{8F3A9860-5C07-4C49-AD94-1F1E3B0F94D3}" destId="{76CE42EE-14F7-4D3E-AC22-13008CFF2719}" srcOrd="0" destOrd="0" presId="urn:microsoft.com/office/officeart/2005/8/layout/hierarchy2"/>
    <dgm:cxn modelId="{5B0D3F2B-357F-4725-BC20-3DC493CE3A41}" type="presOf" srcId="{014448E7-76BD-4B49-A96E-C7CA04125B44}" destId="{BD0C0E79-2E12-4923-B16F-282273744F1C}" srcOrd="0" destOrd="0" presId="urn:microsoft.com/office/officeart/2005/8/layout/hierarchy2"/>
    <dgm:cxn modelId="{FD5BC391-CFD8-459B-B52D-4EFA5EEC73A8}" type="presOf" srcId="{0A064A1B-4843-46BF-BC83-F4E8157E39D7}" destId="{1B86C2E2-4E18-4327-8F36-C3AD3308D981}" srcOrd="0" destOrd="0" presId="urn:microsoft.com/office/officeart/2005/8/layout/hierarchy2"/>
    <dgm:cxn modelId="{536328AE-BCEF-4945-8633-97B8B2AB8ADA}" type="presOf" srcId="{07D726F6-C8EF-4A3B-BF0C-FBB0103A16DA}" destId="{8CC51022-1216-4E3C-9DD1-6FF75CECB9A3}" srcOrd="1" destOrd="0" presId="urn:microsoft.com/office/officeart/2005/8/layout/hierarchy2"/>
    <dgm:cxn modelId="{604A35D8-6B7B-413A-BE74-F582CD83282F}" type="presOf" srcId="{37C01E70-9A21-435B-A563-1C1F9DC10429}" destId="{79979532-81F3-41DE-8FED-F957AA123B1F}" srcOrd="0" destOrd="0" presId="urn:microsoft.com/office/officeart/2005/8/layout/hierarchy2"/>
    <dgm:cxn modelId="{29469975-FBBD-403C-B617-69CBE9BCEFAF}" type="presOf" srcId="{06FFE081-49D7-4567-9782-270C1D2C1472}" destId="{5DBFC0DD-7FC8-457C-B727-371AE722EE2D}" srcOrd="0" destOrd="0" presId="urn:microsoft.com/office/officeart/2005/8/layout/hierarchy2"/>
    <dgm:cxn modelId="{BCBE0E79-D86C-4FE0-9DDD-69AC192929DE}" type="presOf" srcId="{8F3A9860-5C07-4C49-AD94-1F1E3B0F94D3}" destId="{0E18A55D-657A-4E45-BCF1-EF7DCB9AB1EA}" srcOrd="1" destOrd="0" presId="urn:microsoft.com/office/officeart/2005/8/layout/hierarchy2"/>
    <dgm:cxn modelId="{DFAB17B2-B259-4239-B393-788EA204F8DF}" type="presOf" srcId="{B460E91A-DF63-4EF8-8BB0-98DC4474ABF7}" destId="{92036A4B-C173-4709-9F1F-F804814F972D}" srcOrd="0" destOrd="0" presId="urn:microsoft.com/office/officeart/2005/8/layout/hierarchy2"/>
    <dgm:cxn modelId="{4764AD84-0EC1-40C2-BADB-7ABC094016DD}" srcId="{37C01E70-9A21-435B-A563-1C1F9DC10429}" destId="{B460E91A-DF63-4EF8-8BB0-98DC4474ABF7}" srcOrd="0" destOrd="0" parTransId="{2495E430-9854-448C-832C-5675566F0431}" sibTransId="{927E3CD2-EF90-47FC-980B-C97F2214880A}"/>
    <dgm:cxn modelId="{D0ABD536-934A-469C-891C-2FB6BC2B911E}" type="presOf" srcId="{6FDE696E-A9A1-4FA1-8190-8EE694BE0A30}" destId="{A6447F74-338D-456D-AD36-0CCF954EA0ED}" srcOrd="1" destOrd="0" presId="urn:microsoft.com/office/officeart/2005/8/layout/hierarchy2"/>
    <dgm:cxn modelId="{6A620247-CD05-4A5D-9CC2-619D61245DFE}" srcId="{0A064A1B-4843-46BF-BC83-F4E8157E39D7}" destId="{06FFE081-49D7-4567-9782-270C1D2C1472}" srcOrd="0" destOrd="0" parTransId="{9204127D-4859-4568-B8A5-10158B94D1BD}" sibTransId="{31A7BA16-87EA-4FE4-88EF-76AA2F53758A}"/>
    <dgm:cxn modelId="{EE1139EA-F4B2-4EA5-BAD8-840D8C02E1EC}" srcId="{BA14C1A2-0893-43E6-BF50-1746ACF96162}" destId="{87DBDC64-123C-4AB3-8ED1-A4E697F7A54E}" srcOrd="0" destOrd="0" parTransId="{07D726F6-C8EF-4A3B-BF0C-FBB0103A16DA}" sibTransId="{B1B218D4-34C4-4AAD-AAAD-EB6AD681A1A7}"/>
    <dgm:cxn modelId="{28F027AD-3595-48ED-B145-57131F88F61C}" type="presParOf" srcId="{79979532-81F3-41DE-8FED-F957AA123B1F}" destId="{F53CA659-7DA0-45D0-958A-E0C71733562D}" srcOrd="0" destOrd="0" presId="urn:microsoft.com/office/officeart/2005/8/layout/hierarchy2"/>
    <dgm:cxn modelId="{C4C684AC-7CB8-4F70-AB45-F02AE012D7E0}" type="presParOf" srcId="{F53CA659-7DA0-45D0-958A-E0C71733562D}" destId="{92036A4B-C173-4709-9F1F-F804814F972D}" srcOrd="0" destOrd="0" presId="urn:microsoft.com/office/officeart/2005/8/layout/hierarchy2"/>
    <dgm:cxn modelId="{08F1E8DC-6436-419D-96BC-1B8D8A6EC686}" type="presParOf" srcId="{F53CA659-7DA0-45D0-958A-E0C71733562D}" destId="{D5378D3D-29AF-48E0-88EA-7E20F41CAC1F}" srcOrd="1" destOrd="0" presId="urn:microsoft.com/office/officeart/2005/8/layout/hierarchy2"/>
    <dgm:cxn modelId="{9A7638DA-3143-43E4-85C8-445DB28EBB4A}" type="presParOf" srcId="{D5378D3D-29AF-48E0-88EA-7E20F41CAC1F}" destId="{76CE42EE-14F7-4D3E-AC22-13008CFF2719}" srcOrd="0" destOrd="0" presId="urn:microsoft.com/office/officeart/2005/8/layout/hierarchy2"/>
    <dgm:cxn modelId="{49CC9F5C-CEFA-4FE3-83E9-13D3B9146A8F}" type="presParOf" srcId="{76CE42EE-14F7-4D3E-AC22-13008CFF2719}" destId="{0E18A55D-657A-4E45-BCF1-EF7DCB9AB1EA}" srcOrd="0" destOrd="0" presId="urn:microsoft.com/office/officeart/2005/8/layout/hierarchy2"/>
    <dgm:cxn modelId="{6B2EB6C4-0862-42CF-8C57-F737B12DF8EC}" type="presParOf" srcId="{D5378D3D-29AF-48E0-88EA-7E20F41CAC1F}" destId="{9740C997-72E1-4592-B2A2-A1F60851210E}" srcOrd="1" destOrd="0" presId="urn:microsoft.com/office/officeart/2005/8/layout/hierarchy2"/>
    <dgm:cxn modelId="{B9C30304-E43A-44B7-B9E5-CBB13FD2A44C}" type="presParOf" srcId="{9740C997-72E1-4592-B2A2-A1F60851210E}" destId="{D985B062-7E19-4468-92F4-392745CCCEC0}" srcOrd="0" destOrd="0" presId="urn:microsoft.com/office/officeart/2005/8/layout/hierarchy2"/>
    <dgm:cxn modelId="{BDF9FDEA-2E30-44A6-A546-1B454DEBECD6}" type="presParOf" srcId="{9740C997-72E1-4592-B2A2-A1F60851210E}" destId="{96E1746E-3428-4CB2-95C8-EDE5DF45BD3C}" srcOrd="1" destOrd="0" presId="urn:microsoft.com/office/officeart/2005/8/layout/hierarchy2"/>
    <dgm:cxn modelId="{CD7555DD-EC61-4AD0-B693-8DE59BC7D842}" type="presParOf" srcId="{96E1746E-3428-4CB2-95C8-EDE5DF45BD3C}" destId="{95410F55-BE9F-40E4-87F2-ED6AA96AFB92}" srcOrd="0" destOrd="0" presId="urn:microsoft.com/office/officeart/2005/8/layout/hierarchy2"/>
    <dgm:cxn modelId="{97EDB55E-02AB-47C1-ABB4-7F8E1B2ABFDA}" type="presParOf" srcId="{95410F55-BE9F-40E4-87F2-ED6AA96AFB92}" destId="{8CC51022-1216-4E3C-9DD1-6FF75CECB9A3}" srcOrd="0" destOrd="0" presId="urn:microsoft.com/office/officeart/2005/8/layout/hierarchy2"/>
    <dgm:cxn modelId="{816E203A-6F2C-4991-99E5-1ED1359C2C4B}" type="presParOf" srcId="{96E1746E-3428-4CB2-95C8-EDE5DF45BD3C}" destId="{DCF14F8D-98EC-493E-931C-EC284B794FC0}" srcOrd="1" destOrd="0" presId="urn:microsoft.com/office/officeart/2005/8/layout/hierarchy2"/>
    <dgm:cxn modelId="{8DA6129A-FBD3-4923-9388-B27A5576895E}" type="presParOf" srcId="{DCF14F8D-98EC-493E-931C-EC284B794FC0}" destId="{39B84C24-C44F-4546-8DF5-447404AC3DC9}" srcOrd="0" destOrd="0" presId="urn:microsoft.com/office/officeart/2005/8/layout/hierarchy2"/>
    <dgm:cxn modelId="{6E589B93-F2E4-4F35-92C0-7886ACA1E5EB}" type="presParOf" srcId="{DCF14F8D-98EC-493E-931C-EC284B794FC0}" destId="{033A9B18-E2DD-4DDA-B2DF-1CF5327C0B95}" srcOrd="1" destOrd="0" presId="urn:microsoft.com/office/officeart/2005/8/layout/hierarchy2"/>
    <dgm:cxn modelId="{2FFA6839-2083-4688-8AA6-C7E6C24733AB}" type="presParOf" srcId="{96E1746E-3428-4CB2-95C8-EDE5DF45BD3C}" destId="{B2203B1E-6E18-497E-9303-E4F68408F5DD}" srcOrd="2" destOrd="0" presId="urn:microsoft.com/office/officeart/2005/8/layout/hierarchy2"/>
    <dgm:cxn modelId="{7797AF83-2004-44B0-8893-42B79C1B0AD5}" type="presParOf" srcId="{B2203B1E-6E18-497E-9303-E4F68408F5DD}" destId="{15D49224-D6BB-4BCB-84A8-674112FABD1C}" srcOrd="0" destOrd="0" presId="urn:microsoft.com/office/officeart/2005/8/layout/hierarchy2"/>
    <dgm:cxn modelId="{FA1A9CAC-3FEA-4C84-B78B-013C4D47C5AD}" type="presParOf" srcId="{96E1746E-3428-4CB2-95C8-EDE5DF45BD3C}" destId="{7CE25DDD-F178-46B2-AFE7-9EEEB28AE75B}" srcOrd="3" destOrd="0" presId="urn:microsoft.com/office/officeart/2005/8/layout/hierarchy2"/>
    <dgm:cxn modelId="{626177C3-1203-4B88-8A32-9AAA589522F4}" type="presParOf" srcId="{7CE25DDD-F178-46B2-AFE7-9EEEB28AE75B}" destId="{CAB803E6-235F-4206-8F2D-830CA4373383}" srcOrd="0" destOrd="0" presId="urn:microsoft.com/office/officeart/2005/8/layout/hierarchy2"/>
    <dgm:cxn modelId="{B7B86043-F787-4E45-BBC1-3AE3DD568614}" type="presParOf" srcId="{7CE25DDD-F178-46B2-AFE7-9EEEB28AE75B}" destId="{650FDAC0-9D91-4C80-8F85-7769A8084601}" srcOrd="1" destOrd="0" presId="urn:microsoft.com/office/officeart/2005/8/layout/hierarchy2"/>
    <dgm:cxn modelId="{8A246D4E-D91C-479A-BF3B-F800A691E6E8}" type="presParOf" srcId="{D5378D3D-29AF-48E0-88EA-7E20F41CAC1F}" destId="{BD0C0E79-2E12-4923-B16F-282273744F1C}" srcOrd="2" destOrd="0" presId="urn:microsoft.com/office/officeart/2005/8/layout/hierarchy2"/>
    <dgm:cxn modelId="{568B9208-5CBE-4948-B6D1-90F774143798}" type="presParOf" srcId="{BD0C0E79-2E12-4923-B16F-282273744F1C}" destId="{A0902BE2-30CB-44EA-BCC0-D63933BBEFCF}" srcOrd="0" destOrd="0" presId="urn:microsoft.com/office/officeart/2005/8/layout/hierarchy2"/>
    <dgm:cxn modelId="{E303F975-2DF6-4783-B624-B1DBCF5509F0}" type="presParOf" srcId="{D5378D3D-29AF-48E0-88EA-7E20F41CAC1F}" destId="{5E4D9EE2-286C-42E3-9E83-108DAE2560A1}" srcOrd="3" destOrd="0" presId="urn:microsoft.com/office/officeart/2005/8/layout/hierarchy2"/>
    <dgm:cxn modelId="{DB606228-CF80-499D-A1F0-E7BBB60E1BA8}" type="presParOf" srcId="{5E4D9EE2-286C-42E3-9E83-108DAE2560A1}" destId="{1B86C2E2-4E18-4327-8F36-C3AD3308D981}" srcOrd="0" destOrd="0" presId="urn:microsoft.com/office/officeart/2005/8/layout/hierarchy2"/>
    <dgm:cxn modelId="{065B5D43-DD24-469D-AFA5-D7D866714AB2}" type="presParOf" srcId="{5E4D9EE2-286C-42E3-9E83-108DAE2560A1}" destId="{88F01934-365E-44F5-9AF6-1B935DD94982}" srcOrd="1" destOrd="0" presId="urn:microsoft.com/office/officeart/2005/8/layout/hierarchy2"/>
    <dgm:cxn modelId="{CB4A7E19-5960-4BD8-9DF9-8F95E5E85D2E}" type="presParOf" srcId="{88F01934-365E-44F5-9AF6-1B935DD94982}" destId="{CA997C3B-BED3-43EE-B8BF-3BDBCD76B0EF}" srcOrd="0" destOrd="0" presId="urn:microsoft.com/office/officeart/2005/8/layout/hierarchy2"/>
    <dgm:cxn modelId="{EEFD25D1-5F1C-4F57-A79E-FC4C27394380}" type="presParOf" srcId="{CA997C3B-BED3-43EE-B8BF-3BDBCD76B0EF}" destId="{FF748563-5A5C-4CE7-A2E7-3D714CE761E4}" srcOrd="0" destOrd="0" presId="urn:microsoft.com/office/officeart/2005/8/layout/hierarchy2"/>
    <dgm:cxn modelId="{4F22C141-2A36-49A4-8B54-737155D0B4FB}" type="presParOf" srcId="{88F01934-365E-44F5-9AF6-1B935DD94982}" destId="{54AA43B8-F4D4-4E9B-90CB-AAB68120B77C}" srcOrd="1" destOrd="0" presId="urn:microsoft.com/office/officeart/2005/8/layout/hierarchy2"/>
    <dgm:cxn modelId="{8BDCE119-7FAF-47A4-AB83-3DC349B69D17}" type="presParOf" srcId="{54AA43B8-F4D4-4E9B-90CB-AAB68120B77C}" destId="{5DBFC0DD-7FC8-457C-B727-371AE722EE2D}" srcOrd="0" destOrd="0" presId="urn:microsoft.com/office/officeart/2005/8/layout/hierarchy2"/>
    <dgm:cxn modelId="{2B9579B7-6504-468B-A691-A3B9A8120A1B}" type="presParOf" srcId="{54AA43B8-F4D4-4E9B-90CB-AAB68120B77C}" destId="{0296B686-B8EC-46CE-A0EF-4B92A3C35FCE}" srcOrd="1" destOrd="0" presId="urn:microsoft.com/office/officeart/2005/8/layout/hierarchy2"/>
    <dgm:cxn modelId="{FE392ABB-EDFD-4899-80EE-FDA44E3C06D1}" type="presParOf" srcId="{88F01934-365E-44F5-9AF6-1B935DD94982}" destId="{0E5DF93C-AEBC-46F9-BA5C-E4CCEFADFD89}" srcOrd="2" destOrd="0" presId="urn:microsoft.com/office/officeart/2005/8/layout/hierarchy2"/>
    <dgm:cxn modelId="{BA43C74A-CDF0-4558-8A79-E4473E0E7C9F}" type="presParOf" srcId="{0E5DF93C-AEBC-46F9-BA5C-E4CCEFADFD89}" destId="{A6447F74-338D-456D-AD36-0CCF954EA0ED}" srcOrd="0" destOrd="0" presId="urn:microsoft.com/office/officeart/2005/8/layout/hierarchy2"/>
    <dgm:cxn modelId="{C264AFA1-8086-453E-9EAC-620D22F1BC8C}" type="presParOf" srcId="{88F01934-365E-44F5-9AF6-1B935DD94982}" destId="{3560C6CE-B13A-466E-832C-44B2F5CC0EAC}" srcOrd="3" destOrd="0" presId="urn:microsoft.com/office/officeart/2005/8/layout/hierarchy2"/>
    <dgm:cxn modelId="{A880A885-5D8F-4F3E-BD23-4D6868C8836D}" type="presParOf" srcId="{3560C6CE-B13A-466E-832C-44B2F5CC0EAC}" destId="{6389398C-53B1-4F91-865D-479D66222BF0}" srcOrd="0" destOrd="0" presId="urn:microsoft.com/office/officeart/2005/8/layout/hierarchy2"/>
    <dgm:cxn modelId="{776248B5-4FF6-4CE6-BAD2-5E5BA552A7F8}" type="presParOf" srcId="{3560C6CE-B13A-466E-832C-44B2F5CC0EAC}" destId="{C0F81C84-40C0-4992-A94C-C3A21FC56459}" srcOrd="1" destOrd="0" presId="urn:microsoft.com/office/officeart/2005/8/layout/hierarchy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91D601B8-CF1A-48DC-AC7F-B31909B1982F}" type="doc">
      <dgm:prSet loTypeId="urn:microsoft.com/office/officeart/2005/8/layout/lProcess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58F5AD9E-AE15-465B-A0E2-B197FC2E275D}">
      <dgm:prSet phldrT="[Texto]"/>
      <dgm:spPr/>
      <dgm:t>
        <a:bodyPr/>
        <a:lstStyle/>
        <a:p>
          <a:r>
            <a:rPr lang="pt-BR" dirty="0" smtClean="0"/>
            <a:t>Escolha das Metas</a:t>
          </a:r>
          <a:endParaRPr lang="pt-BR" dirty="0"/>
        </a:p>
      </dgm:t>
    </dgm:pt>
    <dgm:pt modelId="{F583D39B-0E08-406B-A495-7D1F5324662C}" type="parTrans" cxnId="{EA9355B4-4496-498F-AD12-CAAAB03DA6DB}">
      <dgm:prSet/>
      <dgm:spPr/>
      <dgm:t>
        <a:bodyPr/>
        <a:lstStyle/>
        <a:p>
          <a:endParaRPr lang="pt-BR"/>
        </a:p>
      </dgm:t>
    </dgm:pt>
    <dgm:pt modelId="{24478746-B2A5-4E98-B873-4B9C2CDCC71C}" type="sibTrans" cxnId="{EA9355B4-4496-498F-AD12-CAAAB03DA6DB}">
      <dgm:prSet/>
      <dgm:spPr/>
      <dgm:t>
        <a:bodyPr/>
        <a:lstStyle/>
        <a:p>
          <a:endParaRPr lang="pt-BR"/>
        </a:p>
      </dgm:t>
    </dgm:pt>
    <dgm:pt modelId="{055B3CC3-3979-4A02-B4DD-BC20B26A0996}">
      <dgm:prSet phldrT="[Texto]"/>
      <dgm:spPr/>
      <dgm:t>
        <a:bodyPr/>
        <a:lstStyle/>
        <a:p>
          <a:r>
            <a:rPr lang="pt-BR" dirty="0" smtClean="0"/>
            <a:t>Alinhamento Estratégia x Tática</a:t>
          </a:r>
          <a:endParaRPr lang="pt-BR" dirty="0"/>
        </a:p>
      </dgm:t>
    </dgm:pt>
    <dgm:pt modelId="{B25901BA-3C00-42FA-A8A5-0F50EDFDB7C2}" type="parTrans" cxnId="{458AD158-0E93-44C4-9FD3-74834C9DFF40}">
      <dgm:prSet/>
      <dgm:spPr/>
      <dgm:t>
        <a:bodyPr/>
        <a:lstStyle/>
        <a:p>
          <a:endParaRPr lang="pt-BR"/>
        </a:p>
      </dgm:t>
    </dgm:pt>
    <dgm:pt modelId="{27A0F53A-6B00-49E8-8147-AECBD1C79F1A}" type="sibTrans" cxnId="{458AD158-0E93-44C4-9FD3-74834C9DFF40}">
      <dgm:prSet/>
      <dgm:spPr/>
      <dgm:t>
        <a:bodyPr/>
        <a:lstStyle/>
        <a:p>
          <a:endParaRPr lang="pt-BR"/>
        </a:p>
      </dgm:t>
    </dgm:pt>
    <dgm:pt modelId="{7DB31D74-6569-4688-94AB-E2483BDBA251}">
      <dgm:prSet phldrT="[Texto]"/>
      <dgm:spPr/>
      <dgm:t>
        <a:bodyPr/>
        <a:lstStyle/>
        <a:p>
          <a:r>
            <a:rPr lang="pt-BR" dirty="0" smtClean="0"/>
            <a:t>Critérios de Priorização</a:t>
          </a:r>
          <a:endParaRPr lang="pt-BR" dirty="0"/>
        </a:p>
      </dgm:t>
    </dgm:pt>
    <dgm:pt modelId="{6CFF93CD-0D50-43CE-A7A6-96FDB9A6984C}" type="parTrans" cxnId="{D4610389-654E-4417-9165-29FB5A72BF2B}">
      <dgm:prSet/>
      <dgm:spPr/>
      <dgm:t>
        <a:bodyPr/>
        <a:lstStyle/>
        <a:p>
          <a:endParaRPr lang="pt-BR"/>
        </a:p>
      </dgm:t>
    </dgm:pt>
    <dgm:pt modelId="{981C5E86-A5B5-406D-8572-35E826BB13B9}" type="sibTrans" cxnId="{D4610389-654E-4417-9165-29FB5A72BF2B}">
      <dgm:prSet/>
      <dgm:spPr/>
      <dgm:t>
        <a:bodyPr/>
        <a:lstStyle/>
        <a:p>
          <a:endParaRPr lang="pt-BR"/>
        </a:p>
      </dgm:t>
    </dgm:pt>
    <dgm:pt modelId="{5132C7C8-58CD-4581-8B1F-A1D4628C7929}">
      <dgm:prSet phldrT="[Texto]"/>
      <dgm:spPr/>
      <dgm:t>
        <a:bodyPr/>
        <a:lstStyle/>
        <a:p>
          <a:r>
            <a:rPr lang="pt-BR" dirty="0" smtClean="0"/>
            <a:t>Definição de Papéis</a:t>
          </a:r>
          <a:endParaRPr lang="pt-BR" dirty="0"/>
        </a:p>
      </dgm:t>
    </dgm:pt>
    <dgm:pt modelId="{13CEB08D-A45C-47D7-A9F1-49249C774DD2}" type="parTrans" cxnId="{FFC2E85D-3FD1-4133-8FC3-BEF522F1E7C4}">
      <dgm:prSet/>
      <dgm:spPr/>
      <dgm:t>
        <a:bodyPr/>
        <a:lstStyle/>
        <a:p>
          <a:endParaRPr lang="pt-BR"/>
        </a:p>
      </dgm:t>
    </dgm:pt>
    <dgm:pt modelId="{7749999C-A5FC-4639-B15C-2F80CD4A289C}" type="sibTrans" cxnId="{FFC2E85D-3FD1-4133-8FC3-BEF522F1E7C4}">
      <dgm:prSet/>
      <dgm:spPr/>
      <dgm:t>
        <a:bodyPr/>
        <a:lstStyle/>
        <a:p>
          <a:endParaRPr lang="pt-BR"/>
        </a:p>
      </dgm:t>
    </dgm:pt>
    <dgm:pt modelId="{DF6DF792-8DB1-4619-B781-295CCD7D4ABC}">
      <dgm:prSet phldrT="[Texto]"/>
      <dgm:spPr/>
      <dgm:t>
        <a:bodyPr/>
        <a:lstStyle/>
        <a:p>
          <a:r>
            <a:rPr lang="pt-BR" dirty="0" err="1" smtClean="0"/>
            <a:t>Consad</a:t>
          </a:r>
          <a:r>
            <a:rPr lang="pt-BR" dirty="0" smtClean="0"/>
            <a:t>: Acompanhamento</a:t>
          </a:r>
          <a:endParaRPr lang="pt-BR" dirty="0"/>
        </a:p>
      </dgm:t>
    </dgm:pt>
    <dgm:pt modelId="{F37BA32E-1388-4FC7-9B58-C6AD11EE827F}" type="parTrans" cxnId="{8187B337-A97C-4647-A521-78C83B520127}">
      <dgm:prSet/>
      <dgm:spPr/>
      <dgm:t>
        <a:bodyPr/>
        <a:lstStyle/>
        <a:p>
          <a:endParaRPr lang="pt-BR"/>
        </a:p>
      </dgm:t>
    </dgm:pt>
    <dgm:pt modelId="{DF127A40-6D0A-48D6-98D8-5601546BE613}" type="sibTrans" cxnId="{8187B337-A97C-4647-A521-78C83B520127}">
      <dgm:prSet/>
      <dgm:spPr/>
      <dgm:t>
        <a:bodyPr/>
        <a:lstStyle/>
        <a:p>
          <a:endParaRPr lang="pt-BR"/>
        </a:p>
      </dgm:t>
    </dgm:pt>
    <dgm:pt modelId="{5E274D17-0EBD-4853-9566-8114DF347426}">
      <dgm:prSet phldrT="[Texto]"/>
      <dgm:spPr/>
      <dgm:t>
        <a:bodyPr/>
        <a:lstStyle/>
        <a:p>
          <a:r>
            <a:rPr lang="pt-BR" dirty="0" err="1" smtClean="0"/>
            <a:t>Confis</a:t>
          </a:r>
          <a:r>
            <a:rPr lang="pt-BR" dirty="0" smtClean="0"/>
            <a:t>: Fiscalização e Manifestação acerca dos resultados</a:t>
          </a:r>
          <a:endParaRPr lang="pt-BR" dirty="0"/>
        </a:p>
      </dgm:t>
    </dgm:pt>
    <dgm:pt modelId="{94EE92E5-8E7B-4B37-90F5-FE488BDD1E25}" type="parTrans" cxnId="{7D682ECB-2B2D-4BE4-A638-3A5C88BB70B1}">
      <dgm:prSet/>
      <dgm:spPr/>
      <dgm:t>
        <a:bodyPr/>
        <a:lstStyle/>
        <a:p>
          <a:endParaRPr lang="pt-BR"/>
        </a:p>
      </dgm:t>
    </dgm:pt>
    <dgm:pt modelId="{0079457A-0C79-43F3-8CB5-A7DBF1FA5972}" type="sibTrans" cxnId="{7D682ECB-2B2D-4BE4-A638-3A5C88BB70B1}">
      <dgm:prSet/>
      <dgm:spPr/>
      <dgm:t>
        <a:bodyPr/>
        <a:lstStyle/>
        <a:p>
          <a:endParaRPr lang="pt-BR"/>
        </a:p>
      </dgm:t>
    </dgm:pt>
    <dgm:pt modelId="{CBECEAB1-800B-4ADC-B0F3-018E2E7534D0}">
      <dgm:prSet phldrT="[Texto]"/>
      <dgm:spPr/>
      <dgm:t>
        <a:bodyPr/>
        <a:lstStyle/>
        <a:p>
          <a:r>
            <a:rPr lang="pt-BR" dirty="0" smtClean="0"/>
            <a:t>Monitoramento e Avaliação</a:t>
          </a:r>
          <a:endParaRPr lang="pt-BR" dirty="0"/>
        </a:p>
      </dgm:t>
    </dgm:pt>
    <dgm:pt modelId="{19B9B319-3931-499B-8ED2-DE946B7A01D8}" type="parTrans" cxnId="{2566060A-0B32-4D50-A6F2-005EBDCDA746}">
      <dgm:prSet/>
      <dgm:spPr/>
      <dgm:t>
        <a:bodyPr/>
        <a:lstStyle/>
        <a:p>
          <a:endParaRPr lang="pt-BR"/>
        </a:p>
      </dgm:t>
    </dgm:pt>
    <dgm:pt modelId="{9E3055A8-786D-4858-9C23-A75C19FA491D}" type="sibTrans" cxnId="{2566060A-0B32-4D50-A6F2-005EBDCDA746}">
      <dgm:prSet/>
      <dgm:spPr/>
      <dgm:t>
        <a:bodyPr/>
        <a:lstStyle/>
        <a:p>
          <a:endParaRPr lang="pt-BR"/>
        </a:p>
      </dgm:t>
    </dgm:pt>
    <dgm:pt modelId="{141DC4FA-A232-4239-BFCA-E96393425D2C}">
      <dgm:prSet phldrT="[Texto]"/>
      <dgm:spPr/>
      <dgm:t>
        <a:bodyPr/>
        <a:lstStyle/>
        <a:p>
          <a:r>
            <a:rPr lang="pt-BR" dirty="0" smtClean="0"/>
            <a:t>Maior integração SNP x Docas</a:t>
          </a:r>
          <a:endParaRPr lang="pt-BR" dirty="0"/>
        </a:p>
      </dgm:t>
    </dgm:pt>
    <dgm:pt modelId="{7E4927A2-6BE8-4CF6-9170-53D42D8D568E}" type="parTrans" cxnId="{EF70C8A8-1911-47F9-B3CC-CD0231118A42}">
      <dgm:prSet/>
      <dgm:spPr/>
      <dgm:t>
        <a:bodyPr/>
        <a:lstStyle/>
        <a:p>
          <a:endParaRPr lang="pt-BR"/>
        </a:p>
      </dgm:t>
    </dgm:pt>
    <dgm:pt modelId="{6D6C8C9D-2EFA-410E-8AAD-2FFB6826B26F}" type="sibTrans" cxnId="{EF70C8A8-1911-47F9-B3CC-CD0231118A42}">
      <dgm:prSet/>
      <dgm:spPr/>
      <dgm:t>
        <a:bodyPr/>
        <a:lstStyle/>
        <a:p>
          <a:endParaRPr lang="pt-BR"/>
        </a:p>
      </dgm:t>
    </dgm:pt>
    <dgm:pt modelId="{0678CAD5-E179-49E0-9915-6A89562051B9}">
      <dgm:prSet phldrT="[Texto]"/>
      <dgm:spPr/>
      <dgm:t>
        <a:bodyPr/>
        <a:lstStyle/>
        <a:p>
          <a:r>
            <a:rPr lang="pt-BR" dirty="0" smtClean="0"/>
            <a:t>Convergência de Objetivos</a:t>
          </a:r>
          <a:endParaRPr lang="pt-BR" dirty="0"/>
        </a:p>
      </dgm:t>
    </dgm:pt>
    <dgm:pt modelId="{6A30C30E-0FF4-47DE-9B67-F19DD115416F}" type="parTrans" cxnId="{AAEA88AD-F342-4EC1-A74E-7C69E7C15EE2}">
      <dgm:prSet/>
      <dgm:spPr/>
      <dgm:t>
        <a:bodyPr/>
        <a:lstStyle/>
        <a:p>
          <a:endParaRPr lang="pt-BR"/>
        </a:p>
      </dgm:t>
    </dgm:pt>
    <dgm:pt modelId="{4B95571E-0D52-4FE2-BE08-D847384CD819}" type="sibTrans" cxnId="{AAEA88AD-F342-4EC1-A74E-7C69E7C15EE2}">
      <dgm:prSet/>
      <dgm:spPr/>
      <dgm:t>
        <a:bodyPr/>
        <a:lstStyle/>
        <a:p>
          <a:endParaRPr lang="pt-BR"/>
        </a:p>
      </dgm:t>
    </dgm:pt>
    <dgm:pt modelId="{C892AC62-E490-4760-9385-F8A2F2A28D70}" type="pres">
      <dgm:prSet presAssocID="{91D601B8-CF1A-48DC-AC7F-B31909B1982F}" presName="theList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0A5E8930-899E-4F2C-8563-420509BB5D03}" type="pres">
      <dgm:prSet presAssocID="{58F5AD9E-AE15-465B-A0E2-B197FC2E275D}" presName="compNode" presStyleCnt="0"/>
      <dgm:spPr/>
    </dgm:pt>
    <dgm:pt modelId="{EFD384D0-655A-41D8-AAF3-1A6E7CF9C5A1}" type="pres">
      <dgm:prSet presAssocID="{58F5AD9E-AE15-465B-A0E2-B197FC2E275D}" presName="aNode" presStyleLbl="bgShp" presStyleIdx="0" presStyleCnt="3"/>
      <dgm:spPr/>
      <dgm:t>
        <a:bodyPr/>
        <a:lstStyle/>
        <a:p>
          <a:endParaRPr lang="pt-BR"/>
        </a:p>
      </dgm:t>
    </dgm:pt>
    <dgm:pt modelId="{8E745A55-F4F9-4AF2-A6A9-C35C3B7C4CDE}" type="pres">
      <dgm:prSet presAssocID="{58F5AD9E-AE15-465B-A0E2-B197FC2E275D}" presName="textNode" presStyleLbl="bgShp" presStyleIdx="0" presStyleCnt="3"/>
      <dgm:spPr/>
      <dgm:t>
        <a:bodyPr/>
        <a:lstStyle/>
        <a:p>
          <a:endParaRPr lang="pt-BR"/>
        </a:p>
      </dgm:t>
    </dgm:pt>
    <dgm:pt modelId="{DEF36155-9893-4F6A-9119-7EC4FB99E841}" type="pres">
      <dgm:prSet presAssocID="{58F5AD9E-AE15-465B-A0E2-B197FC2E275D}" presName="compChildNode" presStyleCnt="0"/>
      <dgm:spPr/>
    </dgm:pt>
    <dgm:pt modelId="{2C33A298-E041-4BC9-9449-CAAAD25C9178}" type="pres">
      <dgm:prSet presAssocID="{58F5AD9E-AE15-465B-A0E2-B197FC2E275D}" presName="theInnerList" presStyleCnt="0"/>
      <dgm:spPr/>
    </dgm:pt>
    <dgm:pt modelId="{5A3259C3-9617-4607-8417-592A85D91ED5}" type="pres">
      <dgm:prSet presAssocID="{055B3CC3-3979-4A02-B4DD-BC20B26A0996}" presName="childNode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14EC6144-A0D8-4170-8D35-A82CB9D37F16}" type="pres">
      <dgm:prSet presAssocID="{055B3CC3-3979-4A02-B4DD-BC20B26A0996}" presName="aSpace2" presStyleCnt="0"/>
      <dgm:spPr/>
    </dgm:pt>
    <dgm:pt modelId="{60ACECD7-87E4-4843-A2A6-52333D53DACD}" type="pres">
      <dgm:prSet presAssocID="{7DB31D74-6569-4688-94AB-E2483BDBA251}" presName="childNode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61DAD37A-964B-4109-AAAD-6248C10813B2}" type="pres">
      <dgm:prSet presAssocID="{58F5AD9E-AE15-465B-A0E2-B197FC2E275D}" presName="aSpace" presStyleCnt="0"/>
      <dgm:spPr/>
    </dgm:pt>
    <dgm:pt modelId="{2973BCD5-316B-474F-88D7-CA28B6EED458}" type="pres">
      <dgm:prSet presAssocID="{5132C7C8-58CD-4581-8B1F-A1D4628C7929}" presName="compNode" presStyleCnt="0"/>
      <dgm:spPr/>
    </dgm:pt>
    <dgm:pt modelId="{EE2DE999-7F88-4481-8663-7D4723F5F7B2}" type="pres">
      <dgm:prSet presAssocID="{5132C7C8-58CD-4581-8B1F-A1D4628C7929}" presName="aNode" presStyleLbl="bgShp" presStyleIdx="1" presStyleCnt="3"/>
      <dgm:spPr/>
      <dgm:t>
        <a:bodyPr/>
        <a:lstStyle/>
        <a:p>
          <a:endParaRPr lang="pt-BR"/>
        </a:p>
      </dgm:t>
    </dgm:pt>
    <dgm:pt modelId="{4D45418D-DE68-4146-9E65-9B595890168A}" type="pres">
      <dgm:prSet presAssocID="{5132C7C8-58CD-4581-8B1F-A1D4628C7929}" presName="textNode" presStyleLbl="bgShp" presStyleIdx="1" presStyleCnt="3"/>
      <dgm:spPr/>
      <dgm:t>
        <a:bodyPr/>
        <a:lstStyle/>
        <a:p>
          <a:endParaRPr lang="pt-BR"/>
        </a:p>
      </dgm:t>
    </dgm:pt>
    <dgm:pt modelId="{11792569-052B-445A-93A9-8EB811CE4B97}" type="pres">
      <dgm:prSet presAssocID="{5132C7C8-58CD-4581-8B1F-A1D4628C7929}" presName="compChildNode" presStyleCnt="0"/>
      <dgm:spPr/>
    </dgm:pt>
    <dgm:pt modelId="{A801E635-B21F-49B1-8557-04B193F50A84}" type="pres">
      <dgm:prSet presAssocID="{5132C7C8-58CD-4581-8B1F-A1D4628C7929}" presName="theInnerList" presStyleCnt="0"/>
      <dgm:spPr/>
    </dgm:pt>
    <dgm:pt modelId="{F45798E1-2641-4CCF-9672-8922BCD58759}" type="pres">
      <dgm:prSet presAssocID="{DF6DF792-8DB1-4619-B781-295CCD7D4ABC}" presName="childNode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C6912D3F-2AE4-42A4-A055-640DDDFA22CC}" type="pres">
      <dgm:prSet presAssocID="{DF6DF792-8DB1-4619-B781-295CCD7D4ABC}" presName="aSpace2" presStyleCnt="0"/>
      <dgm:spPr/>
    </dgm:pt>
    <dgm:pt modelId="{8D1610CE-B5EF-401E-A248-DBED0A1EF0E8}" type="pres">
      <dgm:prSet presAssocID="{5E274D17-0EBD-4853-9566-8114DF347426}" presName="childNode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8425F731-2C86-4FC3-BA02-1B7C979555BB}" type="pres">
      <dgm:prSet presAssocID="{5132C7C8-58CD-4581-8B1F-A1D4628C7929}" presName="aSpace" presStyleCnt="0"/>
      <dgm:spPr/>
    </dgm:pt>
    <dgm:pt modelId="{3568CCDC-E030-46B6-B535-512B10D43E6F}" type="pres">
      <dgm:prSet presAssocID="{CBECEAB1-800B-4ADC-B0F3-018E2E7534D0}" presName="compNode" presStyleCnt="0"/>
      <dgm:spPr/>
    </dgm:pt>
    <dgm:pt modelId="{8B877B22-CD64-47BE-966F-F7FE070FAE0E}" type="pres">
      <dgm:prSet presAssocID="{CBECEAB1-800B-4ADC-B0F3-018E2E7534D0}" presName="aNode" presStyleLbl="bgShp" presStyleIdx="2" presStyleCnt="3"/>
      <dgm:spPr/>
      <dgm:t>
        <a:bodyPr/>
        <a:lstStyle/>
        <a:p>
          <a:endParaRPr lang="pt-BR"/>
        </a:p>
      </dgm:t>
    </dgm:pt>
    <dgm:pt modelId="{A8FCBFE4-E2AC-46EF-AFA3-FE0708667EB3}" type="pres">
      <dgm:prSet presAssocID="{CBECEAB1-800B-4ADC-B0F3-018E2E7534D0}" presName="textNode" presStyleLbl="bgShp" presStyleIdx="2" presStyleCnt="3"/>
      <dgm:spPr/>
      <dgm:t>
        <a:bodyPr/>
        <a:lstStyle/>
        <a:p>
          <a:endParaRPr lang="pt-BR"/>
        </a:p>
      </dgm:t>
    </dgm:pt>
    <dgm:pt modelId="{AE98F80D-9FE0-456D-828A-034E7127744F}" type="pres">
      <dgm:prSet presAssocID="{CBECEAB1-800B-4ADC-B0F3-018E2E7534D0}" presName="compChildNode" presStyleCnt="0"/>
      <dgm:spPr/>
    </dgm:pt>
    <dgm:pt modelId="{0788AD81-8B19-4E29-8A34-85639EBEE2A1}" type="pres">
      <dgm:prSet presAssocID="{CBECEAB1-800B-4ADC-B0F3-018E2E7534D0}" presName="theInnerList" presStyleCnt="0"/>
      <dgm:spPr/>
    </dgm:pt>
    <dgm:pt modelId="{DEDEF8CC-C23A-4AEF-B846-1E17F80B3E90}" type="pres">
      <dgm:prSet presAssocID="{141DC4FA-A232-4239-BFCA-E96393425D2C}" presName="childNode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C426D4AC-EBDE-4FB9-BA4F-7D1E6F8C575B}" type="pres">
      <dgm:prSet presAssocID="{141DC4FA-A232-4239-BFCA-E96393425D2C}" presName="aSpace2" presStyleCnt="0"/>
      <dgm:spPr/>
    </dgm:pt>
    <dgm:pt modelId="{5C49973C-BC25-4099-86E6-B5F898506219}" type="pres">
      <dgm:prSet presAssocID="{0678CAD5-E179-49E0-9915-6A89562051B9}" presName="childNode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3D9FEB50-53AB-469A-B477-E577892040A6}" type="presOf" srcId="{055B3CC3-3979-4A02-B4DD-BC20B26A0996}" destId="{5A3259C3-9617-4607-8417-592A85D91ED5}" srcOrd="0" destOrd="0" presId="urn:microsoft.com/office/officeart/2005/8/layout/lProcess2"/>
    <dgm:cxn modelId="{681FFFEB-63A3-4A5B-BCCB-3F8CBF170379}" type="presOf" srcId="{DF6DF792-8DB1-4619-B781-295CCD7D4ABC}" destId="{F45798E1-2641-4CCF-9672-8922BCD58759}" srcOrd="0" destOrd="0" presId="urn:microsoft.com/office/officeart/2005/8/layout/lProcess2"/>
    <dgm:cxn modelId="{9C8B7B9D-1291-4416-98F8-B32EFFD1B87D}" type="presOf" srcId="{5E274D17-0EBD-4853-9566-8114DF347426}" destId="{8D1610CE-B5EF-401E-A248-DBED0A1EF0E8}" srcOrd="0" destOrd="0" presId="urn:microsoft.com/office/officeart/2005/8/layout/lProcess2"/>
    <dgm:cxn modelId="{43A27761-2026-45EE-856C-A667D6085765}" type="presOf" srcId="{5132C7C8-58CD-4581-8B1F-A1D4628C7929}" destId="{4D45418D-DE68-4146-9E65-9B595890168A}" srcOrd="1" destOrd="0" presId="urn:microsoft.com/office/officeart/2005/8/layout/lProcess2"/>
    <dgm:cxn modelId="{458AD158-0E93-44C4-9FD3-74834C9DFF40}" srcId="{58F5AD9E-AE15-465B-A0E2-B197FC2E275D}" destId="{055B3CC3-3979-4A02-B4DD-BC20B26A0996}" srcOrd="0" destOrd="0" parTransId="{B25901BA-3C00-42FA-A8A5-0F50EDFDB7C2}" sibTransId="{27A0F53A-6B00-49E8-8147-AECBD1C79F1A}"/>
    <dgm:cxn modelId="{D4610389-654E-4417-9165-29FB5A72BF2B}" srcId="{58F5AD9E-AE15-465B-A0E2-B197FC2E275D}" destId="{7DB31D74-6569-4688-94AB-E2483BDBA251}" srcOrd="1" destOrd="0" parTransId="{6CFF93CD-0D50-43CE-A7A6-96FDB9A6984C}" sibTransId="{981C5E86-A5B5-406D-8572-35E826BB13B9}"/>
    <dgm:cxn modelId="{413C59FA-2F1B-4394-B833-2736A930A58B}" type="presOf" srcId="{CBECEAB1-800B-4ADC-B0F3-018E2E7534D0}" destId="{A8FCBFE4-E2AC-46EF-AFA3-FE0708667EB3}" srcOrd="1" destOrd="0" presId="urn:microsoft.com/office/officeart/2005/8/layout/lProcess2"/>
    <dgm:cxn modelId="{5304B18E-1334-44DD-BA71-90F62F0666B3}" type="presOf" srcId="{5132C7C8-58CD-4581-8B1F-A1D4628C7929}" destId="{EE2DE999-7F88-4481-8663-7D4723F5F7B2}" srcOrd="0" destOrd="0" presId="urn:microsoft.com/office/officeart/2005/8/layout/lProcess2"/>
    <dgm:cxn modelId="{7D682ECB-2B2D-4BE4-A638-3A5C88BB70B1}" srcId="{5132C7C8-58CD-4581-8B1F-A1D4628C7929}" destId="{5E274D17-0EBD-4853-9566-8114DF347426}" srcOrd="1" destOrd="0" parTransId="{94EE92E5-8E7B-4B37-90F5-FE488BDD1E25}" sibTransId="{0079457A-0C79-43F3-8CB5-A7DBF1FA5972}"/>
    <dgm:cxn modelId="{ED57638F-061E-486B-8C3B-8876AB0BB20E}" type="presOf" srcId="{0678CAD5-E179-49E0-9915-6A89562051B9}" destId="{5C49973C-BC25-4099-86E6-B5F898506219}" srcOrd="0" destOrd="0" presId="urn:microsoft.com/office/officeart/2005/8/layout/lProcess2"/>
    <dgm:cxn modelId="{8187B337-A97C-4647-A521-78C83B520127}" srcId="{5132C7C8-58CD-4581-8B1F-A1D4628C7929}" destId="{DF6DF792-8DB1-4619-B781-295CCD7D4ABC}" srcOrd="0" destOrd="0" parTransId="{F37BA32E-1388-4FC7-9B58-C6AD11EE827F}" sibTransId="{DF127A40-6D0A-48D6-98D8-5601546BE613}"/>
    <dgm:cxn modelId="{2566060A-0B32-4D50-A6F2-005EBDCDA746}" srcId="{91D601B8-CF1A-48DC-AC7F-B31909B1982F}" destId="{CBECEAB1-800B-4ADC-B0F3-018E2E7534D0}" srcOrd="2" destOrd="0" parTransId="{19B9B319-3931-499B-8ED2-DE946B7A01D8}" sibTransId="{9E3055A8-786D-4858-9C23-A75C19FA491D}"/>
    <dgm:cxn modelId="{FFC2E85D-3FD1-4133-8FC3-BEF522F1E7C4}" srcId="{91D601B8-CF1A-48DC-AC7F-B31909B1982F}" destId="{5132C7C8-58CD-4581-8B1F-A1D4628C7929}" srcOrd="1" destOrd="0" parTransId="{13CEB08D-A45C-47D7-A9F1-49249C774DD2}" sibTransId="{7749999C-A5FC-4639-B15C-2F80CD4A289C}"/>
    <dgm:cxn modelId="{EA9355B4-4496-498F-AD12-CAAAB03DA6DB}" srcId="{91D601B8-CF1A-48DC-AC7F-B31909B1982F}" destId="{58F5AD9E-AE15-465B-A0E2-B197FC2E275D}" srcOrd="0" destOrd="0" parTransId="{F583D39B-0E08-406B-A495-7D1F5324662C}" sibTransId="{24478746-B2A5-4E98-B873-4B9C2CDCC71C}"/>
    <dgm:cxn modelId="{720440A9-65B6-4D5F-9C1E-131B76D53470}" type="presOf" srcId="{91D601B8-CF1A-48DC-AC7F-B31909B1982F}" destId="{C892AC62-E490-4760-9385-F8A2F2A28D70}" srcOrd="0" destOrd="0" presId="urn:microsoft.com/office/officeart/2005/8/layout/lProcess2"/>
    <dgm:cxn modelId="{EF70C8A8-1911-47F9-B3CC-CD0231118A42}" srcId="{CBECEAB1-800B-4ADC-B0F3-018E2E7534D0}" destId="{141DC4FA-A232-4239-BFCA-E96393425D2C}" srcOrd="0" destOrd="0" parTransId="{7E4927A2-6BE8-4CF6-9170-53D42D8D568E}" sibTransId="{6D6C8C9D-2EFA-410E-8AAD-2FFB6826B26F}"/>
    <dgm:cxn modelId="{614BCAC2-9C72-4E2F-A5C0-73E56AE2AAE4}" type="presOf" srcId="{141DC4FA-A232-4239-BFCA-E96393425D2C}" destId="{DEDEF8CC-C23A-4AEF-B846-1E17F80B3E90}" srcOrd="0" destOrd="0" presId="urn:microsoft.com/office/officeart/2005/8/layout/lProcess2"/>
    <dgm:cxn modelId="{87E786EF-2F02-4059-909F-E6C690F361D2}" type="presOf" srcId="{58F5AD9E-AE15-465B-A0E2-B197FC2E275D}" destId="{EFD384D0-655A-41D8-AAF3-1A6E7CF9C5A1}" srcOrd="0" destOrd="0" presId="urn:microsoft.com/office/officeart/2005/8/layout/lProcess2"/>
    <dgm:cxn modelId="{AAEA88AD-F342-4EC1-A74E-7C69E7C15EE2}" srcId="{CBECEAB1-800B-4ADC-B0F3-018E2E7534D0}" destId="{0678CAD5-E179-49E0-9915-6A89562051B9}" srcOrd="1" destOrd="0" parTransId="{6A30C30E-0FF4-47DE-9B67-F19DD115416F}" sibTransId="{4B95571E-0D52-4FE2-BE08-D847384CD819}"/>
    <dgm:cxn modelId="{78C61348-B0D8-49E5-A29C-69FD67986518}" type="presOf" srcId="{58F5AD9E-AE15-465B-A0E2-B197FC2E275D}" destId="{8E745A55-F4F9-4AF2-A6A9-C35C3B7C4CDE}" srcOrd="1" destOrd="0" presId="urn:microsoft.com/office/officeart/2005/8/layout/lProcess2"/>
    <dgm:cxn modelId="{A5BAAD25-D172-48A2-B59E-172FE234F621}" type="presOf" srcId="{CBECEAB1-800B-4ADC-B0F3-018E2E7534D0}" destId="{8B877B22-CD64-47BE-966F-F7FE070FAE0E}" srcOrd="0" destOrd="0" presId="urn:microsoft.com/office/officeart/2005/8/layout/lProcess2"/>
    <dgm:cxn modelId="{7AB53FF9-8B49-42C7-AA10-8CD22F96FE56}" type="presOf" srcId="{7DB31D74-6569-4688-94AB-E2483BDBA251}" destId="{60ACECD7-87E4-4843-A2A6-52333D53DACD}" srcOrd="0" destOrd="0" presId="urn:microsoft.com/office/officeart/2005/8/layout/lProcess2"/>
    <dgm:cxn modelId="{1A268CA1-D162-415B-923A-C5BE79B43970}" type="presParOf" srcId="{C892AC62-E490-4760-9385-F8A2F2A28D70}" destId="{0A5E8930-899E-4F2C-8563-420509BB5D03}" srcOrd="0" destOrd="0" presId="urn:microsoft.com/office/officeart/2005/8/layout/lProcess2"/>
    <dgm:cxn modelId="{A8EC750B-0322-443B-9C72-5EB05480062F}" type="presParOf" srcId="{0A5E8930-899E-4F2C-8563-420509BB5D03}" destId="{EFD384D0-655A-41D8-AAF3-1A6E7CF9C5A1}" srcOrd="0" destOrd="0" presId="urn:microsoft.com/office/officeart/2005/8/layout/lProcess2"/>
    <dgm:cxn modelId="{3F805762-65C8-4A2F-B6A5-62609ED2ED19}" type="presParOf" srcId="{0A5E8930-899E-4F2C-8563-420509BB5D03}" destId="{8E745A55-F4F9-4AF2-A6A9-C35C3B7C4CDE}" srcOrd="1" destOrd="0" presId="urn:microsoft.com/office/officeart/2005/8/layout/lProcess2"/>
    <dgm:cxn modelId="{47D4F963-E375-4851-ACAD-E87E89074618}" type="presParOf" srcId="{0A5E8930-899E-4F2C-8563-420509BB5D03}" destId="{DEF36155-9893-4F6A-9119-7EC4FB99E841}" srcOrd="2" destOrd="0" presId="urn:microsoft.com/office/officeart/2005/8/layout/lProcess2"/>
    <dgm:cxn modelId="{492A91DC-62F0-4027-95DB-9115BF6C55FC}" type="presParOf" srcId="{DEF36155-9893-4F6A-9119-7EC4FB99E841}" destId="{2C33A298-E041-4BC9-9449-CAAAD25C9178}" srcOrd="0" destOrd="0" presId="urn:microsoft.com/office/officeart/2005/8/layout/lProcess2"/>
    <dgm:cxn modelId="{715B46F6-C694-4B27-B7EF-5D4506662834}" type="presParOf" srcId="{2C33A298-E041-4BC9-9449-CAAAD25C9178}" destId="{5A3259C3-9617-4607-8417-592A85D91ED5}" srcOrd="0" destOrd="0" presId="urn:microsoft.com/office/officeart/2005/8/layout/lProcess2"/>
    <dgm:cxn modelId="{76423A4E-0008-4021-AA14-974249636B27}" type="presParOf" srcId="{2C33A298-E041-4BC9-9449-CAAAD25C9178}" destId="{14EC6144-A0D8-4170-8D35-A82CB9D37F16}" srcOrd="1" destOrd="0" presId="urn:microsoft.com/office/officeart/2005/8/layout/lProcess2"/>
    <dgm:cxn modelId="{0F116032-471C-4E13-BC93-9D7A55DA18B7}" type="presParOf" srcId="{2C33A298-E041-4BC9-9449-CAAAD25C9178}" destId="{60ACECD7-87E4-4843-A2A6-52333D53DACD}" srcOrd="2" destOrd="0" presId="urn:microsoft.com/office/officeart/2005/8/layout/lProcess2"/>
    <dgm:cxn modelId="{29C6B471-35EF-4702-9905-72A7BA451F19}" type="presParOf" srcId="{C892AC62-E490-4760-9385-F8A2F2A28D70}" destId="{61DAD37A-964B-4109-AAAD-6248C10813B2}" srcOrd="1" destOrd="0" presId="urn:microsoft.com/office/officeart/2005/8/layout/lProcess2"/>
    <dgm:cxn modelId="{A84565A2-6A44-4F7F-8103-19CC54946010}" type="presParOf" srcId="{C892AC62-E490-4760-9385-F8A2F2A28D70}" destId="{2973BCD5-316B-474F-88D7-CA28B6EED458}" srcOrd="2" destOrd="0" presId="urn:microsoft.com/office/officeart/2005/8/layout/lProcess2"/>
    <dgm:cxn modelId="{C33EC806-5C6F-4C28-8FCA-A7BA13DBB5DD}" type="presParOf" srcId="{2973BCD5-316B-474F-88D7-CA28B6EED458}" destId="{EE2DE999-7F88-4481-8663-7D4723F5F7B2}" srcOrd="0" destOrd="0" presId="urn:microsoft.com/office/officeart/2005/8/layout/lProcess2"/>
    <dgm:cxn modelId="{0DF44468-394D-4635-843D-00399A0FCDDA}" type="presParOf" srcId="{2973BCD5-316B-474F-88D7-CA28B6EED458}" destId="{4D45418D-DE68-4146-9E65-9B595890168A}" srcOrd="1" destOrd="0" presId="urn:microsoft.com/office/officeart/2005/8/layout/lProcess2"/>
    <dgm:cxn modelId="{C8D91CDC-C1B2-413D-8A9D-C3153D2A54C0}" type="presParOf" srcId="{2973BCD5-316B-474F-88D7-CA28B6EED458}" destId="{11792569-052B-445A-93A9-8EB811CE4B97}" srcOrd="2" destOrd="0" presId="urn:microsoft.com/office/officeart/2005/8/layout/lProcess2"/>
    <dgm:cxn modelId="{C79135A4-FB5E-40DA-A132-DB7F2CF1E043}" type="presParOf" srcId="{11792569-052B-445A-93A9-8EB811CE4B97}" destId="{A801E635-B21F-49B1-8557-04B193F50A84}" srcOrd="0" destOrd="0" presId="urn:microsoft.com/office/officeart/2005/8/layout/lProcess2"/>
    <dgm:cxn modelId="{4191CF38-5575-4BFC-88AB-51613084A6C5}" type="presParOf" srcId="{A801E635-B21F-49B1-8557-04B193F50A84}" destId="{F45798E1-2641-4CCF-9672-8922BCD58759}" srcOrd="0" destOrd="0" presId="urn:microsoft.com/office/officeart/2005/8/layout/lProcess2"/>
    <dgm:cxn modelId="{B52CF1C4-D141-4DDA-9C0D-55AD94CBDD09}" type="presParOf" srcId="{A801E635-B21F-49B1-8557-04B193F50A84}" destId="{C6912D3F-2AE4-42A4-A055-640DDDFA22CC}" srcOrd="1" destOrd="0" presId="urn:microsoft.com/office/officeart/2005/8/layout/lProcess2"/>
    <dgm:cxn modelId="{E2E12C26-3822-4D6C-B118-6322DD354CA3}" type="presParOf" srcId="{A801E635-B21F-49B1-8557-04B193F50A84}" destId="{8D1610CE-B5EF-401E-A248-DBED0A1EF0E8}" srcOrd="2" destOrd="0" presId="urn:microsoft.com/office/officeart/2005/8/layout/lProcess2"/>
    <dgm:cxn modelId="{84192370-02A3-4B8E-BD84-F4E9B971AC8F}" type="presParOf" srcId="{C892AC62-E490-4760-9385-F8A2F2A28D70}" destId="{8425F731-2C86-4FC3-BA02-1B7C979555BB}" srcOrd="3" destOrd="0" presId="urn:microsoft.com/office/officeart/2005/8/layout/lProcess2"/>
    <dgm:cxn modelId="{EA39F110-F8B2-4761-A438-AF155DA5AAE0}" type="presParOf" srcId="{C892AC62-E490-4760-9385-F8A2F2A28D70}" destId="{3568CCDC-E030-46B6-B535-512B10D43E6F}" srcOrd="4" destOrd="0" presId="urn:microsoft.com/office/officeart/2005/8/layout/lProcess2"/>
    <dgm:cxn modelId="{0354156B-9A53-4AFE-8A7B-13F889EC727F}" type="presParOf" srcId="{3568CCDC-E030-46B6-B535-512B10D43E6F}" destId="{8B877B22-CD64-47BE-966F-F7FE070FAE0E}" srcOrd="0" destOrd="0" presId="urn:microsoft.com/office/officeart/2005/8/layout/lProcess2"/>
    <dgm:cxn modelId="{E205F183-9F8B-462C-BC1B-BEEA25E1AB92}" type="presParOf" srcId="{3568CCDC-E030-46B6-B535-512B10D43E6F}" destId="{A8FCBFE4-E2AC-46EF-AFA3-FE0708667EB3}" srcOrd="1" destOrd="0" presId="urn:microsoft.com/office/officeart/2005/8/layout/lProcess2"/>
    <dgm:cxn modelId="{CD9591FA-28B5-4949-B218-87093A6AB648}" type="presParOf" srcId="{3568CCDC-E030-46B6-B535-512B10D43E6F}" destId="{AE98F80D-9FE0-456D-828A-034E7127744F}" srcOrd="2" destOrd="0" presId="urn:microsoft.com/office/officeart/2005/8/layout/lProcess2"/>
    <dgm:cxn modelId="{9C5E7EB5-189A-4F15-857B-4DF4C3FAF92B}" type="presParOf" srcId="{AE98F80D-9FE0-456D-828A-034E7127744F}" destId="{0788AD81-8B19-4E29-8A34-85639EBEE2A1}" srcOrd="0" destOrd="0" presId="urn:microsoft.com/office/officeart/2005/8/layout/lProcess2"/>
    <dgm:cxn modelId="{2AA526C3-9A2D-4D12-A4FD-5B49B1FE2DD0}" type="presParOf" srcId="{0788AD81-8B19-4E29-8A34-85639EBEE2A1}" destId="{DEDEF8CC-C23A-4AEF-B846-1E17F80B3E90}" srcOrd="0" destOrd="0" presId="urn:microsoft.com/office/officeart/2005/8/layout/lProcess2"/>
    <dgm:cxn modelId="{8046C34B-083E-452D-98DE-73A3CF6533C7}" type="presParOf" srcId="{0788AD81-8B19-4E29-8A34-85639EBEE2A1}" destId="{C426D4AC-EBDE-4FB9-BA4F-7D1E6F8C575B}" srcOrd="1" destOrd="0" presId="urn:microsoft.com/office/officeart/2005/8/layout/lProcess2"/>
    <dgm:cxn modelId="{E6D0D675-9E5D-425D-834B-2183B7568F93}" type="presParOf" srcId="{0788AD81-8B19-4E29-8A34-85639EBEE2A1}" destId="{5C49973C-BC25-4099-86E6-B5F898506219}" srcOrd="2" destOrd="0" presId="urn:microsoft.com/office/officeart/2005/8/layout/lProcess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Process2">
  <dgm:title val=""/>
  <dgm:desc val=""/>
  <dgm:catLst>
    <dgm:cat type="list" pri="10000"/>
    <dgm:cat type="relationship" pri="1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theList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h"/>
      <dgm:constr type="w" for="ch" forName="aSpace" refType="w" fact="0.075"/>
      <dgm:constr type="h" for="des" forName="aSpace2" refType="h" fact="0.1"/>
      <dgm:constr type="primFontSz" for="des" forName="textNode" op="equ"/>
      <dgm:constr type="primFontSz" for="des" forName="childNode" op="equ"/>
    </dgm:constrLst>
    <dgm:ruleLst/>
    <dgm:forEach name="aNode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onstrLst>
          <dgm:constr type="w" for="ch" forName="aNode" refType="w"/>
          <dgm:constr type="h" for="ch" forName="aNode" refType="h"/>
          <dgm:constr type="w" for="ch" forName="textNode" refType="w"/>
          <dgm:constr type="h" for="ch" forName="textNode" refType="h" fact="0.3"/>
          <dgm:constr type="ctrX" for="ch" forName="textNode" refType="w" fact="0.5"/>
          <dgm:constr type="w" for="ch" forName="compChildNode" refType="w" fact="0.8"/>
          <dgm:constr type="h" for="ch" forName="compChildNode" refType="h" fact="0.65"/>
          <dgm:constr type="t" for="ch" forName="compChildNode" refType="h" fact="0.3"/>
          <dgm:constr type="ctrX" for="ch" forName="compChildNode" refType="w" fact="0.5"/>
        </dgm:constrLst>
        <dgm:ruleLst/>
        <dgm:layoutNode name="aNode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/>
          <dgm:ruleLst/>
        </dgm:layoutNode>
        <dgm:layoutNode name="textNode" styleLbl="bgShp">
          <dgm:alg type="tx"/>
          <dgm:shape xmlns:r="http://schemas.openxmlformats.org/officeDocument/2006/relationships" type="rect" r:blip="" hideGeom="1">
            <dgm:adjLst>
              <dgm:adj idx="1" val="0.1"/>
            </dgm:adjLst>
          </dgm:shape>
          <dgm:presOf axis="self"/>
          <dgm:constrLst>
            <dgm:constr type="primFontSz" val="65"/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ompChild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des" forName="childNode" refType="w"/>
            <dgm:constr type="h" for="des" forName="childNode" refType="h"/>
          </dgm:constrLst>
          <dgm:ruleLst/>
          <dgm:layoutNode name="theInnerList">
            <dgm:alg type="lin"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childNodeForEach" axis="ch" ptType="node">
              <dgm:layoutNode name="childNode" styleLbl="node1">
                <dgm:varLst>
                  <dgm:bulletEnabled val="1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desOrSelf" ptType="node"/>
                <dgm:constrLst>
                  <dgm:constr type="primFontSz" val="65"/>
                  <dgm:constr type="tMarg" refType="primFontSz" fact="0.15"/>
                  <dgm:constr type="bMarg" refType="primFontSz" fact="0.15"/>
                  <dgm:constr type="lMarg" refType="primFontSz" fact="0.2"/>
                  <dgm:constr type="rMarg" refType="primFontSz" fact="0.2"/>
                </dgm:constrLst>
                <dgm:ruleLst>
                  <dgm:rule type="primFontSz" val="5" fact="NaN" max="NaN"/>
                </dgm:ruleLst>
              </dgm:layoutNode>
              <dgm:choose name="Name3">
                <dgm:if name="Name4" axis="self" ptType="node" func="revPos" op="equ" val="1"/>
                <dgm:else name="Name5">
                  <dgm:layoutNode name="aSpace2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else>
              </dgm:choose>
            </dgm:forEach>
          </dgm:layoutNode>
        </dgm:layoutNode>
      </dgm:layoutNode>
      <dgm:choose name="Name6">
        <dgm:if name="Name7" axis="self" ptType="node" func="revPos" op="equ" val="1"/>
        <dgm:else name="Name8">
          <dgm:layoutNode name="a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ierarchy2">
  <dgm:title val=""/>
  <dgm:desc val=""/>
  <dgm:catLst>
    <dgm:cat type="hierarchy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 val="exact"/>
    </dgm:varLst>
    <dgm:choose name="Name0">
      <dgm:if name="Name1" func="var" arg="dir" op="equ" val="norm">
        <dgm:alg type="hierChild">
          <dgm:param type="linDir" val="fromT"/>
          <dgm:param type="chAlign" val="l"/>
        </dgm:alg>
      </dgm:if>
      <dgm:else name="Name2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ptType="node" refType="h"/>
      <dgm:constr type="w" for="des" ptType="node" refType="h" refFor="des" refPtType="node" fact="2"/>
      <dgm:constr type="sibSp" refType="h" refFor="des" refPtType="node" op="equ" fact="0.15"/>
      <dgm:constr type="sibSp" for="des" forName="level2hierChild" refType="h" refFor="des" refPtType="node" op="equ" fact="0.15"/>
      <dgm:constr type="sibSp" for="des" forName="level3hierChild" refType="h" refFor="des" refPtType="node" op="equ" fact="0.15"/>
      <dgm:constr type="sp" for="des" forName="root1" refType="w" refFor="des" refPtType="node" fact="0.4"/>
      <dgm:constr type="sp" for="des" forName="root2" refType="sp" refFor="des" refForName="root1" op="equ"/>
      <dgm:constr type="primFontSz" for="des" ptType="node" op="equ" val="65"/>
      <dgm:constr type="primFontSz" for="des" forName="connTx" op="equ" val="55"/>
      <dgm:constr type="primFontSz" for="des" forName="connTx" refType="primFontSz" refFor="des" refPtType="node" op="lte" fact="0.8"/>
    </dgm:constrLst>
    <dgm:ruleLst/>
    <dgm:forEach name="Name3" axis="ch">
      <dgm:forEach name="Name4" axis="self" ptType="node">
        <dgm:layoutNode name="root1">
          <dgm:choose name="Name5">
            <dgm:if name="Name6" func="var" arg="dir" op="equ" val="norm">
              <dgm:alg type="hierRoot">
                <dgm:param type="hierAlign" val="lCtrCh"/>
              </dgm:alg>
            </dgm:if>
            <dgm:else name="Name7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/>
          <dgm:layoutNode name="LevelOneTextNode" styleLbl="node0">
            <dgm:varLst>
              <dgm:chPref val="3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5" fact="NaN" max="NaN"/>
            </dgm:ruleLst>
          </dgm:layoutNode>
          <dgm:layoutNode name="level2hierChild">
            <dgm:choose name="Name8">
              <dgm:if name="Name9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0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eat" axis="ch">
              <dgm:forEach name="Name11" axis="self" ptType="parTrans" cnt="1">
                <dgm:layoutNode name="conn2-1">
                  <dgm:choose name="Name12">
                    <dgm:if name="Name13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</dgm:alg>
                    </dgm:if>
                    <dgm:else name="Name14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ruleLst/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5" axis="self" ptType="node">
                <dgm:layoutNode name="root2">
                  <dgm:choose name="Name16">
                    <dgm:if name="Name17" func="var" arg="dir" op="equ" val="norm">
                      <dgm:alg type="hierRoot">
                        <dgm:param type="hierAlign" val="lCtrCh"/>
                      </dgm:alg>
                    </dgm:if>
                    <dgm:else name="Name18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oundRect" r:blip="">
                      <dgm:adjLst>
                        <dgm:adj idx="1" val="0.1"/>
                      </dgm:adjLst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level3hierChild">
                    <dgm:choose name="Name19">
                      <dgm:if name="Name20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1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22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lProcess2">
  <dgm:title val=""/>
  <dgm:desc val=""/>
  <dgm:catLst>
    <dgm:cat type="list" pri="10000"/>
    <dgm:cat type="relationship" pri="1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theList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h"/>
      <dgm:constr type="w" for="ch" forName="aSpace" refType="w" fact="0.075"/>
      <dgm:constr type="h" for="des" forName="aSpace2" refType="h" fact="0.1"/>
      <dgm:constr type="primFontSz" for="des" forName="textNode" op="equ"/>
      <dgm:constr type="primFontSz" for="des" forName="childNode" op="equ"/>
    </dgm:constrLst>
    <dgm:ruleLst/>
    <dgm:forEach name="aNode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onstrLst>
          <dgm:constr type="w" for="ch" forName="aNode" refType="w"/>
          <dgm:constr type="h" for="ch" forName="aNode" refType="h"/>
          <dgm:constr type="w" for="ch" forName="textNode" refType="w"/>
          <dgm:constr type="h" for="ch" forName="textNode" refType="h" fact="0.3"/>
          <dgm:constr type="ctrX" for="ch" forName="textNode" refType="w" fact="0.5"/>
          <dgm:constr type="w" for="ch" forName="compChildNode" refType="w" fact="0.8"/>
          <dgm:constr type="h" for="ch" forName="compChildNode" refType="h" fact="0.65"/>
          <dgm:constr type="t" for="ch" forName="compChildNode" refType="h" fact="0.3"/>
          <dgm:constr type="ctrX" for="ch" forName="compChildNode" refType="w" fact="0.5"/>
        </dgm:constrLst>
        <dgm:ruleLst/>
        <dgm:layoutNode name="aNode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/>
          <dgm:ruleLst/>
        </dgm:layoutNode>
        <dgm:layoutNode name="textNode" styleLbl="bgShp">
          <dgm:alg type="tx"/>
          <dgm:shape xmlns:r="http://schemas.openxmlformats.org/officeDocument/2006/relationships" type="rect" r:blip="" hideGeom="1">
            <dgm:adjLst>
              <dgm:adj idx="1" val="0.1"/>
            </dgm:adjLst>
          </dgm:shape>
          <dgm:presOf axis="self"/>
          <dgm:constrLst>
            <dgm:constr type="primFontSz" val="65"/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ompChild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des" forName="childNode" refType="w"/>
            <dgm:constr type="h" for="des" forName="childNode" refType="h"/>
          </dgm:constrLst>
          <dgm:ruleLst/>
          <dgm:layoutNode name="theInnerList">
            <dgm:alg type="lin"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childNodeForEach" axis="ch" ptType="node">
              <dgm:layoutNode name="childNode" styleLbl="node1">
                <dgm:varLst>
                  <dgm:bulletEnabled val="1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desOrSelf" ptType="node"/>
                <dgm:constrLst>
                  <dgm:constr type="primFontSz" val="65"/>
                  <dgm:constr type="tMarg" refType="primFontSz" fact="0.15"/>
                  <dgm:constr type="bMarg" refType="primFontSz" fact="0.15"/>
                  <dgm:constr type="lMarg" refType="primFontSz" fact="0.2"/>
                  <dgm:constr type="rMarg" refType="primFontSz" fact="0.2"/>
                </dgm:constrLst>
                <dgm:ruleLst>
                  <dgm:rule type="primFontSz" val="5" fact="NaN" max="NaN"/>
                </dgm:ruleLst>
              </dgm:layoutNode>
              <dgm:choose name="Name3">
                <dgm:if name="Name4" axis="self" ptType="node" func="revPos" op="equ" val="1"/>
                <dgm:else name="Name5">
                  <dgm:layoutNode name="aSpace2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else>
              </dgm:choose>
            </dgm:forEach>
          </dgm:layoutNode>
        </dgm:layoutNode>
      </dgm:layoutNode>
      <dgm:choose name="Name6">
        <dgm:if name="Name7" axis="self" ptType="node" func="revPos" op="equ" val="1"/>
        <dgm:else name="Name8">
          <dgm:layoutNode name="a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45659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684" tIns="46342" rIns="92684" bIns="46342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0444" y="0"/>
            <a:ext cx="2945659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684" tIns="46342" rIns="92684" bIns="46342" numCol="1" anchor="t" anchorCtr="0" compatLnSpc="1">
            <a:prstTxWarp prst="textNoShape">
              <a:avLst/>
            </a:prstTxWarp>
          </a:bodyPr>
          <a:lstStyle>
            <a:lvl1pPr algn="r">
              <a:defRPr>
                <a:solidFill>
                  <a:schemeClr val="tx1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10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428584"/>
            <a:ext cx="2945659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684" tIns="46342" rIns="92684" bIns="46342" numCol="1" anchor="b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10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0444" y="9428584"/>
            <a:ext cx="2945659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684" tIns="46342" rIns="92684" bIns="46342" numCol="1" anchor="b" anchorCtr="0" compatLnSpc="1">
            <a:prstTxWarp prst="textNoShape">
              <a:avLst/>
            </a:prstTxWarp>
          </a:bodyPr>
          <a:lstStyle>
            <a:lvl1pPr algn="r">
              <a:defRPr>
                <a:solidFill>
                  <a:schemeClr val="tx1"/>
                </a:solidFill>
                <a:latin typeface="Arial" charset="0"/>
              </a:defRPr>
            </a:lvl1pPr>
          </a:lstStyle>
          <a:p>
            <a:pPr>
              <a:defRPr/>
            </a:pPr>
            <a:fld id="{4AF6D226-F341-42BA-995C-E60773011B28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004455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45659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684" tIns="46342" rIns="92684" bIns="46342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0444" y="0"/>
            <a:ext cx="2945659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684" tIns="46342" rIns="92684" bIns="46342" numCol="1" anchor="t" anchorCtr="0" compatLnSpc="1">
            <a:prstTxWarp prst="textNoShape">
              <a:avLst/>
            </a:prstTxWarp>
          </a:bodyPr>
          <a:lstStyle>
            <a:lvl1pPr algn="r">
              <a:defRPr>
                <a:solidFill>
                  <a:schemeClr val="tx1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2390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11200" y="744538"/>
            <a:ext cx="5375275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14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768" y="4715154"/>
            <a:ext cx="5438140" cy="4466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684" tIns="46342" rIns="92684" bIns="4634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615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428584"/>
            <a:ext cx="2945659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684" tIns="46342" rIns="92684" bIns="46342" numCol="1" anchor="b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15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0444" y="9428584"/>
            <a:ext cx="2945659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684" tIns="46342" rIns="92684" bIns="46342" numCol="1" anchor="b" anchorCtr="0" compatLnSpc="1">
            <a:prstTxWarp prst="textNoShape">
              <a:avLst/>
            </a:prstTxWarp>
          </a:bodyPr>
          <a:lstStyle>
            <a:lvl1pPr algn="r">
              <a:defRPr>
                <a:solidFill>
                  <a:schemeClr val="tx1"/>
                </a:solidFill>
                <a:latin typeface="Arial" charset="0"/>
              </a:defRPr>
            </a:lvl1pPr>
          </a:lstStyle>
          <a:p>
            <a:pPr>
              <a:defRPr/>
            </a:pPr>
            <a:fld id="{396D51DA-E779-4441-9A4D-BEF510118826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782131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BE1A80B-359A-4AC2-A74E-CE7BCC810C3F}" type="slidenum">
              <a:rPr lang="pt-BR" smtClean="0"/>
              <a:pPr>
                <a:defRPr/>
              </a:pPr>
              <a:t>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0874109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7411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en-US" altLang="pt-BR" smtClean="0"/>
              <a:t>3</a:t>
            </a:r>
            <a:endParaRPr lang="pt-BR" altLang="pt-BR" smtClean="0"/>
          </a:p>
        </p:txBody>
      </p:sp>
      <p:sp>
        <p:nvSpPr>
          <p:cNvPr id="17412" name="Espaço Reservado para Número de Slid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53054" indent="-289636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58545" indent="-231709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21963" indent="-231709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85381" indent="-231709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48799" indent="-231709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3012216" indent="-231709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75634" indent="-231709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939052" indent="-231709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124396CF-A4D5-4763-95CC-4256B9FD903F}" type="slidenum">
              <a:rPr lang="en-US" altLang="pt-BR" smtClean="0">
                <a:latin typeface="Gill Sans"/>
                <a:ea typeface="ヒラギノ角ゴ ProN W3"/>
                <a:cs typeface="ヒラギノ角ゴ ProN W3"/>
                <a:sym typeface="Gill Sans"/>
              </a:rPr>
              <a:pPr/>
              <a:t>11</a:t>
            </a:fld>
            <a:endParaRPr lang="en-US" altLang="pt-BR" smtClean="0">
              <a:latin typeface="Gill Sans"/>
              <a:ea typeface="ヒラギノ角ゴ ProN W3"/>
              <a:cs typeface="ヒラギノ角ゴ ProN W3"/>
              <a:sym typeface="Gill Sans"/>
            </a:endParaRPr>
          </a:p>
        </p:txBody>
      </p:sp>
    </p:spTree>
    <p:extLst>
      <p:ext uri="{BB962C8B-B14F-4D97-AF65-F5344CB8AC3E}">
        <p14:creationId xmlns:p14="http://schemas.microsoft.com/office/powerpoint/2010/main" val="169465800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7411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en-US" altLang="pt-BR" smtClean="0"/>
              <a:t>3</a:t>
            </a:r>
            <a:endParaRPr lang="pt-BR" altLang="pt-BR" smtClean="0"/>
          </a:p>
        </p:txBody>
      </p:sp>
      <p:sp>
        <p:nvSpPr>
          <p:cNvPr id="17412" name="Espaço Reservado para Número de Slid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53054" indent="-289636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58545" indent="-231709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21963" indent="-231709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85381" indent="-231709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48799" indent="-231709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3012216" indent="-231709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75634" indent="-231709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939052" indent="-231709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124396CF-A4D5-4763-95CC-4256B9FD903F}" type="slidenum">
              <a:rPr lang="en-US" altLang="pt-BR" smtClean="0">
                <a:latin typeface="Gill Sans"/>
                <a:ea typeface="ヒラギノ角ゴ ProN W3"/>
                <a:cs typeface="ヒラギノ角ゴ ProN W3"/>
                <a:sym typeface="Gill Sans"/>
              </a:rPr>
              <a:pPr/>
              <a:t>12</a:t>
            </a:fld>
            <a:endParaRPr lang="en-US" altLang="pt-BR" smtClean="0">
              <a:latin typeface="Gill Sans"/>
              <a:ea typeface="ヒラギノ角ゴ ProN W3"/>
              <a:cs typeface="ヒラギノ角ゴ ProN W3"/>
              <a:sym typeface="Gill Sans"/>
            </a:endParaRPr>
          </a:p>
        </p:txBody>
      </p:sp>
    </p:spTree>
    <p:extLst>
      <p:ext uri="{BB962C8B-B14F-4D97-AF65-F5344CB8AC3E}">
        <p14:creationId xmlns:p14="http://schemas.microsoft.com/office/powerpoint/2010/main" val="133158140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96D51DA-E779-4441-9A4D-BEF510118826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581190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1200" y="744538"/>
            <a:ext cx="5375275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96D51DA-E779-4441-9A4D-BEF510118826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689779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711200" y="744538"/>
            <a:ext cx="5375275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63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altLang="pt-BR" smtClean="0"/>
          </a:p>
        </p:txBody>
      </p:sp>
      <p:sp>
        <p:nvSpPr>
          <p:cNvPr id="40964" name="Espaço Reservado para Número de Slid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53054" indent="-289636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58545" indent="-231709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21963" indent="-231709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85381" indent="-231709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48799" indent="-231709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3012216" indent="-231709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75634" indent="-231709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939052" indent="-231709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C889E095-6560-4035-8584-0C5A9D813626}" type="slidenum">
              <a:rPr lang="pt-BR" altLang="pt-BR" smtClean="0">
                <a:latin typeface="Calibri" panose="020F0502020204030204" pitchFamily="34" charset="0"/>
              </a:rPr>
              <a:pPr/>
              <a:t>19</a:t>
            </a:fld>
            <a:endParaRPr lang="pt-BR" altLang="pt-BR" smtClean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7920748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7411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en-US" altLang="pt-BR" smtClean="0"/>
              <a:t>3</a:t>
            </a:r>
            <a:endParaRPr lang="pt-BR" altLang="pt-BR" smtClean="0"/>
          </a:p>
        </p:txBody>
      </p:sp>
      <p:sp>
        <p:nvSpPr>
          <p:cNvPr id="17412" name="Espaço Reservado para Número de Slid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53054" indent="-289636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58545" indent="-231709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21963" indent="-231709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85381" indent="-231709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48799" indent="-231709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3012216" indent="-231709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75634" indent="-231709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939052" indent="-231709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124396CF-A4D5-4763-95CC-4256B9FD903F}" type="slidenum">
              <a:rPr lang="en-US" altLang="pt-BR" smtClean="0">
                <a:latin typeface="Gill Sans"/>
                <a:ea typeface="ヒラギノ角ゴ ProN W3"/>
                <a:cs typeface="ヒラギノ角ゴ ProN W3"/>
                <a:sym typeface="Gill Sans"/>
              </a:rPr>
              <a:pPr/>
              <a:t>2</a:t>
            </a:fld>
            <a:endParaRPr lang="en-US" altLang="pt-BR" smtClean="0">
              <a:latin typeface="Gill Sans"/>
              <a:ea typeface="ヒラギノ角ゴ ProN W3"/>
              <a:cs typeface="ヒラギノ角ゴ ProN W3"/>
              <a:sym typeface="Gill Sans"/>
            </a:endParaRPr>
          </a:p>
        </p:txBody>
      </p:sp>
    </p:spTree>
    <p:extLst>
      <p:ext uri="{BB962C8B-B14F-4D97-AF65-F5344CB8AC3E}">
        <p14:creationId xmlns:p14="http://schemas.microsoft.com/office/powerpoint/2010/main" val="94674603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7411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en-US" altLang="pt-BR" smtClean="0"/>
              <a:t>3</a:t>
            </a:r>
            <a:endParaRPr lang="pt-BR" altLang="pt-BR" smtClean="0"/>
          </a:p>
        </p:txBody>
      </p:sp>
      <p:sp>
        <p:nvSpPr>
          <p:cNvPr id="17412" name="Espaço Reservado para Número de Slid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53054" indent="-289636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58545" indent="-231709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21963" indent="-231709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85381" indent="-231709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48799" indent="-231709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3012216" indent="-231709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75634" indent="-231709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939052" indent="-231709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124396CF-A4D5-4763-95CC-4256B9FD903F}" type="slidenum">
              <a:rPr lang="en-US" altLang="pt-BR" smtClean="0">
                <a:latin typeface="Gill Sans"/>
                <a:ea typeface="ヒラギノ角ゴ ProN W3"/>
                <a:cs typeface="ヒラギノ角ゴ ProN W3"/>
                <a:sym typeface="Gill Sans"/>
              </a:rPr>
              <a:pPr/>
              <a:t>3</a:t>
            </a:fld>
            <a:endParaRPr lang="en-US" altLang="pt-BR" smtClean="0">
              <a:latin typeface="Gill Sans"/>
              <a:ea typeface="ヒラギノ角ゴ ProN W3"/>
              <a:cs typeface="ヒラギノ角ゴ ProN W3"/>
              <a:sym typeface="Gill Sans"/>
            </a:endParaRPr>
          </a:p>
        </p:txBody>
      </p:sp>
    </p:spTree>
    <p:extLst>
      <p:ext uri="{BB962C8B-B14F-4D97-AF65-F5344CB8AC3E}">
        <p14:creationId xmlns:p14="http://schemas.microsoft.com/office/powerpoint/2010/main" val="276290821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7411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en-US" altLang="pt-BR" smtClean="0"/>
              <a:t>3</a:t>
            </a:r>
            <a:endParaRPr lang="pt-BR" altLang="pt-BR" smtClean="0"/>
          </a:p>
        </p:txBody>
      </p:sp>
      <p:sp>
        <p:nvSpPr>
          <p:cNvPr id="17412" name="Espaço Reservado para Número de Slid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53054" indent="-289636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58545" indent="-231709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21963" indent="-231709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85381" indent="-231709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48799" indent="-231709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3012216" indent="-231709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75634" indent="-231709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939052" indent="-231709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124396CF-A4D5-4763-95CC-4256B9FD903F}" type="slidenum">
              <a:rPr lang="en-US" altLang="pt-BR" smtClean="0">
                <a:latin typeface="Gill Sans"/>
                <a:ea typeface="ヒラギノ角ゴ ProN W3"/>
                <a:cs typeface="ヒラギノ角ゴ ProN W3"/>
                <a:sym typeface="Gill Sans"/>
              </a:rPr>
              <a:pPr/>
              <a:t>4</a:t>
            </a:fld>
            <a:endParaRPr lang="en-US" altLang="pt-BR" smtClean="0">
              <a:latin typeface="Gill Sans"/>
              <a:ea typeface="ヒラギノ角ゴ ProN W3"/>
              <a:cs typeface="ヒラギノ角ゴ ProN W3"/>
              <a:sym typeface="Gill Sans"/>
            </a:endParaRPr>
          </a:p>
        </p:txBody>
      </p:sp>
    </p:spTree>
    <p:extLst>
      <p:ext uri="{BB962C8B-B14F-4D97-AF65-F5344CB8AC3E}">
        <p14:creationId xmlns:p14="http://schemas.microsoft.com/office/powerpoint/2010/main" val="138134130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7411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en-US" altLang="pt-BR" smtClean="0"/>
              <a:t>3</a:t>
            </a:r>
            <a:endParaRPr lang="pt-BR" altLang="pt-BR" smtClean="0"/>
          </a:p>
        </p:txBody>
      </p:sp>
      <p:sp>
        <p:nvSpPr>
          <p:cNvPr id="17412" name="Espaço Reservado para Número de Slid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53054" indent="-289636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58545" indent="-231709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21963" indent="-231709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85381" indent="-231709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48799" indent="-231709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3012216" indent="-231709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75634" indent="-231709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939052" indent="-231709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124396CF-A4D5-4763-95CC-4256B9FD903F}" type="slidenum">
              <a:rPr lang="en-US" altLang="pt-BR" smtClean="0">
                <a:latin typeface="Gill Sans"/>
                <a:ea typeface="ヒラギノ角ゴ ProN W3"/>
                <a:cs typeface="ヒラギノ角ゴ ProN W3"/>
                <a:sym typeface="Gill Sans"/>
              </a:rPr>
              <a:pPr/>
              <a:t>5</a:t>
            </a:fld>
            <a:endParaRPr lang="en-US" altLang="pt-BR" smtClean="0">
              <a:latin typeface="Gill Sans"/>
              <a:ea typeface="ヒラギノ角ゴ ProN W3"/>
              <a:cs typeface="ヒラギノ角ゴ ProN W3"/>
              <a:sym typeface="Gill Sans"/>
            </a:endParaRPr>
          </a:p>
        </p:txBody>
      </p:sp>
    </p:spTree>
    <p:extLst>
      <p:ext uri="{BB962C8B-B14F-4D97-AF65-F5344CB8AC3E}">
        <p14:creationId xmlns:p14="http://schemas.microsoft.com/office/powerpoint/2010/main" val="108471586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9459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en-US" altLang="pt-BR" smtClean="0"/>
              <a:t>3</a:t>
            </a:r>
            <a:endParaRPr lang="pt-BR" altLang="pt-BR" smtClean="0"/>
          </a:p>
        </p:txBody>
      </p:sp>
      <p:sp>
        <p:nvSpPr>
          <p:cNvPr id="19460" name="Espaço Reservado para Número de Slid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53054" indent="-289636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58545" indent="-231709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21963" indent="-231709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85381" indent="-231709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48799" indent="-231709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3012216" indent="-231709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75634" indent="-231709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939052" indent="-231709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AD2A9DE6-06D6-4EDE-9896-15F3C8515E27}" type="slidenum">
              <a:rPr lang="en-US" altLang="pt-BR" smtClean="0">
                <a:latin typeface="Gill Sans"/>
                <a:ea typeface="ヒラギノ角ゴ ProN W3"/>
                <a:cs typeface="ヒラギノ角ゴ ProN W3"/>
                <a:sym typeface="Gill Sans"/>
              </a:rPr>
              <a:pPr/>
              <a:t>6</a:t>
            </a:fld>
            <a:endParaRPr lang="en-US" altLang="pt-BR" smtClean="0">
              <a:latin typeface="Gill Sans"/>
              <a:ea typeface="ヒラギノ角ゴ ProN W3"/>
              <a:cs typeface="ヒラギノ角ゴ ProN W3"/>
              <a:sym typeface="Gill Sans"/>
            </a:endParaRPr>
          </a:p>
        </p:txBody>
      </p:sp>
    </p:spTree>
    <p:extLst>
      <p:ext uri="{BB962C8B-B14F-4D97-AF65-F5344CB8AC3E}">
        <p14:creationId xmlns:p14="http://schemas.microsoft.com/office/powerpoint/2010/main" val="117897725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3555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en-US" altLang="pt-BR" smtClean="0"/>
              <a:t>3</a:t>
            </a:r>
            <a:endParaRPr lang="pt-BR" altLang="pt-BR" smtClean="0"/>
          </a:p>
        </p:txBody>
      </p:sp>
      <p:sp>
        <p:nvSpPr>
          <p:cNvPr id="23556" name="Espaço Reservado para Número de Slid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53054" indent="-289636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58545" indent="-231709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21963" indent="-231709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85381" indent="-231709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48799" indent="-231709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3012216" indent="-231709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75634" indent="-231709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939052" indent="-231709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63B2EE58-8651-4689-8B2C-8BD13DF1E54F}" type="slidenum">
              <a:rPr lang="en-US" altLang="pt-BR" smtClean="0">
                <a:latin typeface="Calibri" panose="020F0502020204030204" pitchFamily="34" charset="0"/>
              </a:rPr>
              <a:pPr/>
              <a:t>7</a:t>
            </a:fld>
            <a:endParaRPr lang="en-US" altLang="pt-BR" smtClean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006488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7651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en-US" altLang="pt-BR" smtClean="0"/>
              <a:t>3</a:t>
            </a:r>
            <a:endParaRPr lang="pt-BR" altLang="pt-BR" smtClean="0"/>
          </a:p>
        </p:txBody>
      </p:sp>
      <p:sp>
        <p:nvSpPr>
          <p:cNvPr id="27652" name="Espaço Reservado para Número de Slid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53054" indent="-289636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58545" indent="-231709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21963" indent="-231709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85381" indent="-231709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48799" indent="-231709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3012216" indent="-231709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75634" indent="-231709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939052" indent="-231709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69CE1D7B-5510-488E-A597-FAAF5E1B1562}" type="slidenum">
              <a:rPr lang="en-US" altLang="pt-BR" smtClean="0">
                <a:latin typeface="Gill Sans"/>
                <a:ea typeface="ヒラギノ角ゴ ProN W3"/>
                <a:cs typeface="ヒラギノ角ゴ ProN W3"/>
                <a:sym typeface="Gill Sans"/>
              </a:rPr>
              <a:pPr/>
              <a:t>8</a:t>
            </a:fld>
            <a:endParaRPr lang="en-US" altLang="pt-BR" smtClean="0">
              <a:latin typeface="Gill Sans"/>
              <a:ea typeface="ヒラギノ角ゴ ProN W3"/>
              <a:cs typeface="ヒラギノ角ゴ ProN W3"/>
              <a:sym typeface="Gill Sans"/>
            </a:endParaRPr>
          </a:p>
        </p:txBody>
      </p:sp>
    </p:spTree>
    <p:extLst>
      <p:ext uri="{BB962C8B-B14F-4D97-AF65-F5344CB8AC3E}">
        <p14:creationId xmlns:p14="http://schemas.microsoft.com/office/powerpoint/2010/main" val="346281372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8" name="TextShape 1"/>
          <p:cNvSpPr txBox="1"/>
          <p:nvPr/>
        </p:nvSpPr>
        <p:spPr>
          <a:xfrm>
            <a:off x="3850525" y="9428431"/>
            <a:ext cx="2945118" cy="496137"/>
          </a:xfrm>
          <a:prstGeom prst="rect">
            <a:avLst/>
          </a:prstGeom>
          <a:noFill/>
          <a:ln w="9360">
            <a:noFill/>
          </a:ln>
        </p:spPr>
        <p:txBody>
          <a:bodyPr lIns="92684" tIns="46342" rIns="92684" bIns="46342" anchor="b"/>
          <a:lstStyle/>
          <a:p>
            <a:pPr algn="r">
              <a:lnSpc>
                <a:spcPct val="100000"/>
              </a:lnSpc>
            </a:pPr>
            <a:fld id="{590D818E-A6A2-47B3-A908-A91F40CDD850}" type="slidenum">
              <a:rPr lang="pt-BR" sz="1400" spc="-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Arial"/>
              </a:rPr>
              <a:t>10</a:t>
            </a:fld>
            <a:endParaRPr/>
          </a:p>
        </p:txBody>
      </p:sp>
      <p:sp>
        <p:nvSpPr>
          <p:cNvPr id="1099" name="PlaceHolder 2"/>
          <p:cNvSpPr>
            <a:spLocks noGrp="1"/>
          </p:cNvSpPr>
          <p:nvPr>
            <p:ph type="body"/>
          </p:nvPr>
        </p:nvSpPr>
        <p:spPr>
          <a:xfrm>
            <a:off x="681238" y="4715312"/>
            <a:ext cx="5434622" cy="4466696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1834314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04686675"/>
      </p:ext>
    </p:extLst>
  </p:cSld>
  <p:clrMapOvr>
    <a:masterClrMapping/>
  </p:clrMapOvr>
  <p:transition spd="med" advClick="0"/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3051" y="188913"/>
            <a:ext cx="9359900" cy="360362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pt-BR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idx="11"/>
          </p:nvPr>
        </p:nvSpPr>
        <p:spPr>
          <a:xfrm>
            <a:off x="273051" y="549277"/>
            <a:ext cx="9359900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4" tIns="0" rIns="91434" bIns="0" numCol="1" anchor="t" anchorCtr="0" compatLnSpc="1">
            <a:prstTxWarp prst="textNoShape">
              <a:avLst/>
            </a:prstTxWarp>
          </a:bodyPr>
          <a:lstStyle>
            <a:lvl1pPr marL="0" indent="0" algn="l">
              <a:buNone/>
              <a:defRPr lang="en-US" sz="2000" b="0" i="0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Arial" panose="020B0604020202020204" pitchFamily="34" charset="0"/>
                <a:ea typeface="+mn-ea"/>
                <a:cs typeface="Arial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rtl="0" eaLnBrk="0" fontAlgn="base" hangingPunct="0">
              <a:spcBef>
                <a:spcPts val="1200"/>
              </a:spcBef>
              <a:spcAft>
                <a:spcPct val="0"/>
              </a:spcAft>
              <a:buNone/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sz="half" idx="12"/>
          </p:nvPr>
        </p:nvSpPr>
        <p:spPr>
          <a:xfrm>
            <a:off x="273051" y="1268760"/>
            <a:ext cx="9359900" cy="5039965"/>
          </a:xfrm>
        </p:spPr>
        <p:txBody>
          <a:bodyPr rtlCol="0">
            <a:noAutofit/>
          </a:bodyPr>
          <a:lstStyle>
            <a:lvl1pPr algn="l" defTabSz="85953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82"/>
              </a:spcAft>
              <a:buFont typeface="Arial" pitchFamily="34" charset="0"/>
              <a:defRPr lang="en-US" sz="14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itchFamily="34" charset="0"/>
              </a:defRPr>
            </a:lvl1pPr>
            <a:lvl2pPr algn="l" defTabSz="859536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defRPr lang="en-US" sz="1200" kern="1200" dirty="0" smtClean="0">
                <a:solidFill>
                  <a:schemeClr val="tx1"/>
                </a:solidFill>
                <a:latin typeface="+mj-lt"/>
                <a:ea typeface="+mj-ea"/>
                <a:cs typeface="Arial" pitchFamily="34" charset="0"/>
              </a:defRPr>
            </a:lvl2pPr>
            <a:lvl3pPr algn="l" defTabSz="859536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defRPr lang="en-US" sz="1200" kern="1200" dirty="0" smtClean="0">
                <a:solidFill>
                  <a:schemeClr val="tx2"/>
                </a:solidFill>
                <a:latin typeface="+mj-lt"/>
                <a:ea typeface="+mj-ea"/>
                <a:cs typeface="Arial" pitchFamily="34" charset="0"/>
              </a:defRPr>
            </a:lvl3pPr>
            <a:lvl4pPr algn="l" defTabSz="859536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defRPr lang="en-US" sz="1100" kern="1200" dirty="0" smtClean="0">
                <a:solidFill>
                  <a:schemeClr val="tx1"/>
                </a:solidFill>
                <a:latin typeface="+mj-lt"/>
                <a:ea typeface="+mj-ea"/>
                <a:cs typeface="Arial" pitchFamily="34" charset="0"/>
              </a:defRPr>
            </a:lvl4pPr>
            <a:lvl5pPr algn="l" defTabSz="859536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defRPr lang="en-GB" sz="1100" kern="1200" dirty="0" smtClean="0">
                <a:solidFill>
                  <a:schemeClr val="tx2"/>
                </a:solidFill>
                <a:latin typeface="+mj-lt"/>
                <a:ea typeface="+mj-ea"/>
                <a:cs typeface="Arial" pitchFamily="34" charset="0"/>
              </a:defRPr>
            </a:lvl5pPr>
            <a:lvl6pPr>
              <a:defRPr sz="15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Retângulo 5"/>
          <p:cNvSpPr/>
          <p:nvPr userDrawn="1"/>
        </p:nvSpPr>
        <p:spPr bwMode="auto">
          <a:xfrm>
            <a:off x="8049344" y="6617901"/>
            <a:ext cx="1583606" cy="179387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t-BR" sz="1200" b="0" i="0" u="none" strike="noStrike" cap="none" normalizeH="0" baseline="0" smtClean="0">
              <a:ln>
                <a:noFill/>
              </a:ln>
              <a:solidFill>
                <a:schemeClr val="tx2"/>
              </a:solidFill>
              <a:effectLst/>
              <a:latin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35433778"/>
      </p:ext>
    </p:extLst>
  </p:cSld>
  <p:clrMapOvr>
    <a:masterClrMapping/>
  </p:clrMapOvr>
  <p:transition spd="med" advClick="0"/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apa_azul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742950" y="2130428"/>
            <a:ext cx="8420100" cy="14700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pt-BR" smtClean="0"/>
              <a:t>Clique para editar o estilo do título mestre</a:t>
            </a:r>
            <a:endParaRPr lang="pt-BR" dirty="0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495300" y="6356353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3FD99F86-173C-40CE-8ADB-C802AF70A987}" type="datetimeFigureOut">
              <a:rPr lang="pt-BR"/>
              <a:pPr>
                <a:defRPr/>
              </a:pPr>
              <a:t>03/07/2017</a:t>
            </a:fld>
            <a:endParaRPr lang="pt-BR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76361533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ítulo e conteúdo_az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706090"/>
          </a:xfrm>
        </p:spPr>
        <p:txBody>
          <a:bodyPr/>
          <a:lstStyle>
            <a:lvl1pPr algn="l">
              <a:defRPr b="1">
                <a:solidFill>
                  <a:schemeClr val="bg1"/>
                </a:solidFill>
              </a:defRPr>
            </a:lvl1pPr>
          </a:lstStyle>
          <a:p>
            <a:r>
              <a:rPr lang="pt-BR" smtClean="0"/>
              <a:t>Clique para editar o estilo do título mestre</a:t>
            </a:r>
            <a:endParaRPr lang="pt-BR" dirty="0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pt-BR" dirty="0" smtClean="0"/>
              <a:t>Clique para editar os estilos d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  <a:p>
            <a:pPr lvl="4"/>
            <a:r>
              <a:rPr lang="pt-BR" dirty="0" smtClean="0"/>
              <a:t>Quinto nível</a:t>
            </a:r>
            <a:endParaRPr lang="pt-BR" dirty="0"/>
          </a:p>
        </p:txBody>
      </p:sp>
      <p:sp>
        <p:nvSpPr>
          <p:cNvPr id="13" name="Subtítulo 2"/>
          <p:cNvSpPr>
            <a:spLocks noGrp="1"/>
          </p:cNvSpPr>
          <p:nvPr>
            <p:ph type="subTitle" idx="13"/>
          </p:nvPr>
        </p:nvSpPr>
        <p:spPr>
          <a:xfrm>
            <a:off x="506506" y="980728"/>
            <a:ext cx="8892988" cy="432048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1">
                    <a:lumMod val="9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smtClean="0"/>
              <a:t>Clique para editar o estilo do subtítulo mestre</a:t>
            </a:r>
            <a:endParaRPr lang="pt-BR" dirty="0"/>
          </a:p>
        </p:txBody>
      </p:sp>
      <p:sp>
        <p:nvSpPr>
          <p:cNvPr id="5" name="Espaço Reservado para Data 3"/>
          <p:cNvSpPr>
            <a:spLocks noGrp="1"/>
          </p:cNvSpPr>
          <p:nvPr>
            <p:ph type="dt" sz="half" idx="14"/>
          </p:nvPr>
        </p:nvSpPr>
        <p:spPr>
          <a:xfrm>
            <a:off x="495300" y="6356351"/>
            <a:ext cx="8201687" cy="365125"/>
          </a:xfrm>
          <a:prstGeom prst="rect">
            <a:avLst/>
          </a:prstGeom>
        </p:spPr>
        <p:txBody>
          <a:bodyPr rtlCol="0"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pt-BR"/>
              <a:t>Fonte:</a:t>
            </a:r>
          </a:p>
        </p:txBody>
      </p:sp>
    </p:spTree>
    <p:extLst>
      <p:ext uri="{BB962C8B-B14F-4D97-AF65-F5344CB8AC3E}">
        <p14:creationId xmlns:p14="http://schemas.microsoft.com/office/powerpoint/2010/main" val="34597199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394579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447330123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7884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5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73051" y="188913"/>
            <a:ext cx="9359900" cy="360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4" tIns="0" rIns="91434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73051" y="1268413"/>
            <a:ext cx="9359900" cy="5040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4" tIns="45718" rIns="91434" bIns="4571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6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273050" y="6617901"/>
            <a:ext cx="2592000" cy="179387"/>
          </a:xfrm>
          <a:prstGeom prst="rect">
            <a:avLst/>
          </a:prstGeom>
        </p:spPr>
        <p:txBody>
          <a:bodyPr anchor="ctr" anchorCtr="0"/>
          <a:lstStyle>
            <a:lvl1pPr>
              <a:lnSpc>
                <a:spcPts val="1338"/>
              </a:lnSpc>
              <a:defRPr sz="8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0B525F4-7408-4173-B658-C690DB797C1E}" type="slidenum">
              <a:rPr lang="en-US" smtClean="0"/>
              <a:pPr/>
              <a:t>‹nº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51" r:id="rId1"/>
    <p:sldLayoutId id="2147483852" r:id="rId2"/>
    <p:sldLayoutId id="2147483886" r:id="rId3"/>
    <p:sldLayoutId id="2147483888" r:id="rId4"/>
    <p:sldLayoutId id="2147483889" r:id="rId5"/>
    <p:sldLayoutId id="2147483890" r:id="rId6"/>
  </p:sldLayoutIdLst>
  <p:transition spd="med" advClick="0"/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en-US" sz="2400" b="1" dirty="0" smtClean="0">
          <a:solidFill>
            <a:schemeClr val="tx2"/>
          </a:solidFill>
          <a:latin typeface="Arial" panose="020B0604020202020204" pitchFamily="34" charset="0"/>
          <a:ea typeface="+mj-ea"/>
          <a:cs typeface="Arial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imes New Roman" pitchFamily="18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imes New Roman" pitchFamily="18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imes New Roman" pitchFamily="18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imes New Roman" pitchFamily="18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imes New Roman" pitchFamily="18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imes New Roman" pitchFamily="18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imes New Roman" pitchFamily="18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imes New Roman" pitchFamily="18" charset="0"/>
        </a:defRPr>
      </a:lvl9pPr>
    </p:titleStyle>
    <p:bodyStyle>
      <a:lvl1pPr marL="0" indent="0" algn="l" rtl="0" eaLnBrk="1" fontAlgn="base" hangingPunct="1">
        <a:spcBef>
          <a:spcPts val="1200"/>
        </a:spcBef>
        <a:spcAft>
          <a:spcPct val="0"/>
        </a:spcAft>
        <a:defRPr sz="1600">
          <a:solidFill>
            <a:schemeClr val="tx2"/>
          </a:solidFill>
          <a:latin typeface="Arial" panose="020B0604020202020204" pitchFamily="34" charset="0"/>
          <a:ea typeface="+mn-ea"/>
          <a:cs typeface="Arial" pitchFamily="34" charset="0"/>
        </a:defRPr>
      </a:lvl1pPr>
      <a:lvl2pPr marL="360363" indent="-180975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SzPct val="90000"/>
        <a:buFont typeface="Times New Roman" pitchFamily="18" charset="0"/>
        <a:buChar char="●"/>
        <a:defRPr sz="1400">
          <a:solidFill>
            <a:schemeClr val="tx1"/>
          </a:solidFill>
          <a:latin typeface="Arial" panose="020B0604020202020204" pitchFamily="34" charset="0"/>
          <a:cs typeface="Arial" pitchFamily="34" charset="0"/>
        </a:defRPr>
      </a:lvl2pPr>
      <a:lvl3pPr marL="720725" indent="-180975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1200">
          <a:solidFill>
            <a:schemeClr val="tx2"/>
          </a:solidFill>
          <a:latin typeface="Arial" panose="020B0604020202020204" pitchFamily="34" charset="0"/>
          <a:cs typeface="Arial" pitchFamily="34" charset="0"/>
        </a:defRPr>
      </a:lvl3pPr>
      <a:lvl4pPr marL="1081088" indent="-180975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SzPct val="70000"/>
        <a:buFont typeface="Arial" charset="0"/>
        <a:buChar char="►"/>
        <a:defRPr sz="1200">
          <a:solidFill>
            <a:schemeClr val="tx1"/>
          </a:solidFill>
          <a:latin typeface="Arial" panose="020B0604020202020204" pitchFamily="34" charset="0"/>
          <a:cs typeface="Arial" pitchFamily="34" charset="0"/>
        </a:defRPr>
      </a:lvl4pPr>
      <a:lvl5pPr marL="1441450" indent="-180975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»"/>
        <a:defRPr sz="1200">
          <a:solidFill>
            <a:schemeClr val="tx2"/>
          </a:solidFill>
          <a:latin typeface="Arial" panose="020B0604020202020204" pitchFamily="34" charset="0"/>
          <a:cs typeface="Arial" pitchFamily="34" charset="0"/>
        </a:defRPr>
      </a:lvl5pPr>
      <a:lvl6pPr marL="1898650" indent="-180975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»"/>
        <a:defRPr sz="1200">
          <a:solidFill>
            <a:schemeClr val="tx2"/>
          </a:solidFill>
          <a:latin typeface="+mn-lt"/>
        </a:defRPr>
      </a:lvl6pPr>
      <a:lvl7pPr marL="2355850" indent="-180975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»"/>
        <a:defRPr sz="1200">
          <a:solidFill>
            <a:schemeClr val="tx2"/>
          </a:solidFill>
          <a:latin typeface="+mn-lt"/>
        </a:defRPr>
      </a:lvl7pPr>
      <a:lvl8pPr marL="2813050" indent="-180975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»"/>
        <a:defRPr sz="1200">
          <a:solidFill>
            <a:schemeClr val="tx2"/>
          </a:solidFill>
          <a:latin typeface="+mn-lt"/>
        </a:defRPr>
      </a:lvl8pPr>
      <a:lvl9pPr marL="3270250" indent="-180975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»"/>
        <a:defRPr sz="1200">
          <a:solidFill>
            <a:schemeClr val="tx2"/>
          </a:solidFill>
          <a:latin typeface="+mn-lt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image" Target="../media/image16.png"/><Relationship Id="rId18" Type="http://schemas.openxmlformats.org/officeDocument/2006/relationships/image" Target="../media/image21.png"/><Relationship Id="rId3" Type="http://schemas.openxmlformats.org/officeDocument/2006/relationships/image" Target="../media/image6.jpeg"/><Relationship Id="rId21" Type="http://schemas.openxmlformats.org/officeDocument/2006/relationships/image" Target="../media/image24.png"/><Relationship Id="rId7" Type="http://schemas.openxmlformats.org/officeDocument/2006/relationships/image" Target="../media/image10.jpeg"/><Relationship Id="rId12" Type="http://schemas.openxmlformats.org/officeDocument/2006/relationships/image" Target="../media/image15.png"/><Relationship Id="rId17" Type="http://schemas.openxmlformats.org/officeDocument/2006/relationships/image" Target="../media/image20.jpeg"/><Relationship Id="rId2" Type="http://schemas.openxmlformats.org/officeDocument/2006/relationships/notesSlide" Target="../notesSlides/notesSlide9.xml"/><Relationship Id="rId16" Type="http://schemas.openxmlformats.org/officeDocument/2006/relationships/image" Target="../media/image19.png"/><Relationship Id="rId20" Type="http://schemas.openxmlformats.org/officeDocument/2006/relationships/image" Target="../media/image23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9.png"/><Relationship Id="rId11" Type="http://schemas.openxmlformats.org/officeDocument/2006/relationships/image" Target="../media/image14.png"/><Relationship Id="rId24" Type="http://schemas.openxmlformats.org/officeDocument/2006/relationships/image" Target="../media/image1.emf"/><Relationship Id="rId5" Type="http://schemas.openxmlformats.org/officeDocument/2006/relationships/image" Target="../media/image8.jpeg"/><Relationship Id="rId15" Type="http://schemas.openxmlformats.org/officeDocument/2006/relationships/image" Target="../media/image18.png"/><Relationship Id="rId23" Type="http://schemas.openxmlformats.org/officeDocument/2006/relationships/image" Target="../media/image26.gif"/><Relationship Id="rId10" Type="http://schemas.openxmlformats.org/officeDocument/2006/relationships/image" Target="../media/image13.png"/><Relationship Id="rId19" Type="http://schemas.openxmlformats.org/officeDocument/2006/relationships/image" Target="../media/image22.png"/><Relationship Id="rId4" Type="http://schemas.openxmlformats.org/officeDocument/2006/relationships/image" Target="../media/image7.png"/><Relationship Id="rId9" Type="http://schemas.openxmlformats.org/officeDocument/2006/relationships/image" Target="../media/image12.png"/><Relationship Id="rId14" Type="http://schemas.openxmlformats.org/officeDocument/2006/relationships/image" Target="../media/image17.png"/><Relationship Id="rId22" Type="http://schemas.openxmlformats.org/officeDocument/2006/relationships/image" Target="../media/image25.jpe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8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30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1.png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2.xml"/><Relationship Id="rId9" Type="http://schemas.openxmlformats.org/officeDocument/2006/relationships/image" Target="../media/image32.gi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Imagem 1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05295" y="5994258"/>
            <a:ext cx="2149526" cy="531089"/>
          </a:xfrm>
          <a:prstGeom prst="rect">
            <a:avLst/>
          </a:prstGeom>
        </p:spPr>
      </p:pic>
      <p:sp>
        <p:nvSpPr>
          <p:cNvPr id="2" name="CaixaDeTexto 1"/>
          <p:cNvSpPr txBox="1"/>
          <p:nvPr/>
        </p:nvSpPr>
        <p:spPr>
          <a:xfrm>
            <a:off x="-1911927" y="7338951"/>
            <a:ext cx="18473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pt-BR" dirty="0"/>
          </a:p>
        </p:txBody>
      </p:sp>
      <p:sp>
        <p:nvSpPr>
          <p:cNvPr id="5" name="CaixaDeTexto 4"/>
          <p:cNvSpPr txBox="1"/>
          <p:nvPr/>
        </p:nvSpPr>
        <p:spPr>
          <a:xfrm>
            <a:off x="344489" y="684241"/>
            <a:ext cx="9314984" cy="3693319"/>
          </a:xfrm>
          <a:prstGeom prst="rect">
            <a:avLst/>
          </a:prstGeom>
          <a:noFill/>
        </p:spPr>
        <p:txBody>
          <a:bodyPr wrap="square" tIns="0" bIns="0" rtlCol="0">
            <a:spAutoFit/>
            <a:scene3d>
              <a:camera prst="orthographicFront"/>
              <a:lightRig rig="balanced" dir="t"/>
            </a:scene3d>
            <a:sp3d extrusionH="57150" contourW="12700" prstMaterial="matte">
              <a:bevelT w="38100" h="38100" prst="angle"/>
              <a:bevelB w="38100" h="38100" prst="angle"/>
              <a:contourClr>
                <a:schemeClr val="tx1">
                  <a:lumMod val="75000"/>
                  <a:lumOff val="25000"/>
                </a:schemeClr>
              </a:contourClr>
            </a:sp3d>
          </a:bodyPr>
          <a:lstStyle/>
          <a:p>
            <a:pPr algn="ctr"/>
            <a:r>
              <a:rPr lang="pt-BR" sz="4800" b="1" dirty="0" smtClean="0">
                <a:ln>
                  <a:solidFill>
                    <a:schemeClr val="bg1">
                      <a:lumMod val="75000"/>
                    </a:schemeClr>
                  </a:solidFill>
                </a:ln>
                <a:solidFill>
                  <a:schemeClr val="bg1">
                    <a:lumMod val="95000"/>
                  </a:schemeClr>
                </a:solidFill>
                <a:effectLst>
                  <a:glow rad="63500">
                    <a:schemeClr val="accent1">
                      <a:satMod val="175000"/>
                      <a:alpha val="40000"/>
                    </a:scheme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omic Sans MS" charset="0"/>
                <a:ea typeface="Comic Sans MS" charset="0"/>
                <a:cs typeface="Comic Sans MS" charset="0"/>
              </a:rPr>
              <a:t>O Futuro das Companhias Docas e as Funções Essenciais das Autoridades Portuárias para o Desenvolvimento do Setor Portuário</a:t>
            </a:r>
            <a:endParaRPr lang="pt-BR" sz="4800" b="1" dirty="0">
              <a:ln>
                <a:solidFill>
                  <a:schemeClr val="bg1">
                    <a:lumMod val="75000"/>
                  </a:schemeClr>
                </a:solidFill>
              </a:ln>
              <a:solidFill>
                <a:schemeClr val="bg1">
                  <a:lumMod val="95000"/>
                </a:schemeClr>
              </a:solidFill>
              <a:effectLst>
                <a:glow rad="63500">
                  <a:schemeClr val="accent1">
                    <a:satMod val="175000"/>
                    <a:alpha val="40000"/>
                  </a:schemeClr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omic Sans MS" charset="0"/>
              <a:ea typeface="Comic Sans MS" charset="0"/>
              <a:cs typeface="Comic Sans MS" charset="0"/>
            </a:endParaRPr>
          </a:p>
        </p:txBody>
      </p:sp>
      <p:sp>
        <p:nvSpPr>
          <p:cNvPr id="7" name="Subtítulo 2"/>
          <p:cNvSpPr txBox="1">
            <a:spLocks/>
          </p:cNvSpPr>
          <p:nvPr/>
        </p:nvSpPr>
        <p:spPr bwMode="auto">
          <a:xfrm>
            <a:off x="645498" y="5013176"/>
            <a:ext cx="8712967" cy="977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34" tIns="45718" rIns="91434" bIns="45718" numCol="1" anchor="t" anchorCtr="0" compatLnSpc="1">
            <a:prstTxWarp prst="textNoShape">
              <a:avLst/>
            </a:prstTxWarp>
          </a:bodyPr>
          <a:lstStyle>
            <a:lvl1pPr marL="0" indent="0" algn="ctr" rtl="0" eaLnBrk="1" fontAlgn="base" hangingPunct="1">
              <a:spcBef>
                <a:spcPts val="1200"/>
              </a:spcBef>
              <a:spcAft>
                <a:spcPct val="0"/>
              </a:spcAft>
              <a:buNone/>
              <a:defRPr sz="160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ea typeface="+mn-ea"/>
                <a:cs typeface="Arial" pitchFamily="34" charset="0"/>
              </a:defRPr>
            </a:lvl1pPr>
            <a:lvl2pPr marL="457200" indent="0" algn="ctr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90000"/>
              <a:buFont typeface="Times New Roman" pitchFamily="18" charset="0"/>
              <a:buNone/>
              <a:defRPr sz="14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itchFamily="34" charset="0"/>
              </a:defRPr>
            </a:lvl2pPr>
            <a:lvl3pPr marL="914400" indent="0" algn="ctr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None/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itchFamily="34" charset="0"/>
              </a:defRPr>
            </a:lvl3pPr>
            <a:lvl4pPr marL="1371600" indent="0" algn="ctr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70000"/>
              <a:buFont typeface="Arial" charset="0"/>
              <a:buNone/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itchFamily="34" charset="0"/>
              </a:defRPr>
            </a:lvl4pPr>
            <a:lvl5pPr marL="1828800" indent="0" algn="ctr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None/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itchFamily="34" charset="0"/>
              </a:defRPr>
            </a:lvl5pPr>
            <a:lvl6pPr marL="2286000" indent="0" algn="ctr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None/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6pPr>
            <a:lvl7pPr marL="2743200" indent="0" algn="ctr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None/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7pPr>
            <a:lvl8pPr marL="3200400" indent="0" algn="ctr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None/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8pPr>
            <a:lvl9pPr marL="3657600" indent="0" algn="ctr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None/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9pPr>
          </a:lstStyle>
          <a:p>
            <a:pPr marL="0" lvl="2"/>
            <a:r>
              <a:rPr lang="pt-BR" altLang="pt-BR" sz="1600" kern="0" dirty="0" smtClean="0">
                <a:solidFill>
                  <a:srgbClr val="A6A6A6"/>
                </a:solidFill>
                <a:ea typeface="MS PGothic" panose="020B0600070205080204" pitchFamily="34" charset="-128"/>
                <a:cs typeface="Helvetica" panose="020B0604020202020204" pitchFamily="34" charset="0"/>
                <a:sym typeface="Helvetica Neue Medium"/>
              </a:rPr>
              <a:t>Audiência Pública – 04/7/2017</a:t>
            </a:r>
          </a:p>
          <a:p>
            <a:pPr marL="0" lvl="2"/>
            <a:r>
              <a:rPr lang="pt-BR" altLang="pt-BR" sz="1600" kern="0" dirty="0" smtClean="0">
                <a:solidFill>
                  <a:srgbClr val="A6A6A6"/>
                </a:solidFill>
                <a:ea typeface="MS PGothic" panose="020B0600070205080204" pitchFamily="34" charset="-128"/>
                <a:cs typeface="Helvetica" panose="020B0604020202020204" pitchFamily="34" charset="0"/>
                <a:sym typeface="Helvetica Neue Medium"/>
              </a:rPr>
              <a:t>Comissão de Viação e Transportes – Câmara dos Deputados</a:t>
            </a:r>
          </a:p>
          <a:p>
            <a:pPr marL="0" lvl="2"/>
            <a:r>
              <a:rPr lang="pt-BR" altLang="pt-BR" sz="1600" kern="0" dirty="0" smtClean="0">
                <a:solidFill>
                  <a:srgbClr val="A6A6A6"/>
                </a:solidFill>
                <a:ea typeface="MS PGothic" panose="020B0600070205080204" pitchFamily="34" charset="-128"/>
                <a:cs typeface="Helvetica" panose="020B0604020202020204" pitchFamily="34" charset="0"/>
                <a:sym typeface="Helvetica Neue Medium"/>
              </a:rPr>
              <a:t>Secretaria </a:t>
            </a:r>
            <a:r>
              <a:rPr lang="pt-BR" altLang="pt-BR" sz="1600" kern="0" dirty="0">
                <a:solidFill>
                  <a:srgbClr val="A6A6A6"/>
                </a:solidFill>
                <a:ea typeface="MS PGothic" panose="020B0600070205080204" pitchFamily="34" charset="-128"/>
                <a:cs typeface="Helvetica" panose="020B0604020202020204" pitchFamily="34" charset="0"/>
                <a:sym typeface="Helvetica Neue Medium"/>
              </a:rPr>
              <a:t>Nacional de </a:t>
            </a:r>
            <a:r>
              <a:rPr lang="en-US" altLang="pt-BR" sz="1600" kern="0" dirty="0" err="1">
                <a:solidFill>
                  <a:srgbClr val="A6A6A6"/>
                </a:solidFill>
                <a:ea typeface="MS PGothic" panose="020B0600070205080204" pitchFamily="34" charset="-128"/>
                <a:cs typeface="Helvetica" panose="020B0604020202020204" pitchFamily="34" charset="0"/>
                <a:sym typeface="Helvetica Neue Medium"/>
              </a:rPr>
              <a:t>Portos</a:t>
            </a:r>
            <a:endParaRPr lang="en-US" altLang="pt-BR" sz="1600" kern="0" dirty="0">
              <a:solidFill>
                <a:srgbClr val="A6A6A6"/>
              </a:solidFill>
              <a:ea typeface="MS PGothic" panose="020B0600070205080204" pitchFamily="34" charset="-128"/>
              <a:cs typeface="Helvetica" panose="020B0604020202020204" pitchFamily="34" charset="0"/>
              <a:sym typeface="Helvetica Neue Medium"/>
            </a:endParaRPr>
          </a:p>
          <a:p>
            <a:pPr marL="0" lvl="2"/>
            <a:r>
              <a:rPr lang="pt-BR" altLang="pt-BR" sz="2000" kern="0" dirty="0">
                <a:solidFill>
                  <a:srgbClr val="A6A6A6"/>
                </a:solidFill>
                <a:ea typeface="MS PGothic" panose="020B0600070205080204" pitchFamily="34" charset="-128"/>
                <a:cs typeface="Helvetica" panose="020B0604020202020204" pitchFamily="34" charset="0"/>
                <a:sym typeface="Helvetica Neue Medium"/>
              </a:rPr>
              <a:t/>
            </a:r>
            <a:br>
              <a:rPr lang="pt-BR" altLang="pt-BR" sz="2000" kern="0" dirty="0">
                <a:solidFill>
                  <a:srgbClr val="A6A6A6"/>
                </a:solidFill>
                <a:ea typeface="MS PGothic" panose="020B0600070205080204" pitchFamily="34" charset="-128"/>
                <a:cs typeface="Helvetica" panose="020B0604020202020204" pitchFamily="34" charset="0"/>
                <a:sym typeface="Helvetica Neue Medium"/>
              </a:rPr>
            </a:br>
            <a:endParaRPr lang="pt-BR" altLang="pt-BR" sz="2000" kern="0" dirty="0">
              <a:solidFill>
                <a:srgbClr val="A6A6A6"/>
              </a:solidFill>
              <a:ea typeface="MS PGothic" panose="020B0600070205080204" pitchFamily="34" charset="-128"/>
              <a:cs typeface="Helvetica" panose="020B0604020202020204" pitchFamily="34" charset="0"/>
              <a:sym typeface="Helvetica Neue Medium"/>
            </a:endParaRPr>
          </a:p>
        </p:txBody>
      </p:sp>
      <p:pic>
        <p:nvPicPr>
          <p:cNvPr id="8" name="Imagem 19" descr="horizontal.pn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857"/>
          <a:stretch>
            <a:fillRect/>
          </a:stretch>
        </p:blipFill>
        <p:spPr bwMode="auto">
          <a:xfrm>
            <a:off x="5099383" y="5661250"/>
            <a:ext cx="2016125" cy="1012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CaixaDeTexto 8"/>
          <p:cNvSpPr txBox="1"/>
          <p:nvPr/>
        </p:nvSpPr>
        <p:spPr>
          <a:xfrm>
            <a:off x="2463780" y="6132512"/>
            <a:ext cx="2666114" cy="78483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pt-BR" dirty="0">
                <a:solidFill>
                  <a:schemeClr val="bg1">
                    <a:lumMod val="85000"/>
                  </a:schemeClr>
                </a:solidFill>
              </a:rPr>
              <a:t>	    </a:t>
            </a:r>
            <a:r>
              <a:rPr lang="pt-BR" sz="1050" dirty="0">
                <a:solidFill>
                  <a:schemeClr val="bg1">
                    <a:lumMod val="85000"/>
                  </a:schemeClr>
                </a:solidFill>
              </a:rPr>
              <a:t>MINISTÉRIO DOS </a:t>
            </a:r>
          </a:p>
          <a:p>
            <a:pPr>
              <a:defRPr/>
            </a:pPr>
            <a:r>
              <a:rPr lang="pt-BR" sz="1050" b="1" dirty="0">
                <a:solidFill>
                  <a:schemeClr val="bg1">
                    <a:lumMod val="85000"/>
                  </a:schemeClr>
                </a:solidFill>
              </a:rPr>
              <a:t>            TRANSPORTES PORTOS</a:t>
            </a:r>
          </a:p>
          <a:p>
            <a:pPr>
              <a:defRPr/>
            </a:pPr>
            <a:r>
              <a:rPr lang="pt-BR" sz="1050" b="1" dirty="0">
                <a:solidFill>
                  <a:schemeClr val="bg1">
                    <a:lumMod val="85000"/>
                  </a:schemeClr>
                </a:solidFill>
              </a:rPr>
              <a:t>                       E AVIAÇÃO CIVIL</a:t>
            </a:r>
          </a:p>
          <a:p>
            <a:pPr>
              <a:defRPr/>
            </a:pP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0945223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8" name="CustomShape 1"/>
          <p:cNvSpPr/>
          <p:nvPr/>
        </p:nvSpPr>
        <p:spPr>
          <a:xfrm>
            <a:off x="1235520" y="2019960"/>
            <a:ext cx="1799640" cy="4432680"/>
          </a:xfrm>
          <a:prstGeom prst="rect">
            <a:avLst/>
          </a:prstGeom>
          <a:solidFill>
            <a:schemeClr val="bg1"/>
          </a:solidFill>
          <a:ln w="12600">
            <a:solidFill>
              <a:schemeClr val="accent1"/>
            </a:solidFill>
            <a:miter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429" name="CustomShape 2"/>
          <p:cNvSpPr/>
          <p:nvPr/>
        </p:nvSpPr>
        <p:spPr>
          <a:xfrm>
            <a:off x="3097800" y="2019960"/>
            <a:ext cx="1799640" cy="4432680"/>
          </a:xfrm>
          <a:prstGeom prst="rect">
            <a:avLst/>
          </a:prstGeom>
          <a:solidFill>
            <a:schemeClr val="bg1"/>
          </a:solidFill>
          <a:ln w="12600">
            <a:solidFill>
              <a:schemeClr val="accent1"/>
            </a:solidFill>
            <a:miter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tIns="36000" bIns="36000"/>
          <a:lstStyle/>
          <a:p>
            <a:pPr algn="ctr">
              <a:lnSpc>
                <a:spcPct val="100000"/>
              </a:lnSpc>
            </a:pPr>
            <a:r>
              <a:rPr lang="pt-BR" sz="1400" i="1" strike="noStrike" spc="-1">
                <a:solidFill>
                  <a:srgbClr val="002776"/>
                </a:solidFill>
                <a:uFill>
                  <a:solidFill>
                    <a:srgbClr val="FFFFFF"/>
                  </a:solidFill>
                </a:uFill>
                <a:latin typeface="Arial"/>
              </a:rPr>
              <a:t> </a:t>
            </a:r>
            <a:endParaRPr/>
          </a:p>
          <a:p>
            <a:pPr algn="ctr">
              <a:lnSpc>
                <a:spcPct val="100000"/>
              </a:lnSpc>
            </a:pPr>
            <a:endParaRPr/>
          </a:p>
          <a:p>
            <a:pPr algn="ctr">
              <a:lnSpc>
                <a:spcPct val="100000"/>
              </a:lnSpc>
            </a:pPr>
            <a:endParaRPr/>
          </a:p>
          <a:p>
            <a:pPr algn="ctr">
              <a:lnSpc>
                <a:spcPct val="100000"/>
              </a:lnSpc>
            </a:pPr>
            <a:endParaRPr/>
          </a:p>
        </p:txBody>
      </p:sp>
      <p:sp>
        <p:nvSpPr>
          <p:cNvPr id="430" name="CustomShape 3"/>
          <p:cNvSpPr/>
          <p:nvPr/>
        </p:nvSpPr>
        <p:spPr>
          <a:xfrm>
            <a:off x="4966560" y="2019960"/>
            <a:ext cx="1799640" cy="4432680"/>
          </a:xfrm>
          <a:prstGeom prst="rect">
            <a:avLst/>
          </a:prstGeom>
          <a:solidFill>
            <a:schemeClr val="bg1"/>
          </a:solidFill>
          <a:ln w="12600">
            <a:solidFill>
              <a:schemeClr val="accent1"/>
            </a:solidFill>
            <a:miter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431" name="CustomShape 4"/>
          <p:cNvSpPr/>
          <p:nvPr/>
        </p:nvSpPr>
        <p:spPr>
          <a:xfrm>
            <a:off x="6836040" y="2051280"/>
            <a:ext cx="1799640" cy="4401360"/>
          </a:xfrm>
          <a:prstGeom prst="rect">
            <a:avLst/>
          </a:prstGeom>
          <a:solidFill>
            <a:schemeClr val="bg1"/>
          </a:solidFill>
          <a:ln w="12600">
            <a:solidFill>
              <a:schemeClr val="accent1"/>
            </a:solidFill>
            <a:miter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432" name="CustomShape 5"/>
          <p:cNvSpPr/>
          <p:nvPr/>
        </p:nvSpPr>
        <p:spPr>
          <a:xfrm>
            <a:off x="1236600" y="1731960"/>
            <a:ext cx="1799640" cy="673200"/>
          </a:xfrm>
          <a:prstGeom prst="rect">
            <a:avLst/>
          </a:prstGeom>
          <a:ln>
            <a:solidFill>
              <a:srgbClr val="002673"/>
            </a:solidFill>
            <a:rou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/>
        </p:style>
        <p:txBody>
          <a:bodyPr lIns="36000" tIns="36000" rIns="36000" bIns="36000" anchor="ctr" anchorCtr="1"/>
          <a:lstStyle/>
          <a:p>
            <a:pPr algn="ctr">
              <a:lnSpc>
                <a:spcPct val="100000"/>
              </a:lnSpc>
            </a:pPr>
            <a:r>
              <a:rPr lang="pt-BR" sz="1200" b="1" strike="noStrike" spc="-1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Arial"/>
              </a:rPr>
              <a:t>Agentes do Poder Público</a:t>
            </a:r>
            <a:endParaRPr/>
          </a:p>
        </p:txBody>
      </p:sp>
      <p:sp>
        <p:nvSpPr>
          <p:cNvPr id="433" name="CustomShape 6"/>
          <p:cNvSpPr/>
          <p:nvPr/>
        </p:nvSpPr>
        <p:spPr>
          <a:xfrm>
            <a:off x="3097800" y="1731960"/>
            <a:ext cx="1799640" cy="673200"/>
          </a:xfrm>
          <a:prstGeom prst="rect">
            <a:avLst/>
          </a:prstGeom>
          <a:ln>
            <a:solidFill>
              <a:srgbClr val="002673"/>
            </a:solidFill>
            <a:rou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/>
        </p:style>
        <p:txBody>
          <a:bodyPr lIns="36000" tIns="36000" rIns="36000" bIns="36000" anchor="ctr" anchorCtr="1"/>
          <a:lstStyle/>
          <a:p>
            <a:pPr algn="ctr">
              <a:lnSpc>
                <a:spcPct val="100000"/>
              </a:lnSpc>
            </a:pPr>
            <a:r>
              <a:rPr lang="pt-BR" sz="1200" b="1" strike="noStrike" spc="-1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Arial"/>
              </a:rPr>
              <a:t>Clientes da Autoridade Portuária</a:t>
            </a:r>
            <a:endParaRPr/>
          </a:p>
        </p:txBody>
      </p:sp>
      <p:sp>
        <p:nvSpPr>
          <p:cNvPr id="434" name="CustomShape 7"/>
          <p:cNvSpPr/>
          <p:nvPr/>
        </p:nvSpPr>
        <p:spPr>
          <a:xfrm>
            <a:off x="4966560" y="1731960"/>
            <a:ext cx="1799640" cy="673200"/>
          </a:xfrm>
          <a:prstGeom prst="rect">
            <a:avLst/>
          </a:prstGeom>
          <a:ln>
            <a:solidFill>
              <a:srgbClr val="002673"/>
            </a:solidFill>
            <a:rou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/>
        </p:style>
        <p:txBody>
          <a:bodyPr lIns="36000" tIns="36000" rIns="36000" bIns="36000" anchor="ctr" anchorCtr="1"/>
          <a:lstStyle/>
          <a:p>
            <a:pPr algn="ctr">
              <a:lnSpc>
                <a:spcPct val="100000"/>
              </a:lnSpc>
            </a:pPr>
            <a:r>
              <a:rPr lang="pt-BR" sz="1200" b="1" strike="noStrike" spc="-1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Arial"/>
              </a:rPr>
              <a:t>Fornecedores e Parceiros</a:t>
            </a:r>
            <a:endParaRPr/>
          </a:p>
        </p:txBody>
      </p:sp>
      <p:pic>
        <p:nvPicPr>
          <p:cNvPr id="435" name="Picture 2"/>
          <p:cNvPicPr/>
          <p:nvPr/>
        </p:nvPicPr>
        <p:blipFill>
          <a:blip r:embed="rId3"/>
          <a:srcRect l="8792" r="10127"/>
          <a:stretch/>
        </p:blipFill>
        <p:spPr>
          <a:xfrm>
            <a:off x="1352520" y="3933000"/>
            <a:ext cx="898920" cy="722520"/>
          </a:xfrm>
          <a:prstGeom prst="rect">
            <a:avLst/>
          </a:prstGeom>
          <a:ln>
            <a:noFill/>
          </a:ln>
        </p:spPr>
      </p:pic>
      <p:pic>
        <p:nvPicPr>
          <p:cNvPr id="436" name="Picture 32"/>
          <p:cNvPicPr/>
          <p:nvPr/>
        </p:nvPicPr>
        <p:blipFill>
          <a:blip r:embed="rId4"/>
          <a:stretch/>
        </p:blipFill>
        <p:spPr>
          <a:xfrm>
            <a:off x="3759480" y="5290560"/>
            <a:ext cx="1121040" cy="528120"/>
          </a:xfrm>
          <a:prstGeom prst="rect">
            <a:avLst/>
          </a:prstGeom>
          <a:ln>
            <a:noFill/>
          </a:ln>
        </p:spPr>
      </p:pic>
      <p:pic>
        <p:nvPicPr>
          <p:cNvPr id="437" name="Picture 2"/>
          <p:cNvPicPr/>
          <p:nvPr/>
        </p:nvPicPr>
        <p:blipFill>
          <a:blip r:embed="rId5"/>
          <a:stretch/>
        </p:blipFill>
        <p:spPr>
          <a:xfrm>
            <a:off x="3177720" y="5851080"/>
            <a:ext cx="979200" cy="587160"/>
          </a:xfrm>
          <a:prstGeom prst="rect">
            <a:avLst/>
          </a:prstGeom>
          <a:ln>
            <a:noFill/>
          </a:ln>
        </p:spPr>
      </p:pic>
      <p:pic>
        <p:nvPicPr>
          <p:cNvPr id="438" name="Picture 4"/>
          <p:cNvPicPr/>
          <p:nvPr/>
        </p:nvPicPr>
        <p:blipFill>
          <a:blip r:embed="rId6"/>
          <a:stretch/>
        </p:blipFill>
        <p:spPr>
          <a:xfrm>
            <a:off x="5183280" y="5382360"/>
            <a:ext cx="690840" cy="957960"/>
          </a:xfrm>
          <a:prstGeom prst="rect">
            <a:avLst/>
          </a:prstGeom>
          <a:ln>
            <a:noFill/>
          </a:ln>
        </p:spPr>
      </p:pic>
      <p:sp>
        <p:nvSpPr>
          <p:cNvPr id="439" name="CustomShape 8"/>
          <p:cNvSpPr/>
          <p:nvPr/>
        </p:nvSpPr>
        <p:spPr>
          <a:xfrm>
            <a:off x="6836040" y="1731960"/>
            <a:ext cx="1799640" cy="673200"/>
          </a:xfrm>
          <a:prstGeom prst="rect">
            <a:avLst/>
          </a:prstGeom>
          <a:ln>
            <a:solidFill>
              <a:srgbClr val="002673"/>
            </a:solidFill>
            <a:rou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/>
        </p:style>
        <p:txBody>
          <a:bodyPr lIns="36000" tIns="36000" rIns="36000" bIns="36000" anchor="ctr" anchorCtr="1"/>
          <a:lstStyle/>
          <a:p>
            <a:pPr algn="ctr">
              <a:lnSpc>
                <a:spcPct val="100000"/>
              </a:lnSpc>
            </a:pPr>
            <a:r>
              <a:rPr lang="pt-BR" sz="1200" b="1" strike="noStrike" spc="-1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Arial"/>
              </a:rPr>
              <a:t>Representante dos Trabalhadores</a:t>
            </a:r>
            <a:endParaRPr/>
          </a:p>
        </p:txBody>
      </p:sp>
      <p:pic>
        <p:nvPicPr>
          <p:cNvPr id="440" name="Picture 12"/>
          <p:cNvPicPr/>
          <p:nvPr/>
        </p:nvPicPr>
        <p:blipFill>
          <a:blip r:embed="rId7"/>
          <a:srcRect t="26127" b="14378"/>
          <a:stretch/>
        </p:blipFill>
        <p:spPr>
          <a:xfrm>
            <a:off x="6935760" y="3655080"/>
            <a:ext cx="1213200" cy="406800"/>
          </a:xfrm>
          <a:prstGeom prst="rect">
            <a:avLst/>
          </a:prstGeom>
          <a:ln>
            <a:noFill/>
          </a:ln>
        </p:spPr>
      </p:pic>
      <p:sp>
        <p:nvSpPr>
          <p:cNvPr id="441" name="TextShape 9"/>
          <p:cNvSpPr txBox="1"/>
          <p:nvPr/>
        </p:nvSpPr>
        <p:spPr>
          <a:xfrm>
            <a:off x="272880" y="189000"/>
            <a:ext cx="9359640" cy="360000"/>
          </a:xfrm>
          <a:prstGeom prst="rect">
            <a:avLst/>
          </a:prstGeom>
          <a:noFill/>
          <a:ln>
            <a:noFill/>
          </a:ln>
        </p:spPr>
        <p:txBody>
          <a:bodyPr tIns="0" bIns="0" anchor="b"/>
          <a:lstStyle/>
          <a:p>
            <a:pPr>
              <a:lnSpc>
                <a:spcPct val="100000"/>
              </a:lnSpc>
            </a:pPr>
            <a:r>
              <a:rPr lang="en-US" sz="2400" b="1" strike="noStrike" spc="-1">
                <a:solidFill>
                  <a:srgbClr val="002776"/>
                </a:solidFill>
                <a:uFill>
                  <a:solidFill>
                    <a:srgbClr val="FFFFFF"/>
                  </a:solidFill>
                </a:uFill>
                <a:latin typeface="Arial"/>
              </a:rPr>
              <a:t>Entendimento de estratégias e restrições dos portos</a:t>
            </a:r>
            <a:endParaRPr/>
          </a:p>
        </p:txBody>
      </p:sp>
      <p:sp>
        <p:nvSpPr>
          <p:cNvPr id="442" name="TextShape 10"/>
          <p:cNvSpPr txBox="1"/>
          <p:nvPr/>
        </p:nvSpPr>
        <p:spPr>
          <a:xfrm>
            <a:off x="272880" y="6617880"/>
            <a:ext cx="2591640" cy="178920"/>
          </a:xfrm>
          <a:prstGeom prst="rect">
            <a:avLst/>
          </a:prstGeom>
          <a:noFill/>
          <a:ln>
            <a:noFill/>
          </a:ln>
        </p:spPr>
        <p:txBody>
          <a:bodyPr lIns="90000" tIns="45000" rIns="90000" bIns="45000" anchor="ctr"/>
          <a:lstStyle/>
          <a:p>
            <a:pPr>
              <a:lnSpc>
                <a:spcPct val="100000"/>
              </a:lnSpc>
            </a:pPr>
            <a:fld id="{450657DD-922B-4EBC-9DFE-227FC59ED57D}" type="slidenum">
              <a:rPr lang="pt-BR" sz="800" strike="noStrike" spc="-1">
                <a:solidFill>
                  <a:srgbClr val="002776"/>
                </a:solidFill>
                <a:uFill>
                  <a:solidFill>
                    <a:srgbClr val="FFFFFF"/>
                  </a:solidFill>
                </a:uFill>
                <a:latin typeface="Arial"/>
              </a:rPr>
              <a:t>10</a:t>
            </a:fld>
            <a:r>
              <a:rPr lang="pt-BR" sz="800" strike="noStrike" spc="-1">
                <a:solidFill>
                  <a:srgbClr val="002776"/>
                </a:solidFill>
                <a:uFill>
                  <a:solidFill>
                    <a:srgbClr val="FFFFFF"/>
                  </a:solidFill>
                </a:uFill>
                <a:latin typeface="Arial"/>
              </a:rPr>
              <a:t> </a:t>
            </a:r>
            <a:endParaRPr/>
          </a:p>
        </p:txBody>
      </p:sp>
      <p:sp>
        <p:nvSpPr>
          <p:cNvPr id="443" name="TextShape 11"/>
          <p:cNvSpPr txBox="1"/>
          <p:nvPr/>
        </p:nvSpPr>
        <p:spPr>
          <a:xfrm>
            <a:off x="272880" y="549360"/>
            <a:ext cx="9359640" cy="358560"/>
          </a:xfrm>
          <a:prstGeom prst="rect">
            <a:avLst/>
          </a:prstGeom>
          <a:noFill/>
          <a:ln w="9360">
            <a:noFill/>
          </a:ln>
        </p:spPr>
        <p:txBody>
          <a:bodyPr tIns="0" bIns="0"/>
          <a:lstStyle/>
          <a:p>
            <a:pPr>
              <a:lnSpc>
                <a:spcPct val="100000"/>
              </a:lnSpc>
            </a:pPr>
            <a:r>
              <a:rPr lang="en-US" sz="2000" strike="noStrike" spc="-1">
                <a:solidFill>
                  <a:srgbClr val="1462FF"/>
                </a:solidFill>
                <a:uFill>
                  <a:solidFill>
                    <a:srgbClr val="FFFFFF"/>
                  </a:solidFill>
                </a:uFill>
                <a:latin typeface="Arial"/>
              </a:rPr>
              <a:t>Entrevistas com os principais envolvidos	</a:t>
            </a:r>
            <a:endParaRPr/>
          </a:p>
        </p:txBody>
      </p:sp>
      <p:sp>
        <p:nvSpPr>
          <p:cNvPr id="444" name="CustomShape 12"/>
          <p:cNvSpPr/>
          <p:nvPr/>
        </p:nvSpPr>
        <p:spPr>
          <a:xfrm>
            <a:off x="272880" y="907920"/>
            <a:ext cx="9359640" cy="72432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/>
          <a:lstStyle/>
          <a:p>
            <a:pPr>
              <a:lnSpc>
                <a:spcPct val="100000"/>
              </a:lnSpc>
            </a:pPr>
            <a:r>
              <a:rPr lang="pt-BR" sz="1400" strike="noStrike" spc="-1" dirty="0">
                <a:solidFill>
                  <a:srgbClr val="002776"/>
                </a:solidFill>
                <a:uFill>
                  <a:solidFill>
                    <a:srgbClr val="FFFFFF"/>
                  </a:solidFill>
                </a:uFill>
                <a:latin typeface="Arial"/>
              </a:rPr>
              <a:t>Realização de entrevistas com entidades e empresas conforme indicações das empresas e da </a:t>
            </a:r>
            <a:r>
              <a:rPr lang="pt-BR" sz="1400" strike="noStrike" spc="-1" dirty="0" smtClean="0">
                <a:solidFill>
                  <a:srgbClr val="002776"/>
                </a:solidFill>
                <a:uFill>
                  <a:solidFill>
                    <a:srgbClr val="FFFFFF"/>
                  </a:solidFill>
                </a:uFill>
                <a:latin typeface="Arial"/>
              </a:rPr>
              <a:t>SNP</a:t>
            </a:r>
            <a:r>
              <a:rPr lang="pt-BR" sz="1400" strike="noStrike" spc="-1" dirty="0">
                <a:solidFill>
                  <a:srgbClr val="002776"/>
                </a:solidFill>
                <a:uFill>
                  <a:solidFill>
                    <a:srgbClr val="FFFFFF"/>
                  </a:solidFill>
                </a:uFill>
                <a:latin typeface="Arial"/>
              </a:rPr>
              <a:t>. Seu objetivo foi de apresentar o projeto para o setor e identificar os principais entraves e oportunidades dos processos portuários. </a:t>
            </a:r>
            <a:r>
              <a:rPr lang="pt-BR" sz="1400" strike="noStrike" spc="-1" dirty="0" smtClean="0">
                <a:solidFill>
                  <a:srgbClr val="002776"/>
                </a:solidFill>
                <a:uFill>
                  <a:solidFill>
                    <a:srgbClr val="FFFFFF"/>
                  </a:solidFill>
                </a:uFill>
                <a:latin typeface="Arial"/>
              </a:rPr>
              <a:t>Alguns </a:t>
            </a:r>
            <a:r>
              <a:rPr lang="pt-BR" sz="1400" strike="noStrike" spc="-1" dirty="0">
                <a:solidFill>
                  <a:srgbClr val="002776"/>
                </a:solidFill>
                <a:uFill>
                  <a:solidFill>
                    <a:srgbClr val="FFFFFF"/>
                  </a:solidFill>
                </a:uFill>
                <a:latin typeface="Arial"/>
              </a:rPr>
              <a:t>exemplos das entidades e empresas entrevistadas:</a:t>
            </a:r>
            <a:endParaRPr dirty="0"/>
          </a:p>
        </p:txBody>
      </p:sp>
      <p:pic>
        <p:nvPicPr>
          <p:cNvPr id="445" name="Picture 41"/>
          <p:cNvPicPr/>
          <p:nvPr/>
        </p:nvPicPr>
        <p:blipFill>
          <a:blip r:embed="rId8"/>
          <a:srcRect l="1057" t="55784" r="83100" b="25497"/>
          <a:stretch/>
        </p:blipFill>
        <p:spPr>
          <a:xfrm>
            <a:off x="3800880" y="4472640"/>
            <a:ext cx="1061640" cy="324000"/>
          </a:xfrm>
          <a:prstGeom prst="rect">
            <a:avLst/>
          </a:prstGeom>
          <a:ln>
            <a:noFill/>
          </a:ln>
        </p:spPr>
      </p:pic>
      <p:pic>
        <p:nvPicPr>
          <p:cNvPr id="446" name="Picture 42"/>
          <p:cNvPicPr/>
          <p:nvPr/>
        </p:nvPicPr>
        <p:blipFill>
          <a:blip r:embed="rId8"/>
          <a:srcRect l="31509" t="47676" r="51592" b="19642"/>
          <a:stretch/>
        </p:blipFill>
        <p:spPr>
          <a:xfrm>
            <a:off x="3152880" y="4711320"/>
            <a:ext cx="1132560" cy="566280"/>
          </a:xfrm>
          <a:prstGeom prst="rect">
            <a:avLst/>
          </a:prstGeom>
          <a:ln>
            <a:noFill/>
          </a:ln>
        </p:spPr>
      </p:pic>
      <p:pic>
        <p:nvPicPr>
          <p:cNvPr id="447" name="Picture 43"/>
          <p:cNvPicPr/>
          <p:nvPr/>
        </p:nvPicPr>
        <p:blipFill>
          <a:blip r:embed="rId9"/>
          <a:srcRect l="20621" t="26656" r="60191" b="19992"/>
          <a:stretch/>
        </p:blipFill>
        <p:spPr>
          <a:xfrm>
            <a:off x="1712520" y="3429000"/>
            <a:ext cx="1285920" cy="660600"/>
          </a:xfrm>
          <a:prstGeom prst="rect">
            <a:avLst/>
          </a:prstGeom>
          <a:ln>
            <a:noFill/>
          </a:ln>
        </p:spPr>
      </p:pic>
      <p:pic>
        <p:nvPicPr>
          <p:cNvPr id="448" name="Picture 44"/>
          <p:cNvPicPr/>
          <p:nvPr/>
        </p:nvPicPr>
        <p:blipFill>
          <a:blip r:embed="rId9"/>
          <a:srcRect l="62344" t="31430" r="861" b="35230"/>
          <a:stretch/>
        </p:blipFill>
        <p:spPr>
          <a:xfrm>
            <a:off x="1352520" y="4653000"/>
            <a:ext cx="1616040" cy="340920"/>
          </a:xfrm>
          <a:prstGeom prst="rect">
            <a:avLst/>
          </a:prstGeom>
          <a:ln>
            <a:noFill/>
          </a:ln>
        </p:spPr>
      </p:pic>
      <p:pic>
        <p:nvPicPr>
          <p:cNvPr id="449" name="Picture 45"/>
          <p:cNvPicPr/>
          <p:nvPr/>
        </p:nvPicPr>
        <p:blipFill>
          <a:blip r:embed="rId10"/>
          <a:srcRect l="54483" t="7060" r="19814" b="75896"/>
          <a:stretch/>
        </p:blipFill>
        <p:spPr>
          <a:xfrm>
            <a:off x="3251880" y="3459960"/>
            <a:ext cx="1423800" cy="399600"/>
          </a:xfrm>
          <a:prstGeom prst="rect">
            <a:avLst/>
          </a:prstGeom>
          <a:ln>
            <a:noFill/>
          </a:ln>
        </p:spPr>
      </p:pic>
      <p:pic>
        <p:nvPicPr>
          <p:cNvPr id="450" name="Picture 46"/>
          <p:cNvPicPr/>
          <p:nvPr/>
        </p:nvPicPr>
        <p:blipFill>
          <a:blip r:embed="rId10"/>
          <a:srcRect l="30544" t="33254" r="51853" b="47212"/>
          <a:stretch/>
        </p:blipFill>
        <p:spPr>
          <a:xfrm>
            <a:off x="3224880" y="3865680"/>
            <a:ext cx="974880" cy="457920"/>
          </a:xfrm>
          <a:prstGeom prst="rect">
            <a:avLst/>
          </a:prstGeom>
          <a:ln>
            <a:noFill/>
          </a:ln>
        </p:spPr>
      </p:pic>
      <p:pic>
        <p:nvPicPr>
          <p:cNvPr id="451" name="Picture 47"/>
          <p:cNvPicPr/>
          <p:nvPr/>
        </p:nvPicPr>
        <p:blipFill>
          <a:blip r:embed="rId11"/>
          <a:srcRect l="45091" t="3330" r="38890" b="67767"/>
          <a:stretch/>
        </p:blipFill>
        <p:spPr>
          <a:xfrm>
            <a:off x="5661000" y="3940560"/>
            <a:ext cx="1073520" cy="613440"/>
          </a:xfrm>
          <a:prstGeom prst="rect">
            <a:avLst/>
          </a:prstGeom>
          <a:ln>
            <a:noFill/>
          </a:ln>
        </p:spPr>
      </p:pic>
      <p:pic>
        <p:nvPicPr>
          <p:cNvPr id="452" name="Picture 48"/>
          <p:cNvPicPr/>
          <p:nvPr/>
        </p:nvPicPr>
        <p:blipFill>
          <a:blip r:embed="rId11"/>
          <a:srcRect l="25727" t="3895" r="58957" b="59427"/>
          <a:stretch/>
        </p:blipFill>
        <p:spPr>
          <a:xfrm>
            <a:off x="5032800" y="4552920"/>
            <a:ext cx="1026360" cy="778680"/>
          </a:xfrm>
          <a:prstGeom prst="rect">
            <a:avLst/>
          </a:prstGeom>
          <a:ln>
            <a:noFill/>
          </a:ln>
        </p:spPr>
      </p:pic>
      <p:pic>
        <p:nvPicPr>
          <p:cNvPr id="453" name="Picture 683"/>
          <p:cNvPicPr/>
          <p:nvPr/>
        </p:nvPicPr>
        <p:blipFill>
          <a:blip r:embed="rId12"/>
          <a:stretch/>
        </p:blipFill>
        <p:spPr>
          <a:xfrm>
            <a:off x="2072520" y="5085360"/>
            <a:ext cx="923040" cy="624600"/>
          </a:xfrm>
          <a:prstGeom prst="rect">
            <a:avLst/>
          </a:prstGeom>
          <a:ln>
            <a:noFill/>
          </a:ln>
        </p:spPr>
      </p:pic>
      <p:pic>
        <p:nvPicPr>
          <p:cNvPr id="454" name="Picture 690"/>
          <p:cNvPicPr/>
          <p:nvPr/>
        </p:nvPicPr>
        <p:blipFill>
          <a:blip r:embed="rId13"/>
          <a:stretch/>
        </p:blipFill>
        <p:spPr>
          <a:xfrm>
            <a:off x="1280520" y="5661360"/>
            <a:ext cx="748800" cy="748800"/>
          </a:xfrm>
          <a:prstGeom prst="rect">
            <a:avLst/>
          </a:prstGeom>
          <a:ln>
            <a:noFill/>
          </a:ln>
        </p:spPr>
      </p:pic>
      <p:pic>
        <p:nvPicPr>
          <p:cNvPr id="455" name="Picture 676"/>
          <p:cNvPicPr/>
          <p:nvPr/>
        </p:nvPicPr>
        <p:blipFill>
          <a:blip r:embed="rId14"/>
          <a:stretch/>
        </p:blipFill>
        <p:spPr>
          <a:xfrm>
            <a:off x="3267360" y="2764080"/>
            <a:ext cx="577800" cy="554040"/>
          </a:xfrm>
          <a:prstGeom prst="rect">
            <a:avLst/>
          </a:prstGeom>
          <a:ln>
            <a:noFill/>
          </a:ln>
        </p:spPr>
      </p:pic>
      <p:pic>
        <p:nvPicPr>
          <p:cNvPr id="456" name="Picture 681"/>
          <p:cNvPicPr/>
          <p:nvPr/>
        </p:nvPicPr>
        <p:blipFill>
          <a:blip r:embed="rId15"/>
          <a:stretch/>
        </p:blipFill>
        <p:spPr>
          <a:xfrm>
            <a:off x="3863160" y="2917080"/>
            <a:ext cx="898200" cy="485640"/>
          </a:xfrm>
          <a:prstGeom prst="rect">
            <a:avLst/>
          </a:prstGeom>
          <a:ln>
            <a:noFill/>
          </a:ln>
        </p:spPr>
      </p:pic>
      <p:pic>
        <p:nvPicPr>
          <p:cNvPr id="457" name="Picture 682"/>
          <p:cNvPicPr/>
          <p:nvPr/>
        </p:nvPicPr>
        <p:blipFill>
          <a:blip r:embed="rId16"/>
          <a:stretch/>
        </p:blipFill>
        <p:spPr>
          <a:xfrm>
            <a:off x="5447880" y="2858040"/>
            <a:ext cx="1055880" cy="410400"/>
          </a:xfrm>
          <a:prstGeom prst="rect">
            <a:avLst/>
          </a:prstGeom>
          <a:ln>
            <a:noFill/>
          </a:ln>
        </p:spPr>
      </p:pic>
      <p:sp>
        <p:nvSpPr>
          <p:cNvPr id="458" name="CustomShape 13"/>
          <p:cNvSpPr/>
          <p:nvPr/>
        </p:nvSpPr>
        <p:spPr>
          <a:xfrm>
            <a:off x="5747040" y="3196440"/>
            <a:ext cx="1007640" cy="24264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/>
          <a:lstStyle/>
          <a:p>
            <a:pPr>
              <a:lnSpc>
                <a:spcPct val="100000"/>
              </a:lnSpc>
            </a:pPr>
            <a:r>
              <a:rPr lang="pt-BR" sz="1000" b="1" strike="noStrike" spc="-1">
                <a:solidFill>
                  <a:srgbClr val="808080"/>
                </a:solidFill>
                <a:uFill>
                  <a:solidFill>
                    <a:srgbClr val="FFFFFF"/>
                  </a:solidFill>
                </a:uFill>
                <a:latin typeface="Arial"/>
              </a:rPr>
              <a:t>Rebocadores</a:t>
            </a:r>
            <a:endParaRPr/>
          </a:p>
        </p:txBody>
      </p:sp>
      <p:pic>
        <p:nvPicPr>
          <p:cNvPr id="459" name="Picture 678"/>
          <p:cNvPicPr/>
          <p:nvPr/>
        </p:nvPicPr>
        <p:blipFill>
          <a:blip r:embed="rId17"/>
          <a:stretch/>
        </p:blipFill>
        <p:spPr>
          <a:xfrm>
            <a:off x="5049720" y="3343320"/>
            <a:ext cx="698400" cy="698400"/>
          </a:xfrm>
          <a:prstGeom prst="rect">
            <a:avLst/>
          </a:prstGeom>
          <a:ln>
            <a:noFill/>
          </a:ln>
        </p:spPr>
      </p:pic>
      <p:pic>
        <p:nvPicPr>
          <p:cNvPr id="460" name="Picture 674"/>
          <p:cNvPicPr/>
          <p:nvPr/>
        </p:nvPicPr>
        <p:blipFill>
          <a:blip r:embed="rId18"/>
          <a:stretch/>
        </p:blipFill>
        <p:spPr>
          <a:xfrm>
            <a:off x="6969240" y="5738400"/>
            <a:ext cx="647640" cy="647640"/>
          </a:xfrm>
          <a:prstGeom prst="rect">
            <a:avLst/>
          </a:prstGeom>
          <a:ln>
            <a:noFill/>
          </a:ln>
        </p:spPr>
      </p:pic>
      <p:pic>
        <p:nvPicPr>
          <p:cNvPr id="461" name="Picture 675"/>
          <p:cNvPicPr/>
          <p:nvPr/>
        </p:nvPicPr>
        <p:blipFill>
          <a:blip r:embed="rId19"/>
          <a:stretch/>
        </p:blipFill>
        <p:spPr>
          <a:xfrm>
            <a:off x="6942600" y="4221000"/>
            <a:ext cx="719640" cy="719640"/>
          </a:xfrm>
          <a:prstGeom prst="rect">
            <a:avLst/>
          </a:prstGeom>
          <a:ln>
            <a:noFill/>
          </a:ln>
        </p:spPr>
      </p:pic>
      <p:pic>
        <p:nvPicPr>
          <p:cNvPr id="462" name="Picture 5"/>
          <p:cNvPicPr/>
          <p:nvPr/>
        </p:nvPicPr>
        <p:blipFill>
          <a:blip r:embed="rId20"/>
          <a:stretch/>
        </p:blipFill>
        <p:spPr>
          <a:xfrm>
            <a:off x="7301520" y="2862720"/>
            <a:ext cx="1277280" cy="596880"/>
          </a:xfrm>
          <a:prstGeom prst="rect">
            <a:avLst/>
          </a:prstGeom>
          <a:ln>
            <a:noFill/>
          </a:ln>
        </p:spPr>
      </p:pic>
      <p:sp>
        <p:nvSpPr>
          <p:cNvPr id="463" name="CustomShape 14"/>
          <p:cNvSpPr/>
          <p:nvPr/>
        </p:nvSpPr>
        <p:spPr>
          <a:xfrm>
            <a:off x="1514160" y="2426400"/>
            <a:ext cx="1295640" cy="30384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ctr"/>
          <a:lstStyle/>
          <a:p>
            <a:pPr algn="ctr">
              <a:lnSpc>
                <a:spcPct val="100000"/>
              </a:lnSpc>
            </a:pPr>
            <a:r>
              <a:rPr lang="pt-BR" sz="1400" b="1" i="1" strike="noStrike" spc="-1">
                <a:solidFill>
                  <a:srgbClr val="002776"/>
                </a:solidFill>
                <a:uFill>
                  <a:solidFill>
                    <a:srgbClr val="FFFFFF"/>
                  </a:solidFill>
                </a:uFill>
                <a:latin typeface="Verdana"/>
              </a:rPr>
              <a:t>Exemplos:</a:t>
            </a:r>
            <a:endParaRPr/>
          </a:p>
        </p:txBody>
      </p:sp>
      <p:sp>
        <p:nvSpPr>
          <p:cNvPr id="464" name="CustomShape 15"/>
          <p:cNvSpPr/>
          <p:nvPr/>
        </p:nvSpPr>
        <p:spPr>
          <a:xfrm>
            <a:off x="3350880" y="2426400"/>
            <a:ext cx="1295640" cy="30384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ctr"/>
          <a:lstStyle/>
          <a:p>
            <a:pPr algn="ctr">
              <a:lnSpc>
                <a:spcPct val="100000"/>
              </a:lnSpc>
            </a:pPr>
            <a:r>
              <a:rPr lang="pt-BR" sz="1400" b="1" i="1" strike="noStrike" spc="-1">
                <a:solidFill>
                  <a:srgbClr val="002776"/>
                </a:solidFill>
                <a:uFill>
                  <a:solidFill>
                    <a:srgbClr val="FFFFFF"/>
                  </a:solidFill>
                </a:uFill>
                <a:latin typeface="Verdana"/>
              </a:rPr>
              <a:t>Exemplos:</a:t>
            </a:r>
            <a:endParaRPr/>
          </a:p>
        </p:txBody>
      </p:sp>
      <p:sp>
        <p:nvSpPr>
          <p:cNvPr id="465" name="CustomShape 16"/>
          <p:cNvSpPr/>
          <p:nvPr/>
        </p:nvSpPr>
        <p:spPr>
          <a:xfrm>
            <a:off x="5218200" y="2426400"/>
            <a:ext cx="1295640" cy="30384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ctr"/>
          <a:lstStyle/>
          <a:p>
            <a:pPr algn="ctr">
              <a:lnSpc>
                <a:spcPct val="100000"/>
              </a:lnSpc>
            </a:pPr>
            <a:r>
              <a:rPr lang="pt-BR" sz="1400" b="1" i="1" strike="noStrike" spc="-1">
                <a:solidFill>
                  <a:srgbClr val="002776"/>
                </a:solidFill>
                <a:uFill>
                  <a:solidFill>
                    <a:srgbClr val="FFFFFF"/>
                  </a:solidFill>
                </a:uFill>
                <a:latin typeface="Verdana"/>
              </a:rPr>
              <a:t>Exemplos:</a:t>
            </a:r>
            <a:endParaRPr/>
          </a:p>
        </p:txBody>
      </p:sp>
      <p:sp>
        <p:nvSpPr>
          <p:cNvPr id="466" name="CustomShape 17"/>
          <p:cNvSpPr/>
          <p:nvPr/>
        </p:nvSpPr>
        <p:spPr>
          <a:xfrm>
            <a:off x="7106400" y="2426400"/>
            <a:ext cx="1295640" cy="30384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ctr"/>
          <a:lstStyle/>
          <a:p>
            <a:pPr algn="ctr">
              <a:lnSpc>
                <a:spcPct val="100000"/>
              </a:lnSpc>
            </a:pPr>
            <a:r>
              <a:rPr lang="pt-BR" sz="1400" b="1" i="1" strike="noStrike" spc="-1">
                <a:solidFill>
                  <a:srgbClr val="002776"/>
                </a:solidFill>
                <a:uFill>
                  <a:solidFill>
                    <a:srgbClr val="FFFFFF"/>
                  </a:solidFill>
                </a:uFill>
                <a:latin typeface="Verdana"/>
              </a:rPr>
              <a:t>Exemplos:</a:t>
            </a:r>
            <a:endParaRPr/>
          </a:p>
        </p:txBody>
      </p:sp>
      <p:pic>
        <p:nvPicPr>
          <p:cNvPr id="467" name="Picture 3"/>
          <p:cNvPicPr/>
          <p:nvPr/>
        </p:nvPicPr>
        <p:blipFill>
          <a:blip r:embed="rId21"/>
          <a:stretch/>
        </p:blipFill>
        <p:spPr>
          <a:xfrm>
            <a:off x="7349040" y="5085360"/>
            <a:ext cx="1218960" cy="371160"/>
          </a:xfrm>
          <a:prstGeom prst="rect">
            <a:avLst/>
          </a:prstGeom>
          <a:ln>
            <a:noFill/>
          </a:ln>
        </p:spPr>
      </p:pic>
      <p:pic>
        <p:nvPicPr>
          <p:cNvPr id="468" name="Picture 21"/>
          <p:cNvPicPr/>
          <p:nvPr/>
        </p:nvPicPr>
        <p:blipFill>
          <a:blip r:embed="rId22"/>
          <a:stretch/>
        </p:blipFill>
        <p:spPr>
          <a:xfrm>
            <a:off x="6161040" y="5280840"/>
            <a:ext cx="506880" cy="469800"/>
          </a:xfrm>
          <a:prstGeom prst="rect">
            <a:avLst/>
          </a:prstGeom>
          <a:ln>
            <a:noFill/>
          </a:ln>
        </p:spPr>
      </p:pic>
      <p:pic>
        <p:nvPicPr>
          <p:cNvPr id="469" name="Picture 11"/>
          <p:cNvPicPr/>
          <p:nvPr/>
        </p:nvPicPr>
        <p:blipFill>
          <a:blip r:embed="rId23"/>
          <a:srcRect l="18117" r="15454"/>
          <a:stretch/>
        </p:blipFill>
        <p:spPr>
          <a:xfrm>
            <a:off x="1379520" y="2849760"/>
            <a:ext cx="549360" cy="609840"/>
          </a:xfrm>
          <a:prstGeom prst="rect">
            <a:avLst/>
          </a:prstGeom>
          <a:ln>
            <a:noFill/>
          </a:ln>
        </p:spPr>
      </p:pic>
      <p:pic>
        <p:nvPicPr>
          <p:cNvPr id="470" name="Imagem 469"/>
          <p:cNvPicPr/>
          <p:nvPr/>
        </p:nvPicPr>
        <p:blipFill>
          <a:blip r:embed="rId24"/>
          <a:stretch/>
        </p:blipFill>
        <p:spPr>
          <a:xfrm>
            <a:off x="360" y="0"/>
            <a:ext cx="360" cy="360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43991200"/>
      </p:ext>
    </p:extLst>
  </p:cSld>
  <p:clrMapOvr>
    <a:masterClrMapping/>
  </p:clrMapOvr>
  <p:timing>
    <p:tnLst>
      <p:par>
        <p:cTn id="1" dur="indefinite" restart="never" nodeType="tmRoot">
          <p:childTnLst>
            <p:seq>
              <p:cTn id="2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3"/>
          <p:cNvSpPr>
            <a:spLocks/>
          </p:cNvSpPr>
          <p:nvPr/>
        </p:nvSpPr>
        <p:spPr bwMode="auto">
          <a:xfrm>
            <a:off x="930275" y="1773238"/>
            <a:ext cx="8210550" cy="1985962"/>
          </a:xfrm>
          <a:prstGeom prst="rect">
            <a:avLst/>
          </a:prstGeom>
          <a:noFill/>
          <a:ln>
            <a:noFill/>
          </a:ln>
          <a:effectLst>
            <a:outerShdw dist="25399" dir="5400000" algn="ctr" rotWithShape="0">
              <a:schemeClr val="bg2">
                <a:alpha val="74997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342900" indent="-34290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90000"/>
              </a:lnSpc>
              <a:spcBef>
                <a:spcPts val="1113"/>
              </a:spcBef>
              <a:buFont typeface="Wingdings" panose="05000000000000000000" pitchFamily="2" charset="2"/>
              <a:buChar char="Ø"/>
            </a:pPr>
            <a:endParaRPr lang="pt-BR" altLang="pt-BR" sz="1800">
              <a:latin typeface="Helvetica" panose="020B0604020202020204" pitchFamily="34" charset="0"/>
              <a:ea typeface="MS PGothic" panose="020B0600070205080204" pitchFamily="34" charset="-128"/>
              <a:sym typeface="Helvetica" panose="020B0604020202020204" pitchFamily="34" charset="0"/>
            </a:endParaRPr>
          </a:p>
          <a:p>
            <a:pPr>
              <a:lnSpc>
                <a:spcPct val="90000"/>
              </a:lnSpc>
              <a:spcBef>
                <a:spcPts val="1113"/>
              </a:spcBef>
              <a:buFont typeface="Wingdings" panose="05000000000000000000" pitchFamily="2" charset="2"/>
              <a:buChar char="Ø"/>
            </a:pPr>
            <a:endParaRPr lang="pt-BR" altLang="pt-BR" sz="1800">
              <a:latin typeface="Helvetica" panose="020B0604020202020204" pitchFamily="34" charset="0"/>
              <a:ea typeface="MS PGothic" panose="020B0600070205080204" pitchFamily="34" charset="-128"/>
              <a:sym typeface="Helvetica" panose="020B0604020202020204" pitchFamily="34" charset="0"/>
            </a:endParaRPr>
          </a:p>
        </p:txBody>
      </p:sp>
      <p:sp>
        <p:nvSpPr>
          <p:cNvPr id="16387" name="Rectangle 4"/>
          <p:cNvSpPr>
            <a:spLocks/>
          </p:cNvSpPr>
          <p:nvPr/>
        </p:nvSpPr>
        <p:spPr bwMode="auto">
          <a:xfrm>
            <a:off x="1212851" y="6419851"/>
            <a:ext cx="7853363" cy="542925"/>
          </a:xfrm>
          <a:prstGeom prst="rect">
            <a:avLst/>
          </a:prstGeom>
          <a:noFill/>
          <a:ln>
            <a:noFill/>
          </a:ln>
          <a:effectLst>
            <a:outerShdw dist="25399" dir="5400000" algn="ctr" rotWithShape="0">
              <a:schemeClr val="bg2">
                <a:alpha val="74997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90000"/>
              </a:lnSpc>
              <a:spcBef>
                <a:spcPts val="1175"/>
              </a:spcBef>
              <a:buNone/>
            </a:pPr>
            <a:endParaRPr lang="es-ES_tradnl" altLang="pt-BR" sz="3100" b="1">
              <a:latin typeface="Helvetica" panose="020B0604020202020204" pitchFamily="34" charset="0"/>
              <a:ea typeface="MS PGothic" panose="020B0600070205080204" pitchFamily="34" charset="-128"/>
              <a:cs typeface="Helvetica" panose="020B0604020202020204" pitchFamily="34" charset="0"/>
              <a:sym typeface="Helvetica" panose="020B0604020202020204" pitchFamily="34" charset="0"/>
            </a:endParaRPr>
          </a:p>
        </p:txBody>
      </p:sp>
      <p:sp>
        <p:nvSpPr>
          <p:cNvPr id="16389" name="Text Placeholder 3"/>
          <p:cNvSpPr txBox="1">
            <a:spLocks/>
          </p:cNvSpPr>
          <p:nvPr/>
        </p:nvSpPr>
        <p:spPr bwMode="auto">
          <a:xfrm>
            <a:off x="381000" y="1462085"/>
            <a:ext cx="9144000" cy="47752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buNone/>
            </a:pPr>
            <a:r>
              <a:rPr lang="pt-BR" sz="2400" b="1" dirty="0" smtClean="0"/>
              <a:t>		1. Infraestrutura Portuária</a:t>
            </a:r>
          </a:p>
          <a:p>
            <a:pPr>
              <a:buNone/>
            </a:pPr>
            <a:endParaRPr lang="pt-BR" sz="2400" dirty="0"/>
          </a:p>
          <a:p>
            <a:pPr>
              <a:buNone/>
            </a:pPr>
            <a:r>
              <a:rPr lang="pt-BR" sz="2400" b="1" dirty="0" smtClean="0"/>
              <a:t>		2. Operação Marítima</a:t>
            </a:r>
          </a:p>
          <a:p>
            <a:pPr>
              <a:buNone/>
            </a:pPr>
            <a:endParaRPr lang="pt-BR" sz="2400" dirty="0"/>
          </a:p>
          <a:p>
            <a:pPr>
              <a:buNone/>
            </a:pPr>
            <a:r>
              <a:rPr lang="pt-BR" sz="2400" b="1" dirty="0" smtClean="0"/>
              <a:t>		3. Operação </a:t>
            </a:r>
            <a:r>
              <a:rPr lang="pt-BR" sz="2400" b="1" dirty="0"/>
              <a:t>de Entrega e </a:t>
            </a:r>
            <a:r>
              <a:rPr lang="pt-BR" sz="2400" b="1" dirty="0" smtClean="0"/>
              <a:t>Retirada</a:t>
            </a:r>
          </a:p>
          <a:p>
            <a:pPr>
              <a:buNone/>
            </a:pPr>
            <a:endParaRPr lang="pt-BR" sz="2400" dirty="0"/>
          </a:p>
          <a:p>
            <a:pPr>
              <a:buNone/>
            </a:pPr>
            <a:r>
              <a:rPr lang="pt-BR" sz="2400" b="1" dirty="0" smtClean="0"/>
              <a:t>		4. Operações de Terminais</a:t>
            </a:r>
          </a:p>
          <a:p>
            <a:pPr>
              <a:buNone/>
            </a:pPr>
            <a:endParaRPr lang="pt-BR" sz="2400" dirty="0"/>
          </a:p>
          <a:p>
            <a:pPr>
              <a:buNone/>
            </a:pPr>
            <a:r>
              <a:rPr lang="pt-BR" sz="2400" b="1" dirty="0" smtClean="0"/>
              <a:t>		5. Serviços Navais</a:t>
            </a:r>
          </a:p>
          <a:p>
            <a:pPr>
              <a:buNone/>
            </a:pPr>
            <a:endParaRPr lang="pt-BR" sz="2400" dirty="0"/>
          </a:p>
          <a:p>
            <a:pPr>
              <a:buNone/>
            </a:pPr>
            <a:r>
              <a:rPr lang="pt-BR" sz="2400" b="1" dirty="0" smtClean="0"/>
              <a:t>		6. Anuência </a:t>
            </a:r>
            <a:r>
              <a:rPr lang="pt-BR" sz="2400" b="1" dirty="0"/>
              <a:t>e </a:t>
            </a:r>
            <a:r>
              <a:rPr lang="pt-BR" sz="2400" b="1" dirty="0" smtClean="0"/>
              <a:t>Regulação </a:t>
            </a:r>
            <a:r>
              <a:rPr lang="pt-BR" sz="2400" b="1" dirty="0"/>
              <a:t>Portuária</a:t>
            </a:r>
            <a:endParaRPr lang="pt-BR" altLang="pt-BR" sz="2800" dirty="0">
              <a:solidFill>
                <a:schemeClr val="accent2"/>
              </a:solidFill>
            </a:endParaRPr>
          </a:p>
        </p:txBody>
      </p:sp>
      <p:sp>
        <p:nvSpPr>
          <p:cNvPr id="8" name="Retângulo 7"/>
          <p:cNvSpPr/>
          <p:nvPr/>
        </p:nvSpPr>
        <p:spPr>
          <a:xfrm>
            <a:off x="381000" y="0"/>
            <a:ext cx="9144000" cy="849052"/>
          </a:xfrm>
          <a:prstGeom prst="rect">
            <a:avLst/>
          </a:prstGeom>
          <a:solidFill>
            <a:schemeClr val="tx2">
              <a:lumMod val="75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/>
            <a:lightRig rig="threePt" dir="t"/>
          </a:scene3d>
          <a:sp3d extrusionH="76200" contourW="12700" prstMaterial="dkEdge">
            <a:bevelT w="101600" prst="riblet"/>
            <a:bevelB w="101600" prst="riblet"/>
            <a:extrusionClr>
              <a:schemeClr val="accent1">
                <a:lumMod val="50000"/>
              </a:schemeClr>
            </a:extrusionClr>
            <a:contourClr>
              <a:schemeClr val="tx2">
                <a:lumMod val="50000"/>
              </a:schemeClr>
            </a:contourClr>
          </a:sp3d>
        </p:spPr>
        <p:txBody>
          <a:bodyPr anchor="ctr"/>
          <a:lstStyle/>
          <a:p>
            <a:pPr eaLnBrk="1" hangingPunct="1">
              <a:defRPr/>
            </a:pPr>
            <a:endParaRPr lang="en-US" altLang="pt-BR" sz="1800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16393" name="Retângulo 10"/>
          <p:cNvSpPr>
            <a:spLocks noChangeArrowheads="1"/>
          </p:cNvSpPr>
          <p:nvPr/>
        </p:nvSpPr>
        <p:spPr bwMode="auto">
          <a:xfrm>
            <a:off x="855664" y="120650"/>
            <a:ext cx="8358187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pt-BR" altLang="pt-BR" b="1" dirty="0" smtClean="0">
                <a:solidFill>
                  <a:schemeClr val="bg1"/>
                </a:solidFill>
                <a:ea typeface="MS PGothic" panose="020B0600070205080204" pitchFamily="34" charset="-128"/>
                <a:cs typeface="Helvetica" panose="020B0604020202020204" pitchFamily="34" charset="0"/>
              </a:rPr>
              <a:t>Processos Logísticos Críticos - Usuários</a:t>
            </a:r>
            <a:endParaRPr lang="pt-BR" altLang="pt-BR" b="1" dirty="0">
              <a:solidFill>
                <a:schemeClr val="bg1"/>
              </a:solidFill>
              <a:ea typeface="MS PGothic" panose="020B0600070205080204" pitchFamily="34" charset="-128"/>
              <a:cs typeface="Helvetica" panose="020B0604020202020204" pitchFamily="34" charset="0"/>
              <a:sym typeface="Helvetica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0218631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3"/>
          <p:cNvSpPr>
            <a:spLocks/>
          </p:cNvSpPr>
          <p:nvPr/>
        </p:nvSpPr>
        <p:spPr bwMode="auto">
          <a:xfrm>
            <a:off x="930275" y="1773238"/>
            <a:ext cx="8210550" cy="1985962"/>
          </a:xfrm>
          <a:prstGeom prst="rect">
            <a:avLst/>
          </a:prstGeom>
          <a:noFill/>
          <a:ln>
            <a:noFill/>
          </a:ln>
          <a:effectLst>
            <a:outerShdw dist="25399" dir="5400000" algn="ctr" rotWithShape="0">
              <a:schemeClr val="bg2">
                <a:alpha val="74997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342900" indent="-34290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90000"/>
              </a:lnSpc>
              <a:spcBef>
                <a:spcPts val="1113"/>
              </a:spcBef>
              <a:buFont typeface="Wingdings" panose="05000000000000000000" pitchFamily="2" charset="2"/>
              <a:buChar char="Ø"/>
            </a:pPr>
            <a:endParaRPr lang="pt-BR" altLang="pt-BR" sz="1800">
              <a:latin typeface="Helvetica" panose="020B0604020202020204" pitchFamily="34" charset="0"/>
              <a:ea typeface="MS PGothic" panose="020B0600070205080204" pitchFamily="34" charset="-128"/>
              <a:sym typeface="Helvetica" panose="020B0604020202020204" pitchFamily="34" charset="0"/>
            </a:endParaRPr>
          </a:p>
          <a:p>
            <a:pPr>
              <a:lnSpc>
                <a:spcPct val="90000"/>
              </a:lnSpc>
              <a:spcBef>
                <a:spcPts val="1113"/>
              </a:spcBef>
              <a:buFont typeface="Wingdings" panose="05000000000000000000" pitchFamily="2" charset="2"/>
              <a:buChar char="Ø"/>
            </a:pPr>
            <a:endParaRPr lang="pt-BR" altLang="pt-BR" sz="1800">
              <a:latin typeface="Helvetica" panose="020B0604020202020204" pitchFamily="34" charset="0"/>
              <a:ea typeface="MS PGothic" panose="020B0600070205080204" pitchFamily="34" charset="-128"/>
              <a:sym typeface="Helvetica" panose="020B0604020202020204" pitchFamily="34" charset="0"/>
            </a:endParaRPr>
          </a:p>
        </p:txBody>
      </p:sp>
      <p:sp>
        <p:nvSpPr>
          <p:cNvPr id="16387" name="Rectangle 4"/>
          <p:cNvSpPr>
            <a:spLocks/>
          </p:cNvSpPr>
          <p:nvPr/>
        </p:nvSpPr>
        <p:spPr bwMode="auto">
          <a:xfrm>
            <a:off x="1212851" y="6419851"/>
            <a:ext cx="7853363" cy="542925"/>
          </a:xfrm>
          <a:prstGeom prst="rect">
            <a:avLst/>
          </a:prstGeom>
          <a:noFill/>
          <a:ln>
            <a:noFill/>
          </a:ln>
          <a:effectLst>
            <a:outerShdw dist="25399" dir="5400000" algn="ctr" rotWithShape="0">
              <a:schemeClr val="bg2">
                <a:alpha val="74997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90000"/>
              </a:lnSpc>
              <a:spcBef>
                <a:spcPts val="1175"/>
              </a:spcBef>
              <a:buNone/>
            </a:pPr>
            <a:endParaRPr lang="es-ES_tradnl" altLang="pt-BR" sz="3100" b="1">
              <a:latin typeface="Helvetica" panose="020B0604020202020204" pitchFamily="34" charset="0"/>
              <a:ea typeface="MS PGothic" panose="020B0600070205080204" pitchFamily="34" charset="-128"/>
              <a:cs typeface="Helvetica" panose="020B0604020202020204" pitchFamily="34" charset="0"/>
              <a:sym typeface="Helvetica" panose="020B0604020202020204" pitchFamily="34" charset="0"/>
            </a:endParaRPr>
          </a:p>
        </p:txBody>
      </p:sp>
      <p:sp>
        <p:nvSpPr>
          <p:cNvPr id="16389" name="Text Placeholder 3"/>
          <p:cNvSpPr txBox="1">
            <a:spLocks/>
          </p:cNvSpPr>
          <p:nvPr/>
        </p:nvSpPr>
        <p:spPr bwMode="auto">
          <a:xfrm>
            <a:off x="381000" y="1462085"/>
            <a:ext cx="9144000" cy="47752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endParaRPr lang="pt-BR" sz="2400" b="1" dirty="0" smtClean="0"/>
          </a:p>
          <a:p>
            <a:endParaRPr lang="pt-BR" sz="2400" b="1" dirty="0"/>
          </a:p>
        </p:txBody>
      </p:sp>
      <p:sp>
        <p:nvSpPr>
          <p:cNvPr id="8" name="Retângulo 7"/>
          <p:cNvSpPr/>
          <p:nvPr/>
        </p:nvSpPr>
        <p:spPr>
          <a:xfrm>
            <a:off x="381000" y="0"/>
            <a:ext cx="9144000" cy="849052"/>
          </a:xfrm>
          <a:prstGeom prst="rect">
            <a:avLst/>
          </a:prstGeom>
          <a:solidFill>
            <a:schemeClr val="tx2">
              <a:lumMod val="75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/>
            <a:lightRig rig="threePt" dir="t"/>
          </a:scene3d>
          <a:sp3d extrusionH="76200" contourW="12700" prstMaterial="dkEdge">
            <a:bevelT w="101600" prst="riblet"/>
            <a:bevelB w="101600" prst="riblet"/>
            <a:extrusionClr>
              <a:schemeClr val="accent1">
                <a:lumMod val="50000"/>
              </a:schemeClr>
            </a:extrusionClr>
            <a:contourClr>
              <a:schemeClr val="tx2">
                <a:lumMod val="50000"/>
              </a:schemeClr>
            </a:contourClr>
          </a:sp3d>
        </p:spPr>
        <p:txBody>
          <a:bodyPr anchor="ctr"/>
          <a:lstStyle/>
          <a:p>
            <a:pPr eaLnBrk="1" hangingPunct="1">
              <a:defRPr/>
            </a:pPr>
            <a:endParaRPr lang="en-US" altLang="pt-BR" sz="1800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16393" name="Retângulo 10"/>
          <p:cNvSpPr>
            <a:spLocks noChangeArrowheads="1"/>
          </p:cNvSpPr>
          <p:nvPr/>
        </p:nvSpPr>
        <p:spPr bwMode="auto">
          <a:xfrm>
            <a:off x="855664" y="120650"/>
            <a:ext cx="8358187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pt-BR" altLang="pt-BR" b="1" dirty="0" smtClean="0">
                <a:solidFill>
                  <a:schemeClr val="bg1"/>
                </a:solidFill>
                <a:ea typeface="MS PGothic" panose="020B0600070205080204" pitchFamily="34" charset="-128"/>
                <a:cs typeface="Helvetica" panose="020B0604020202020204" pitchFamily="34" charset="0"/>
              </a:rPr>
              <a:t>Processos de Negócios Internos - Acionista</a:t>
            </a:r>
            <a:endParaRPr lang="pt-BR" altLang="pt-BR" b="1" dirty="0">
              <a:solidFill>
                <a:schemeClr val="bg1"/>
              </a:solidFill>
              <a:ea typeface="MS PGothic" panose="020B0600070205080204" pitchFamily="34" charset="-128"/>
              <a:cs typeface="Helvetica" panose="020B0604020202020204" pitchFamily="34" charset="0"/>
              <a:sym typeface="Helvetica" panose="020B0604020202020204" pitchFamily="34" charset="0"/>
            </a:endParaRPr>
          </a:p>
        </p:txBody>
      </p:sp>
      <p:sp>
        <p:nvSpPr>
          <p:cNvPr id="9" name="Text Placeholder 3"/>
          <p:cNvSpPr txBox="1">
            <a:spLocks/>
          </p:cNvSpPr>
          <p:nvPr/>
        </p:nvSpPr>
        <p:spPr bwMode="auto">
          <a:xfrm>
            <a:off x="533400" y="1614485"/>
            <a:ext cx="9144000" cy="47752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buNone/>
            </a:pPr>
            <a:r>
              <a:rPr lang="pt-BR" sz="2400" b="1" dirty="0" smtClean="0"/>
              <a:t>		1. Operações e Manutenção</a:t>
            </a:r>
          </a:p>
          <a:p>
            <a:pPr>
              <a:buNone/>
            </a:pPr>
            <a:endParaRPr lang="pt-BR" sz="2400" dirty="0"/>
          </a:p>
          <a:p>
            <a:pPr>
              <a:buNone/>
            </a:pPr>
            <a:r>
              <a:rPr lang="pt-BR" sz="2400" b="1" dirty="0" smtClean="0"/>
              <a:t>		2. Gestão Financeira</a:t>
            </a:r>
          </a:p>
          <a:p>
            <a:pPr>
              <a:buNone/>
            </a:pPr>
            <a:endParaRPr lang="pt-BR" sz="2400" dirty="0"/>
          </a:p>
          <a:p>
            <a:pPr>
              <a:buNone/>
            </a:pPr>
            <a:r>
              <a:rPr lang="pt-BR" sz="2400" b="1" dirty="0" smtClean="0"/>
              <a:t>		3. Recursos Humanos</a:t>
            </a:r>
          </a:p>
          <a:p>
            <a:pPr>
              <a:buNone/>
            </a:pPr>
            <a:endParaRPr lang="pt-BR" sz="2400" dirty="0"/>
          </a:p>
          <a:p>
            <a:pPr>
              <a:buNone/>
            </a:pPr>
            <a:r>
              <a:rPr lang="pt-BR" sz="2400" b="1" dirty="0" smtClean="0"/>
              <a:t>		4. </a:t>
            </a:r>
            <a:r>
              <a:rPr lang="pt-BR" sz="2400" b="1" i="1" dirty="0" err="1" smtClean="0"/>
              <a:t>Compliance</a:t>
            </a:r>
            <a:r>
              <a:rPr lang="pt-BR" sz="2400" b="1" dirty="0" smtClean="0"/>
              <a:t> e Controles</a:t>
            </a:r>
          </a:p>
          <a:p>
            <a:pPr>
              <a:buNone/>
            </a:pPr>
            <a:endParaRPr lang="pt-BR" sz="2400" dirty="0"/>
          </a:p>
          <a:p>
            <a:pPr>
              <a:buNone/>
            </a:pPr>
            <a:r>
              <a:rPr lang="pt-BR" sz="2400" b="1" dirty="0" smtClean="0"/>
              <a:t>		5. Governança Corporativa e Planejamento Estratégico</a:t>
            </a:r>
          </a:p>
          <a:p>
            <a:pPr>
              <a:buNone/>
            </a:pPr>
            <a:endParaRPr lang="pt-BR" sz="2400" dirty="0"/>
          </a:p>
          <a:p>
            <a:pPr>
              <a:buNone/>
            </a:pPr>
            <a:r>
              <a:rPr lang="pt-BR" sz="2400" b="1" dirty="0" smtClean="0"/>
              <a:t>		6. Tecnologia da Informação</a:t>
            </a:r>
            <a:endParaRPr lang="pt-BR" altLang="pt-BR" sz="2800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900276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9"/>
          <p:cNvSpPr>
            <a:spLocks noGrp="1"/>
          </p:cNvSpPr>
          <p:nvPr>
            <p:custDataLst>
              <p:tags r:id="rId1"/>
            </p:custDataLst>
          </p:nvPr>
        </p:nvSpPr>
        <p:spPr bwMode="auto">
          <a:xfrm>
            <a:off x="2622870" y="3866280"/>
            <a:ext cx="974481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rtl="0" eaLnBrk="1" fontAlgn="base" hangingPunct="1">
              <a:spcBef>
                <a:spcPts val="1200"/>
              </a:spcBef>
              <a:spcAft>
                <a:spcPct val="0"/>
              </a:spcAft>
              <a:defRPr sz="1600">
                <a:solidFill>
                  <a:schemeClr val="tx2"/>
                </a:solidFill>
                <a:latin typeface="+mj-lt"/>
                <a:ea typeface="+mn-ea"/>
                <a:cs typeface="Arial" pitchFamily="34" charset="0"/>
              </a:defRPr>
            </a:lvl1pPr>
            <a:lvl2pPr marL="360363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90000"/>
              <a:buFont typeface="Times New Roman" pitchFamily="18" charset="0"/>
              <a:buChar char="●"/>
              <a:defRPr sz="1400">
                <a:solidFill>
                  <a:schemeClr val="tx1"/>
                </a:solidFill>
                <a:latin typeface="+mj-lt"/>
                <a:cs typeface="Arial" pitchFamily="34" charset="0"/>
              </a:defRPr>
            </a:lvl2pPr>
            <a:lvl3pPr marL="720725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1081088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SzPct val="70000"/>
              <a:buFont typeface="Arial" charset="0"/>
              <a:buChar char="►"/>
              <a:defRPr sz="1200">
                <a:solidFill>
                  <a:schemeClr val="tx1"/>
                </a:solidFill>
                <a:latin typeface="+mj-lt"/>
                <a:cs typeface="Arial" pitchFamily="34" charset="0"/>
              </a:defRPr>
            </a:lvl4pPr>
            <a:lvl5pPr marL="1441450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5pPr>
            <a:lvl6pPr marL="1898650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»"/>
              <a:defRPr sz="1200">
                <a:solidFill>
                  <a:schemeClr val="tx2"/>
                </a:solidFill>
                <a:latin typeface="+mn-lt"/>
              </a:defRPr>
            </a:lvl6pPr>
            <a:lvl7pPr marL="2355850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»"/>
              <a:defRPr sz="1200">
                <a:solidFill>
                  <a:schemeClr val="tx2"/>
                </a:solidFill>
                <a:latin typeface="+mn-lt"/>
              </a:defRPr>
            </a:lvl7pPr>
            <a:lvl8pPr marL="2813050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»"/>
              <a:defRPr sz="1200">
                <a:solidFill>
                  <a:schemeClr val="tx2"/>
                </a:solidFill>
                <a:latin typeface="+mn-lt"/>
              </a:defRPr>
            </a:lvl8pPr>
            <a:lvl9pPr marL="3270250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»"/>
              <a:defRPr sz="1200">
                <a:solidFill>
                  <a:schemeClr val="tx2"/>
                </a:solidFill>
                <a:latin typeface="+mn-lt"/>
              </a:defRPr>
            </a:lvl9pPr>
          </a:lstStyle>
          <a:p>
            <a:pPr algn="r">
              <a:spcBef>
                <a:spcPct val="0"/>
              </a:spcBef>
            </a:pPr>
            <a:endParaRPr lang="pt-BR" sz="1200" dirty="0">
              <a:latin typeface="Verdana"/>
              <a:cs typeface="+mn-cs"/>
              <a:sym typeface="Verdana"/>
            </a:endParaRPr>
          </a:p>
        </p:txBody>
      </p:sp>
      <p:grpSp>
        <p:nvGrpSpPr>
          <p:cNvPr id="136" name="Grupo 135"/>
          <p:cNvGrpSpPr/>
          <p:nvPr/>
        </p:nvGrpSpPr>
        <p:grpSpPr>
          <a:xfrm>
            <a:off x="200472" y="1340770"/>
            <a:ext cx="4767948" cy="4927841"/>
            <a:chOff x="185052" y="2237173"/>
            <a:chExt cx="4017597" cy="4463484"/>
          </a:xfrm>
        </p:grpSpPr>
        <p:sp>
          <p:nvSpPr>
            <p:cNvPr id="8" name="Freeform 25"/>
            <p:cNvSpPr>
              <a:spLocks/>
            </p:cNvSpPr>
            <p:nvPr/>
          </p:nvSpPr>
          <p:spPr bwMode="gray">
            <a:xfrm>
              <a:off x="2172033" y="5421698"/>
              <a:ext cx="675526" cy="479709"/>
            </a:xfrm>
            <a:custGeom>
              <a:avLst/>
              <a:gdLst/>
              <a:ahLst/>
              <a:cxnLst>
                <a:cxn ang="0">
                  <a:pos x="28" y="297"/>
                </a:cxn>
                <a:cxn ang="0">
                  <a:pos x="42" y="201"/>
                </a:cxn>
                <a:cxn ang="0">
                  <a:pos x="101" y="113"/>
                </a:cxn>
                <a:cxn ang="0">
                  <a:pos x="158" y="35"/>
                </a:cxn>
                <a:cxn ang="0">
                  <a:pos x="224" y="12"/>
                </a:cxn>
                <a:cxn ang="0">
                  <a:pos x="295" y="14"/>
                </a:cxn>
                <a:cxn ang="0">
                  <a:pos x="347" y="14"/>
                </a:cxn>
                <a:cxn ang="0">
                  <a:pos x="411" y="19"/>
                </a:cxn>
                <a:cxn ang="0">
                  <a:pos x="479" y="45"/>
                </a:cxn>
                <a:cxn ang="0">
                  <a:pos x="522" y="56"/>
                </a:cxn>
                <a:cxn ang="0">
                  <a:pos x="567" y="54"/>
                </a:cxn>
                <a:cxn ang="0">
                  <a:pos x="598" y="64"/>
                </a:cxn>
                <a:cxn ang="0">
                  <a:pos x="624" y="82"/>
                </a:cxn>
                <a:cxn ang="0">
                  <a:pos x="633" y="116"/>
                </a:cxn>
                <a:cxn ang="0">
                  <a:pos x="635" y="134"/>
                </a:cxn>
                <a:cxn ang="0">
                  <a:pos x="642" y="160"/>
                </a:cxn>
                <a:cxn ang="0">
                  <a:pos x="640" y="179"/>
                </a:cxn>
                <a:cxn ang="0">
                  <a:pos x="650" y="193"/>
                </a:cxn>
                <a:cxn ang="0">
                  <a:pos x="664" y="210"/>
                </a:cxn>
                <a:cxn ang="0">
                  <a:pos x="680" y="236"/>
                </a:cxn>
                <a:cxn ang="0">
                  <a:pos x="675" y="262"/>
                </a:cxn>
                <a:cxn ang="0">
                  <a:pos x="680" y="283"/>
                </a:cxn>
                <a:cxn ang="0">
                  <a:pos x="706" y="279"/>
                </a:cxn>
                <a:cxn ang="0">
                  <a:pos x="732" y="281"/>
                </a:cxn>
                <a:cxn ang="0">
                  <a:pos x="756" y="283"/>
                </a:cxn>
                <a:cxn ang="0">
                  <a:pos x="770" y="297"/>
                </a:cxn>
                <a:cxn ang="0">
                  <a:pos x="763" y="323"/>
                </a:cxn>
                <a:cxn ang="0">
                  <a:pos x="791" y="323"/>
                </a:cxn>
                <a:cxn ang="0">
                  <a:pos x="808" y="321"/>
                </a:cxn>
                <a:cxn ang="0">
                  <a:pos x="817" y="352"/>
                </a:cxn>
                <a:cxn ang="0">
                  <a:pos x="810" y="385"/>
                </a:cxn>
                <a:cxn ang="0">
                  <a:pos x="763" y="451"/>
                </a:cxn>
                <a:cxn ang="0">
                  <a:pos x="713" y="456"/>
                </a:cxn>
                <a:cxn ang="0">
                  <a:pos x="690" y="456"/>
                </a:cxn>
                <a:cxn ang="0">
                  <a:pos x="675" y="468"/>
                </a:cxn>
                <a:cxn ang="0">
                  <a:pos x="657" y="477"/>
                </a:cxn>
                <a:cxn ang="0">
                  <a:pos x="642" y="484"/>
                </a:cxn>
                <a:cxn ang="0">
                  <a:pos x="626" y="482"/>
                </a:cxn>
                <a:cxn ang="0">
                  <a:pos x="607" y="465"/>
                </a:cxn>
                <a:cxn ang="0">
                  <a:pos x="586" y="458"/>
                </a:cxn>
                <a:cxn ang="0">
                  <a:pos x="562" y="460"/>
                </a:cxn>
                <a:cxn ang="0">
                  <a:pos x="543" y="472"/>
                </a:cxn>
                <a:cxn ang="0">
                  <a:pos x="524" y="458"/>
                </a:cxn>
                <a:cxn ang="0">
                  <a:pos x="503" y="468"/>
                </a:cxn>
                <a:cxn ang="0">
                  <a:pos x="470" y="493"/>
                </a:cxn>
                <a:cxn ang="0">
                  <a:pos x="437" y="493"/>
                </a:cxn>
                <a:cxn ang="0">
                  <a:pos x="425" y="515"/>
                </a:cxn>
                <a:cxn ang="0">
                  <a:pos x="423" y="538"/>
                </a:cxn>
                <a:cxn ang="0">
                  <a:pos x="394" y="531"/>
                </a:cxn>
                <a:cxn ang="0">
                  <a:pos x="328" y="527"/>
                </a:cxn>
                <a:cxn ang="0">
                  <a:pos x="288" y="512"/>
                </a:cxn>
                <a:cxn ang="0">
                  <a:pos x="250" y="508"/>
                </a:cxn>
                <a:cxn ang="0">
                  <a:pos x="212" y="503"/>
                </a:cxn>
                <a:cxn ang="0">
                  <a:pos x="170" y="489"/>
                </a:cxn>
                <a:cxn ang="0">
                  <a:pos x="125" y="489"/>
                </a:cxn>
                <a:cxn ang="0">
                  <a:pos x="109" y="460"/>
                </a:cxn>
                <a:cxn ang="0">
                  <a:pos x="101" y="446"/>
                </a:cxn>
                <a:cxn ang="0">
                  <a:pos x="99" y="430"/>
                </a:cxn>
                <a:cxn ang="0">
                  <a:pos x="97" y="413"/>
                </a:cxn>
                <a:cxn ang="0">
                  <a:pos x="80" y="404"/>
                </a:cxn>
                <a:cxn ang="0">
                  <a:pos x="52" y="394"/>
                </a:cxn>
                <a:cxn ang="0">
                  <a:pos x="19" y="408"/>
                </a:cxn>
              </a:cxnLst>
              <a:rect l="0" t="0" r="r" b="b"/>
              <a:pathLst>
                <a:path w="836" h="548">
                  <a:moveTo>
                    <a:pt x="0" y="382"/>
                  </a:moveTo>
                  <a:lnTo>
                    <a:pt x="2" y="382"/>
                  </a:lnTo>
                  <a:lnTo>
                    <a:pt x="2" y="380"/>
                  </a:lnTo>
                  <a:lnTo>
                    <a:pt x="5" y="375"/>
                  </a:lnTo>
                  <a:lnTo>
                    <a:pt x="5" y="375"/>
                  </a:lnTo>
                  <a:lnTo>
                    <a:pt x="7" y="373"/>
                  </a:lnTo>
                  <a:lnTo>
                    <a:pt x="9" y="371"/>
                  </a:lnTo>
                  <a:lnTo>
                    <a:pt x="12" y="366"/>
                  </a:lnTo>
                  <a:lnTo>
                    <a:pt x="14" y="364"/>
                  </a:lnTo>
                  <a:lnTo>
                    <a:pt x="16" y="361"/>
                  </a:lnTo>
                  <a:lnTo>
                    <a:pt x="16" y="354"/>
                  </a:lnTo>
                  <a:lnTo>
                    <a:pt x="19" y="352"/>
                  </a:lnTo>
                  <a:lnTo>
                    <a:pt x="19" y="349"/>
                  </a:lnTo>
                  <a:lnTo>
                    <a:pt x="21" y="347"/>
                  </a:lnTo>
                  <a:lnTo>
                    <a:pt x="23" y="347"/>
                  </a:lnTo>
                  <a:lnTo>
                    <a:pt x="23" y="345"/>
                  </a:lnTo>
                  <a:lnTo>
                    <a:pt x="23" y="342"/>
                  </a:lnTo>
                  <a:lnTo>
                    <a:pt x="21" y="340"/>
                  </a:lnTo>
                  <a:lnTo>
                    <a:pt x="19" y="338"/>
                  </a:lnTo>
                  <a:lnTo>
                    <a:pt x="19" y="338"/>
                  </a:lnTo>
                  <a:lnTo>
                    <a:pt x="19" y="335"/>
                  </a:lnTo>
                  <a:lnTo>
                    <a:pt x="19" y="333"/>
                  </a:lnTo>
                  <a:lnTo>
                    <a:pt x="19" y="331"/>
                  </a:lnTo>
                  <a:lnTo>
                    <a:pt x="21" y="323"/>
                  </a:lnTo>
                  <a:lnTo>
                    <a:pt x="21" y="319"/>
                  </a:lnTo>
                  <a:lnTo>
                    <a:pt x="23" y="314"/>
                  </a:lnTo>
                  <a:lnTo>
                    <a:pt x="23" y="312"/>
                  </a:lnTo>
                  <a:lnTo>
                    <a:pt x="26" y="305"/>
                  </a:lnTo>
                  <a:lnTo>
                    <a:pt x="28" y="297"/>
                  </a:lnTo>
                  <a:lnTo>
                    <a:pt x="28" y="293"/>
                  </a:lnTo>
                  <a:lnTo>
                    <a:pt x="31" y="293"/>
                  </a:lnTo>
                  <a:lnTo>
                    <a:pt x="33" y="290"/>
                  </a:lnTo>
                  <a:lnTo>
                    <a:pt x="33" y="288"/>
                  </a:lnTo>
                  <a:lnTo>
                    <a:pt x="35" y="283"/>
                  </a:lnTo>
                  <a:lnTo>
                    <a:pt x="35" y="281"/>
                  </a:lnTo>
                  <a:lnTo>
                    <a:pt x="38" y="271"/>
                  </a:lnTo>
                  <a:lnTo>
                    <a:pt x="38" y="269"/>
                  </a:lnTo>
                  <a:lnTo>
                    <a:pt x="35" y="262"/>
                  </a:lnTo>
                  <a:lnTo>
                    <a:pt x="35" y="260"/>
                  </a:lnTo>
                  <a:lnTo>
                    <a:pt x="35" y="253"/>
                  </a:lnTo>
                  <a:lnTo>
                    <a:pt x="40" y="250"/>
                  </a:lnTo>
                  <a:lnTo>
                    <a:pt x="42" y="245"/>
                  </a:lnTo>
                  <a:lnTo>
                    <a:pt x="45" y="243"/>
                  </a:lnTo>
                  <a:lnTo>
                    <a:pt x="45" y="241"/>
                  </a:lnTo>
                  <a:lnTo>
                    <a:pt x="42" y="234"/>
                  </a:lnTo>
                  <a:lnTo>
                    <a:pt x="42" y="231"/>
                  </a:lnTo>
                  <a:lnTo>
                    <a:pt x="38" y="227"/>
                  </a:lnTo>
                  <a:lnTo>
                    <a:pt x="35" y="224"/>
                  </a:lnTo>
                  <a:lnTo>
                    <a:pt x="35" y="222"/>
                  </a:lnTo>
                  <a:lnTo>
                    <a:pt x="35" y="219"/>
                  </a:lnTo>
                  <a:lnTo>
                    <a:pt x="35" y="219"/>
                  </a:lnTo>
                  <a:lnTo>
                    <a:pt x="35" y="215"/>
                  </a:lnTo>
                  <a:lnTo>
                    <a:pt x="35" y="212"/>
                  </a:lnTo>
                  <a:lnTo>
                    <a:pt x="33" y="212"/>
                  </a:lnTo>
                  <a:lnTo>
                    <a:pt x="35" y="208"/>
                  </a:lnTo>
                  <a:lnTo>
                    <a:pt x="38" y="205"/>
                  </a:lnTo>
                  <a:lnTo>
                    <a:pt x="42" y="203"/>
                  </a:lnTo>
                  <a:lnTo>
                    <a:pt x="42" y="201"/>
                  </a:lnTo>
                  <a:lnTo>
                    <a:pt x="42" y="201"/>
                  </a:lnTo>
                  <a:lnTo>
                    <a:pt x="47" y="201"/>
                  </a:lnTo>
                  <a:lnTo>
                    <a:pt x="57" y="193"/>
                  </a:lnTo>
                  <a:lnTo>
                    <a:pt x="61" y="191"/>
                  </a:lnTo>
                  <a:lnTo>
                    <a:pt x="64" y="189"/>
                  </a:lnTo>
                  <a:lnTo>
                    <a:pt x="64" y="186"/>
                  </a:lnTo>
                  <a:lnTo>
                    <a:pt x="66" y="179"/>
                  </a:lnTo>
                  <a:lnTo>
                    <a:pt x="66" y="177"/>
                  </a:lnTo>
                  <a:lnTo>
                    <a:pt x="66" y="172"/>
                  </a:lnTo>
                  <a:lnTo>
                    <a:pt x="66" y="172"/>
                  </a:lnTo>
                  <a:lnTo>
                    <a:pt x="66" y="170"/>
                  </a:lnTo>
                  <a:lnTo>
                    <a:pt x="66" y="168"/>
                  </a:lnTo>
                  <a:lnTo>
                    <a:pt x="68" y="163"/>
                  </a:lnTo>
                  <a:lnTo>
                    <a:pt x="71" y="158"/>
                  </a:lnTo>
                  <a:lnTo>
                    <a:pt x="71" y="158"/>
                  </a:lnTo>
                  <a:lnTo>
                    <a:pt x="71" y="153"/>
                  </a:lnTo>
                  <a:lnTo>
                    <a:pt x="73" y="151"/>
                  </a:lnTo>
                  <a:lnTo>
                    <a:pt x="73" y="149"/>
                  </a:lnTo>
                  <a:lnTo>
                    <a:pt x="73" y="144"/>
                  </a:lnTo>
                  <a:lnTo>
                    <a:pt x="75" y="139"/>
                  </a:lnTo>
                  <a:lnTo>
                    <a:pt x="75" y="134"/>
                  </a:lnTo>
                  <a:lnTo>
                    <a:pt x="75" y="130"/>
                  </a:lnTo>
                  <a:lnTo>
                    <a:pt x="80" y="123"/>
                  </a:lnTo>
                  <a:lnTo>
                    <a:pt x="80" y="123"/>
                  </a:lnTo>
                  <a:lnTo>
                    <a:pt x="83" y="123"/>
                  </a:lnTo>
                  <a:lnTo>
                    <a:pt x="83" y="120"/>
                  </a:lnTo>
                  <a:lnTo>
                    <a:pt x="87" y="123"/>
                  </a:lnTo>
                  <a:lnTo>
                    <a:pt x="92" y="118"/>
                  </a:lnTo>
                  <a:lnTo>
                    <a:pt x="101" y="113"/>
                  </a:lnTo>
                  <a:lnTo>
                    <a:pt x="106" y="111"/>
                  </a:lnTo>
                  <a:lnTo>
                    <a:pt x="109" y="111"/>
                  </a:lnTo>
                  <a:lnTo>
                    <a:pt x="111" y="104"/>
                  </a:lnTo>
                  <a:lnTo>
                    <a:pt x="113" y="101"/>
                  </a:lnTo>
                  <a:lnTo>
                    <a:pt x="113" y="99"/>
                  </a:lnTo>
                  <a:lnTo>
                    <a:pt x="116" y="97"/>
                  </a:lnTo>
                  <a:lnTo>
                    <a:pt x="118" y="90"/>
                  </a:lnTo>
                  <a:lnTo>
                    <a:pt x="120" y="85"/>
                  </a:lnTo>
                  <a:lnTo>
                    <a:pt x="120" y="82"/>
                  </a:lnTo>
                  <a:lnTo>
                    <a:pt x="125" y="80"/>
                  </a:lnTo>
                  <a:lnTo>
                    <a:pt x="125" y="64"/>
                  </a:lnTo>
                  <a:lnTo>
                    <a:pt x="125" y="64"/>
                  </a:lnTo>
                  <a:lnTo>
                    <a:pt x="127" y="59"/>
                  </a:lnTo>
                  <a:lnTo>
                    <a:pt x="127" y="56"/>
                  </a:lnTo>
                  <a:lnTo>
                    <a:pt x="130" y="54"/>
                  </a:lnTo>
                  <a:lnTo>
                    <a:pt x="132" y="54"/>
                  </a:lnTo>
                  <a:lnTo>
                    <a:pt x="135" y="52"/>
                  </a:lnTo>
                  <a:lnTo>
                    <a:pt x="135" y="52"/>
                  </a:lnTo>
                  <a:lnTo>
                    <a:pt x="135" y="49"/>
                  </a:lnTo>
                  <a:lnTo>
                    <a:pt x="137" y="47"/>
                  </a:lnTo>
                  <a:lnTo>
                    <a:pt x="139" y="47"/>
                  </a:lnTo>
                  <a:lnTo>
                    <a:pt x="144" y="45"/>
                  </a:lnTo>
                  <a:lnTo>
                    <a:pt x="146" y="42"/>
                  </a:lnTo>
                  <a:lnTo>
                    <a:pt x="149" y="42"/>
                  </a:lnTo>
                  <a:lnTo>
                    <a:pt x="153" y="40"/>
                  </a:lnTo>
                  <a:lnTo>
                    <a:pt x="153" y="38"/>
                  </a:lnTo>
                  <a:lnTo>
                    <a:pt x="153" y="38"/>
                  </a:lnTo>
                  <a:lnTo>
                    <a:pt x="156" y="38"/>
                  </a:lnTo>
                  <a:lnTo>
                    <a:pt x="158" y="35"/>
                  </a:lnTo>
                  <a:lnTo>
                    <a:pt x="158" y="33"/>
                  </a:lnTo>
                  <a:lnTo>
                    <a:pt x="161" y="33"/>
                  </a:lnTo>
                  <a:lnTo>
                    <a:pt x="163" y="33"/>
                  </a:lnTo>
                  <a:lnTo>
                    <a:pt x="165" y="31"/>
                  </a:lnTo>
                  <a:lnTo>
                    <a:pt x="172" y="28"/>
                  </a:lnTo>
                  <a:lnTo>
                    <a:pt x="175" y="28"/>
                  </a:lnTo>
                  <a:lnTo>
                    <a:pt x="175" y="28"/>
                  </a:lnTo>
                  <a:lnTo>
                    <a:pt x="177" y="28"/>
                  </a:lnTo>
                  <a:lnTo>
                    <a:pt x="179" y="28"/>
                  </a:lnTo>
                  <a:lnTo>
                    <a:pt x="179" y="26"/>
                  </a:lnTo>
                  <a:lnTo>
                    <a:pt x="182" y="26"/>
                  </a:lnTo>
                  <a:lnTo>
                    <a:pt x="189" y="16"/>
                  </a:lnTo>
                  <a:lnTo>
                    <a:pt x="189" y="16"/>
                  </a:lnTo>
                  <a:lnTo>
                    <a:pt x="191" y="14"/>
                  </a:lnTo>
                  <a:lnTo>
                    <a:pt x="191" y="16"/>
                  </a:lnTo>
                  <a:lnTo>
                    <a:pt x="194" y="19"/>
                  </a:lnTo>
                  <a:lnTo>
                    <a:pt x="194" y="16"/>
                  </a:lnTo>
                  <a:lnTo>
                    <a:pt x="198" y="14"/>
                  </a:lnTo>
                  <a:lnTo>
                    <a:pt x="201" y="14"/>
                  </a:lnTo>
                  <a:lnTo>
                    <a:pt x="201" y="12"/>
                  </a:lnTo>
                  <a:lnTo>
                    <a:pt x="203" y="12"/>
                  </a:lnTo>
                  <a:lnTo>
                    <a:pt x="203" y="9"/>
                  </a:lnTo>
                  <a:lnTo>
                    <a:pt x="205" y="9"/>
                  </a:lnTo>
                  <a:lnTo>
                    <a:pt x="208" y="7"/>
                  </a:lnTo>
                  <a:lnTo>
                    <a:pt x="208" y="7"/>
                  </a:lnTo>
                  <a:lnTo>
                    <a:pt x="212" y="7"/>
                  </a:lnTo>
                  <a:lnTo>
                    <a:pt x="217" y="7"/>
                  </a:lnTo>
                  <a:lnTo>
                    <a:pt x="222" y="12"/>
                  </a:lnTo>
                  <a:lnTo>
                    <a:pt x="224" y="12"/>
                  </a:lnTo>
                  <a:lnTo>
                    <a:pt x="229" y="12"/>
                  </a:lnTo>
                  <a:lnTo>
                    <a:pt x="231" y="12"/>
                  </a:lnTo>
                  <a:lnTo>
                    <a:pt x="231" y="12"/>
                  </a:lnTo>
                  <a:lnTo>
                    <a:pt x="231" y="12"/>
                  </a:lnTo>
                  <a:lnTo>
                    <a:pt x="236" y="12"/>
                  </a:lnTo>
                  <a:lnTo>
                    <a:pt x="238" y="14"/>
                  </a:lnTo>
                  <a:lnTo>
                    <a:pt x="241" y="14"/>
                  </a:lnTo>
                  <a:lnTo>
                    <a:pt x="248" y="12"/>
                  </a:lnTo>
                  <a:lnTo>
                    <a:pt x="255" y="7"/>
                  </a:lnTo>
                  <a:lnTo>
                    <a:pt x="257" y="7"/>
                  </a:lnTo>
                  <a:lnTo>
                    <a:pt x="257" y="7"/>
                  </a:lnTo>
                  <a:lnTo>
                    <a:pt x="260" y="9"/>
                  </a:lnTo>
                  <a:lnTo>
                    <a:pt x="262" y="12"/>
                  </a:lnTo>
                  <a:lnTo>
                    <a:pt x="264" y="12"/>
                  </a:lnTo>
                  <a:lnTo>
                    <a:pt x="264" y="14"/>
                  </a:lnTo>
                  <a:lnTo>
                    <a:pt x="267" y="14"/>
                  </a:lnTo>
                  <a:lnTo>
                    <a:pt x="269" y="14"/>
                  </a:lnTo>
                  <a:lnTo>
                    <a:pt x="274" y="12"/>
                  </a:lnTo>
                  <a:lnTo>
                    <a:pt x="274" y="12"/>
                  </a:lnTo>
                  <a:lnTo>
                    <a:pt x="274" y="12"/>
                  </a:lnTo>
                  <a:lnTo>
                    <a:pt x="276" y="12"/>
                  </a:lnTo>
                  <a:lnTo>
                    <a:pt x="276" y="12"/>
                  </a:lnTo>
                  <a:lnTo>
                    <a:pt x="279" y="12"/>
                  </a:lnTo>
                  <a:lnTo>
                    <a:pt x="281" y="14"/>
                  </a:lnTo>
                  <a:lnTo>
                    <a:pt x="283" y="14"/>
                  </a:lnTo>
                  <a:lnTo>
                    <a:pt x="290" y="14"/>
                  </a:lnTo>
                  <a:lnTo>
                    <a:pt x="293" y="16"/>
                  </a:lnTo>
                  <a:lnTo>
                    <a:pt x="295" y="14"/>
                  </a:lnTo>
                  <a:lnTo>
                    <a:pt x="295" y="14"/>
                  </a:lnTo>
                  <a:lnTo>
                    <a:pt x="300" y="12"/>
                  </a:lnTo>
                  <a:lnTo>
                    <a:pt x="300" y="14"/>
                  </a:lnTo>
                  <a:lnTo>
                    <a:pt x="302" y="16"/>
                  </a:lnTo>
                  <a:lnTo>
                    <a:pt x="302" y="19"/>
                  </a:lnTo>
                  <a:lnTo>
                    <a:pt x="302" y="21"/>
                  </a:lnTo>
                  <a:lnTo>
                    <a:pt x="302" y="21"/>
                  </a:lnTo>
                  <a:lnTo>
                    <a:pt x="307" y="19"/>
                  </a:lnTo>
                  <a:lnTo>
                    <a:pt x="309" y="16"/>
                  </a:lnTo>
                  <a:lnTo>
                    <a:pt x="312" y="16"/>
                  </a:lnTo>
                  <a:lnTo>
                    <a:pt x="312" y="12"/>
                  </a:lnTo>
                  <a:lnTo>
                    <a:pt x="312" y="12"/>
                  </a:lnTo>
                  <a:lnTo>
                    <a:pt x="312" y="7"/>
                  </a:lnTo>
                  <a:lnTo>
                    <a:pt x="312" y="7"/>
                  </a:lnTo>
                  <a:lnTo>
                    <a:pt x="312" y="5"/>
                  </a:lnTo>
                  <a:lnTo>
                    <a:pt x="314" y="2"/>
                  </a:lnTo>
                  <a:lnTo>
                    <a:pt x="314" y="0"/>
                  </a:lnTo>
                  <a:lnTo>
                    <a:pt x="316" y="0"/>
                  </a:lnTo>
                  <a:lnTo>
                    <a:pt x="319" y="0"/>
                  </a:lnTo>
                  <a:lnTo>
                    <a:pt x="319" y="0"/>
                  </a:lnTo>
                  <a:lnTo>
                    <a:pt x="324" y="2"/>
                  </a:lnTo>
                  <a:lnTo>
                    <a:pt x="328" y="2"/>
                  </a:lnTo>
                  <a:lnTo>
                    <a:pt x="328" y="2"/>
                  </a:lnTo>
                  <a:lnTo>
                    <a:pt x="331" y="5"/>
                  </a:lnTo>
                  <a:lnTo>
                    <a:pt x="335" y="7"/>
                  </a:lnTo>
                  <a:lnTo>
                    <a:pt x="338" y="7"/>
                  </a:lnTo>
                  <a:lnTo>
                    <a:pt x="345" y="12"/>
                  </a:lnTo>
                  <a:lnTo>
                    <a:pt x="345" y="12"/>
                  </a:lnTo>
                  <a:lnTo>
                    <a:pt x="345" y="12"/>
                  </a:lnTo>
                  <a:lnTo>
                    <a:pt x="347" y="14"/>
                  </a:lnTo>
                  <a:lnTo>
                    <a:pt x="349" y="14"/>
                  </a:lnTo>
                  <a:lnTo>
                    <a:pt x="349" y="14"/>
                  </a:lnTo>
                  <a:lnTo>
                    <a:pt x="359" y="12"/>
                  </a:lnTo>
                  <a:lnTo>
                    <a:pt x="361" y="14"/>
                  </a:lnTo>
                  <a:lnTo>
                    <a:pt x="364" y="14"/>
                  </a:lnTo>
                  <a:lnTo>
                    <a:pt x="364" y="14"/>
                  </a:lnTo>
                  <a:lnTo>
                    <a:pt x="366" y="14"/>
                  </a:lnTo>
                  <a:lnTo>
                    <a:pt x="366" y="14"/>
                  </a:lnTo>
                  <a:lnTo>
                    <a:pt x="366" y="19"/>
                  </a:lnTo>
                  <a:lnTo>
                    <a:pt x="366" y="21"/>
                  </a:lnTo>
                  <a:lnTo>
                    <a:pt x="368" y="21"/>
                  </a:lnTo>
                  <a:lnTo>
                    <a:pt x="373" y="19"/>
                  </a:lnTo>
                  <a:lnTo>
                    <a:pt x="373" y="19"/>
                  </a:lnTo>
                  <a:lnTo>
                    <a:pt x="378" y="19"/>
                  </a:lnTo>
                  <a:lnTo>
                    <a:pt x="380" y="19"/>
                  </a:lnTo>
                  <a:lnTo>
                    <a:pt x="383" y="21"/>
                  </a:lnTo>
                  <a:lnTo>
                    <a:pt x="385" y="23"/>
                  </a:lnTo>
                  <a:lnTo>
                    <a:pt x="387" y="23"/>
                  </a:lnTo>
                  <a:lnTo>
                    <a:pt x="387" y="23"/>
                  </a:lnTo>
                  <a:lnTo>
                    <a:pt x="392" y="21"/>
                  </a:lnTo>
                  <a:lnTo>
                    <a:pt x="392" y="23"/>
                  </a:lnTo>
                  <a:lnTo>
                    <a:pt x="394" y="23"/>
                  </a:lnTo>
                  <a:lnTo>
                    <a:pt x="397" y="21"/>
                  </a:lnTo>
                  <a:lnTo>
                    <a:pt x="399" y="21"/>
                  </a:lnTo>
                  <a:lnTo>
                    <a:pt x="401" y="16"/>
                  </a:lnTo>
                  <a:lnTo>
                    <a:pt x="404" y="16"/>
                  </a:lnTo>
                  <a:lnTo>
                    <a:pt x="406" y="19"/>
                  </a:lnTo>
                  <a:lnTo>
                    <a:pt x="409" y="19"/>
                  </a:lnTo>
                  <a:lnTo>
                    <a:pt x="411" y="19"/>
                  </a:lnTo>
                  <a:lnTo>
                    <a:pt x="413" y="19"/>
                  </a:lnTo>
                  <a:lnTo>
                    <a:pt x="416" y="19"/>
                  </a:lnTo>
                  <a:lnTo>
                    <a:pt x="420" y="21"/>
                  </a:lnTo>
                  <a:lnTo>
                    <a:pt x="420" y="21"/>
                  </a:lnTo>
                  <a:lnTo>
                    <a:pt x="423" y="19"/>
                  </a:lnTo>
                  <a:lnTo>
                    <a:pt x="425" y="21"/>
                  </a:lnTo>
                  <a:lnTo>
                    <a:pt x="427" y="21"/>
                  </a:lnTo>
                  <a:lnTo>
                    <a:pt x="427" y="21"/>
                  </a:lnTo>
                  <a:lnTo>
                    <a:pt x="427" y="26"/>
                  </a:lnTo>
                  <a:lnTo>
                    <a:pt x="430" y="26"/>
                  </a:lnTo>
                  <a:lnTo>
                    <a:pt x="432" y="26"/>
                  </a:lnTo>
                  <a:lnTo>
                    <a:pt x="435" y="28"/>
                  </a:lnTo>
                  <a:lnTo>
                    <a:pt x="437" y="28"/>
                  </a:lnTo>
                  <a:lnTo>
                    <a:pt x="439" y="31"/>
                  </a:lnTo>
                  <a:lnTo>
                    <a:pt x="444" y="33"/>
                  </a:lnTo>
                  <a:lnTo>
                    <a:pt x="451" y="33"/>
                  </a:lnTo>
                  <a:lnTo>
                    <a:pt x="458" y="35"/>
                  </a:lnTo>
                  <a:lnTo>
                    <a:pt x="458" y="35"/>
                  </a:lnTo>
                  <a:lnTo>
                    <a:pt x="461" y="35"/>
                  </a:lnTo>
                  <a:lnTo>
                    <a:pt x="463" y="35"/>
                  </a:lnTo>
                  <a:lnTo>
                    <a:pt x="465" y="38"/>
                  </a:lnTo>
                  <a:lnTo>
                    <a:pt x="465" y="38"/>
                  </a:lnTo>
                  <a:lnTo>
                    <a:pt x="468" y="35"/>
                  </a:lnTo>
                  <a:lnTo>
                    <a:pt x="468" y="35"/>
                  </a:lnTo>
                  <a:lnTo>
                    <a:pt x="472" y="35"/>
                  </a:lnTo>
                  <a:lnTo>
                    <a:pt x="472" y="38"/>
                  </a:lnTo>
                  <a:lnTo>
                    <a:pt x="477" y="40"/>
                  </a:lnTo>
                  <a:lnTo>
                    <a:pt x="479" y="45"/>
                  </a:lnTo>
                  <a:lnTo>
                    <a:pt x="479" y="45"/>
                  </a:lnTo>
                  <a:lnTo>
                    <a:pt x="482" y="47"/>
                  </a:lnTo>
                  <a:lnTo>
                    <a:pt x="484" y="49"/>
                  </a:lnTo>
                  <a:lnTo>
                    <a:pt x="484" y="49"/>
                  </a:lnTo>
                  <a:lnTo>
                    <a:pt x="484" y="49"/>
                  </a:lnTo>
                  <a:lnTo>
                    <a:pt x="484" y="54"/>
                  </a:lnTo>
                  <a:lnTo>
                    <a:pt x="484" y="56"/>
                  </a:lnTo>
                  <a:lnTo>
                    <a:pt x="487" y="56"/>
                  </a:lnTo>
                  <a:lnTo>
                    <a:pt x="489" y="56"/>
                  </a:lnTo>
                  <a:lnTo>
                    <a:pt x="489" y="56"/>
                  </a:lnTo>
                  <a:lnTo>
                    <a:pt x="491" y="59"/>
                  </a:lnTo>
                  <a:lnTo>
                    <a:pt x="491" y="59"/>
                  </a:lnTo>
                  <a:lnTo>
                    <a:pt x="494" y="59"/>
                  </a:lnTo>
                  <a:lnTo>
                    <a:pt x="496" y="56"/>
                  </a:lnTo>
                  <a:lnTo>
                    <a:pt x="498" y="52"/>
                  </a:lnTo>
                  <a:lnTo>
                    <a:pt x="498" y="49"/>
                  </a:lnTo>
                  <a:lnTo>
                    <a:pt x="501" y="49"/>
                  </a:lnTo>
                  <a:lnTo>
                    <a:pt x="501" y="49"/>
                  </a:lnTo>
                  <a:lnTo>
                    <a:pt x="503" y="49"/>
                  </a:lnTo>
                  <a:lnTo>
                    <a:pt x="503" y="52"/>
                  </a:lnTo>
                  <a:lnTo>
                    <a:pt x="505" y="52"/>
                  </a:lnTo>
                  <a:lnTo>
                    <a:pt x="508" y="52"/>
                  </a:lnTo>
                  <a:lnTo>
                    <a:pt x="510" y="52"/>
                  </a:lnTo>
                  <a:lnTo>
                    <a:pt x="512" y="49"/>
                  </a:lnTo>
                  <a:lnTo>
                    <a:pt x="515" y="52"/>
                  </a:lnTo>
                  <a:lnTo>
                    <a:pt x="517" y="52"/>
                  </a:lnTo>
                  <a:lnTo>
                    <a:pt x="517" y="52"/>
                  </a:lnTo>
                  <a:lnTo>
                    <a:pt x="520" y="54"/>
                  </a:lnTo>
                  <a:lnTo>
                    <a:pt x="520" y="54"/>
                  </a:lnTo>
                  <a:lnTo>
                    <a:pt x="522" y="56"/>
                  </a:lnTo>
                  <a:lnTo>
                    <a:pt x="522" y="54"/>
                  </a:lnTo>
                  <a:lnTo>
                    <a:pt x="524" y="54"/>
                  </a:lnTo>
                  <a:lnTo>
                    <a:pt x="527" y="56"/>
                  </a:lnTo>
                  <a:lnTo>
                    <a:pt x="529" y="54"/>
                  </a:lnTo>
                  <a:lnTo>
                    <a:pt x="531" y="56"/>
                  </a:lnTo>
                  <a:lnTo>
                    <a:pt x="531" y="54"/>
                  </a:lnTo>
                  <a:lnTo>
                    <a:pt x="531" y="54"/>
                  </a:lnTo>
                  <a:lnTo>
                    <a:pt x="531" y="52"/>
                  </a:lnTo>
                  <a:lnTo>
                    <a:pt x="534" y="52"/>
                  </a:lnTo>
                  <a:lnTo>
                    <a:pt x="534" y="52"/>
                  </a:lnTo>
                  <a:lnTo>
                    <a:pt x="536" y="49"/>
                  </a:lnTo>
                  <a:lnTo>
                    <a:pt x="538" y="52"/>
                  </a:lnTo>
                  <a:lnTo>
                    <a:pt x="538" y="52"/>
                  </a:lnTo>
                  <a:lnTo>
                    <a:pt x="541" y="54"/>
                  </a:lnTo>
                  <a:lnTo>
                    <a:pt x="541" y="56"/>
                  </a:lnTo>
                  <a:lnTo>
                    <a:pt x="543" y="56"/>
                  </a:lnTo>
                  <a:lnTo>
                    <a:pt x="546" y="56"/>
                  </a:lnTo>
                  <a:lnTo>
                    <a:pt x="548" y="54"/>
                  </a:lnTo>
                  <a:lnTo>
                    <a:pt x="548" y="54"/>
                  </a:lnTo>
                  <a:lnTo>
                    <a:pt x="550" y="54"/>
                  </a:lnTo>
                  <a:lnTo>
                    <a:pt x="553" y="54"/>
                  </a:lnTo>
                  <a:lnTo>
                    <a:pt x="555" y="56"/>
                  </a:lnTo>
                  <a:lnTo>
                    <a:pt x="555" y="56"/>
                  </a:lnTo>
                  <a:lnTo>
                    <a:pt x="555" y="56"/>
                  </a:lnTo>
                  <a:lnTo>
                    <a:pt x="557" y="56"/>
                  </a:lnTo>
                  <a:lnTo>
                    <a:pt x="560" y="56"/>
                  </a:lnTo>
                  <a:lnTo>
                    <a:pt x="562" y="56"/>
                  </a:lnTo>
                  <a:lnTo>
                    <a:pt x="564" y="56"/>
                  </a:lnTo>
                  <a:lnTo>
                    <a:pt x="567" y="54"/>
                  </a:lnTo>
                  <a:lnTo>
                    <a:pt x="569" y="54"/>
                  </a:lnTo>
                  <a:lnTo>
                    <a:pt x="569" y="54"/>
                  </a:lnTo>
                  <a:lnTo>
                    <a:pt x="572" y="54"/>
                  </a:lnTo>
                  <a:lnTo>
                    <a:pt x="572" y="52"/>
                  </a:lnTo>
                  <a:lnTo>
                    <a:pt x="574" y="52"/>
                  </a:lnTo>
                  <a:lnTo>
                    <a:pt x="576" y="54"/>
                  </a:lnTo>
                  <a:lnTo>
                    <a:pt x="579" y="52"/>
                  </a:lnTo>
                  <a:lnTo>
                    <a:pt x="579" y="49"/>
                  </a:lnTo>
                  <a:lnTo>
                    <a:pt x="581" y="52"/>
                  </a:lnTo>
                  <a:lnTo>
                    <a:pt x="583" y="52"/>
                  </a:lnTo>
                  <a:lnTo>
                    <a:pt x="583" y="54"/>
                  </a:lnTo>
                  <a:lnTo>
                    <a:pt x="586" y="54"/>
                  </a:lnTo>
                  <a:lnTo>
                    <a:pt x="586" y="54"/>
                  </a:lnTo>
                  <a:lnTo>
                    <a:pt x="586" y="52"/>
                  </a:lnTo>
                  <a:lnTo>
                    <a:pt x="586" y="52"/>
                  </a:lnTo>
                  <a:lnTo>
                    <a:pt x="586" y="49"/>
                  </a:lnTo>
                  <a:lnTo>
                    <a:pt x="586" y="49"/>
                  </a:lnTo>
                  <a:lnTo>
                    <a:pt x="588" y="52"/>
                  </a:lnTo>
                  <a:lnTo>
                    <a:pt x="588" y="52"/>
                  </a:lnTo>
                  <a:lnTo>
                    <a:pt x="590" y="54"/>
                  </a:lnTo>
                  <a:lnTo>
                    <a:pt x="588" y="56"/>
                  </a:lnTo>
                  <a:lnTo>
                    <a:pt x="588" y="56"/>
                  </a:lnTo>
                  <a:lnTo>
                    <a:pt x="588" y="59"/>
                  </a:lnTo>
                  <a:lnTo>
                    <a:pt x="590" y="61"/>
                  </a:lnTo>
                  <a:lnTo>
                    <a:pt x="593" y="61"/>
                  </a:lnTo>
                  <a:lnTo>
                    <a:pt x="595" y="61"/>
                  </a:lnTo>
                  <a:lnTo>
                    <a:pt x="598" y="64"/>
                  </a:lnTo>
                  <a:lnTo>
                    <a:pt x="598" y="64"/>
                  </a:lnTo>
                  <a:lnTo>
                    <a:pt x="598" y="64"/>
                  </a:lnTo>
                  <a:lnTo>
                    <a:pt x="598" y="64"/>
                  </a:lnTo>
                  <a:lnTo>
                    <a:pt x="595" y="66"/>
                  </a:lnTo>
                  <a:lnTo>
                    <a:pt x="595" y="68"/>
                  </a:lnTo>
                  <a:lnTo>
                    <a:pt x="595" y="71"/>
                  </a:lnTo>
                  <a:lnTo>
                    <a:pt x="598" y="71"/>
                  </a:lnTo>
                  <a:lnTo>
                    <a:pt x="600" y="71"/>
                  </a:lnTo>
                  <a:lnTo>
                    <a:pt x="600" y="71"/>
                  </a:lnTo>
                  <a:lnTo>
                    <a:pt x="602" y="71"/>
                  </a:lnTo>
                  <a:lnTo>
                    <a:pt x="602" y="73"/>
                  </a:lnTo>
                  <a:lnTo>
                    <a:pt x="605" y="73"/>
                  </a:lnTo>
                  <a:lnTo>
                    <a:pt x="607" y="71"/>
                  </a:lnTo>
                  <a:lnTo>
                    <a:pt x="607" y="73"/>
                  </a:lnTo>
                  <a:lnTo>
                    <a:pt x="607" y="73"/>
                  </a:lnTo>
                  <a:lnTo>
                    <a:pt x="609" y="73"/>
                  </a:lnTo>
                  <a:lnTo>
                    <a:pt x="609" y="75"/>
                  </a:lnTo>
                  <a:lnTo>
                    <a:pt x="609" y="75"/>
                  </a:lnTo>
                  <a:lnTo>
                    <a:pt x="612" y="75"/>
                  </a:lnTo>
                  <a:lnTo>
                    <a:pt x="612" y="75"/>
                  </a:lnTo>
                  <a:lnTo>
                    <a:pt x="614" y="75"/>
                  </a:lnTo>
                  <a:lnTo>
                    <a:pt x="614" y="78"/>
                  </a:lnTo>
                  <a:lnTo>
                    <a:pt x="616" y="75"/>
                  </a:lnTo>
                  <a:lnTo>
                    <a:pt x="619" y="75"/>
                  </a:lnTo>
                  <a:lnTo>
                    <a:pt x="619" y="78"/>
                  </a:lnTo>
                  <a:lnTo>
                    <a:pt x="621" y="78"/>
                  </a:lnTo>
                  <a:lnTo>
                    <a:pt x="619" y="80"/>
                  </a:lnTo>
                  <a:lnTo>
                    <a:pt x="619" y="80"/>
                  </a:lnTo>
                  <a:lnTo>
                    <a:pt x="621" y="82"/>
                  </a:lnTo>
                  <a:lnTo>
                    <a:pt x="621" y="85"/>
                  </a:lnTo>
                  <a:lnTo>
                    <a:pt x="624" y="82"/>
                  </a:lnTo>
                  <a:lnTo>
                    <a:pt x="624" y="85"/>
                  </a:lnTo>
                  <a:lnTo>
                    <a:pt x="624" y="85"/>
                  </a:lnTo>
                  <a:lnTo>
                    <a:pt x="626" y="85"/>
                  </a:lnTo>
                  <a:lnTo>
                    <a:pt x="626" y="85"/>
                  </a:lnTo>
                  <a:lnTo>
                    <a:pt x="626" y="87"/>
                  </a:lnTo>
                  <a:lnTo>
                    <a:pt x="628" y="90"/>
                  </a:lnTo>
                  <a:lnTo>
                    <a:pt x="628" y="92"/>
                  </a:lnTo>
                  <a:lnTo>
                    <a:pt x="628" y="94"/>
                  </a:lnTo>
                  <a:lnTo>
                    <a:pt x="631" y="94"/>
                  </a:lnTo>
                  <a:lnTo>
                    <a:pt x="631" y="94"/>
                  </a:lnTo>
                  <a:lnTo>
                    <a:pt x="631" y="97"/>
                  </a:lnTo>
                  <a:lnTo>
                    <a:pt x="631" y="97"/>
                  </a:lnTo>
                  <a:lnTo>
                    <a:pt x="633" y="99"/>
                  </a:lnTo>
                  <a:lnTo>
                    <a:pt x="633" y="104"/>
                  </a:lnTo>
                  <a:lnTo>
                    <a:pt x="633" y="104"/>
                  </a:lnTo>
                  <a:lnTo>
                    <a:pt x="633" y="106"/>
                  </a:lnTo>
                  <a:lnTo>
                    <a:pt x="633" y="108"/>
                  </a:lnTo>
                  <a:lnTo>
                    <a:pt x="631" y="106"/>
                  </a:lnTo>
                  <a:lnTo>
                    <a:pt x="631" y="108"/>
                  </a:lnTo>
                  <a:lnTo>
                    <a:pt x="631" y="108"/>
                  </a:lnTo>
                  <a:lnTo>
                    <a:pt x="633" y="108"/>
                  </a:lnTo>
                  <a:lnTo>
                    <a:pt x="635" y="111"/>
                  </a:lnTo>
                  <a:lnTo>
                    <a:pt x="635" y="113"/>
                  </a:lnTo>
                  <a:lnTo>
                    <a:pt x="638" y="113"/>
                  </a:lnTo>
                  <a:lnTo>
                    <a:pt x="635" y="113"/>
                  </a:lnTo>
                  <a:lnTo>
                    <a:pt x="635" y="113"/>
                  </a:lnTo>
                  <a:lnTo>
                    <a:pt x="633" y="113"/>
                  </a:lnTo>
                  <a:lnTo>
                    <a:pt x="633" y="116"/>
                  </a:lnTo>
                  <a:lnTo>
                    <a:pt x="633" y="116"/>
                  </a:lnTo>
                  <a:lnTo>
                    <a:pt x="635" y="116"/>
                  </a:lnTo>
                  <a:lnTo>
                    <a:pt x="635" y="116"/>
                  </a:lnTo>
                  <a:lnTo>
                    <a:pt x="635" y="116"/>
                  </a:lnTo>
                  <a:lnTo>
                    <a:pt x="635" y="116"/>
                  </a:lnTo>
                  <a:lnTo>
                    <a:pt x="635" y="116"/>
                  </a:lnTo>
                  <a:lnTo>
                    <a:pt x="638" y="118"/>
                  </a:lnTo>
                  <a:lnTo>
                    <a:pt x="638" y="118"/>
                  </a:lnTo>
                  <a:lnTo>
                    <a:pt x="638" y="118"/>
                  </a:lnTo>
                  <a:lnTo>
                    <a:pt x="640" y="118"/>
                  </a:lnTo>
                  <a:lnTo>
                    <a:pt x="640" y="120"/>
                  </a:lnTo>
                  <a:lnTo>
                    <a:pt x="640" y="120"/>
                  </a:lnTo>
                  <a:lnTo>
                    <a:pt x="640" y="120"/>
                  </a:lnTo>
                  <a:lnTo>
                    <a:pt x="638" y="120"/>
                  </a:lnTo>
                  <a:lnTo>
                    <a:pt x="638" y="120"/>
                  </a:lnTo>
                  <a:lnTo>
                    <a:pt x="635" y="120"/>
                  </a:lnTo>
                  <a:lnTo>
                    <a:pt x="635" y="123"/>
                  </a:lnTo>
                  <a:lnTo>
                    <a:pt x="635" y="123"/>
                  </a:lnTo>
                  <a:lnTo>
                    <a:pt x="635" y="125"/>
                  </a:lnTo>
                  <a:lnTo>
                    <a:pt x="635" y="125"/>
                  </a:lnTo>
                  <a:lnTo>
                    <a:pt x="635" y="125"/>
                  </a:lnTo>
                  <a:lnTo>
                    <a:pt x="633" y="125"/>
                  </a:lnTo>
                  <a:lnTo>
                    <a:pt x="633" y="127"/>
                  </a:lnTo>
                  <a:lnTo>
                    <a:pt x="633" y="127"/>
                  </a:lnTo>
                  <a:lnTo>
                    <a:pt x="633" y="130"/>
                  </a:lnTo>
                  <a:lnTo>
                    <a:pt x="633" y="130"/>
                  </a:lnTo>
                  <a:lnTo>
                    <a:pt x="633" y="130"/>
                  </a:lnTo>
                  <a:lnTo>
                    <a:pt x="633" y="132"/>
                  </a:lnTo>
                  <a:lnTo>
                    <a:pt x="635" y="132"/>
                  </a:lnTo>
                  <a:lnTo>
                    <a:pt x="635" y="134"/>
                  </a:lnTo>
                  <a:lnTo>
                    <a:pt x="635" y="134"/>
                  </a:lnTo>
                  <a:lnTo>
                    <a:pt x="635" y="137"/>
                  </a:lnTo>
                  <a:lnTo>
                    <a:pt x="635" y="137"/>
                  </a:lnTo>
                  <a:lnTo>
                    <a:pt x="635" y="139"/>
                  </a:lnTo>
                  <a:lnTo>
                    <a:pt x="633" y="142"/>
                  </a:lnTo>
                  <a:lnTo>
                    <a:pt x="633" y="142"/>
                  </a:lnTo>
                  <a:lnTo>
                    <a:pt x="633" y="144"/>
                  </a:lnTo>
                  <a:lnTo>
                    <a:pt x="633" y="144"/>
                  </a:lnTo>
                  <a:lnTo>
                    <a:pt x="633" y="144"/>
                  </a:lnTo>
                  <a:lnTo>
                    <a:pt x="635" y="144"/>
                  </a:lnTo>
                  <a:lnTo>
                    <a:pt x="635" y="146"/>
                  </a:lnTo>
                  <a:lnTo>
                    <a:pt x="633" y="146"/>
                  </a:lnTo>
                  <a:lnTo>
                    <a:pt x="635" y="146"/>
                  </a:lnTo>
                  <a:lnTo>
                    <a:pt x="635" y="149"/>
                  </a:lnTo>
                  <a:lnTo>
                    <a:pt x="638" y="149"/>
                  </a:lnTo>
                  <a:lnTo>
                    <a:pt x="638" y="151"/>
                  </a:lnTo>
                  <a:lnTo>
                    <a:pt x="638" y="151"/>
                  </a:lnTo>
                  <a:lnTo>
                    <a:pt x="638" y="151"/>
                  </a:lnTo>
                  <a:lnTo>
                    <a:pt x="638" y="151"/>
                  </a:lnTo>
                  <a:lnTo>
                    <a:pt x="640" y="151"/>
                  </a:lnTo>
                  <a:lnTo>
                    <a:pt x="640" y="153"/>
                  </a:lnTo>
                  <a:lnTo>
                    <a:pt x="640" y="153"/>
                  </a:lnTo>
                  <a:lnTo>
                    <a:pt x="640" y="153"/>
                  </a:lnTo>
                  <a:lnTo>
                    <a:pt x="642" y="153"/>
                  </a:lnTo>
                  <a:lnTo>
                    <a:pt x="642" y="153"/>
                  </a:lnTo>
                  <a:lnTo>
                    <a:pt x="642" y="156"/>
                  </a:lnTo>
                  <a:lnTo>
                    <a:pt x="642" y="156"/>
                  </a:lnTo>
                  <a:lnTo>
                    <a:pt x="642" y="158"/>
                  </a:lnTo>
                  <a:lnTo>
                    <a:pt x="642" y="160"/>
                  </a:lnTo>
                  <a:lnTo>
                    <a:pt x="642" y="160"/>
                  </a:lnTo>
                  <a:lnTo>
                    <a:pt x="640" y="158"/>
                  </a:lnTo>
                  <a:lnTo>
                    <a:pt x="640" y="160"/>
                  </a:lnTo>
                  <a:lnTo>
                    <a:pt x="640" y="160"/>
                  </a:lnTo>
                  <a:lnTo>
                    <a:pt x="640" y="160"/>
                  </a:lnTo>
                  <a:lnTo>
                    <a:pt x="640" y="163"/>
                  </a:lnTo>
                  <a:lnTo>
                    <a:pt x="640" y="163"/>
                  </a:lnTo>
                  <a:lnTo>
                    <a:pt x="640" y="163"/>
                  </a:lnTo>
                  <a:lnTo>
                    <a:pt x="640" y="165"/>
                  </a:lnTo>
                  <a:lnTo>
                    <a:pt x="640" y="168"/>
                  </a:lnTo>
                  <a:lnTo>
                    <a:pt x="640" y="168"/>
                  </a:lnTo>
                  <a:lnTo>
                    <a:pt x="640" y="170"/>
                  </a:lnTo>
                  <a:lnTo>
                    <a:pt x="640" y="170"/>
                  </a:lnTo>
                  <a:lnTo>
                    <a:pt x="640" y="170"/>
                  </a:lnTo>
                  <a:lnTo>
                    <a:pt x="638" y="172"/>
                  </a:lnTo>
                  <a:lnTo>
                    <a:pt x="635" y="172"/>
                  </a:lnTo>
                  <a:lnTo>
                    <a:pt x="635" y="172"/>
                  </a:lnTo>
                  <a:lnTo>
                    <a:pt x="638" y="172"/>
                  </a:lnTo>
                  <a:lnTo>
                    <a:pt x="635" y="172"/>
                  </a:lnTo>
                  <a:lnTo>
                    <a:pt x="635" y="172"/>
                  </a:lnTo>
                  <a:lnTo>
                    <a:pt x="635" y="172"/>
                  </a:lnTo>
                  <a:lnTo>
                    <a:pt x="635" y="175"/>
                  </a:lnTo>
                  <a:lnTo>
                    <a:pt x="635" y="175"/>
                  </a:lnTo>
                  <a:lnTo>
                    <a:pt x="635" y="175"/>
                  </a:lnTo>
                  <a:lnTo>
                    <a:pt x="635" y="177"/>
                  </a:lnTo>
                  <a:lnTo>
                    <a:pt x="635" y="177"/>
                  </a:lnTo>
                  <a:lnTo>
                    <a:pt x="638" y="179"/>
                  </a:lnTo>
                  <a:lnTo>
                    <a:pt x="640" y="177"/>
                  </a:lnTo>
                  <a:lnTo>
                    <a:pt x="640" y="179"/>
                  </a:lnTo>
                  <a:lnTo>
                    <a:pt x="640" y="182"/>
                  </a:lnTo>
                  <a:lnTo>
                    <a:pt x="640" y="182"/>
                  </a:lnTo>
                  <a:lnTo>
                    <a:pt x="642" y="182"/>
                  </a:lnTo>
                  <a:lnTo>
                    <a:pt x="642" y="184"/>
                  </a:lnTo>
                  <a:lnTo>
                    <a:pt x="642" y="184"/>
                  </a:lnTo>
                  <a:lnTo>
                    <a:pt x="645" y="184"/>
                  </a:lnTo>
                  <a:lnTo>
                    <a:pt x="645" y="184"/>
                  </a:lnTo>
                  <a:lnTo>
                    <a:pt x="645" y="182"/>
                  </a:lnTo>
                  <a:lnTo>
                    <a:pt x="645" y="184"/>
                  </a:lnTo>
                  <a:lnTo>
                    <a:pt x="647" y="184"/>
                  </a:lnTo>
                  <a:lnTo>
                    <a:pt x="647" y="184"/>
                  </a:lnTo>
                  <a:lnTo>
                    <a:pt x="647" y="186"/>
                  </a:lnTo>
                  <a:lnTo>
                    <a:pt x="647" y="186"/>
                  </a:lnTo>
                  <a:lnTo>
                    <a:pt x="645" y="186"/>
                  </a:lnTo>
                  <a:lnTo>
                    <a:pt x="645" y="186"/>
                  </a:lnTo>
                  <a:lnTo>
                    <a:pt x="647" y="186"/>
                  </a:lnTo>
                  <a:lnTo>
                    <a:pt x="647" y="186"/>
                  </a:lnTo>
                  <a:lnTo>
                    <a:pt x="647" y="189"/>
                  </a:lnTo>
                  <a:lnTo>
                    <a:pt x="650" y="189"/>
                  </a:lnTo>
                  <a:lnTo>
                    <a:pt x="650" y="189"/>
                  </a:lnTo>
                  <a:lnTo>
                    <a:pt x="647" y="189"/>
                  </a:lnTo>
                  <a:lnTo>
                    <a:pt x="647" y="189"/>
                  </a:lnTo>
                  <a:lnTo>
                    <a:pt x="647" y="189"/>
                  </a:lnTo>
                  <a:lnTo>
                    <a:pt x="650" y="191"/>
                  </a:lnTo>
                  <a:lnTo>
                    <a:pt x="650" y="191"/>
                  </a:lnTo>
                  <a:lnTo>
                    <a:pt x="650" y="191"/>
                  </a:lnTo>
                  <a:lnTo>
                    <a:pt x="650" y="193"/>
                  </a:lnTo>
                  <a:lnTo>
                    <a:pt x="650" y="193"/>
                  </a:lnTo>
                  <a:lnTo>
                    <a:pt x="650" y="193"/>
                  </a:lnTo>
                  <a:lnTo>
                    <a:pt x="650" y="196"/>
                  </a:lnTo>
                  <a:lnTo>
                    <a:pt x="652" y="196"/>
                  </a:lnTo>
                  <a:lnTo>
                    <a:pt x="650" y="196"/>
                  </a:lnTo>
                  <a:lnTo>
                    <a:pt x="650" y="196"/>
                  </a:lnTo>
                  <a:lnTo>
                    <a:pt x="650" y="196"/>
                  </a:lnTo>
                  <a:lnTo>
                    <a:pt x="650" y="196"/>
                  </a:lnTo>
                  <a:lnTo>
                    <a:pt x="650" y="196"/>
                  </a:lnTo>
                  <a:lnTo>
                    <a:pt x="652" y="196"/>
                  </a:lnTo>
                  <a:lnTo>
                    <a:pt x="652" y="196"/>
                  </a:lnTo>
                  <a:lnTo>
                    <a:pt x="652" y="198"/>
                  </a:lnTo>
                  <a:lnTo>
                    <a:pt x="652" y="198"/>
                  </a:lnTo>
                  <a:lnTo>
                    <a:pt x="652" y="198"/>
                  </a:lnTo>
                  <a:lnTo>
                    <a:pt x="654" y="201"/>
                  </a:lnTo>
                  <a:lnTo>
                    <a:pt x="654" y="201"/>
                  </a:lnTo>
                  <a:lnTo>
                    <a:pt x="657" y="201"/>
                  </a:lnTo>
                  <a:lnTo>
                    <a:pt x="657" y="203"/>
                  </a:lnTo>
                  <a:lnTo>
                    <a:pt x="657" y="203"/>
                  </a:lnTo>
                  <a:lnTo>
                    <a:pt x="657" y="203"/>
                  </a:lnTo>
                  <a:lnTo>
                    <a:pt x="657" y="205"/>
                  </a:lnTo>
                  <a:lnTo>
                    <a:pt x="657" y="205"/>
                  </a:lnTo>
                  <a:lnTo>
                    <a:pt x="659" y="205"/>
                  </a:lnTo>
                  <a:lnTo>
                    <a:pt x="661" y="205"/>
                  </a:lnTo>
                  <a:lnTo>
                    <a:pt x="659" y="208"/>
                  </a:lnTo>
                  <a:lnTo>
                    <a:pt x="661" y="208"/>
                  </a:lnTo>
                  <a:lnTo>
                    <a:pt x="659" y="208"/>
                  </a:lnTo>
                  <a:lnTo>
                    <a:pt x="661" y="208"/>
                  </a:lnTo>
                  <a:lnTo>
                    <a:pt x="661" y="210"/>
                  </a:lnTo>
                  <a:lnTo>
                    <a:pt x="664" y="208"/>
                  </a:lnTo>
                  <a:lnTo>
                    <a:pt x="664" y="210"/>
                  </a:lnTo>
                  <a:lnTo>
                    <a:pt x="664" y="208"/>
                  </a:lnTo>
                  <a:lnTo>
                    <a:pt x="666" y="210"/>
                  </a:lnTo>
                  <a:lnTo>
                    <a:pt x="666" y="210"/>
                  </a:lnTo>
                  <a:lnTo>
                    <a:pt x="668" y="212"/>
                  </a:lnTo>
                  <a:lnTo>
                    <a:pt x="668" y="212"/>
                  </a:lnTo>
                  <a:lnTo>
                    <a:pt x="668" y="212"/>
                  </a:lnTo>
                  <a:lnTo>
                    <a:pt x="671" y="215"/>
                  </a:lnTo>
                  <a:lnTo>
                    <a:pt x="668" y="215"/>
                  </a:lnTo>
                  <a:lnTo>
                    <a:pt x="668" y="217"/>
                  </a:lnTo>
                  <a:lnTo>
                    <a:pt x="668" y="219"/>
                  </a:lnTo>
                  <a:lnTo>
                    <a:pt x="668" y="219"/>
                  </a:lnTo>
                  <a:lnTo>
                    <a:pt x="666" y="222"/>
                  </a:lnTo>
                  <a:lnTo>
                    <a:pt x="668" y="222"/>
                  </a:lnTo>
                  <a:lnTo>
                    <a:pt x="671" y="224"/>
                  </a:lnTo>
                  <a:lnTo>
                    <a:pt x="671" y="227"/>
                  </a:lnTo>
                  <a:lnTo>
                    <a:pt x="673" y="227"/>
                  </a:lnTo>
                  <a:lnTo>
                    <a:pt x="673" y="227"/>
                  </a:lnTo>
                  <a:lnTo>
                    <a:pt x="673" y="227"/>
                  </a:lnTo>
                  <a:lnTo>
                    <a:pt x="673" y="227"/>
                  </a:lnTo>
                  <a:lnTo>
                    <a:pt x="675" y="229"/>
                  </a:lnTo>
                  <a:lnTo>
                    <a:pt x="673" y="229"/>
                  </a:lnTo>
                  <a:lnTo>
                    <a:pt x="675" y="231"/>
                  </a:lnTo>
                  <a:lnTo>
                    <a:pt x="675" y="231"/>
                  </a:lnTo>
                  <a:lnTo>
                    <a:pt x="675" y="234"/>
                  </a:lnTo>
                  <a:lnTo>
                    <a:pt x="675" y="234"/>
                  </a:lnTo>
                  <a:lnTo>
                    <a:pt x="675" y="234"/>
                  </a:lnTo>
                  <a:lnTo>
                    <a:pt x="678" y="234"/>
                  </a:lnTo>
                  <a:lnTo>
                    <a:pt x="678" y="234"/>
                  </a:lnTo>
                  <a:lnTo>
                    <a:pt x="680" y="236"/>
                  </a:lnTo>
                  <a:lnTo>
                    <a:pt x="680" y="236"/>
                  </a:lnTo>
                  <a:lnTo>
                    <a:pt x="680" y="236"/>
                  </a:lnTo>
                  <a:lnTo>
                    <a:pt x="683" y="236"/>
                  </a:lnTo>
                  <a:lnTo>
                    <a:pt x="685" y="238"/>
                  </a:lnTo>
                  <a:lnTo>
                    <a:pt x="685" y="238"/>
                  </a:lnTo>
                  <a:lnTo>
                    <a:pt x="687" y="238"/>
                  </a:lnTo>
                  <a:lnTo>
                    <a:pt x="685" y="241"/>
                  </a:lnTo>
                  <a:lnTo>
                    <a:pt x="683" y="241"/>
                  </a:lnTo>
                  <a:lnTo>
                    <a:pt x="680" y="243"/>
                  </a:lnTo>
                  <a:lnTo>
                    <a:pt x="680" y="245"/>
                  </a:lnTo>
                  <a:lnTo>
                    <a:pt x="680" y="248"/>
                  </a:lnTo>
                  <a:lnTo>
                    <a:pt x="680" y="248"/>
                  </a:lnTo>
                  <a:lnTo>
                    <a:pt x="680" y="245"/>
                  </a:lnTo>
                  <a:lnTo>
                    <a:pt x="683" y="245"/>
                  </a:lnTo>
                  <a:lnTo>
                    <a:pt x="683" y="248"/>
                  </a:lnTo>
                  <a:lnTo>
                    <a:pt x="680" y="250"/>
                  </a:lnTo>
                  <a:lnTo>
                    <a:pt x="680" y="250"/>
                  </a:lnTo>
                  <a:lnTo>
                    <a:pt x="680" y="253"/>
                  </a:lnTo>
                  <a:lnTo>
                    <a:pt x="680" y="253"/>
                  </a:lnTo>
                  <a:lnTo>
                    <a:pt x="680" y="253"/>
                  </a:lnTo>
                  <a:lnTo>
                    <a:pt x="680" y="255"/>
                  </a:lnTo>
                  <a:lnTo>
                    <a:pt x="680" y="255"/>
                  </a:lnTo>
                  <a:lnTo>
                    <a:pt x="680" y="255"/>
                  </a:lnTo>
                  <a:lnTo>
                    <a:pt x="678" y="255"/>
                  </a:lnTo>
                  <a:lnTo>
                    <a:pt x="678" y="257"/>
                  </a:lnTo>
                  <a:lnTo>
                    <a:pt x="678" y="260"/>
                  </a:lnTo>
                  <a:lnTo>
                    <a:pt x="675" y="260"/>
                  </a:lnTo>
                  <a:lnTo>
                    <a:pt x="675" y="260"/>
                  </a:lnTo>
                  <a:lnTo>
                    <a:pt x="675" y="262"/>
                  </a:lnTo>
                  <a:lnTo>
                    <a:pt x="675" y="262"/>
                  </a:lnTo>
                  <a:lnTo>
                    <a:pt x="675" y="264"/>
                  </a:lnTo>
                  <a:lnTo>
                    <a:pt x="675" y="264"/>
                  </a:lnTo>
                  <a:lnTo>
                    <a:pt x="675" y="267"/>
                  </a:lnTo>
                  <a:lnTo>
                    <a:pt x="673" y="264"/>
                  </a:lnTo>
                  <a:lnTo>
                    <a:pt x="673" y="267"/>
                  </a:lnTo>
                  <a:lnTo>
                    <a:pt x="671" y="267"/>
                  </a:lnTo>
                  <a:lnTo>
                    <a:pt x="671" y="267"/>
                  </a:lnTo>
                  <a:lnTo>
                    <a:pt x="671" y="269"/>
                  </a:lnTo>
                  <a:lnTo>
                    <a:pt x="673" y="269"/>
                  </a:lnTo>
                  <a:lnTo>
                    <a:pt x="673" y="271"/>
                  </a:lnTo>
                  <a:lnTo>
                    <a:pt x="671" y="271"/>
                  </a:lnTo>
                  <a:lnTo>
                    <a:pt x="673" y="271"/>
                  </a:lnTo>
                  <a:lnTo>
                    <a:pt x="673" y="271"/>
                  </a:lnTo>
                  <a:lnTo>
                    <a:pt x="671" y="274"/>
                  </a:lnTo>
                  <a:lnTo>
                    <a:pt x="671" y="274"/>
                  </a:lnTo>
                  <a:lnTo>
                    <a:pt x="673" y="274"/>
                  </a:lnTo>
                  <a:lnTo>
                    <a:pt x="671" y="279"/>
                  </a:lnTo>
                  <a:lnTo>
                    <a:pt x="673" y="279"/>
                  </a:lnTo>
                  <a:lnTo>
                    <a:pt x="673" y="279"/>
                  </a:lnTo>
                  <a:lnTo>
                    <a:pt x="673" y="279"/>
                  </a:lnTo>
                  <a:lnTo>
                    <a:pt x="673" y="279"/>
                  </a:lnTo>
                  <a:lnTo>
                    <a:pt x="673" y="281"/>
                  </a:lnTo>
                  <a:lnTo>
                    <a:pt x="673" y="281"/>
                  </a:lnTo>
                  <a:lnTo>
                    <a:pt x="673" y="281"/>
                  </a:lnTo>
                  <a:lnTo>
                    <a:pt x="675" y="281"/>
                  </a:lnTo>
                  <a:lnTo>
                    <a:pt x="678" y="283"/>
                  </a:lnTo>
                  <a:lnTo>
                    <a:pt x="678" y="283"/>
                  </a:lnTo>
                  <a:lnTo>
                    <a:pt x="680" y="283"/>
                  </a:lnTo>
                  <a:lnTo>
                    <a:pt x="680" y="286"/>
                  </a:lnTo>
                  <a:lnTo>
                    <a:pt x="683" y="286"/>
                  </a:lnTo>
                  <a:lnTo>
                    <a:pt x="685" y="286"/>
                  </a:lnTo>
                  <a:lnTo>
                    <a:pt x="685" y="283"/>
                  </a:lnTo>
                  <a:lnTo>
                    <a:pt x="687" y="283"/>
                  </a:lnTo>
                  <a:lnTo>
                    <a:pt x="687" y="283"/>
                  </a:lnTo>
                  <a:lnTo>
                    <a:pt x="687" y="281"/>
                  </a:lnTo>
                  <a:lnTo>
                    <a:pt x="690" y="281"/>
                  </a:lnTo>
                  <a:lnTo>
                    <a:pt x="690" y="281"/>
                  </a:lnTo>
                  <a:lnTo>
                    <a:pt x="692" y="281"/>
                  </a:lnTo>
                  <a:lnTo>
                    <a:pt x="694" y="281"/>
                  </a:lnTo>
                  <a:lnTo>
                    <a:pt x="697" y="283"/>
                  </a:lnTo>
                  <a:lnTo>
                    <a:pt x="697" y="283"/>
                  </a:lnTo>
                  <a:lnTo>
                    <a:pt x="699" y="281"/>
                  </a:lnTo>
                  <a:lnTo>
                    <a:pt x="699" y="281"/>
                  </a:lnTo>
                  <a:lnTo>
                    <a:pt x="699" y="283"/>
                  </a:lnTo>
                  <a:lnTo>
                    <a:pt x="701" y="283"/>
                  </a:lnTo>
                  <a:lnTo>
                    <a:pt x="701" y="281"/>
                  </a:lnTo>
                  <a:lnTo>
                    <a:pt x="701" y="281"/>
                  </a:lnTo>
                  <a:lnTo>
                    <a:pt x="704" y="283"/>
                  </a:lnTo>
                  <a:lnTo>
                    <a:pt x="704" y="283"/>
                  </a:lnTo>
                  <a:lnTo>
                    <a:pt x="704" y="283"/>
                  </a:lnTo>
                  <a:lnTo>
                    <a:pt x="706" y="283"/>
                  </a:lnTo>
                  <a:lnTo>
                    <a:pt x="706" y="281"/>
                  </a:lnTo>
                  <a:lnTo>
                    <a:pt x="706" y="281"/>
                  </a:lnTo>
                  <a:lnTo>
                    <a:pt x="706" y="279"/>
                  </a:lnTo>
                  <a:lnTo>
                    <a:pt x="706" y="279"/>
                  </a:lnTo>
                  <a:lnTo>
                    <a:pt x="709" y="279"/>
                  </a:lnTo>
                  <a:lnTo>
                    <a:pt x="706" y="279"/>
                  </a:lnTo>
                  <a:lnTo>
                    <a:pt x="706" y="279"/>
                  </a:lnTo>
                  <a:lnTo>
                    <a:pt x="706" y="276"/>
                  </a:lnTo>
                  <a:lnTo>
                    <a:pt x="709" y="276"/>
                  </a:lnTo>
                  <a:lnTo>
                    <a:pt x="709" y="279"/>
                  </a:lnTo>
                  <a:lnTo>
                    <a:pt x="711" y="276"/>
                  </a:lnTo>
                  <a:lnTo>
                    <a:pt x="713" y="276"/>
                  </a:lnTo>
                  <a:lnTo>
                    <a:pt x="713" y="279"/>
                  </a:lnTo>
                  <a:lnTo>
                    <a:pt x="711" y="279"/>
                  </a:lnTo>
                  <a:lnTo>
                    <a:pt x="711" y="281"/>
                  </a:lnTo>
                  <a:lnTo>
                    <a:pt x="713" y="279"/>
                  </a:lnTo>
                  <a:lnTo>
                    <a:pt x="713" y="279"/>
                  </a:lnTo>
                  <a:lnTo>
                    <a:pt x="713" y="281"/>
                  </a:lnTo>
                  <a:lnTo>
                    <a:pt x="716" y="281"/>
                  </a:lnTo>
                  <a:lnTo>
                    <a:pt x="716" y="281"/>
                  </a:lnTo>
                  <a:lnTo>
                    <a:pt x="716" y="281"/>
                  </a:lnTo>
                  <a:lnTo>
                    <a:pt x="718" y="283"/>
                  </a:lnTo>
                  <a:lnTo>
                    <a:pt x="718" y="281"/>
                  </a:lnTo>
                  <a:lnTo>
                    <a:pt x="720" y="281"/>
                  </a:lnTo>
                  <a:lnTo>
                    <a:pt x="723" y="281"/>
                  </a:lnTo>
                  <a:lnTo>
                    <a:pt x="723" y="283"/>
                  </a:lnTo>
                  <a:lnTo>
                    <a:pt x="723" y="283"/>
                  </a:lnTo>
                  <a:lnTo>
                    <a:pt x="723" y="281"/>
                  </a:lnTo>
                  <a:lnTo>
                    <a:pt x="725" y="281"/>
                  </a:lnTo>
                  <a:lnTo>
                    <a:pt x="727" y="281"/>
                  </a:lnTo>
                  <a:lnTo>
                    <a:pt x="730" y="281"/>
                  </a:lnTo>
                  <a:lnTo>
                    <a:pt x="732" y="281"/>
                  </a:lnTo>
                  <a:lnTo>
                    <a:pt x="730" y="281"/>
                  </a:lnTo>
                  <a:lnTo>
                    <a:pt x="730" y="279"/>
                  </a:lnTo>
                  <a:lnTo>
                    <a:pt x="732" y="281"/>
                  </a:lnTo>
                  <a:lnTo>
                    <a:pt x="735" y="279"/>
                  </a:lnTo>
                  <a:lnTo>
                    <a:pt x="735" y="281"/>
                  </a:lnTo>
                  <a:lnTo>
                    <a:pt x="735" y="281"/>
                  </a:lnTo>
                  <a:lnTo>
                    <a:pt x="737" y="281"/>
                  </a:lnTo>
                  <a:lnTo>
                    <a:pt x="739" y="283"/>
                  </a:lnTo>
                  <a:lnTo>
                    <a:pt x="739" y="286"/>
                  </a:lnTo>
                  <a:lnTo>
                    <a:pt x="742" y="283"/>
                  </a:lnTo>
                  <a:lnTo>
                    <a:pt x="742" y="283"/>
                  </a:lnTo>
                  <a:lnTo>
                    <a:pt x="744" y="283"/>
                  </a:lnTo>
                  <a:lnTo>
                    <a:pt x="744" y="283"/>
                  </a:lnTo>
                  <a:lnTo>
                    <a:pt x="744" y="283"/>
                  </a:lnTo>
                  <a:lnTo>
                    <a:pt x="746" y="283"/>
                  </a:lnTo>
                  <a:lnTo>
                    <a:pt x="749" y="283"/>
                  </a:lnTo>
                  <a:lnTo>
                    <a:pt x="751" y="283"/>
                  </a:lnTo>
                  <a:lnTo>
                    <a:pt x="751" y="283"/>
                  </a:lnTo>
                  <a:lnTo>
                    <a:pt x="751" y="283"/>
                  </a:lnTo>
                  <a:lnTo>
                    <a:pt x="751" y="281"/>
                  </a:lnTo>
                  <a:lnTo>
                    <a:pt x="751" y="281"/>
                  </a:lnTo>
                  <a:lnTo>
                    <a:pt x="753" y="281"/>
                  </a:lnTo>
                  <a:lnTo>
                    <a:pt x="753" y="283"/>
                  </a:lnTo>
                  <a:lnTo>
                    <a:pt x="753" y="283"/>
                  </a:lnTo>
                  <a:lnTo>
                    <a:pt x="753" y="283"/>
                  </a:lnTo>
                  <a:lnTo>
                    <a:pt x="753" y="283"/>
                  </a:lnTo>
                  <a:lnTo>
                    <a:pt x="753" y="286"/>
                  </a:lnTo>
                  <a:lnTo>
                    <a:pt x="753" y="286"/>
                  </a:lnTo>
                  <a:lnTo>
                    <a:pt x="753" y="286"/>
                  </a:lnTo>
                  <a:lnTo>
                    <a:pt x="756" y="283"/>
                  </a:lnTo>
                  <a:lnTo>
                    <a:pt x="756" y="283"/>
                  </a:lnTo>
                  <a:lnTo>
                    <a:pt x="756" y="283"/>
                  </a:lnTo>
                  <a:lnTo>
                    <a:pt x="758" y="283"/>
                  </a:lnTo>
                  <a:lnTo>
                    <a:pt x="761" y="281"/>
                  </a:lnTo>
                  <a:lnTo>
                    <a:pt x="761" y="281"/>
                  </a:lnTo>
                  <a:lnTo>
                    <a:pt x="763" y="281"/>
                  </a:lnTo>
                  <a:lnTo>
                    <a:pt x="763" y="281"/>
                  </a:lnTo>
                  <a:lnTo>
                    <a:pt x="763" y="283"/>
                  </a:lnTo>
                  <a:lnTo>
                    <a:pt x="765" y="281"/>
                  </a:lnTo>
                  <a:lnTo>
                    <a:pt x="765" y="283"/>
                  </a:lnTo>
                  <a:lnTo>
                    <a:pt x="768" y="283"/>
                  </a:lnTo>
                  <a:lnTo>
                    <a:pt x="768" y="286"/>
                  </a:lnTo>
                  <a:lnTo>
                    <a:pt x="768" y="288"/>
                  </a:lnTo>
                  <a:lnTo>
                    <a:pt x="770" y="288"/>
                  </a:lnTo>
                  <a:lnTo>
                    <a:pt x="770" y="288"/>
                  </a:lnTo>
                  <a:lnTo>
                    <a:pt x="770" y="288"/>
                  </a:lnTo>
                  <a:lnTo>
                    <a:pt x="770" y="288"/>
                  </a:lnTo>
                  <a:lnTo>
                    <a:pt x="770" y="288"/>
                  </a:lnTo>
                  <a:lnTo>
                    <a:pt x="772" y="290"/>
                  </a:lnTo>
                  <a:lnTo>
                    <a:pt x="772" y="290"/>
                  </a:lnTo>
                  <a:lnTo>
                    <a:pt x="772" y="290"/>
                  </a:lnTo>
                  <a:lnTo>
                    <a:pt x="775" y="290"/>
                  </a:lnTo>
                  <a:lnTo>
                    <a:pt x="775" y="290"/>
                  </a:lnTo>
                  <a:lnTo>
                    <a:pt x="775" y="290"/>
                  </a:lnTo>
                  <a:lnTo>
                    <a:pt x="775" y="290"/>
                  </a:lnTo>
                  <a:lnTo>
                    <a:pt x="775" y="293"/>
                  </a:lnTo>
                  <a:lnTo>
                    <a:pt x="775" y="293"/>
                  </a:lnTo>
                  <a:lnTo>
                    <a:pt x="772" y="293"/>
                  </a:lnTo>
                  <a:lnTo>
                    <a:pt x="772" y="295"/>
                  </a:lnTo>
                  <a:lnTo>
                    <a:pt x="772" y="297"/>
                  </a:lnTo>
                  <a:lnTo>
                    <a:pt x="770" y="297"/>
                  </a:lnTo>
                  <a:lnTo>
                    <a:pt x="768" y="300"/>
                  </a:lnTo>
                  <a:lnTo>
                    <a:pt x="768" y="300"/>
                  </a:lnTo>
                  <a:lnTo>
                    <a:pt x="768" y="302"/>
                  </a:lnTo>
                  <a:lnTo>
                    <a:pt x="768" y="302"/>
                  </a:lnTo>
                  <a:lnTo>
                    <a:pt x="768" y="305"/>
                  </a:lnTo>
                  <a:lnTo>
                    <a:pt x="768" y="307"/>
                  </a:lnTo>
                  <a:lnTo>
                    <a:pt x="768" y="307"/>
                  </a:lnTo>
                  <a:lnTo>
                    <a:pt x="770" y="307"/>
                  </a:lnTo>
                  <a:lnTo>
                    <a:pt x="770" y="307"/>
                  </a:lnTo>
                  <a:lnTo>
                    <a:pt x="770" y="309"/>
                  </a:lnTo>
                  <a:lnTo>
                    <a:pt x="768" y="309"/>
                  </a:lnTo>
                  <a:lnTo>
                    <a:pt x="768" y="309"/>
                  </a:lnTo>
                  <a:lnTo>
                    <a:pt x="768" y="309"/>
                  </a:lnTo>
                  <a:lnTo>
                    <a:pt x="768" y="312"/>
                  </a:lnTo>
                  <a:lnTo>
                    <a:pt x="768" y="312"/>
                  </a:lnTo>
                  <a:lnTo>
                    <a:pt x="768" y="312"/>
                  </a:lnTo>
                  <a:lnTo>
                    <a:pt x="768" y="312"/>
                  </a:lnTo>
                  <a:lnTo>
                    <a:pt x="768" y="314"/>
                  </a:lnTo>
                  <a:lnTo>
                    <a:pt x="768" y="314"/>
                  </a:lnTo>
                  <a:lnTo>
                    <a:pt x="768" y="316"/>
                  </a:lnTo>
                  <a:lnTo>
                    <a:pt x="768" y="316"/>
                  </a:lnTo>
                  <a:lnTo>
                    <a:pt x="768" y="316"/>
                  </a:lnTo>
                  <a:lnTo>
                    <a:pt x="768" y="319"/>
                  </a:lnTo>
                  <a:lnTo>
                    <a:pt x="768" y="319"/>
                  </a:lnTo>
                  <a:lnTo>
                    <a:pt x="768" y="319"/>
                  </a:lnTo>
                  <a:lnTo>
                    <a:pt x="768" y="321"/>
                  </a:lnTo>
                  <a:lnTo>
                    <a:pt x="765" y="321"/>
                  </a:lnTo>
                  <a:lnTo>
                    <a:pt x="763" y="323"/>
                  </a:lnTo>
                  <a:lnTo>
                    <a:pt x="763" y="323"/>
                  </a:lnTo>
                  <a:lnTo>
                    <a:pt x="763" y="323"/>
                  </a:lnTo>
                  <a:lnTo>
                    <a:pt x="763" y="326"/>
                  </a:lnTo>
                  <a:lnTo>
                    <a:pt x="763" y="326"/>
                  </a:lnTo>
                  <a:lnTo>
                    <a:pt x="763" y="326"/>
                  </a:lnTo>
                  <a:lnTo>
                    <a:pt x="763" y="328"/>
                  </a:lnTo>
                  <a:lnTo>
                    <a:pt x="763" y="328"/>
                  </a:lnTo>
                  <a:lnTo>
                    <a:pt x="763" y="328"/>
                  </a:lnTo>
                  <a:lnTo>
                    <a:pt x="765" y="328"/>
                  </a:lnTo>
                  <a:lnTo>
                    <a:pt x="765" y="331"/>
                  </a:lnTo>
                  <a:lnTo>
                    <a:pt x="768" y="331"/>
                  </a:lnTo>
                  <a:lnTo>
                    <a:pt x="768" y="333"/>
                  </a:lnTo>
                  <a:lnTo>
                    <a:pt x="768" y="333"/>
                  </a:lnTo>
                  <a:lnTo>
                    <a:pt x="768" y="335"/>
                  </a:lnTo>
                  <a:lnTo>
                    <a:pt x="768" y="335"/>
                  </a:lnTo>
                  <a:lnTo>
                    <a:pt x="770" y="335"/>
                  </a:lnTo>
                  <a:lnTo>
                    <a:pt x="770" y="338"/>
                  </a:lnTo>
                  <a:lnTo>
                    <a:pt x="772" y="338"/>
                  </a:lnTo>
                  <a:lnTo>
                    <a:pt x="772" y="335"/>
                  </a:lnTo>
                  <a:lnTo>
                    <a:pt x="772" y="335"/>
                  </a:lnTo>
                  <a:lnTo>
                    <a:pt x="775" y="333"/>
                  </a:lnTo>
                  <a:lnTo>
                    <a:pt x="777" y="333"/>
                  </a:lnTo>
                  <a:lnTo>
                    <a:pt x="777" y="333"/>
                  </a:lnTo>
                  <a:lnTo>
                    <a:pt x="777" y="331"/>
                  </a:lnTo>
                  <a:lnTo>
                    <a:pt x="779" y="326"/>
                  </a:lnTo>
                  <a:lnTo>
                    <a:pt x="784" y="323"/>
                  </a:lnTo>
                  <a:lnTo>
                    <a:pt x="787" y="323"/>
                  </a:lnTo>
                  <a:lnTo>
                    <a:pt x="787" y="321"/>
                  </a:lnTo>
                  <a:lnTo>
                    <a:pt x="789" y="323"/>
                  </a:lnTo>
                  <a:lnTo>
                    <a:pt x="791" y="323"/>
                  </a:lnTo>
                  <a:lnTo>
                    <a:pt x="791" y="326"/>
                  </a:lnTo>
                  <a:lnTo>
                    <a:pt x="791" y="326"/>
                  </a:lnTo>
                  <a:lnTo>
                    <a:pt x="794" y="328"/>
                  </a:lnTo>
                  <a:lnTo>
                    <a:pt x="794" y="328"/>
                  </a:lnTo>
                  <a:lnTo>
                    <a:pt x="794" y="328"/>
                  </a:lnTo>
                  <a:lnTo>
                    <a:pt x="796" y="328"/>
                  </a:lnTo>
                  <a:lnTo>
                    <a:pt x="796" y="331"/>
                  </a:lnTo>
                  <a:lnTo>
                    <a:pt x="796" y="328"/>
                  </a:lnTo>
                  <a:lnTo>
                    <a:pt x="798" y="328"/>
                  </a:lnTo>
                  <a:lnTo>
                    <a:pt x="798" y="333"/>
                  </a:lnTo>
                  <a:lnTo>
                    <a:pt x="796" y="333"/>
                  </a:lnTo>
                  <a:lnTo>
                    <a:pt x="796" y="333"/>
                  </a:lnTo>
                  <a:lnTo>
                    <a:pt x="798" y="333"/>
                  </a:lnTo>
                  <a:lnTo>
                    <a:pt x="798" y="331"/>
                  </a:lnTo>
                  <a:lnTo>
                    <a:pt x="801" y="328"/>
                  </a:lnTo>
                  <a:lnTo>
                    <a:pt x="801" y="328"/>
                  </a:lnTo>
                  <a:lnTo>
                    <a:pt x="801" y="328"/>
                  </a:lnTo>
                  <a:lnTo>
                    <a:pt x="803" y="328"/>
                  </a:lnTo>
                  <a:lnTo>
                    <a:pt x="803" y="328"/>
                  </a:lnTo>
                  <a:lnTo>
                    <a:pt x="803" y="328"/>
                  </a:lnTo>
                  <a:lnTo>
                    <a:pt x="803" y="326"/>
                  </a:lnTo>
                  <a:lnTo>
                    <a:pt x="805" y="326"/>
                  </a:lnTo>
                  <a:lnTo>
                    <a:pt x="805" y="326"/>
                  </a:lnTo>
                  <a:lnTo>
                    <a:pt x="805" y="323"/>
                  </a:lnTo>
                  <a:lnTo>
                    <a:pt x="805" y="323"/>
                  </a:lnTo>
                  <a:lnTo>
                    <a:pt x="805" y="323"/>
                  </a:lnTo>
                  <a:lnTo>
                    <a:pt x="805" y="323"/>
                  </a:lnTo>
                  <a:lnTo>
                    <a:pt x="805" y="321"/>
                  </a:lnTo>
                  <a:lnTo>
                    <a:pt x="808" y="321"/>
                  </a:lnTo>
                  <a:lnTo>
                    <a:pt x="808" y="323"/>
                  </a:lnTo>
                  <a:lnTo>
                    <a:pt x="808" y="323"/>
                  </a:lnTo>
                  <a:lnTo>
                    <a:pt x="810" y="326"/>
                  </a:lnTo>
                  <a:lnTo>
                    <a:pt x="810" y="326"/>
                  </a:lnTo>
                  <a:lnTo>
                    <a:pt x="810" y="326"/>
                  </a:lnTo>
                  <a:lnTo>
                    <a:pt x="810" y="326"/>
                  </a:lnTo>
                  <a:lnTo>
                    <a:pt x="810" y="328"/>
                  </a:lnTo>
                  <a:lnTo>
                    <a:pt x="810" y="328"/>
                  </a:lnTo>
                  <a:lnTo>
                    <a:pt x="812" y="328"/>
                  </a:lnTo>
                  <a:lnTo>
                    <a:pt x="812" y="328"/>
                  </a:lnTo>
                  <a:lnTo>
                    <a:pt x="810" y="331"/>
                  </a:lnTo>
                  <a:lnTo>
                    <a:pt x="812" y="333"/>
                  </a:lnTo>
                  <a:lnTo>
                    <a:pt x="810" y="335"/>
                  </a:lnTo>
                  <a:lnTo>
                    <a:pt x="812" y="335"/>
                  </a:lnTo>
                  <a:lnTo>
                    <a:pt x="812" y="335"/>
                  </a:lnTo>
                  <a:lnTo>
                    <a:pt x="815" y="338"/>
                  </a:lnTo>
                  <a:lnTo>
                    <a:pt x="815" y="340"/>
                  </a:lnTo>
                  <a:lnTo>
                    <a:pt x="815" y="342"/>
                  </a:lnTo>
                  <a:lnTo>
                    <a:pt x="815" y="342"/>
                  </a:lnTo>
                  <a:lnTo>
                    <a:pt x="817" y="342"/>
                  </a:lnTo>
                  <a:lnTo>
                    <a:pt x="820" y="345"/>
                  </a:lnTo>
                  <a:lnTo>
                    <a:pt x="817" y="345"/>
                  </a:lnTo>
                  <a:lnTo>
                    <a:pt x="817" y="345"/>
                  </a:lnTo>
                  <a:lnTo>
                    <a:pt x="817" y="347"/>
                  </a:lnTo>
                  <a:lnTo>
                    <a:pt x="817" y="347"/>
                  </a:lnTo>
                  <a:lnTo>
                    <a:pt x="815" y="349"/>
                  </a:lnTo>
                  <a:lnTo>
                    <a:pt x="815" y="352"/>
                  </a:lnTo>
                  <a:lnTo>
                    <a:pt x="817" y="352"/>
                  </a:lnTo>
                  <a:lnTo>
                    <a:pt x="817" y="352"/>
                  </a:lnTo>
                  <a:lnTo>
                    <a:pt x="820" y="354"/>
                  </a:lnTo>
                  <a:lnTo>
                    <a:pt x="820" y="354"/>
                  </a:lnTo>
                  <a:lnTo>
                    <a:pt x="824" y="356"/>
                  </a:lnTo>
                  <a:lnTo>
                    <a:pt x="827" y="356"/>
                  </a:lnTo>
                  <a:lnTo>
                    <a:pt x="827" y="356"/>
                  </a:lnTo>
                  <a:lnTo>
                    <a:pt x="829" y="356"/>
                  </a:lnTo>
                  <a:lnTo>
                    <a:pt x="829" y="356"/>
                  </a:lnTo>
                  <a:lnTo>
                    <a:pt x="831" y="356"/>
                  </a:lnTo>
                  <a:lnTo>
                    <a:pt x="831" y="354"/>
                  </a:lnTo>
                  <a:lnTo>
                    <a:pt x="831" y="354"/>
                  </a:lnTo>
                  <a:lnTo>
                    <a:pt x="831" y="354"/>
                  </a:lnTo>
                  <a:lnTo>
                    <a:pt x="834" y="354"/>
                  </a:lnTo>
                  <a:lnTo>
                    <a:pt x="834" y="354"/>
                  </a:lnTo>
                  <a:lnTo>
                    <a:pt x="834" y="354"/>
                  </a:lnTo>
                  <a:lnTo>
                    <a:pt x="836" y="354"/>
                  </a:lnTo>
                  <a:lnTo>
                    <a:pt x="834" y="354"/>
                  </a:lnTo>
                  <a:lnTo>
                    <a:pt x="836" y="354"/>
                  </a:lnTo>
                  <a:lnTo>
                    <a:pt x="827" y="361"/>
                  </a:lnTo>
                  <a:lnTo>
                    <a:pt x="827" y="364"/>
                  </a:lnTo>
                  <a:lnTo>
                    <a:pt x="827" y="366"/>
                  </a:lnTo>
                  <a:lnTo>
                    <a:pt x="827" y="366"/>
                  </a:lnTo>
                  <a:lnTo>
                    <a:pt x="827" y="366"/>
                  </a:lnTo>
                  <a:lnTo>
                    <a:pt x="822" y="371"/>
                  </a:lnTo>
                  <a:lnTo>
                    <a:pt x="820" y="373"/>
                  </a:lnTo>
                  <a:lnTo>
                    <a:pt x="815" y="378"/>
                  </a:lnTo>
                  <a:lnTo>
                    <a:pt x="812" y="380"/>
                  </a:lnTo>
                  <a:lnTo>
                    <a:pt x="812" y="385"/>
                  </a:lnTo>
                  <a:lnTo>
                    <a:pt x="810" y="385"/>
                  </a:lnTo>
                  <a:lnTo>
                    <a:pt x="810" y="385"/>
                  </a:lnTo>
                  <a:lnTo>
                    <a:pt x="805" y="387"/>
                  </a:lnTo>
                  <a:lnTo>
                    <a:pt x="803" y="390"/>
                  </a:lnTo>
                  <a:lnTo>
                    <a:pt x="798" y="390"/>
                  </a:lnTo>
                  <a:lnTo>
                    <a:pt x="803" y="392"/>
                  </a:lnTo>
                  <a:lnTo>
                    <a:pt x="801" y="397"/>
                  </a:lnTo>
                  <a:lnTo>
                    <a:pt x="801" y="397"/>
                  </a:lnTo>
                  <a:lnTo>
                    <a:pt x="801" y="399"/>
                  </a:lnTo>
                  <a:lnTo>
                    <a:pt x="801" y="399"/>
                  </a:lnTo>
                  <a:lnTo>
                    <a:pt x="801" y="399"/>
                  </a:lnTo>
                  <a:lnTo>
                    <a:pt x="798" y="399"/>
                  </a:lnTo>
                  <a:lnTo>
                    <a:pt x="798" y="401"/>
                  </a:lnTo>
                  <a:lnTo>
                    <a:pt x="794" y="401"/>
                  </a:lnTo>
                  <a:lnTo>
                    <a:pt x="791" y="401"/>
                  </a:lnTo>
                  <a:lnTo>
                    <a:pt x="787" y="406"/>
                  </a:lnTo>
                  <a:lnTo>
                    <a:pt x="782" y="411"/>
                  </a:lnTo>
                  <a:lnTo>
                    <a:pt x="779" y="418"/>
                  </a:lnTo>
                  <a:lnTo>
                    <a:pt x="772" y="430"/>
                  </a:lnTo>
                  <a:lnTo>
                    <a:pt x="770" y="434"/>
                  </a:lnTo>
                  <a:lnTo>
                    <a:pt x="770" y="437"/>
                  </a:lnTo>
                  <a:lnTo>
                    <a:pt x="770" y="434"/>
                  </a:lnTo>
                  <a:lnTo>
                    <a:pt x="770" y="437"/>
                  </a:lnTo>
                  <a:lnTo>
                    <a:pt x="768" y="437"/>
                  </a:lnTo>
                  <a:lnTo>
                    <a:pt x="768" y="437"/>
                  </a:lnTo>
                  <a:lnTo>
                    <a:pt x="768" y="439"/>
                  </a:lnTo>
                  <a:lnTo>
                    <a:pt x="768" y="439"/>
                  </a:lnTo>
                  <a:lnTo>
                    <a:pt x="768" y="442"/>
                  </a:lnTo>
                  <a:lnTo>
                    <a:pt x="765" y="444"/>
                  </a:lnTo>
                  <a:lnTo>
                    <a:pt x="763" y="451"/>
                  </a:lnTo>
                  <a:lnTo>
                    <a:pt x="763" y="451"/>
                  </a:lnTo>
                  <a:lnTo>
                    <a:pt x="763" y="453"/>
                  </a:lnTo>
                  <a:lnTo>
                    <a:pt x="763" y="453"/>
                  </a:lnTo>
                  <a:lnTo>
                    <a:pt x="763" y="453"/>
                  </a:lnTo>
                  <a:lnTo>
                    <a:pt x="761" y="453"/>
                  </a:lnTo>
                  <a:lnTo>
                    <a:pt x="761" y="453"/>
                  </a:lnTo>
                  <a:lnTo>
                    <a:pt x="761" y="453"/>
                  </a:lnTo>
                  <a:lnTo>
                    <a:pt x="761" y="453"/>
                  </a:lnTo>
                  <a:lnTo>
                    <a:pt x="761" y="453"/>
                  </a:lnTo>
                  <a:lnTo>
                    <a:pt x="758" y="453"/>
                  </a:lnTo>
                  <a:lnTo>
                    <a:pt x="758" y="451"/>
                  </a:lnTo>
                  <a:lnTo>
                    <a:pt x="758" y="451"/>
                  </a:lnTo>
                  <a:lnTo>
                    <a:pt x="756" y="449"/>
                  </a:lnTo>
                  <a:lnTo>
                    <a:pt x="753" y="451"/>
                  </a:lnTo>
                  <a:lnTo>
                    <a:pt x="753" y="453"/>
                  </a:lnTo>
                  <a:lnTo>
                    <a:pt x="753" y="453"/>
                  </a:lnTo>
                  <a:lnTo>
                    <a:pt x="753" y="453"/>
                  </a:lnTo>
                  <a:lnTo>
                    <a:pt x="753" y="453"/>
                  </a:lnTo>
                  <a:lnTo>
                    <a:pt x="749" y="453"/>
                  </a:lnTo>
                  <a:lnTo>
                    <a:pt x="735" y="453"/>
                  </a:lnTo>
                  <a:lnTo>
                    <a:pt x="716" y="453"/>
                  </a:lnTo>
                  <a:lnTo>
                    <a:pt x="718" y="453"/>
                  </a:lnTo>
                  <a:lnTo>
                    <a:pt x="718" y="453"/>
                  </a:lnTo>
                  <a:lnTo>
                    <a:pt x="716" y="453"/>
                  </a:lnTo>
                  <a:lnTo>
                    <a:pt x="716" y="453"/>
                  </a:lnTo>
                  <a:lnTo>
                    <a:pt x="716" y="453"/>
                  </a:lnTo>
                  <a:lnTo>
                    <a:pt x="716" y="453"/>
                  </a:lnTo>
                  <a:lnTo>
                    <a:pt x="713" y="456"/>
                  </a:lnTo>
                  <a:lnTo>
                    <a:pt x="713" y="456"/>
                  </a:lnTo>
                  <a:lnTo>
                    <a:pt x="713" y="456"/>
                  </a:lnTo>
                  <a:lnTo>
                    <a:pt x="713" y="456"/>
                  </a:lnTo>
                  <a:lnTo>
                    <a:pt x="711" y="456"/>
                  </a:lnTo>
                  <a:lnTo>
                    <a:pt x="711" y="458"/>
                  </a:lnTo>
                  <a:lnTo>
                    <a:pt x="709" y="458"/>
                  </a:lnTo>
                  <a:lnTo>
                    <a:pt x="709" y="458"/>
                  </a:lnTo>
                  <a:lnTo>
                    <a:pt x="709" y="456"/>
                  </a:lnTo>
                  <a:lnTo>
                    <a:pt x="706" y="456"/>
                  </a:lnTo>
                  <a:lnTo>
                    <a:pt x="706" y="458"/>
                  </a:lnTo>
                  <a:lnTo>
                    <a:pt x="706" y="458"/>
                  </a:lnTo>
                  <a:lnTo>
                    <a:pt x="704" y="458"/>
                  </a:lnTo>
                  <a:lnTo>
                    <a:pt x="704" y="456"/>
                  </a:lnTo>
                  <a:lnTo>
                    <a:pt x="704" y="456"/>
                  </a:lnTo>
                  <a:lnTo>
                    <a:pt x="701" y="456"/>
                  </a:lnTo>
                  <a:lnTo>
                    <a:pt x="699" y="456"/>
                  </a:lnTo>
                  <a:lnTo>
                    <a:pt x="699" y="456"/>
                  </a:lnTo>
                  <a:lnTo>
                    <a:pt x="699" y="456"/>
                  </a:lnTo>
                  <a:lnTo>
                    <a:pt x="699" y="456"/>
                  </a:lnTo>
                  <a:lnTo>
                    <a:pt x="697" y="456"/>
                  </a:lnTo>
                  <a:lnTo>
                    <a:pt x="697" y="456"/>
                  </a:lnTo>
                  <a:lnTo>
                    <a:pt x="694" y="456"/>
                  </a:lnTo>
                  <a:lnTo>
                    <a:pt x="697" y="456"/>
                  </a:lnTo>
                  <a:lnTo>
                    <a:pt x="694" y="456"/>
                  </a:lnTo>
                  <a:lnTo>
                    <a:pt x="694" y="458"/>
                  </a:lnTo>
                  <a:lnTo>
                    <a:pt x="694" y="456"/>
                  </a:lnTo>
                  <a:lnTo>
                    <a:pt x="694" y="456"/>
                  </a:lnTo>
                  <a:lnTo>
                    <a:pt x="694" y="458"/>
                  </a:lnTo>
                  <a:lnTo>
                    <a:pt x="692" y="456"/>
                  </a:lnTo>
                  <a:lnTo>
                    <a:pt x="692" y="456"/>
                  </a:lnTo>
                  <a:lnTo>
                    <a:pt x="690" y="456"/>
                  </a:lnTo>
                  <a:lnTo>
                    <a:pt x="690" y="456"/>
                  </a:lnTo>
                  <a:lnTo>
                    <a:pt x="690" y="456"/>
                  </a:lnTo>
                  <a:lnTo>
                    <a:pt x="687" y="456"/>
                  </a:lnTo>
                  <a:lnTo>
                    <a:pt x="687" y="458"/>
                  </a:lnTo>
                  <a:lnTo>
                    <a:pt x="685" y="458"/>
                  </a:lnTo>
                  <a:lnTo>
                    <a:pt x="685" y="458"/>
                  </a:lnTo>
                  <a:lnTo>
                    <a:pt x="683" y="458"/>
                  </a:lnTo>
                  <a:lnTo>
                    <a:pt x="683" y="458"/>
                  </a:lnTo>
                  <a:lnTo>
                    <a:pt x="680" y="458"/>
                  </a:lnTo>
                  <a:lnTo>
                    <a:pt x="683" y="460"/>
                  </a:lnTo>
                  <a:lnTo>
                    <a:pt x="680" y="460"/>
                  </a:lnTo>
                  <a:lnTo>
                    <a:pt x="680" y="463"/>
                  </a:lnTo>
                  <a:lnTo>
                    <a:pt x="680" y="463"/>
                  </a:lnTo>
                  <a:lnTo>
                    <a:pt x="680" y="463"/>
                  </a:lnTo>
                  <a:lnTo>
                    <a:pt x="680" y="465"/>
                  </a:lnTo>
                  <a:lnTo>
                    <a:pt x="678" y="465"/>
                  </a:lnTo>
                  <a:lnTo>
                    <a:pt x="678" y="465"/>
                  </a:lnTo>
                  <a:lnTo>
                    <a:pt x="678" y="465"/>
                  </a:lnTo>
                  <a:lnTo>
                    <a:pt x="678" y="465"/>
                  </a:lnTo>
                  <a:lnTo>
                    <a:pt x="678" y="465"/>
                  </a:lnTo>
                  <a:lnTo>
                    <a:pt x="678" y="465"/>
                  </a:lnTo>
                  <a:lnTo>
                    <a:pt x="675" y="465"/>
                  </a:lnTo>
                  <a:lnTo>
                    <a:pt x="675" y="465"/>
                  </a:lnTo>
                  <a:lnTo>
                    <a:pt x="675" y="465"/>
                  </a:lnTo>
                  <a:lnTo>
                    <a:pt x="675" y="468"/>
                  </a:lnTo>
                  <a:lnTo>
                    <a:pt x="675" y="468"/>
                  </a:lnTo>
                  <a:lnTo>
                    <a:pt x="675" y="468"/>
                  </a:lnTo>
                  <a:lnTo>
                    <a:pt x="675" y="468"/>
                  </a:lnTo>
                  <a:lnTo>
                    <a:pt x="675" y="468"/>
                  </a:lnTo>
                  <a:lnTo>
                    <a:pt x="673" y="468"/>
                  </a:lnTo>
                  <a:lnTo>
                    <a:pt x="675" y="470"/>
                  </a:lnTo>
                  <a:lnTo>
                    <a:pt x="673" y="470"/>
                  </a:lnTo>
                  <a:lnTo>
                    <a:pt x="673" y="470"/>
                  </a:lnTo>
                  <a:lnTo>
                    <a:pt x="673" y="470"/>
                  </a:lnTo>
                  <a:lnTo>
                    <a:pt x="671" y="470"/>
                  </a:lnTo>
                  <a:lnTo>
                    <a:pt x="668" y="472"/>
                  </a:lnTo>
                  <a:lnTo>
                    <a:pt x="668" y="472"/>
                  </a:lnTo>
                  <a:lnTo>
                    <a:pt x="668" y="472"/>
                  </a:lnTo>
                  <a:lnTo>
                    <a:pt x="668" y="472"/>
                  </a:lnTo>
                  <a:lnTo>
                    <a:pt x="666" y="472"/>
                  </a:lnTo>
                  <a:lnTo>
                    <a:pt x="666" y="475"/>
                  </a:lnTo>
                  <a:lnTo>
                    <a:pt x="666" y="472"/>
                  </a:lnTo>
                  <a:lnTo>
                    <a:pt x="666" y="475"/>
                  </a:lnTo>
                  <a:lnTo>
                    <a:pt x="666" y="475"/>
                  </a:lnTo>
                  <a:lnTo>
                    <a:pt x="666" y="475"/>
                  </a:lnTo>
                  <a:lnTo>
                    <a:pt x="664" y="475"/>
                  </a:lnTo>
                  <a:lnTo>
                    <a:pt x="664" y="475"/>
                  </a:lnTo>
                  <a:lnTo>
                    <a:pt x="664" y="475"/>
                  </a:lnTo>
                  <a:lnTo>
                    <a:pt x="661" y="475"/>
                  </a:lnTo>
                  <a:lnTo>
                    <a:pt x="661" y="477"/>
                  </a:lnTo>
                  <a:lnTo>
                    <a:pt x="661" y="475"/>
                  </a:lnTo>
                  <a:lnTo>
                    <a:pt x="661" y="475"/>
                  </a:lnTo>
                  <a:lnTo>
                    <a:pt x="661" y="477"/>
                  </a:lnTo>
                  <a:lnTo>
                    <a:pt x="659" y="475"/>
                  </a:lnTo>
                  <a:lnTo>
                    <a:pt x="659" y="477"/>
                  </a:lnTo>
                  <a:lnTo>
                    <a:pt x="659" y="477"/>
                  </a:lnTo>
                  <a:lnTo>
                    <a:pt x="659" y="477"/>
                  </a:lnTo>
                  <a:lnTo>
                    <a:pt x="657" y="477"/>
                  </a:lnTo>
                  <a:lnTo>
                    <a:pt x="657" y="477"/>
                  </a:lnTo>
                  <a:lnTo>
                    <a:pt x="657" y="477"/>
                  </a:lnTo>
                  <a:lnTo>
                    <a:pt x="654" y="477"/>
                  </a:lnTo>
                  <a:lnTo>
                    <a:pt x="654" y="477"/>
                  </a:lnTo>
                  <a:lnTo>
                    <a:pt x="652" y="477"/>
                  </a:lnTo>
                  <a:lnTo>
                    <a:pt x="652" y="479"/>
                  </a:lnTo>
                  <a:lnTo>
                    <a:pt x="650" y="479"/>
                  </a:lnTo>
                  <a:lnTo>
                    <a:pt x="650" y="479"/>
                  </a:lnTo>
                  <a:lnTo>
                    <a:pt x="650" y="482"/>
                  </a:lnTo>
                  <a:lnTo>
                    <a:pt x="650" y="482"/>
                  </a:lnTo>
                  <a:lnTo>
                    <a:pt x="650" y="482"/>
                  </a:lnTo>
                  <a:lnTo>
                    <a:pt x="650" y="482"/>
                  </a:lnTo>
                  <a:lnTo>
                    <a:pt x="650" y="484"/>
                  </a:lnTo>
                  <a:lnTo>
                    <a:pt x="650" y="482"/>
                  </a:lnTo>
                  <a:lnTo>
                    <a:pt x="650" y="484"/>
                  </a:lnTo>
                  <a:lnTo>
                    <a:pt x="650" y="484"/>
                  </a:lnTo>
                  <a:lnTo>
                    <a:pt x="647" y="484"/>
                  </a:lnTo>
                  <a:lnTo>
                    <a:pt x="647" y="484"/>
                  </a:lnTo>
                  <a:lnTo>
                    <a:pt x="647" y="484"/>
                  </a:lnTo>
                  <a:lnTo>
                    <a:pt x="645" y="484"/>
                  </a:lnTo>
                  <a:lnTo>
                    <a:pt x="645" y="484"/>
                  </a:lnTo>
                  <a:lnTo>
                    <a:pt x="645" y="484"/>
                  </a:lnTo>
                  <a:lnTo>
                    <a:pt x="645" y="484"/>
                  </a:lnTo>
                  <a:lnTo>
                    <a:pt x="642" y="484"/>
                  </a:lnTo>
                  <a:lnTo>
                    <a:pt x="642" y="484"/>
                  </a:lnTo>
                  <a:lnTo>
                    <a:pt x="645" y="484"/>
                  </a:lnTo>
                  <a:lnTo>
                    <a:pt x="642" y="484"/>
                  </a:lnTo>
                  <a:lnTo>
                    <a:pt x="642" y="484"/>
                  </a:lnTo>
                  <a:lnTo>
                    <a:pt x="642" y="484"/>
                  </a:lnTo>
                  <a:lnTo>
                    <a:pt x="642" y="484"/>
                  </a:lnTo>
                  <a:lnTo>
                    <a:pt x="642" y="486"/>
                  </a:lnTo>
                  <a:lnTo>
                    <a:pt x="640" y="486"/>
                  </a:lnTo>
                  <a:lnTo>
                    <a:pt x="638" y="484"/>
                  </a:lnTo>
                  <a:lnTo>
                    <a:pt x="638" y="484"/>
                  </a:lnTo>
                  <a:lnTo>
                    <a:pt x="638" y="484"/>
                  </a:lnTo>
                  <a:lnTo>
                    <a:pt x="638" y="484"/>
                  </a:lnTo>
                  <a:lnTo>
                    <a:pt x="635" y="484"/>
                  </a:lnTo>
                  <a:lnTo>
                    <a:pt x="635" y="484"/>
                  </a:lnTo>
                  <a:lnTo>
                    <a:pt x="635" y="484"/>
                  </a:lnTo>
                  <a:lnTo>
                    <a:pt x="635" y="484"/>
                  </a:lnTo>
                  <a:lnTo>
                    <a:pt x="633" y="484"/>
                  </a:lnTo>
                  <a:lnTo>
                    <a:pt x="633" y="482"/>
                  </a:lnTo>
                  <a:lnTo>
                    <a:pt x="633" y="484"/>
                  </a:lnTo>
                  <a:lnTo>
                    <a:pt x="633" y="484"/>
                  </a:lnTo>
                  <a:lnTo>
                    <a:pt x="631" y="482"/>
                  </a:lnTo>
                  <a:lnTo>
                    <a:pt x="633" y="482"/>
                  </a:lnTo>
                  <a:lnTo>
                    <a:pt x="633" y="479"/>
                  </a:lnTo>
                  <a:lnTo>
                    <a:pt x="631" y="479"/>
                  </a:lnTo>
                  <a:lnTo>
                    <a:pt x="631" y="482"/>
                  </a:lnTo>
                  <a:lnTo>
                    <a:pt x="631" y="482"/>
                  </a:lnTo>
                  <a:lnTo>
                    <a:pt x="631" y="482"/>
                  </a:lnTo>
                  <a:lnTo>
                    <a:pt x="631" y="482"/>
                  </a:lnTo>
                  <a:lnTo>
                    <a:pt x="628" y="482"/>
                  </a:lnTo>
                  <a:lnTo>
                    <a:pt x="628" y="479"/>
                  </a:lnTo>
                  <a:lnTo>
                    <a:pt x="628" y="479"/>
                  </a:lnTo>
                  <a:lnTo>
                    <a:pt x="628" y="482"/>
                  </a:lnTo>
                  <a:lnTo>
                    <a:pt x="626" y="479"/>
                  </a:lnTo>
                  <a:lnTo>
                    <a:pt x="626" y="482"/>
                  </a:lnTo>
                  <a:lnTo>
                    <a:pt x="626" y="479"/>
                  </a:lnTo>
                  <a:lnTo>
                    <a:pt x="624" y="479"/>
                  </a:lnTo>
                  <a:lnTo>
                    <a:pt x="626" y="477"/>
                  </a:lnTo>
                  <a:lnTo>
                    <a:pt x="624" y="477"/>
                  </a:lnTo>
                  <a:lnTo>
                    <a:pt x="624" y="477"/>
                  </a:lnTo>
                  <a:lnTo>
                    <a:pt x="621" y="475"/>
                  </a:lnTo>
                  <a:lnTo>
                    <a:pt x="621" y="477"/>
                  </a:lnTo>
                  <a:lnTo>
                    <a:pt x="619" y="477"/>
                  </a:lnTo>
                  <a:lnTo>
                    <a:pt x="619" y="475"/>
                  </a:lnTo>
                  <a:lnTo>
                    <a:pt x="621" y="475"/>
                  </a:lnTo>
                  <a:lnTo>
                    <a:pt x="619" y="475"/>
                  </a:lnTo>
                  <a:lnTo>
                    <a:pt x="616" y="475"/>
                  </a:lnTo>
                  <a:lnTo>
                    <a:pt x="616" y="472"/>
                  </a:lnTo>
                  <a:lnTo>
                    <a:pt x="614" y="470"/>
                  </a:lnTo>
                  <a:lnTo>
                    <a:pt x="614" y="468"/>
                  </a:lnTo>
                  <a:lnTo>
                    <a:pt x="614" y="468"/>
                  </a:lnTo>
                  <a:lnTo>
                    <a:pt x="614" y="470"/>
                  </a:lnTo>
                  <a:lnTo>
                    <a:pt x="614" y="470"/>
                  </a:lnTo>
                  <a:lnTo>
                    <a:pt x="614" y="472"/>
                  </a:lnTo>
                  <a:lnTo>
                    <a:pt x="614" y="472"/>
                  </a:lnTo>
                  <a:lnTo>
                    <a:pt x="612" y="468"/>
                  </a:lnTo>
                  <a:lnTo>
                    <a:pt x="612" y="470"/>
                  </a:lnTo>
                  <a:lnTo>
                    <a:pt x="612" y="470"/>
                  </a:lnTo>
                  <a:lnTo>
                    <a:pt x="609" y="470"/>
                  </a:lnTo>
                  <a:lnTo>
                    <a:pt x="609" y="468"/>
                  </a:lnTo>
                  <a:lnTo>
                    <a:pt x="607" y="468"/>
                  </a:lnTo>
                  <a:lnTo>
                    <a:pt x="607" y="468"/>
                  </a:lnTo>
                  <a:lnTo>
                    <a:pt x="607" y="465"/>
                  </a:lnTo>
                  <a:lnTo>
                    <a:pt x="607" y="465"/>
                  </a:lnTo>
                  <a:lnTo>
                    <a:pt x="605" y="465"/>
                  </a:lnTo>
                  <a:lnTo>
                    <a:pt x="605" y="465"/>
                  </a:lnTo>
                  <a:lnTo>
                    <a:pt x="607" y="465"/>
                  </a:lnTo>
                  <a:lnTo>
                    <a:pt x="607" y="463"/>
                  </a:lnTo>
                  <a:lnTo>
                    <a:pt x="605" y="463"/>
                  </a:lnTo>
                  <a:lnTo>
                    <a:pt x="605" y="463"/>
                  </a:lnTo>
                  <a:lnTo>
                    <a:pt x="605" y="463"/>
                  </a:lnTo>
                  <a:lnTo>
                    <a:pt x="605" y="463"/>
                  </a:lnTo>
                  <a:lnTo>
                    <a:pt x="602" y="463"/>
                  </a:lnTo>
                  <a:lnTo>
                    <a:pt x="602" y="463"/>
                  </a:lnTo>
                  <a:lnTo>
                    <a:pt x="602" y="460"/>
                  </a:lnTo>
                  <a:lnTo>
                    <a:pt x="602" y="460"/>
                  </a:lnTo>
                  <a:lnTo>
                    <a:pt x="598" y="458"/>
                  </a:lnTo>
                  <a:lnTo>
                    <a:pt x="598" y="460"/>
                  </a:lnTo>
                  <a:lnTo>
                    <a:pt x="598" y="458"/>
                  </a:lnTo>
                  <a:lnTo>
                    <a:pt x="595" y="458"/>
                  </a:lnTo>
                  <a:lnTo>
                    <a:pt x="593" y="458"/>
                  </a:lnTo>
                  <a:lnTo>
                    <a:pt x="593" y="458"/>
                  </a:lnTo>
                  <a:lnTo>
                    <a:pt x="593" y="458"/>
                  </a:lnTo>
                  <a:lnTo>
                    <a:pt x="593" y="456"/>
                  </a:lnTo>
                  <a:lnTo>
                    <a:pt x="590" y="458"/>
                  </a:lnTo>
                  <a:lnTo>
                    <a:pt x="590" y="458"/>
                  </a:lnTo>
                  <a:lnTo>
                    <a:pt x="593" y="458"/>
                  </a:lnTo>
                  <a:lnTo>
                    <a:pt x="588" y="463"/>
                  </a:lnTo>
                  <a:lnTo>
                    <a:pt x="588" y="460"/>
                  </a:lnTo>
                  <a:lnTo>
                    <a:pt x="588" y="458"/>
                  </a:lnTo>
                  <a:lnTo>
                    <a:pt x="588" y="458"/>
                  </a:lnTo>
                  <a:lnTo>
                    <a:pt x="586" y="456"/>
                  </a:lnTo>
                  <a:lnTo>
                    <a:pt x="586" y="458"/>
                  </a:lnTo>
                  <a:lnTo>
                    <a:pt x="583" y="458"/>
                  </a:lnTo>
                  <a:lnTo>
                    <a:pt x="583" y="458"/>
                  </a:lnTo>
                  <a:lnTo>
                    <a:pt x="586" y="460"/>
                  </a:lnTo>
                  <a:lnTo>
                    <a:pt x="583" y="460"/>
                  </a:lnTo>
                  <a:lnTo>
                    <a:pt x="581" y="458"/>
                  </a:lnTo>
                  <a:lnTo>
                    <a:pt x="581" y="458"/>
                  </a:lnTo>
                  <a:lnTo>
                    <a:pt x="579" y="458"/>
                  </a:lnTo>
                  <a:lnTo>
                    <a:pt x="579" y="460"/>
                  </a:lnTo>
                  <a:lnTo>
                    <a:pt x="576" y="460"/>
                  </a:lnTo>
                  <a:lnTo>
                    <a:pt x="576" y="460"/>
                  </a:lnTo>
                  <a:lnTo>
                    <a:pt x="576" y="460"/>
                  </a:lnTo>
                  <a:lnTo>
                    <a:pt x="576" y="463"/>
                  </a:lnTo>
                  <a:lnTo>
                    <a:pt x="576" y="460"/>
                  </a:lnTo>
                  <a:lnTo>
                    <a:pt x="574" y="458"/>
                  </a:lnTo>
                  <a:lnTo>
                    <a:pt x="574" y="460"/>
                  </a:lnTo>
                  <a:lnTo>
                    <a:pt x="572" y="463"/>
                  </a:lnTo>
                  <a:lnTo>
                    <a:pt x="569" y="463"/>
                  </a:lnTo>
                  <a:lnTo>
                    <a:pt x="569" y="463"/>
                  </a:lnTo>
                  <a:lnTo>
                    <a:pt x="567" y="460"/>
                  </a:lnTo>
                  <a:lnTo>
                    <a:pt x="567" y="463"/>
                  </a:lnTo>
                  <a:lnTo>
                    <a:pt x="567" y="463"/>
                  </a:lnTo>
                  <a:lnTo>
                    <a:pt x="567" y="458"/>
                  </a:lnTo>
                  <a:lnTo>
                    <a:pt x="567" y="458"/>
                  </a:lnTo>
                  <a:lnTo>
                    <a:pt x="564" y="458"/>
                  </a:lnTo>
                  <a:lnTo>
                    <a:pt x="562" y="458"/>
                  </a:lnTo>
                  <a:lnTo>
                    <a:pt x="562" y="458"/>
                  </a:lnTo>
                  <a:lnTo>
                    <a:pt x="562" y="460"/>
                  </a:lnTo>
                  <a:lnTo>
                    <a:pt x="562" y="460"/>
                  </a:lnTo>
                  <a:lnTo>
                    <a:pt x="562" y="460"/>
                  </a:lnTo>
                  <a:lnTo>
                    <a:pt x="564" y="460"/>
                  </a:lnTo>
                  <a:lnTo>
                    <a:pt x="564" y="460"/>
                  </a:lnTo>
                  <a:lnTo>
                    <a:pt x="564" y="460"/>
                  </a:lnTo>
                  <a:lnTo>
                    <a:pt x="564" y="463"/>
                  </a:lnTo>
                  <a:lnTo>
                    <a:pt x="562" y="463"/>
                  </a:lnTo>
                  <a:lnTo>
                    <a:pt x="562" y="465"/>
                  </a:lnTo>
                  <a:lnTo>
                    <a:pt x="562" y="465"/>
                  </a:lnTo>
                  <a:lnTo>
                    <a:pt x="560" y="465"/>
                  </a:lnTo>
                  <a:lnTo>
                    <a:pt x="560" y="463"/>
                  </a:lnTo>
                  <a:lnTo>
                    <a:pt x="560" y="463"/>
                  </a:lnTo>
                  <a:lnTo>
                    <a:pt x="557" y="463"/>
                  </a:lnTo>
                  <a:lnTo>
                    <a:pt x="557" y="463"/>
                  </a:lnTo>
                  <a:lnTo>
                    <a:pt x="557" y="463"/>
                  </a:lnTo>
                  <a:lnTo>
                    <a:pt x="555" y="463"/>
                  </a:lnTo>
                  <a:lnTo>
                    <a:pt x="555" y="460"/>
                  </a:lnTo>
                  <a:lnTo>
                    <a:pt x="553" y="458"/>
                  </a:lnTo>
                  <a:lnTo>
                    <a:pt x="553" y="460"/>
                  </a:lnTo>
                  <a:lnTo>
                    <a:pt x="553" y="463"/>
                  </a:lnTo>
                  <a:lnTo>
                    <a:pt x="550" y="460"/>
                  </a:lnTo>
                  <a:lnTo>
                    <a:pt x="550" y="463"/>
                  </a:lnTo>
                  <a:lnTo>
                    <a:pt x="548" y="463"/>
                  </a:lnTo>
                  <a:lnTo>
                    <a:pt x="543" y="465"/>
                  </a:lnTo>
                  <a:lnTo>
                    <a:pt x="543" y="465"/>
                  </a:lnTo>
                  <a:lnTo>
                    <a:pt x="543" y="465"/>
                  </a:lnTo>
                  <a:lnTo>
                    <a:pt x="543" y="468"/>
                  </a:lnTo>
                  <a:lnTo>
                    <a:pt x="543" y="468"/>
                  </a:lnTo>
                  <a:lnTo>
                    <a:pt x="543" y="470"/>
                  </a:lnTo>
                  <a:lnTo>
                    <a:pt x="543" y="470"/>
                  </a:lnTo>
                  <a:lnTo>
                    <a:pt x="543" y="472"/>
                  </a:lnTo>
                  <a:lnTo>
                    <a:pt x="543" y="472"/>
                  </a:lnTo>
                  <a:lnTo>
                    <a:pt x="543" y="472"/>
                  </a:lnTo>
                  <a:lnTo>
                    <a:pt x="543" y="472"/>
                  </a:lnTo>
                  <a:lnTo>
                    <a:pt x="543" y="472"/>
                  </a:lnTo>
                  <a:lnTo>
                    <a:pt x="543" y="472"/>
                  </a:lnTo>
                  <a:lnTo>
                    <a:pt x="543" y="472"/>
                  </a:lnTo>
                  <a:lnTo>
                    <a:pt x="541" y="472"/>
                  </a:lnTo>
                  <a:lnTo>
                    <a:pt x="541" y="472"/>
                  </a:lnTo>
                  <a:lnTo>
                    <a:pt x="538" y="470"/>
                  </a:lnTo>
                  <a:lnTo>
                    <a:pt x="538" y="470"/>
                  </a:lnTo>
                  <a:lnTo>
                    <a:pt x="538" y="470"/>
                  </a:lnTo>
                  <a:lnTo>
                    <a:pt x="538" y="470"/>
                  </a:lnTo>
                  <a:lnTo>
                    <a:pt x="538" y="468"/>
                  </a:lnTo>
                  <a:lnTo>
                    <a:pt x="538" y="465"/>
                  </a:lnTo>
                  <a:lnTo>
                    <a:pt x="534" y="463"/>
                  </a:lnTo>
                  <a:lnTo>
                    <a:pt x="534" y="463"/>
                  </a:lnTo>
                  <a:lnTo>
                    <a:pt x="534" y="463"/>
                  </a:lnTo>
                  <a:lnTo>
                    <a:pt x="531" y="463"/>
                  </a:lnTo>
                  <a:lnTo>
                    <a:pt x="531" y="463"/>
                  </a:lnTo>
                  <a:lnTo>
                    <a:pt x="529" y="463"/>
                  </a:lnTo>
                  <a:lnTo>
                    <a:pt x="529" y="463"/>
                  </a:lnTo>
                  <a:lnTo>
                    <a:pt x="529" y="460"/>
                  </a:lnTo>
                  <a:lnTo>
                    <a:pt x="529" y="460"/>
                  </a:lnTo>
                  <a:lnTo>
                    <a:pt x="527" y="458"/>
                  </a:lnTo>
                  <a:lnTo>
                    <a:pt x="527" y="460"/>
                  </a:lnTo>
                  <a:lnTo>
                    <a:pt x="527" y="458"/>
                  </a:lnTo>
                  <a:lnTo>
                    <a:pt x="524" y="458"/>
                  </a:lnTo>
                  <a:lnTo>
                    <a:pt x="524" y="458"/>
                  </a:lnTo>
                  <a:lnTo>
                    <a:pt x="524" y="458"/>
                  </a:lnTo>
                  <a:lnTo>
                    <a:pt x="524" y="460"/>
                  </a:lnTo>
                  <a:lnTo>
                    <a:pt x="524" y="458"/>
                  </a:lnTo>
                  <a:lnTo>
                    <a:pt x="524" y="458"/>
                  </a:lnTo>
                  <a:lnTo>
                    <a:pt x="522" y="458"/>
                  </a:lnTo>
                  <a:lnTo>
                    <a:pt x="522" y="458"/>
                  </a:lnTo>
                  <a:lnTo>
                    <a:pt x="522" y="458"/>
                  </a:lnTo>
                  <a:lnTo>
                    <a:pt x="520" y="458"/>
                  </a:lnTo>
                  <a:lnTo>
                    <a:pt x="520" y="458"/>
                  </a:lnTo>
                  <a:lnTo>
                    <a:pt x="515" y="460"/>
                  </a:lnTo>
                  <a:lnTo>
                    <a:pt x="515" y="460"/>
                  </a:lnTo>
                  <a:lnTo>
                    <a:pt x="515" y="458"/>
                  </a:lnTo>
                  <a:lnTo>
                    <a:pt x="515" y="458"/>
                  </a:lnTo>
                  <a:lnTo>
                    <a:pt x="512" y="456"/>
                  </a:lnTo>
                  <a:lnTo>
                    <a:pt x="512" y="456"/>
                  </a:lnTo>
                  <a:lnTo>
                    <a:pt x="510" y="458"/>
                  </a:lnTo>
                  <a:lnTo>
                    <a:pt x="510" y="460"/>
                  </a:lnTo>
                  <a:lnTo>
                    <a:pt x="510" y="463"/>
                  </a:lnTo>
                  <a:lnTo>
                    <a:pt x="512" y="463"/>
                  </a:lnTo>
                  <a:lnTo>
                    <a:pt x="512" y="460"/>
                  </a:lnTo>
                  <a:lnTo>
                    <a:pt x="515" y="460"/>
                  </a:lnTo>
                  <a:lnTo>
                    <a:pt x="515" y="460"/>
                  </a:lnTo>
                  <a:lnTo>
                    <a:pt x="515" y="463"/>
                  </a:lnTo>
                  <a:lnTo>
                    <a:pt x="515" y="463"/>
                  </a:lnTo>
                  <a:lnTo>
                    <a:pt x="512" y="463"/>
                  </a:lnTo>
                  <a:lnTo>
                    <a:pt x="510" y="465"/>
                  </a:lnTo>
                  <a:lnTo>
                    <a:pt x="510" y="465"/>
                  </a:lnTo>
                  <a:lnTo>
                    <a:pt x="505" y="463"/>
                  </a:lnTo>
                  <a:lnTo>
                    <a:pt x="503" y="465"/>
                  </a:lnTo>
                  <a:lnTo>
                    <a:pt x="503" y="468"/>
                  </a:lnTo>
                  <a:lnTo>
                    <a:pt x="501" y="468"/>
                  </a:lnTo>
                  <a:lnTo>
                    <a:pt x="503" y="472"/>
                  </a:lnTo>
                  <a:lnTo>
                    <a:pt x="503" y="472"/>
                  </a:lnTo>
                  <a:lnTo>
                    <a:pt x="501" y="472"/>
                  </a:lnTo>
                  <a:lnTo>
                    <a:pt x="498" y="475"/>
                  </a:lnTo>
                  <a:lnTo>
                    <a:pt x="498" y="475"/>
                  </a:lnTo>
                  <a:lnTo>
                    <a:pt x="498" y="477"/>
                  </a:lnTo>
                  <a:lnTo>
                    <a:pt x="496" y="479"/>
                  </a:lnTo>
                  <a:lnTo>
                    <a:pt x="496" y="479"/>
                  </a:lnTo>
                  <a:lnTo>
                    <a:pt x="491" y="482"/>
                  </a:lnTo>
                  <a:lnTo>
                    <a:pt x="494" y="486"/>
                  </a:lnTo>
                  <a:lnTo>
                    <a:pt x="494" y="486"/>
                  </a:lnTo>
                  <a:lnTo>
                    <a:pt x="491" y="486"/>
                  </a:lnTo>
                  <a:lnTo>
                    <a:pt x="489" y="486"/>
                  </a:lnTo>
                  <a:lnTo>
                    <a:pt x="489" y="484"/>
                  </a:lnTo>
                  <a:lnTo>
                    <a:pt x="489" y="484"/>
                  </a:lnTo>
                  <a:lnTo>
                    <a:pt x="484" y="484"/>
                  </a:lnTo>
                  <a:lnTo>
                    <a:pt x="484" y="486"/>
                  </a:lnTo>
                  <a:lnTo>
                    <a:pt x="482" y="486"/>
                  </a:lnTo>
                  <a:lnTo>
                    <a:pt x="479" y="486"/>
                  </a:lnTo>
                  <a:lnTo>
                    <a:pt x="479" y="491"/>
                  </a:lnTo>
                  <a:lnTo>
                    <a:pt x="479" y="491"/>
                  </a:lnTo>
                  <a:lnTo>
                    <a:pt x="477" y="491"/>
                  </a:lnTo>
                  <a:lnTo>
                    <a:pt x="475" y="486"/>
                  </a:lnTo>
                  <a:lnTo>
                    <a:pt x="475" y="486"/>
                  </a:lnTo>
                  <a:lnTo>
                    <a:pt x="475" y="489"/>
                  </a:lnTo>
                  <a:lnTo>
                    <a:pt x="472" y="491"/>
                  </a:lnTo>
                  <a:lnTo>
                    <a:pt x="472" y="493"/>
                  </a:lnTo>
                  <a:lnTo>
                    <a:pt x="470" y="493"/>
                  </a:lnTo>
                  <a:lnTo>
                    <a:pt x="470" y="493"/>
                  </a:lnTo>
                  <a:lnTo>
                    <a:pt x="470" y="489"/>
                  </a:lnTo>
                  <a:lnTo>
                    <a:pt x="468" y="486"/>
                  </a:lnTo>
                  <a:lnTo>
                    <a:pt x="465" y="486"/>
                  </a:lnTo>
                  <a:lnTo>
                    <a:pt x="465" y="486"/>
                  </a:lnTo>
                  <a:lnTo>
                    <a:pt x="468" y="491"/>
                  </a:lnTo>
                  <a:lnTo>
                    <a:pt x="465" y="491"/>
                  </a:lnTo>
                  <a:lnTo>
                    <a:pt x="465" y="491"/>
                  </a:lnTo>
                  <a:lnTo>
                    <a:pt x="465" y="491"/>
                  </a:lnTo>
                  <a:lnTo>
                    <a:pt x="461" y="491"/>
                  </a:lnTo>
                  <a:lnTo>
                    <a:pt x="461" y="486"/>
                  </a:lnTo>
                  <a:lnTo>
                    <a:pt x="458" y="486"/>
                  </a:lnTo>
                  <a:lnTo>
                    <a:pt x="458" y="484"/>
                  </a:lnTo>
                  <a:lnTo>
                    <a:pt x="451" y="486"/>
                  </a:lnTo>
                  <a:lnTo>
                    <a:pt x="451" y="486"/>
                  </a:lnTo>
                  <a:lnTo>
                    <a:pt x="449" y="484"/>
                  </a:lnTo>
                  <a:lnTo>
                    <a:pt x="446" y="486"/>
                  </a:lnTo>
                  <a:lnTo>
                    <a:pt x="446" y="486"/>
                  </a:lnTo>
                  <a:lnTo>
                    <a:pt x="446" y="489"/>
                  </a:lnTo>
                  <a:lnTo>
                    <a:pt x="446" y="491"/>
                  </a:lnTo>
                  <a:lnTo>
                    <a:pt x="444" y="491"/>
                  </a:lnTo>
                  <a:lnTo>
                    <a:pt x="442" y="491"/>
                  </a:lnTo>
                  <a:lnTo>
                    <a:pt x="442" y="491"/>
                  </a:lnTo>
                  <a:lnTo>
                    <a:pt x="442" y="493"/>
                  </a:lnTo>
                  <a:lnTo>
                    <a:pt x="439" y="493"/>
                  </a:lnTo>
                  <a:lnTo>
                    <a:pt x="439" y="491"/>
                  </a:lnTo>
                  <a:lnTo>
                    <a:pt x="437" y="493"/>
                  </a:lnTo>
                  <a:lnTo>
                    <a:pt x="437" y="493"/>
                  </a:lnTo>
                  <a:lnTo>
                    <a:pt x="437" y="493"/>
                  </a:lnTo>
                  <a:lnTo>
                    <a:pt x="435" y="493"/>
                  </a:lnTo>
                  <a:lnTo>
                    <a:pt x="432" y="493"/>
                  </a:lnTo>
                  <a:lnTo>
                    <a:pt x="432" y="493"/>
                  </a:lnTo>
                  <a:lnTo>
                    <a:pt x="432" y="493"/>
                  </a:lnTo>
                  <a:lnTo>
                    <a:pt x="430" y="496"/>
                  </a:lnTo>
                  <a:lnTo>
                    <a:pt x="430" y="498"/>
                  </a:lnTo>
                  <a:lnTo>
                    <a:pt x="427" y="498"/>
                  </a:lnTo>
                  <a:lnTo>
                    <a:pt x="427" y="498"/>
                  </a:lnTo>
                  <a:lnTo>
                    <a:pt x="427" y="498"/>
                  </a:lnTo>
                  <a:lnTo>
                    <a:pt x="425" y="501"/>
                  </a:lnTo>
                  <a:lnTo>
                    <a:pt x="427" y="501"/>
                  </a:lnTo>
                  <a:lnTo>
                    <a:pt x="427" y="501"/>
                  </a:lnTo>
                  <a:lnTo>
                    <a:pt x="425" y="503"/>
                  </a:lnTo>
                  <a:lnTo>
                    <a:pt x="425" y="503"/>
                  </a:lnTo>
                  <a:lnTo>
                    <a:pt x="427" y="505"/>
                  </a:lnTo>
                  <a:lnTo>
                    <a:pt x="423" y="505"/>
                  </a:lnTo>
                  <a:lnTo>
                    <a:pt x="423" y="508"/>
                  </a:lnTo>
                  <a:lnTo>
                    <a:pt x="423" y="508"/>
                  </a:lnTo>
                  <a:lnTo>
                    <a:pt x="420" y="508"/>
                  </a:lnTo>
                  <a:lnTo>
                    <a:pt x="420" y="508"/>
                  </a:lnTo>
                  <a:lnTo>
                    <a:pt x="423" y="510"/>
                  </a:lnTo>
                  <a:lnTo>
                    <a:pt x="420" y="510"/>
                  </a:lnTo>
                  <a:lnTo>
                    <a:pt x="420" y="510"/>
                  </a:lnTo>
                  <a:lnTo>
                    <a:pt x="420" y="512"/>
                  </a:lnTo>
                  <a:lnTo>
                    <a:pt x="423" y="512"/>
                  </a:lnTo>
                  <a:lnTo>
                    <a:pt x="423" y="515"/>
                  </a:lnTo>
                  <a:lnTo>
                    <a:pt x="423" y="515"/>
                  </a:lnTo>
                  <a:lnTo>
                    <a:pt x="423" y="515"/>
                  </a:lnTo>
                  <a:lnTo>
                    <a:pt x="425" y="515"/>
                  </a:lnTo>
                  <a:lnTo>
                    <a:pt x="427" y="517"/>
                  </a:lnTo>
                  <a:lnTo>
                    <a:pt x="425" y="517"/>
                  </a:lnTo>
                  <a:lnTo>
                    <a:pt x="427" y="517"/>
                  </a:lnTo>
                  <a:lnTo>
                    <a:pt x="425" y="519"/>
                  </a:lnTo>
                  <a:lnTo>
                    <a:pt x="425" y="519"/>
                  </a:lnTo>
                  <a:lnTo>
                    <a:pt x="423" y="519"/>
                  </a:lnTo>
                  <a:lnTo>
                    <a:pt x="423" y="519"/>
                  </a:lnTo>
                  <a:lnTo>
                    <a:pt x="423" y="522"/>
                  </a:lnTo>
                  <a:lnTo>
                    <a:pt x="425" y="522"/>
                  </a:lnTo>
                  <a:lnTo>
                    <a:pt x="425" y="524"/>
                  </a:lnTo>
                  <a:lnTo>
                    <a:pt x="427" y="524"/>
                  </a:lnTo>
                  <a:lnTo>
                    <a:pt x="427" y="527"/>
                  </a:lnTo>
                  <a:lnTo>
                    <a:pt x="427" y="527"/>
                  </a:lnTo>
                  <a:lnTo>
                    <a:pt x="427" y="527"/>
                  </a:lnTo>
                  <a:lnTo>
                    <a:pt x="430" y="527"/>
                  </a:lnTo>
                  <a:lnTo>
                    <a:pt x="430" y="529"/>
                  </a:lnTo>
                  <a:lnTo>
                    <a:pt x="430" y="529"/>
                  </a:lnTo>
                  <a:lnTo>
                    <a:pt x="430" y="529"/>
                  </a:lnTo>
                  <a:lnTo>
                    <a:pt x="430" y="531"/>
                  </a:lnTo>
                  <a:lnTo>
                    <a:pt x="430" y="531"/>
                  </a:lnTo>
                  <a:lnTo>
                    <a:pt x="430" y="534"/>
                  </a:lnTo>
                  <a:lnTo>
                    <a:pt x="427" y="534"/>
                  </a:lnTo>
                  <a:lnTo>
                    <a:pt x="430" y="536"/>
                  </a:lnTo>
                  <a:lnTo>
                    <a:pt x="427" y="536"/>
                  </a:lnTo>
                  <a:lnTo>
                    <a:pt x="427" y="538"/>
                  </a:lnTo>
                  <a:lnTo>
                    <a:pt x="425" y="538"/>
                  </a:lnTo>
                  <a:lnTo>
                    <a:pt x="425" y="538"/>
                  </a:lnTo>
                  <a:lnTo>
                    <a:pt x="423" y="538"/>
                  </a:lnTo>
                  <a:lnTo>
                    <a:pt x="423" y="538"/>
                  </a:lnTo>
                  <a:lnTo>
                    <a:pt x="423" y="538"/>
                  </a:lnTo>
                  <a:lnTo>
                    <a:pt x="423" y="541"/>
                  </a:lnTo>
                  <a:lnTo>
                    <a:pt x="420" y="541"/>
                  </a:lnTo>
                  <a:lnTo>
                    <a:pt x="418" y="541"/>
                  </a:lnTo>
                  <a:lnTo>
                    <a:pt x="416" y="541"/>
                  </a:lnTo>
                  <a:lnTo>
                    <a:pt x="416" y="541"/>
                  </a:lnTo>
                  <a:lnTo>
                    <a:pt x="416" y="541"/>
                  </a:lnTo>
                  <a:lnTo>
                    <a:pt x="413" y="541"/>
                  </a:lnTo>
                  <a:lnTo>
                    <a:pt x="411" y="541"/>
                  </a:lnTo>
                  <a:lnTo>
                    <a:pt x="411" y="541"/>
                  </a:lnTo>
                  <a:lnTo>
                    <a:pt x="409" y="541"/>
                  </a:lnTo>
                  <a:lnTo>
                    <a:pt x="406" y="543"/>
                  </a:lnTo>
                  <a:lnTo>
                    <a:pt x="409" y="545"/>
                  </a:lnTo>
                  <a:lnTo>
                    <a:pt x="409" y="548"/>
                  </a:lnTo>
                  <a:lnTo>
                    <a:pt x="406" y="548"/>
                  </a:lnTo>
                  <a:lnTo>
                    <a:pt x="406" y="548"/>
                  </a:lnTo>
                  <a:lnTo>
                    <a:pt x="406" y="548"/>
                  </a:lnTo>
                  <a:lnTo>
                    <a:pt x="404" y="545"/>
                  </a:lnTo>
                  <a:lnTo>
                    <a:pt x="401" y="543"/>
                  </a:lnTo>
                  <a:lnTo>
                    <a:pt x="401" y="541"/>
                  </a:lnTo>
                  <a:lnTo>
                    <a:pt x="401" y="538"/>
                  </a:lnTo>
                  <a:lnTo>
                    <a:pt x="399" y="538"/>
                  </a:lnTo>
                  <a:lnTo>
                    <a:pt x="399" y="536"/>
                  </a:lnTo>
                  <a:lnTo>
                    <a:pt x="397" y="536"/>
                  </a:lnTo>
                  <a:lnTo>
                    <a:pt x="397" y="536"/>
                  </a:lnTo>
                  <a:lnTo>
                    <a:pt x="397" y="536"/>
                  </a:lnTo>
                  <a:lnTo>
                    <a:pt x="397" y="534"/>
                  </a:lnTo>
                  <a:lnTo>
                    <a:pt x="394" y="531"/>
                  </a:lnTo>
                  <a:lnTo>
                    <a:pt x="394" y="531"/>
                  </a:lnTo>
                  <a:lnTo>
                    <a:pt x="392" y="531"/>
                  </a:lnTo>
                  <a:lnTo>
                    <a:pt x="385" y="531"/>
                  </a:lnTo>
                  <a:lnTo>
                    <a:pt x="383" y="531"/>
                  </a:lnTo>
                  <a:lnTo>
                    <a:pt x="380" y="531"/>
                  </a:lnTo>
                  <a:lnTo>
                    <a:pt x="378" y="531"/>
                  </a:lnTo>
                  <a:lnTo>
                    <a:pt x="375" y="531"/>
                  </a:lnTo>
                  <a:lnTo>
                    <a:pt x="373" y="529"/>
                  </a:lnTo>
                  <a:lnTo>
                    <a:pt x="371" y="531"/>
                  </a:lnTo>
                  <a:lnTo>
                    <a:pt x="368" y="531"/>
                  </a:lnTo>
                  <a:lnTo>
                    <a:pt x="366" y="531"/>
                  </a:lnTo>
                  <a:lnTo>
                    <a:pt x="359" y="531"/>
                  </a:lnTo>
                  <a:lnTo>
                    <a:pt x="357" y="531"/>
                  </a:lnTo>
                  <a:lnTo>
                    <a:pt x="354" y="531"/>
                  </a:lnTo>
                  <a:lnTo>
                    <a:pt x="352" y="534"/>
                  </a:lnTo>
                  <a:lnTo>
                    <a:pt x="349" y="531"/>
                  </a:lnTo>
                  <a:lnTo>
                    <a:pt x="347" y="534"/>
                  </a:lnTo>
                  <a:lnTo>
                    <a:pt x="347" y="534"/>
                  </a:lnTo>
                  <a:lnTo>
                    <a:pt x="347" y="534"/>
                  </a:lnTo>
                  <a:lnTo>
                    <a:pt x="347" y="531"/>
                  </a:lnTo>
                  <a:lnTo>
                    <a:pt x="345" y="531"/>
                  </a:lnTo>
                  <a:lnTo>
                    <a:pt x="340" y="531"/>
                  </a:lnTo>
                  <a:lnTo>
                    <a:pt x="338" y="529"/>
                  </a:lnTo>
                  <a:lnTo>
                    <a:pt x="338" y="531"/>
                  </a:lnTo>
                  <a:lnTo>
                    <a:pt x="335" y="529"/>
                  </a:lnTo>
                  <a:lnTo>
                    <a:pt x="333" y="529"/>
                  </a:lnTo>
                  <a:lnTo>
                    <a:pt x="333" y="529"/>
                  </a:lnTo>
                  <a:lnTo>
                    <a:pt x="331" y="529"/>
                  </a:lnTo>
                  <a:lnTo>
                    <a:pt x="328" y="529"/>
                  </a:lnTo>
                  <a:lnTo>
                    <a:pt x="328" y="527"/>
                  </a:lnTo>
                  <a:lnTo>
                    <a:pt x="328" y="527"/>
                  </a:lnTo>
                  <a:lnTo>
                    <a:pt x="328" y="527"/>
                  </a:lnTo>
                  <a:lnTo>
                    <a:pt x="326" y="527"/>
                  </a:lnTo>
                  <a:lnTo>
                    <a:pt x="324" y="524"/>
                  </a:lnTo>
                  <a:lnTo>
                    <a:pt x="324" y="524"/>
                  </a:lnTo>
                  <a:lnTo>
                    <a:pt x="324" y="524"/>
                  </a:lnTo>
                  <a:lnTo>
                    <a:pt x="321" y="524"/>
                  </a:lnTo>
                  <a:lnTo>
                    <a:pt x="321" y="522"/>
                  </a:lnTo>
                  <a:lnTo>
                    <a:pt x="319" y="522"/>
                  </a:lnTo>
                  <a:lnTo>
                    <a:pt x="319" y="522"/>
                  </a:lnTo>
                  <a:lnTo>
                    <a:pt x="319" y="519"/>
                  </a:lnTo>
                  <a:lnTo>
                    <a:pt x="316" y="517"/>
                  </a:lnTo>
                  <a:lnTo>
                    <a:pt x="314" y="517"/>
                  </a:lnTo>
                  <a:lnTo>
                    <a:pt x="314" y="517"/>
                  </a:lnTo>
                  <a:lnTo>
                    <a:pt x="312" y="517"/>
                  </a:lnTo>
                  <a:lnTo>
                    <a:pt x="312" y="517"/>
                  </a:lnTo>
                  <a:lnTo>
                    <a:pt x="307" y="512"/>
                  </a:lnTo>
                  <a:lnTo>
                    <a:pt x="305" y="515"/>
                  </a:lnTo>
                  <a:lnTo>
                    <a:pt x="302" y="517"/>
                  </a:lnTo>
                  <a:lnTo>
                    <a:pt x="300" y="517"/>
                  </a:lnTo>
                  <a:lnTo>
                    <a:pt x="300" y="515"/>
                  </a:lnTo>
                  <a:lnTo>
                    <a:pt x="300" y="515"/>
                  </a:lnTo>
                  <a:lnTo>
                    <a:pt x="298" y="515"/>
                  </a:lnTo>
                  <a:lnTo>
                    <a:pt x="295" y="517"/>
                  </a:lnTo>
                  <a:lnTo>
                    <a:pt x="295" y="517"/>
                  </a:lnTo>
                  <a:lnTo>
                    <a:pt x="295" y="515"/>
                  </a:lnTo>
                  <a:lnTo>
                    <a:pt x="293" y="512"/>
                  </a:lnTo>
                  <a:lnTo>
                    <a:pt x="290" y="512"/>
                  </a:lnTo>
                  <a:lnTo>
                    <a:pt x="288" y="512"/>
                  </a:lnTo>
                  <a:lnTo>
                    <a:pt x="288" y="512"/>
                  </a:lnTo>
                  <a:lnTo>
                    <a:pt x="286" y="512"/>
                  </a:lnTo>
                  <a:lnTo>
                    <a:pt x="286" y="512"/>
                  </a:lnTo>
                  <a:lnTo>
                    <a:pt x="283" y="512"/>
                  </a:lnTo>
                  <a:lnTo>
                    <a:pt x="283" y="512"/>
                  </a:lnTo>
                  <a:lnTo>
                    <a:pt x="281" y="512"/>
                  </a:lnTo>
                  <a:lnTo>
                    <a:pt x="281" y="510"/>
                  </a:lnTo>
                  <a:lnTo>
                    <a:pt x="281" y="512"/>
                  </a:lnTo>
                  <a:lnTo>
                    <a:pt x="279" y="512"/>
                  </a:lnTo>
                  <a:lnTo>
                    <a:pt x="276" y="512"/>
                  </a:lnTo>
                  <a:lnTo>
                    <a:pt x="274" y="512"/>
                  </a:lnTo>
                  <a:lnTo>
                    <a:pt x="274" y="512"/>
                  </a:lnTo>
                  <a:lnTo>
                    <a:pt x="274" y="512"/>
                  </a:lnTo>
                  <a:lnTo>
                    <a:pt x="272" y="512"/>
                  </a:lnTo>
                  <a:lnTo>
                    <a:pt x="272" y="510"/>
                  </a:lnTo>
                  <a:lnTo>
                    <a:pt x="269" y="510"/>
                  </a:lnTo>
                  <a:lnTo>
                    <a:pt x="264" y="508"/>
                  </a:lnTo>
                  <a:lnTo>
                    <a:pt x="262" y="508"/>
                  </a:lnTo>
                  <a:lnTo>
                    <a:pt x="262" y="510"/>
                  </a:lnTo>
                  <a:lnTo>
                    <a:pt x="260" y="508"/>
                  </a:lnTo>
                  <a:lnTo>
                    <a:pt x="260" y="510"/>
                  </a:lnTo>
                  <a:lnTo>
                    <a:pt x="257" y="508"/>
                  </a:lnTo>
                  <a:lnTo>
                    <a:pt x="255" y="510"/>
                  </a:lnTo>
                  <a:lnTo>
                    <a:pt x="255" y="510"/>
                  </a:lnTo>
                  <a:lnTo>
                    <a:pt x="255" y="510"/>
                  </a:lnTo>
                  <a:lnTo>
                    <a:pt x="253" y="510"/>
                  </a:lnTo>
                  <a:lnTo>
                    <a:pt x="253" y="508"/>
                  </a:lnTo>
                  <a:lnTo>
                    <a:pt x="253" y="508"/>
                  </a:lnTo>
                  <a:lnTo>
                    <a:pt x="250" y="508"/>
                  </a:lnTo>
                  <a:lnTo>
                    <a:pt x="250" y="505"/>
                  </a:lnTo>
                  <a:lnTo>
                    <a:pt x="250" y="505"/>
                  </a:lnTo>
                  <a:lnTo>
                    <a:pt x="248" y="503"/>
                  </a:lnTo>
                  <a:lnTo>
                    <a:pt x="246" y="501"/>
                  </a:lnTo>
                  <a:lnTo>
                    <a:pt x="243" y="503"/>
                  </a:lnTo>
                  <a:lnTo>
                    <a:pt x="241" y="503"/>
                  </a:lnTo>
                  <a:lnTo>
                    <a:pt x="241" y="501"/>
                  </a:lnTo>
                  <a:lnTo>
                    <a:pt x="241" y="503"/>
                  </a:lnTo>
                  <a:lnTo>
                    <a:pt x="238" y="501"/>
                  </a:lnTo>
                  <a:lnTo>
                    <a:pt x="238" y="501"/>
                  </a:lnTo>
                  <a:lnTo>
                    <a:pt x="236" y="501"/>
                  </a:lnTo>
                  <a:lnTo>
                    <a:pt x="236" y="501"/>
                  </a:lnTo>
                  <a:lnTo>
                    <a:pt x="236" y="501"/>
                  </a:lnTo>
                  <a:lnTo>
                    <a:pt x="234" y="501"/>
                  </a:lnTo>
                  <a:lnTo>
                    <a:pt x="231" y="501"/>
                  </a:lnTo>
                  <a:lnTo>
                    <a:pt x="231" y="501"/>
                  </a:lnTo>
                  <a:lnTo>
                    <a:pt x="229" y="501"/>
                  </a:lnTo>
                  <a:lnTo>
                    <a:pt x="229" y="501"/>
                  </a:lnTo>
                  <a:lnTo>
                    <a:pt x="229" y="501"/>
                  </a:lnTo>
                  <a:lnTo>
                    <a:pt x="227" y="501"/>
                  </a:lnTo>
                  <a:lnTo>
                    <a:pt x="224" y="501"/>
                  </a:lnTo>
                  <a:lnTo>
                    <a:pt x="224" y="501"/>
                  </a:lnTo>
                  <a:lnTo>
                    <a:pt x="220" y="503"/>
                  </a:lnTo>
                  <a:lnTo>
                    <a:pt x="220" y="503"/>
                  </a:lnTo>
                  <a:lnTo>
                    <a:pt x="220" y="503"/>
                  </a:lnTo>
                  <a:lnTo>
                    <a:pt x="217" y="503"/>
                  </a:lnTo>
                  <a:lnTo>
                    <a:pt x="217" y="503"/>
                  </a:lnTo>
                  <a:lnTo>
                    <a:pt x="215" y="501"/>
                  </a:lnTo>
                  <a:lnTo>
                    <a:pt x="212" y="503"/>
                  </a:lnTo>
                  <a:lnTo>
                    <a:pt x="212" y="503"/>
                  </a:lnTo>
                  <a:lnTo>
                    <a:pt x="210" y="503"/>
                  </a:lnTo>
                  <a:lnTo>
                    <a:pt x="205" y="501"/>
                  </a:lnTo>
                  <a:lnTo>
                    <a:pt x="201" y="503"/>
                  </a:lnTo>
                  <a:lnTo>
                    <a:pt x="198" y="505"/>
                  </a:lnTo>
                  <a:lnTo>
                    <a:pt x="194" y="508"/>
                  </a:lnTo>
                  <a:lnTo>
                    <a:pt x="194" y="508"/>
                  </a:lnTo>
                  <a:lnTo>
                    <a:pt x="191" y="505"/>
                  </a:lnTo>
                  <a:lnTo>
                    <a:pt x="191" y="505"/>
                  </a:lnTo>
                  <a:lnTo>
                    <a:pt x="191" y="505"/>
                  </a:lnTo>
                  <a:lnTo>
                    <a:pt x="189" y="503"/>
                  </a:lnTo>
                  <a:lnTo>
                    <a:pt x="189" y="503"/>
                  </a:lnTo>
                  <a:lnTo>
                    <a:pt x="186" y="503"/>
                  </a:lnTo>
                  <a:lnTo>
                    <a:pt x="186" y="501"/>
                  </a:lnTo>
                  <a:lnTo>
                    <a:pt x="184" y="501"/>
                  </a:lnTo>
                  <a:lnTo>
                    <a:pt x="184" y="501"/>
                  </a:lnTo>
                  <a:lnTo>
                    <a:pt x="184" y="501"/>
                  </a:lnTo>
                  <a:lnTo>
                    <a:pt x="182" y="501"/>
                  </a:lnTo>
                  <a:lnTo>
                    <a:pt x="182" y="501"/>
                  </a:lnTo>
                  <a:lnTo>
                    <a:pt x="179" y="498"/>
                  </a:lnTo>
                  <a:lnTo>
                    <a:pt x="179" y="498"/>
                  </a:lnTo>
                  <a:lnTo>
                    <a:pt x="179" y="498"/>
                  </a:lnTo>
                  <a:lnTo>
                    <a:pt x="175" y="496"/>
                  </a:lnTo>
                  <a:lnTo>
                    <a:pt x="172" y="493"/>
                  </a:lnTo>
                  <a:lnTo>
                    <a:pt x="172" y="493"/>
                  </a:lnTo>
                  <a:lnTo>
                    <a:pt x="172" y="493"/>
                  </a:lnTo>
                  <a:lnTo>
                    <a:pt x="172" y="493"/>
                  </a:lnTo>
                  <a:lnTo>
                    <a:pt x="172" y="491"/>
                  </a:lnTo>
                  <a:lnTo>
                    <a:pt x="170" y="489"/>
                  </a:lnTo>
                  <a:lnTo>
                    <a:pt x="170" y="489"/>
                  </a:lnTo>
                  <a:lnTo>
                    <a:pt x="170" y="486"/>
                  </a:lnTo>
                  <a:lnTo>
                    <a:pt x="165" y="489"/>
                  </a:lnTo>
                  <a:lnTo>
                    <a:pt x="165" y="489"/>
                  </a:lnTo>
                  <a:lnTo>
                    <a:pt x="163" y="489"/>
                  </a:lnTo>
                  <a:lnTo>
                    <a:pt x="163" y="489"/>
                  </a:lnTo>
                  <a:lnTo>
                    <a:pt x="163" y="486"/>
                  </a:lnTo>
                  <a:lnTo>
                    <a:pt x="161" y="486"/>
                  </a:lnTo>
                  <a:lnTo>
                    <a:pt x="161" y="486"/>
                  </a:lnTo>
                  <a:lnTo>
                    <a:pt x="161" y="489"/>
                  </a:lnTo>
                  <a:lnTo>
                    <a:pt x="158" y="486"/>
                  </a:lnTo>
                  <a:lnTo>
                    <a:pt x="158" y="489"/>
                  </a:lnTo>
                  <a:lnTo>
                    <a:pt x="156" y="486"/>
                  </a:lnTo>
                  <a:lnTo>
                    <a:pt x="156" y="486"/>
                  </a:lnTo>
                  <a:lnTo>
                    <a:pt x="151" y="491"/>
                  </a:lnTo>
                  <a:lnTo>
                    <a:pt x="149" y="491"/>
                  </a:lnTo>
                  <a:lnTo>
                    <a:pt x="149" y="491"/>
                  </a:lnTo>
                  <a:lnTo>
                    <a:pt x="146" y="493"/>
                  </a:lnTo>
                  <a:lnTo>
                    <a:pt x="144" y="493"/>
                  </a:lnTo>
                  <a:lnTo>
                    <a:pt x="144" y="493"/>
                  </a:lnTo>
                  <a:lnTo>
                    <a:pt x="142" y="493"/>
                  </a:lnTo>
                  <a:lnTo>
                    <a:pt x="137" y="493"/>
                  </a:lnTo>
                  <a:lnTo>
                    <a:pt x="135" y="493"/>
                  </a:lnTo>
                  <a:lnTo>
                    <a:pt x="135" y="493"/>
                  </a:lnTo>
                  <a:lnTo>
                    <a:pt x="132" y="491"/>
                  </a:lnTo>
                  <a:lnTo>
                    <a:pt x="130" y="491"/>
                  </a:lnTo>
                  <a:lnTo>
                    <a:pt x="130" y="489"/>
                  </a:lnTo>
                  <a:lnTo>
                    <a:pt x="127" y="489"/>
                  </a:lnTo>
                  <a:lnTo>
                    <a:pt x="125" y="489"/>
                  </a:lnTo>
                  <a:lnTo>
                    <a:pt x="125" y="489"/>
                  </a:lnTo>
                  <a:lnTo>
                    <a:pt x="123" y="489"/>
                  </a:lnTo>
                  <a:lnTo>
                    <a:pt x="123" y="486"/>
                  </a:lnTo>
                  <a:lnTo>
                    <a:pt x="123" y="486"/>
                  </a:lnTo>
                  <a:lnTo>
                    <a:pt x="123" y="486"/>
                  </a:lnTo>
                  <a:lnTo>
                    <a:pt x="120" y="486"/>
                  </a:lnTo>
                  <a:lnTo>
                    <a:pt x="123" y="484"/>
                  </a:lnTo>
                  <a:lnTo>
                    <a:pt x="120" y="482"/>
                  </a:lnTo>
                  <a:lnTo>
                    <a:pt x="120" y="482"/>
                  </a:lnTo>
                  <a:lnTo>
                    <a:pt x="120" y="482"/>
                  </a:lnTo>
                  <a:lnTo>
                    <a:pt x="118" y="477"/>
                  </a:lnTo>
                  <a:lnTo>
                    <a:pt x="118" y="477"/>
                  </a:lnTo>
                  <a:lnTo>
                    <a:pt x="116" y="475"/>
                  </a:lnTo>
                  <a:lnTo>
                    <a:pt x="116" y="475"/>
                  </a:lnTo>
                  <a:lnTo>
                    <a:pt x="113" y="472"/>
                  </a:lnTo>
                  <a:lnTo>
                    <a:pt x="113" y="472"/>
                  </a:lnTo>
                  <a:lnTo>
                    <a:pt x="111" y="470"/>
                  </a:lnTo>
                  <a:lnTo>
                    <a:pt x="111" y="470"/>
                  </a:lnTo>
                  <a:lnTo>
                    <a:pt x="111" y="468"/>
                  </a:lnTo>
                  <a:lnTo>
                    <a:pt x="111" y="468"/>
                  </a:lnTo>
                  <a:lnTo>
                    <a:pt x="111" y="465"/>
                  </a:lnTo>
                  <a:lnTo>
                    <a:pt x="111" y="465"/>
                  </a:lnTo>
                  <a:lnTo>
                    <a:pt x="111" y="463"/>
                  </a:lnTo>
                  <a:lnTo>
                    <a:pt x="111" y="463"/>
                  </a:lnTo>
                  <a:lnTo>
                    <a:pt x="111" y="460"/>
                  </a:lnTo>
                  <a:lnTo>
                    <a:pt x="111" y="460"/>
                  </a:lnTo>
                  <a:lnTo>
                    <a:pt x="109" y="460"/>
                  </a:lnTo>
                  <a:lnTo>
                    <a:pt x="109" y="460"/>
                  </a:lnTo>
                  <a:lnTo>
                    <a:pt x="109" y="460"/>
                  </a:lnTo>
                  <a:lnTo>
                    <a:pt x="109" y="460"/>
                  </a:lnTo>
                  <a:lnTo>
                    <a:pt x="109" y="458"/>
                  </a:lnTo>
                  <a:lnTo>
                    <a:pt x="109" y="460"/>
                  </a:lnTo>
                  <a:lnTo>
                    <a:pt x="106" y="458"/>
                  </a:lnTo>
                  <a:lnTo>
                    <a:pt x="106" y="458"/>
                  </a:lnTo>
                  <a:lnTo>
                    <a:pt x="106" y="458"/>
                  </a:lnTo>
                  <a:lnTo>
                    <a:pt x="106" y="458"/>
                  </a:lnTo>
                  <a:lnTo>
                    <a:pt x="106" y="458"/>
                  </a:lnTo>
                  <a:lnTo>
                    <a:pt x="106" y="456"/>
                  </a:lnTo>
                  <a:lnTo>
                    <a:pt x="104" y="456"/>
                  </a:lnTo>
                  <a:lnTo>
                    <a:pt x="104" y="456"/>
                  </a:lnTo>
                  <a:lnTo>
                    <a:pt x="104" y="456"/>
                  </a:lnTo>
                  <a:lnTo>
                    <a:pt x="101" y="456"/>
                  </a:lnTo>
                  <a:lnTo>
                    <a:pt x="101" y="453"/>
                  </a:lnTo>
                  <a:lnTo>
                    <a:pt x="101" y="453"/>
                  </a:lnTo>
                  <a:lnTo>
                    <a:pt x="101" y="453"/>
                  </a:lnTo>
                  <a:lnTo>
                    <a:pt x="101" y="453"/>
                  </a:lnTo>
                  <a:lnTo>
                    <a:pt x="101" y="453"/>
                  </a:lnTo>
                  <a:lnTo>
                    <a:pt x="101" y="453"/>
                  </a:lnTo>
                  <a:lnTo>
                    <a:pt x="99" y="451"/>
                  </a:lnTo>
                  <a:lnTo>
                    <a:pt x="99" y="451"/>
                  </a:lnTo>
                  <a:lnTo>
                    <a:pt x="99" y="451"/>
                  </a:lnTo>
                  <a:lnTo>
                    <a:pt x="99" y="449"/>
                  </a:lnTo>
                  <a:lnTo>
                    <a:pt x="97" y="446"/>
                  </a:lnTo>
                  <a:lnTo>
                    <a:pt x="99" y="446"/>
                  </a:lnTo>
                  <a:lnTo>
                    <a:pt x="99" y="446"/>
                  </a:lnTo>
                  <a:lnTo>
                    <a:pt x="99" y="444"/>
                  </a:lnTo>
                  <a:lnTo>
                    <a:pt x="99" y="446"/>
                  </a:lnTo>
                  <a:lnTo>
                    <a:pt x="101" y="446"/>
                  </a:lnTo>
                  <a:lnTo>
                    <a:pt x="99" y="444"/>
                  </a:lnTo>
                  <a:lnTo>
                    <a:pt x="101" y="444"/>
                  </a:lnTo>
                  <a:lnTo>
                    <a:pt x="99" y="444"/>
                  </a:lnTo>
                  <a:lnTo>
                    <a:pt x="99" y="444"/>
                  </a:lnTo>
                  <a:lnTo>
                    <a:pt x="99" y="444"/>
                  </a:lnTo>
                  <a:lnTo>
                    <a:pt x="99" y="444"/>
                  </a:lnTo>
                  <a:lnTo>
                    <a:pt x="101" y="442"/>
                  </a:lnTo>
                  <a:lnTo>
                    <a:pt x="99" y="442"/>
                  </a:lnTo>
                  <a:lnTo>
                    <a:pt x="99" y="442"/>
                  </a:lnTo>
                  <a:lnTo>
                    <a:pt x="99" y="442"/>
                  </a:lnTo>
                  <a:lnTo>
                    <a:pt x="99" y="439"/>
                  </a:lnTo>
                  <a:lnTo>
                    <a:pt x="97" y="442"/>
                  </a:lnTo>
                  <a:lnTo>
                    <a:pt x="97" y="439"/>
                  </a:lnTo>
                  <a:lnTo>
                    <a:pt x="99" y="439"/>
                  </a:lnTo>
                  <a:lnTo>
                    <a:pt x="99" y="439"/>
                  </a:lnTo>
                  <a:lnTo>
                    <a:pt x="99" y="439"/>
                  </a:lnTo>
                  <a:lnTo>
                    <a:pt x="99" y="439"/>
                  </a:lnTo>
                  <a:lnTo>
                    <a:pt x="99" y="439"/>
                  </a:lnTo>
                  <a:lnTo>
                    <a:pt x="99" y="437"/>
                  </a:lnTo>
                  <a:lnTo>
                    <a:pt x="97" y="437"/>
                  </a:lnTo>
                  <a:lnTo>
                    <a:pt x="99" y="437"/>
                  </a:lnTo>
                  <a:lnTo>
                    <a:pt x="99" y="437"/>
                  </a:lnTo>
                  <a:lnTo>
                    <a:pt x="97" y="434"/>
                  </a:lnTo>
                  <a:lnTo>
                    <a:pt x="97" y="434"/>
                  </a:lnTo>
                  <a:lnTo>
                    <a:pt x="97" y="434"/>
                  </a:lnTo>
                  <a:lnTo>
                    <a:pt x="97" y="432"/>
                  </a:lnTo>
                  <a:lnTo>
                    <a:pt x="99" y="432"/>
                  </a:lnTo>
                  <a:lnTo>
                    <a:pt x="99" y="432"/>
                  </a:lnTo>
                  <a:lnTo>
                    <a:pt x="99" y="430"/>
                  </a:lnTo>
                  <a:lnTo>
                    <a:pt x="101" y="432"/>
                  </a:lnTo>
                  <a:lnTo>
                    <a:pt x="101" y="430"/>
                  </a:lnTo>
                  <a:lnTo>
                    <a:pt x="99" y="430"/>
                  </a:lnTo>
                  <a:lnTo>
                    <a:pt x="99" y="430"/>
                  </a:lnTo>
                  <a:lnTo>
                    <a:pt x="99" y="427"/>
                  </a:lnTo>
                  <a:lnTo>
                    <a:pt x="97" y="427"/>
                  </a:lnTo>
                  <a:lnTo>
                    <a:pt x="99" y="427"/>
                  </a:lnTo>
                  <a:lnTo>
                    <a:pt x="99" y="427"/>
                  </a:lnTo>
                  <a:lnTo>
                    <a:pt x="97" y="425"/>
                  </a:lnTo>
                  <a:lnTo>
                    <a:pt x="97" y="425"/>
                  </a:lnTo>
                  <a:lnTo>
                    <a:pt x="97" y="425"/>
                  </a:lnTo>
                  <a:lnTo>
                    <a:pt x="99" y="425"/>
                  </a:lnTo>
                  <a:lnTo>
                    <a:pt x="97" y="423"/>
                  </a:lnTo>
                  <a:lnTo>
                    <a:pt x="99" y="423"/>
                  </a:lnTo>
                  <a:lnTo>
                    <a:pt x="97" y="420"/>
                  </a:lnTo>
                  <a:lnTo>
                    <a:pt x="94" y="423"/>
                  </a:lnTo>
                  <a:lnTo>
                    <a:pt x="97" y="420"/>
                  </a:lnTo>
                  <a:lnTo>
                    <a:pt x="97" y="418"/>
                  </a:lnTo>
                  <a:lnTo>
                    <a:pt x="94" y="418"/>
                  </a:lnTo>
                  <a:lnTo>
                    <a:pt x="94" y="418"/>
                  </a:lnTo>
                  <a:lnTo>
                    <a:pt x="92" y="418"/>
                  </a:lnTo>
                  <a:lnTo>
                    <a:pt x="94" y="418"/>
                  </a:lnTo>
                  <a:lnTo>
                    <a:pt x="94" y="416"/>
                  </a:lnTo>
                  <a:lnTo>
                    <a:pt x="97" y="416"/>
                  </a:lnTo>
                  <a:lnTo>
                    <a:pt x="97" y="418"/>
                  </a:lnTo>
                  <a:lnTo>
                    <a:pt x="97" y="416"/>
                  </a:lnTo>
                  <a:lnTo>
                    <a:pt x="97" y="416"/>
                  </a:lnTo>
                  <a:lnTo>
                    <a:pt x="97" y="416"/>
                  </a:lnTo>
                  <a:lnTo>
                    <a:pt x="97" y="413"/>
                  </a:lnTo>
                  <a:lnTo>
                    <a:pt x="97" y="413"/>
                  </a:lnTo>
                  <a:lnTo>
                    <a:pt x="94" y="411"/>
                  </a:lnTo>
                  <a:lnTo>
                    <a:pt x="92" y="411"/>
                  </a:lnTo>
                  <a:lnTo>
                    <a:pt x="92" y="411"/>
                  </a:lnTo>
                  <a:lnTo>
                    <a:pt x="92" y="408"/>
                  </a:lnTo>
                  <a:lnTo>
                    <a:pt x="92" y="408"/>
                  </a:lnTo>
                  <a:lnTo>
                    <a:pt x="92" y="408"/>
                  </a:lnTo>
                  <a:lnTo>
                    <a:pt x="92" y="408"/>
                  </a:lnTo>
                  <a:lnTo>
                    <a:pt x="92" y="408"/>
                  </a:lnTo>
                  <a:lnTo>
                    <a:pt x="92" y="406"/>
                  </a:lnTo>
                  <a:lnTo>
                    <a:pt x="92" y="406"/>
                  </a:lnTo>
                  <a:lnTo>
                    <a:pt x="90" y="408"/>
                  </a:lnTo>
                  <a:lnTo>
                    <a:pt x="90" y="406"/>
                  </a:lnTo>
                  <a:lnTo>
                    <a:pt x="87" y="408"/>
                  </a:lnTo>
                  <a:lnTo>
                    <a:pt x="87" y="406"/>
                  </a:lnTo>
                  <a:lnTo>
                    <a:pt x="90" y="406"/>
                  </a:lnTo>
                  <a:lnTo>
                    <a:pt x="87" y="404"/>
                  </a:lnTo>
                  <a:lnTo>
                    <a:pt x="87" y="406"/>
                  </a:lnTo>
                  <a:lnTo>
                    <a:pt x="85" y="406"/>
                  </a:lnTo>
                  <a:lnTo>
                    <a:pt x="85" y="404"/>
                  </a:lnTo>
                  <a:lnTo>
                    <a:pt x="85" y="404"/>
                  </a:lnTo>
                  <a:lnTo>
                    <a:pt x="85" y="406"/>
                  </a:lnTo>
                  <a:lnTo>
                    <a:pt x="83" y="406"/>
                  </a:lnTo>
                  <a:lnTo>
                    <a:pt x="85" y="408"/>
                  </a:lnTo>
                  <a:lnTo>
                    <a:pt x="83" y="408"/>
                  </a:lnTo>
                  <a:lnTo>
                    <a:pt x="83" y="408"/>
                  </a:lnTo>
                  <a:lnTo>
                    <a:pt x="83" y="406"/>
                  </a:lnTo>
                  <a:lnTo>
                    <a:pt x="83" y="404"/>
                  </a:lnTo>
                  <a:lnTo>
                    <a:pt x="80" y="404"/>
                  </a:lnTo>
                  <a:lnTo>
                    <a:pt x="80" y="404"/>
                  </a:lnTo>
                  <a:lnTo>
                    <a:pt x="80" y="404"/>
                  </a:lnTo>
                  <a:lnTo>
                    <a:pt x="80" y="404"/>
                  </a:lnTo>
                  <a:lnTo>
                    <a:pt x="78" y="401"/>
                  </a:lnTo>
                  <a:lnTo>
                    <a:pt x="78" y="401"/>
                  </a:lnTo>
                  <a:lnTo>
                    <a:pt x="75" y="399"/>
                  </a:lnTo>
                  <a:lnTo>
                    <a:pt x="75" y="399"/>
                  </a:lnTo>
                  <a:lnTo>
                    <a:pt x="73" y="399"/>
                  </a:lnTo>
                  <a:lnTo>
                    <a:pt x="73" y="401"/>
                  </a:lnTo>
                  <a:lnTo>
                    <a:pt x="71" y="401"/>
                  </a:lnTo>
                  <a:lnTo>
                    <a:pt x="71" y="399"/>
                  </a:lnTo>
                  <a:lnTo>
                    <a:pt x="68" y="399"/>
                  </a:lnTo>
                  <a:lnTo>
                    <a:pt x="66" y="399"/>
                  </a:lnTo>
                  <a:lnTo>
                    <a:pt x="66" y="401"/>
                  </a:lnTo>
                  <a:lnTo>
                    <a:pt x="66" y="404"/>
                  </a:lnTo>
                  <a:lnTo>
                    <a:pt x="66" y="404"/>
                  </a:lnTo>
                  <a:lnTo>
                    <a:pt x="66" y="406"/>
                  </a:lnTo>
                  <a:lnTo>
                    <a:pt x="64" y="404"/>
                  </a:lnTo>
                  <a:lnTo>
                    <a:pt x="61" y="399"/>
                  </a:lnTo>
                  <a:lnTo>
                    <a:pt x="61" y="397"/>
                  </a:lnTo>
                  <a:lnTo>
                    <a:pt x="66" y="392"/>
                  </a:lnTo>
                  <a:lnTo>
                    <a:pt x="66" y="390"/>
                  </a:lnTo>
                  <a:lnTo>
                    <a:pt x="64" y="390"/>
                  </a:lnTo>
                  <a:lnTo>
                    <a:pt x="64" y="390"/>
                  </a:lnTo>
                  <a:lnTo>
                    <a:pt x="59" y="392"/>
                  </a:lnTo>
                  <a:lnTo>
                    <a:pt x="57" y="394"/>
                  </a:lnTo>
                  <a:lnTo>
                    <a:pt x="57" y="394"/>
                  </a:lnTo>
                  <a:lnTo>
                    <a:pt x="54" y="394"/>
                  </a:lnTo>
                  <a:lnTo>
                    <a:pt x="52" y="394"/>
                  </a:lnTo>
                  <a:lnTo>
                    <a:pt x="52" y="397"/>
                  </a:lnTo>
                  <a:lnTo>
                    <a:pt x="52" y="397"/>
                  </a:lnTo>
                  <a:lnTo>
                    <a:pt x="54" y="399"/>
                  </a:lnTo>
                  <a:lnTo>
                    <a:pt x="54" y="399"/>
                  </a:lnTo>
                  <a:lnTo>
                    <a:pt x="57" y="401"/>
                  </a:lnTo>
                  <a:lnTo>
                    <a:pt x="54" y="401"/>
                  </a:lnTo>
                  <a:lnTo>
                    <a:pt x="52" y="401"/>
                  </a:lnTo>
                  <a:lnTo>
                    <a:pt x="49" y="399"/>
                  </a:lnTo>
                  <a:lnTo>
                    <a:pt x="47" y="399"/>
                  </a:lnTo>
                  <a:lnTo>
                    <a:pt x="47" y="399"/>
                  </a:lnTo>
                  <a:lnTo>
                    <a:pt x="47" y="401"/>
                  </a:lnTo>
                  <a:lnTo>
                    <a:pt x="45" y="401"/>
                  </a:lnTo>
                  <a:lnTo>
                    <a:pt x="45" y="401"/>
                  </a:lnTo>
                  <a:lnTo>
                    <a:pt x="42" y="397"/>
                  </a:lnTo>
                  <a:lnTo>
                    <a:pt x="40" y="397"/>
                  </a:lnTo>
                  <a:lnTo>
                    <a:pt x="35" y="399"/>
                  </a:lnTo>
                  <a:lnTo>
                    <a:pt x="33" y="404"/>
                  </a:lnTo>
                  <a:lnTo>
                    <a:pt x="33" y="404"/>
                  </a:lnTo>
                  <a:lnTo>
                    <a:pt x="31" y="401"/>
                  </a:lnTo>
                  <a:lnTo>
                    <a:pt x="28" y="404"/>
                  </a:lnTo>
                  <a:lnTo>
                    <a:pt x="28" y="404"/>
                  </a:lnTo>
                  <a:lnTo>
                    <a:pt x="28" y="406"/>
                  </a:lnTo>
                  <a:lnTo>
                    <a:pt x="28" y="408"/>
                  </a:lnTo>
                  <a:lnTo>
                    <a:pt x="23" y="411"/>
                  </a:lnTo>
                  <a:lnTo>
                    <a:pt x="23" y="416"/>
                  </a:lnTo>
                  <a:lnTo>
                    <a:pt x="23" y="416"/>
                  </a:lnTo>
                  <a:lnTo>
                    <a:pt x="23" y="416"/>
                  </a:lnTo>
                  <a:lnTo>
                    <a:pt x="21" y="411"/>
                  </a:lnTo>
                  <a:lnTo>
                    <a:pt x="19" y="408"/>
                  </a:lnTo>
                  <a:lnTo>
                    <a:pt x="16" y="406"/>
                  </a:lnTo>
                  <a:lnTo>
                    <a:pt x="14" y="404"/>
                  </a:lnTo>
                  <a:lnTo>
                    <a:pt x="12" y="406"/>
                  </a:lnTo>
                  <a:lnTo>
                    <a:pt x="9" y="406"/>
                  </a:lnTo>
                  <a:lnTo>
                    <a:pt x="9" y="404"/>
                  </a:lnTo>
                  <a:lnTo>
                    <a:pt x="9" y="404"/>
                  </a:lnTo>
                  <a:lnTo>
                    <a:pt x="9" y="401"/>
                  </a:lnTo>
                  <a:lnTo>
                    <a:pt x="7" y="401"/>
                  </a:lnTo>
                  <a:lnTo>
                    <a:pt x="7" y="401"/>
                  </a:lnTo>
                  <a:lnTo>
                    <a:pt x="2" y="401"/>
                  </a:lnTo>
                  <a:lnTo>
                    <a:pt x="2" y="394"/>
                  </a:lnTo>
                  <a:lnTo>
                    <a:pt x="2" y="392"/>
                  </a:lnTo>
                  <a:lnTo>
                    <a:pt x="2" y="387"/>
                  </a:lnTo>
                  <a:lnTo>
                    <a:pt x="0" y="385"/>
                  </a:lnTo>
                  <a:lnTo>
                    <a:pt x="0" y="385"/>
                  </a:lnTo>
                  <a:lnTo>
                    <a:pt x="0" y="382"/>
                  </a:lnTo>
                  <a:lnTo>
                    <a:pt x="0" y="382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 cap="flat">
              <a:solidFill>
                <a:schemeClr val="bg2">
                  <a:lumMod val="7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>
                <a:solidFill>
                  <a:srgbClr val="000000"/>
                </a:solidFill>
              </a:endParaRPr>
            </a:p>
          </p:txBody>
        </p:sp>
        <p:sp>
          <p:nvSpPr>
            <p:cNvPr id="9" name="Freeform 31"/>
            <p:cNvSpPr>
              <a:spLocks/>
            </p:cNvSpPr>
            <p:nvPr/>
          </p:nvSpPr>
          <p:spPr bwMode="gray">
            <a:xfrm>
              <a:off x="1860936" y="5937325"/>
              <a:ext cx="815317" cy="763332"/>
            </a:xfrm>
            <a:custGeom>
              <a:avLst/>
              <a:gdLst/>
              <a:ahLst/>
              <a:cxnLst>
                <a:cxn ang="0">
                  <a:pos x="127" y="274"/>
                </a:cxn>
                <a:cxn ang="0">
                  <a:pos x="210" y="196"/>
                </a:cxn>
                <a:cxn ang="0">
                  <a:pos x="238" y="156"/>
                </a:cxn>
                <a:cxn ang="0">
                  <a:pos x="279" y="133"/>
                </a:cxn>
                <a:cxn ang="0">
                  <a:pos x="321" y="100"/>
                </a:cxn>
                <a:cxn ang="0">
                  <a:pos x="357" y="64"/>
                </a:cxn>
                <a:cxn ang="0">
                  <a:pos x="394" y="55"/>
                </a:cxn>
                <a:cxn ang="0">
                  <a:pos x="430" y="45"/>
                </a:cxn>
                <a:cxn ang="0">
                  <a:pos x="468" y="15"/>
                </a:cxn>
                <a:cxn ang="0">
                  <a:pos x="505" y="12"/>
                </a:cxn>
                <a:cxn ang="0">
                  <a:pos x="538" y="3"/>
                </a:cxn>
                <a:cxn ang="0">
                  <a:pos x="567" y="8"/>
                </a:cxn>
                <a:cxn ang="0">
                  <a:pos x="588" y="15"/>
                </a:cxn>
                <a:cxn ang="0">
                  <a:pos x="621" y="17"/>
                </a:cxn>
                <a:cxn ang="0">
                  <a:pos x="657" y="24"/>
                </a:cxn>
                <a:cxn ang="0">
                  <a:pos x="678" y="31"/>
                </a:cxn>
                <a:cxn ang="0">
                  <a:pos x="697" y="31"/>
                </a:cxn>
                <a:cxn ang="0">
                  <a:pos x="716" y="43"/>
                </a:cxn>
                <a:cxn ang="0">
                  <a:pos x="744" y="57"/>
                </a:cxn>
                <a:cxn ang="0">
                  <a:pos x="770" y="57"/>
                </a:cxn>
                <a:cxn ang="0">
                  <a:pos x="796" y="71"/>
                </a:cxn>
                <a:cxn ang="0">
                  <a:pos x="831" y="97"/>
                </a:cxn>
                <a:cxn ang="0">
                  <a:pos x="857" y="128"/>
                </a:cxn>
                <a:cxn ang="0">
                  <a:pos x="881" y="154"/>
                </a:cxn>
                <a:cxn ang="0">
                  <a:pos x="923" y="178"/>
                </a:cxn>
                <a:cxn ang="0">
                  <a:pos x="947" y="180"/>
                </a:cxn>
                <a:cxn ang="0">
                  <a:pos x="973" y="178"/>
                </a:cxn>
                <a:cxn ang="0">
                  <a:pos x="994" y="182"/>
                </a:cxn>
                <a:cxn ang="0">
                  <a:pos x="1006" y="196"/>
                </a:cxn>
                <a:cxn ang="0">
                  <a:pos x="992" y="211"/>
                </a:cxn>
                <a:cxn ang="0">
                  <a:pos x="978" y="220"/>
                </a:cxn>
                <a:cxn ang="0">
                  <a:pos x="978" y="237"/>
                </a:cxn>
                <a:cxn ang="0">
                  <a:pos x="975" y="256"/>
                </a:cxn>
                <a:cxn ang="0">
                  <a:pos x="968" y="267"/>
                </a:cxn>
                <a:cxn ang="0">
                  <a:pos x="959" y="277"/>
                </a:cxn>
                <a:cxn ang="0">
                  <a:pos x="949" y="284"/>
                </a:cxn>
                <a:cxn ang="0">
                  <a:pos x="966" y="296"/>
                </a:cxn>
                <a:cxn ang="0">
                  <a:pos x="987" y="282"/>
                </a:cxn>
                <a:cxn ang="0">
                  <a:pos x="1004" y="296"/>
                </a:cxn>
                <a:cxn ang="0">
                  <a:pos x="883" y="508"/>
                </a:cxn>
                <a:cxn ang="0">
                  <a:pos x="692" y="671"/>
                </a:cxn>
                <a:cxn ang="0">
                  <a:pos x="534" y="865"/>
                </a:cxn>
                <a:cxn ang="0">
                  <a:pos x="569" y="749"/>
                </a:cxn>
                <a:cxn ang="0">
                  <a:pos x="531" y="709"/>
                </a:cxn>
                <a:cxn ang="0">
                  <a:pos x="503" y="676"/>
                </a:cxn>
                <a:cxn ang="0">
                  <a:pos x="484" y="650"/>
                </a:cxn>
                <a:cxn ang="0">
                  <a:pos x="460" y="631"/>
                </a:cxn>
                <a:cxn ang="0">
                  <a:pos x="404" y="589"/>
                </a:cxn>
                <a:cxn ang="0">
                  <a:pos x="354" y="567"/>
                </a:cxn>
                <a:cxn ang="0">
                  <a:pos x="335" y="548"/>
                </a:cxn>
                <a:cxn ang="0">
                  <a:pos x="305" y="546"/>
                </a:cxn>
                <a:cxn ang="0">
                  <a:pos x="290" y="520"/>
                </a:cxn>
                <a:cxn ang="0">
                  <a:pos x="267" y="496"/>
                </a:cxn>
                <a:cxn ang="0">
                  <a:pos x="248" y="506"/>
                </a:cxn>
                <a:cxn ang="0">
                  <a:pos x="217" y="522"/>
                </a:cxn>
                <a:cxn ang="0">
                  <a:pos x="203" y="482"/>
                </a:cxn>
                <a:cxn ang="0">
                  <a:pos x="179" y="459"/>
                </a:cxn>
                <a:cxn ang="0">
                  <a:pos x="160" y="447"/>
                </a:cxn>
                <a:cxn ang="0">
                  <a:pos x="137" y="421"/>
                </a:cxn>
                <a:cxn ang="0">
                  <a:pos x="108" y="402"/>
                </a:cxn>
                <a:cxn ang="0">
                  <a:pos x="73" y="393"/>
                </a:cxn>
                <a:cxn ang="0">
                  <a:pos x="49" y="416"/>
                </a:cxn>
                <a:cxn ang="0">
                  <a:pos x="5" y="407"/>
                </a:cxn>
              </a:cxnLst>
              <a:rect l="0" t="0" r="r" b="b"/>
              <a:pathLst>
                <a:path w="1009" h="872">
                  <a:moveTo>
                    <a:pt x="40" y="378"/>
                  </a:moveTo>
                  <a:lnTo>
                    <a:pt x="42" y="374"/>
                  </a:lnTo>
                  <a:lnTo>
                    <a:pt x="40" y="367"/>
                  </a:lnTo>
                  <a:lnTo>
                    <a:pt x="40" y="367"/>
                  </a:lnTo>
                  <a:lnTo>
                    <a:pt x="45" y="359"/>
                  </a:lnTo>
                  <a:lnTo>
                    <a:pt x="52" y="355"/>
                  </a:lnTo>
                  <a:lnTo>
                    <a:pt x="54" y="352"/>
                  </a:lnTo>
                  <a:lnTo>
                    <a:pt x="61" y="352"/>
                  </a:lnTo>
                  <a:lnTo>
                    <a:pt x="66" y="352"/>
                  </a:lnTo>
                  <a:lnTo>
                    <a:pt x="66" y="350"/>
                  </a:lnTo>
                  <a:lnTo>
                    <a:pt x="71" y="348"/>
                  </a:lnTo>
                  <a:lnTo>
                    <a:pt x="75" y="343"/>
                  </a:lnTo>
                  <a:lnTo>
                    <a:pt x="83" y="333"/>
                  </a:lnTo>
                  <a:lnTo>
                    <a:pt x="87" y="329"/>
                  </a:lnTo>
                  <a:lnTo>
                    <a:pt x="90" y="326"/>
                  </a:lnTo>
                  <a:lnTo>
                    <a:pt x="94" y="319"/>
                  </a:lnTo>
                  <a:lnTo>
                    <a:pt x="99" y="317"/>
                  </a:lnTo>
                  <a:lnTo>
                    <a:pt x="104" y="315"/>
                  </a:lnTo>
                  <a:lnTo>
                    <a:pt x="106" y="312"/>
                  </a:lnTo>
                  <a:lnTo>
                    <a:pt x="108" y="312"/>
                  </a:lnTo>
                  <a:lnTo>
                    <a:pt x="111" y="308"/>
                  </a:lnTo>
                  <a:lnTo>
                    <a:pt x="111" y="305"/>
                  </a:lnTo>
                  <a:lnTo>
                    <a:pt x="111" y="303"/>
                  </a:lnTo>
                  <a:lnTo>
                    <a:pt x="111" y="300"/>
                  </a:lnTo>
                  <a:lnTo>
                    <a:pt x="113" y="298"/>
                  </a:lnTo>
                  <a:lnTo>
                    <a:pt x="118" y="298"/>
                  </a:lnTo>
                  <a:lnTo>
                    <a:pt x="120" y="298"/>
                  </a:lnTo>
                  <a:lnTo>
                    <a:pt x="125" y="286"/>
                  </a:lnTo>
                  <a:lnTo>
                    <a:pt x="127" y="284"/>
                  </a:lnTo>
                  <a:lnTo>
                    <a:pt x="125" y="282"/>
                  </a:lnTo>
                  <a:lnTo>
                    <a:pt x="127" y="274"/>
                  </a:lnTo>
                  <a:lnTo>
                    <a:pt x="132" y="272"/>
                  </a:lnTo>
                  <a:lnTo>
                    <a:pt x="134" y="265"/>
                  </a:lnTo>
                  <a:lnTo>
                    <a:pt x="137" y="265"/>
                  </a:lnTo>
                  <a:lnTo>
                    <a:pt x="142" y="265"/>
                  </a:lnTo>
                  <a:lnTo>
                    <a:pt x="144" y="263"/>
                  </a:lnTo>
                  <a:lnTo>
                    <a:pt x="146" y="263"/>
                  </a:lnTo>
                  <a:lnTo>
                    <a:pt x="153" y="260"/>
                  </a:lnTo>
                  <a:lnTo>
                    <a:pt x="156" y="260"/>
                  </a:lnTo>
                  <a:lnTo>
                    <a:pt x="156" y="256"/>
                  </a:lnTo>
                  <a:lnTo>
                    <a:pt x="158" y="253"/>
                  </a:lnTo>
                  <a:lnTo>
                    <a:pt x="156" y="251"/>
                  </a:lnTo>
                  <a:lnTo>
                    <a:pt x="156" y="246"/>
                  </a:lnTo>
                  <a:lnTo>
                    <a:pt x="158" y="246"/>
                  </a:lnTo>
                  <a:lnTo>
                    <a:pt x="160" y="244"/>
                  </a:lnTo>
                  <a:lnTo>
                    <a:pt x="165" y="244"/>
                  </a:lnTo>
                  <a:lnTo>
                    <a:pt x="168" y="241"/>
                  </a:lnTo>
                  <a:lnTo>
                    <a:pt x="170" y="237"/>
                  </a:lnTo>
                  <a:lnTo>
                    <a:pt x="172" y="237"/>
                  </a:lnTo>
                  <a:lnTo>
                    <a:pt x="172" y="232"/>
                  </a:lnTo>
                  <a:lnTo>
                    <a:pt x="170" y="227"/>
                  </a:lnTo>
                  <a:lnTo>
                    <a:pt x="172" y="225"/>
                  </a:lnTo>
                  <a:lnTo>
                    <a:pt x="172" y="222"/>
                  </a:lnTo>
                  <a:lnTo>
                    <a:pt x="175" y="220"/>
                  </a:lnTo>
                  <a:lnTo>
                    <a:pt x="184" y="220"/>
                  </a:lnTo>
                  <a:lnTo>
                    <a:pt x="189" y="218"/>
                  </a:lnTo>
                  <a:lnTo>
                    <a:pt x="191" y="213"/>
                  </a:lnTo>
                  <a:lnTo>
                    <a:pt x="194" y="211"/>
                  </a:lnTo>
                  <a:lnTo>
                    <a:pt x="203" y="201"/>
                  </a:lnTo>
                  <a:lnTo>
                    <a:pt x="208" y="199"/>
                  </a:lnTo>
                  <a:lnTo>
                    <a:pt x="208" y="199"/>
                  </a:lnTo>
                  <a:lnTo>
                    <a:pt x="210" y="196"/>
                  </a:lnTo>
                  <a:lnTo>
                    <a:pt x="208" y="194"/>
                  </a:lnTo>
                  <a:lnTo>
                    <a:pt x="205" y="192"/>
                  </a:lnTo>
                  <a:lnTo>
                    <a:pt x="205" y="189"/>
                  </a:lnTo>
                  <a:lnTo>
                    <a:pt x="205" y="189"/>
                  </a:lnTo>
                  <a:lnTo>
                    <a:pt x="208" y="187"/>
                  </a:lnTo>
                  <a:lnTo>
                    <a:pt x="210" y="185"/>
                  </a:lnTo>
                  <a:lnTo>
                    <a:pt x="215" y="185"/>
                  </a:lnTo>
                  <a:lnTo>
                    <a:pt x="220" y="182"/>
                  </a:lnTo>
                  <a:lnTo>
                    <a:pt x="224" y="182"/>
                  </a:lnTo>
                  <a:lnTo>
                    <a:pt x="224" y="182"/>
                  </a:lnTo>
                  <a:lnTo>
                    <a:pt x="224" y="180"/>
                  </a:lnTo>
                  <a:lnTo>
                    <a:pt x="222" y="175"/>
                  </a:lnTo>
                  <a:lnTo>
                    <a:pt x="222" y="173"/>
                  </a:lnTo>
                  <a:lnTo>
                    <a:pt x="222" y="173"/>
                  </a:lnTo>
                  <a:lnTo>
                    <a:pt x="224" y="168"/>
                  </a:lnTo>
                  <a:lnTo>
                    <a:pt x="229" y="166"/>
                  </a:lnTo>
                  <a:lnTo>
                    <a:pt x="231" y="168"/>
                  </a:lnTo>
                  <a:lnTo>
                    <a:pt x="238" y="168"/>
                  </a:lnTo>
                  <a:lnTo>
                    <a:pt x="243" y="168"/>
                  </a:lnTo>
                  <a:lnTo>
                    <a:pt x="243" y="171"/>
                  </a:lnTo>
                  <a:lnTo>
                    <a:pt x="243" y="173"/>
                  </a:lnTo>
                  <a:lnTo>
                    <a:pt x="245" y="173"/>
                  </a:lnTo>
                  <a:lnTo>
                    <a:pt x="245" y="175"/>
                  </a:lnTo>
                  <a:lnTo>
                    <a:pt x="248" y="175"/>
                  </a:lnTo>
                  <a:lnTo>
                    <a:pt x="248" y="173"/>
                  </a:lnTo>
                  <a:lnTo>
                    <a:pt x="248" y="171"/>
                  </a:lnTo>
                  <a:lnTo>
                    <a:pt x="250" y="163"/>
                  </a:lnTo>
                  <a:lnTo>
                    <a:pt x="250" y="163"/>
                  </a:lnTo>
                  <a:lnTo>
                    <a:pt x="245" y="161"/>
                  </a:lnTo>
                  <a:lnTo>
                    <a:pt x="243" y="159"/>
                  </a:lnTo>
                  <a:lnTo>
                    <a:pt x="238" y="156"/>
                  </a:lnTo>
                  <a:lnTo>
                    <a:pt x="236" y="154"/>
                  </a:lnTo>
                  <a:lnTo>
                    <a:pt x="238" y="152"/>
                  </a:lnTo>
                  <a:lnTo>
                    <a:pt x="243" y="149"/>
                  </a:lnTo>
                  <a:lnTo>
                    <a:pt x="248" y="149"/>
                  </a:lnTo>
                  <a:lnTo>
                    <a:pt x="253" y="145"/>
                  </a:lnTo>
                  <a:lnTo>
                    <a:pt x="253" y="145"/>
                  </a:lnTo>
                  <a:lnTo>
                    <a:pt x="255" y="142"/>
                  </a:lnTo>
                  <a:lnTo>
                    <a:pt x="255" y="142"/>
                  </a:lnTo>
                  <a:lnTo>
                    <a:pt x="257" y="142"/>
                  </a:lnTo>
                  <a:lnTo>
                    <a:pt x="255" y="140"/>
                  </a:lnTo>
                  <a:lnTo>
                    <a:pt x="257" y="140"/>
                  </a:lnTo>
                  <a:lnTo>
                    <a:pt x="257" y="137"/>
                  </a:lnTo>
                  <a:lnTo>
                    <a:pt x="257" y="137"/>
                  </a:lnTo>
                  <a:lnTo>
                    <a:pt x="257" y="135"/>
                  </a:lnTo>
                  <a:lnTo>
                    <a:pt x="260" y="135"/>
                  </a:lnTo>
                  <a:lnTo>
                    <a:pt x="262" y="135"/>
                  </a:lnTo>
                  <a:lnTo>
                    <a:pt x="262" y="137"/>
                  </a:lnTo>
                  <a:lnTo>
                    <a:pt x="262" y="137"/>
                  </a:lnTo>
                  <a:lnTo>
                    <a:pt x="262" y="140"/>
                  </a:lnTo>
                  <a:lnTo>
                    <a:pt x="264" y="142"/>
                  </a:lnTo>
                  <a:lnTo>
                    <a:pt x="264" y="142"/>
                  </a:lnTo>
                  <a:lnTo>
                    <a:pt x="267" y="140"/>
                  </a:lnTo>
                  <a:lnTo>
                    <a:pt x="267" y="137"/>
                  </a:lnTo>
                  <a:lnTo>
                    <a:pt x="267" y="137"/>
                  </a:lnTo>
                  <a:lnTo>
                    <a:pt x="267" y="135"/>
                  </a:lnTo>
                  <a:lnTo>
                    <a:pt x="271" y="135"/>
                  </a:lnTo>
                  <a:lnTo>
                    <a:pt x="271" y="133"/>
                  </a:lnTo>
                  <a:lnTo>
                    <a:pt x="274" y="130"/>
                  </a:lnTo>
                  <a:lnTo>
                    <a:pt x="274" y="130"/>
                  </a:lnTo>
                  <a:lnTo>
                    <a:pt x="276" y="133"/>
                  </a:lnTo>
                  <a:lnTo>
                    <a:pt x="279" y="133"/>
                  </a:lnTo>
                  <a:lnTo>
                    <a:pt x="279" y="133"/>
                  </a:lnTo>
                  <a:lnTo>
                    <a:pt x="281" y="130"/>
                  </a:lnTo>
                  <a:lnTo>
                    <a:pt x="283" y="128"/>
                  </a:lnTo>
                  <a:lnTo>
                    <a:pt x="288" y="126"/>
                  </a:lnTo>
                  <a:lnTo>
                    <a:pt x="290" y="123"/>
                  </a:lnTo>
                  <a:lnTo>
                    <a:pt x="290" y="123"/>
                  </a:lnTo>
                  <a:lnTo>
                    <a:pt x="288" y="119"/>
                  </a:lnTo>
                  <a:lnTo>
                    <a:pt x="286" y="119"/>
                  </a:lnTo>
                  <a:lnTo>
                    <a:pt x="286" y="119"/>
                  </a:lnTo>
                  <a:lnTo>
                    <a:pt x="288" y="116"/>
                  </a:lnTo>
                  <a:lnTo>
                    <a:pt x="293" y="116"/>
                  </a:lnTo>
                  <a:lnTo>
                    <a:pt x="293" y="116"/>
                  </a:lnTo>
                  <a:lnTo>
                    <a:pt x="293" y="111"/>
                  </a:lnTo>
                  <a:lnTo>
                    <a:pt x="295" y="109"/>
                  </a:lnTo>
                  <a:lnTo>
                    <a:pt x="295" y="109"/>
                  </a:lnTo>
                  <a:lnTo>
                    <a:pt x="297" y="109"/>
                  </a:lnTo>
                  <a:lnTo>
                    <a:pt x="300" y="111"/>
                  </a:lnTo>
                  <a:lnTo>
                    <a:pt x="302" y="111"/>
                  </a:lnTo>
                  <a:lnTo>
                    <a:pt x="302" y="109"/>
                  </a:lnTo>
                  <a:lnTo>
                    <a:pt x="307" y="104"/>
                  </a:lnTo>
                  <a:lnTo>
                    <a:pt x="312" y="100"/>
                  </a:lnTo>
                  <a:lnTo>
                    <a:pt x="312" y="100"/>
                  </a:lnTo>
                  <a:lnTo>
                    <a:pt x="314" y="102"/>
                  </a:lnTo>
                  <a:lnTo>
                    <a:pt x="316" y="104"/>
                  </a:lnTo>
                  <a:lnTo>
                    <a:pt x="319" y="107"/>
                  </a:lnTo>
                  <a:lnTo>
                    <a:pt x="319" y="107"/>
                  </a:lnTo>
                  <a:lnTo>
                    <a:pt x="319" y="107"/>
                  </a:lnTo>
                  <a:lnTo>
                    <a:pt x="321" y="104"/>
                  </a:lnTo>
                  <a:lnTo>
                    <a:pt x="319" y="102"/>
                  </a:lnTo>
                  <a:lnTo>
                    <a:pt x="321" y="100"/>
                  </a:lnTo>
                  <a:lnTo>
                    <a:pt x="321" y="100"/>
                  </a:lnTo>
                  <a:lnTo>
                    <a:pt x="326" y="100"/>
                  </a:lnTo>
                  <a:lnTo>
                    <a:pt x="328" y="100"/>
                  </a:lnTo>
                  <a:lnTo>
                    <a:pt x="331" y="102"/>
                  </a:lnTo>
                  <a:lnTo>
                    <a:pt x="333" y="100"/>
                  </a:lnTo>
                  <a:lnTo>
                    <a:pt x="333" y="97"/>
                  </a:lnTo>
                  <a:lnTo>
                    <a:pt x="331" y="97"/>
                  </a:lnTo>
                  <a:lnTo>
                    <a:pt x="326" y="95"/>
                  </a:lnTo>
                  <a:lnTo>
                    <a:pt x="326" y="93"/>
                  </a:lnTo>
                  <a:lnTo>
                    <a:pt x="326" y="90"/>
                  </a:lnTo>
                  <a:lnTo>
                    <a:pt x="326" y="90"/>
                  </a:lnTo>
                  <a:lnTo>
                    <a:pt x="328" y="90"/>
                  </a:lnTo>
                  <a:lnTo>
                    <a:pt x="333" y="93"/>
                  </a:lnTo>
                  <a:lnTo>
                    <a:pt x="335" y="95"/>
                  </a:lnTo>
                  <a:lnTo>
                    <a:pt x="335" y="93"/>
                  </a:lnTo>
                  <a:lnTo>
                    <a:pt x="338" y="90"/>
                  </a:lnTo>
                  <a:lnTo>
                    <a:pt x="338" y="90"/>
                  </a:lnTo>
                  <a:lnTo>
                    <a:pt x="340" y="90"/>
                  </a:lnTo>
                  <a:lnTo>
                    <a:pt x="342" y="90"/>
                  </a:lnTo>
                  <a:lnTo>
                    <a:pt x="345" y="90"/>
                  </a:lnTo>
                  <a:lnTo>
                    <a:pt x="345" y="88"/>
                  </a:lnTo>
                  <a:lnTo>
                    <a:pt x="345" y="88"/>
                  </a:lnTo>
                  <a:lnTo>
                    <a:pt x="347" y="85"/>
                  </a:lnTo>
                  <a:lnTo>
                    <a:pt x="347" y="81"/>
                  </a:lnTo>
                  <a:lnTo>
                    <a:pt x="347" y="76"/>
                  </a:lnTo>
                  <a:lnTo>
                    <a:pt x="347" y="74"/>
                  </a:lnTo>
                  <a:lnTo>
                    <a:pt x="349" y="71"/>
                  </a:lnTo>
                  <a:lnTo>
                    <a:pt x="349" y="71"/>
                  </a:lnTo>
                  <a:lnTo>
                    <a:pt x="354" y="71"/>
                  </a:lnTo>
                  <a:lnTo>
                    <a:pt x="354" y="71"/>
                  </a:lnTo>
                  <a:lnTo>
                    <a:pt x="357" y="69"/>
                  </a:lnTo>
                  <a:lnTo>
                    <a:pt x="357" y="64"/>
                  </a:lnTo>
                  <a:lnTo>
                    <a:pt x="359" y="59"/>
                  </a:lnTo>
                  <a:lnTo>
                    <a:pt x="359" y="59"/>
                  </a:lnTo>
                  <a:lnTo>
                    <a:pt x="361" y="59"/>
                  </a:lnTo>
                  <a:lnTo>
                    <a:pt x="364" y="64"/>
                  </a:lnTo>
                  <a:lnTo>
                    <a:pt x="364" y="64"/>
                  </a:lnTo>
                  <a:lnTo>
                    <a:pt x="366" y="64"/>
                  </a:lnTo>
                  <a:lnTo>
                    <a:pt x="366" y="64"/>
                  </a:lnTo>
                  <a:lnTo>
                    <a:pt x="366" y="64"/>
                  </a:lnTo>
                  <a:lnTo>
                    <a:pt x="368" y="62"/>
                  </a:lnTo>
                  <a:lnTo>
                    <a:pt x="371" y="62"/>
                  </a:lnTo>
                  <a:lnTo>
                    <a:pt x="375" y="64"/>
                  </a:lnTo>
                  <a:lnTo>
                    <a:pt x="378" y="64"/>
                  </a:lnTo>
                  <a:lnTo>
                    <a:pt x="378" y="62"/>
                  </a:lnTo>
                  <a:lnTo>
                    <a:pt x="375" y="59"/>
                  </a:lnTo>
                  <a:lnTo>
                    <a:pt x="375" y="57"/>
                  </a:lnTo>
                  <a:lnTo>
                    <a:pt x="378" y="55"/>
                  </a:lnTo>
                  <a:lnTo>
                    <a:pt x="378" y="55"/>
                  </a:lnTo>
                  <a:lnTo>
                    <a:pt x="380" y="55"/>
                  </a:lnTo>
                  <a:lnTo>
                    <a:pt x="380" y="59"/>
                  </a:lnTo>
                  <a:lnTo>
                    <a:pt x="383" y="59"/>
                  </a:lnTo>
                  <a:lnTo>
                    <a:pt x="383" y="59"/>
                  </a:lnTo>
                  <a:lnTo>
                    <a:pt x="385" y="59"/>
                  </a:lnTo>
                  <a:lnTo>
                    <a:pt x="385" y="55"/>
                  </a:lnTo>
                  <a:lnTo>
                    <a:pt x="387" y="52"/>
                  </a:lnTo>
                  <a:lnTo>
                    <a:pt x="387" y="50"/>
                  </a:lnTo>
                  <a:lnTo>
                    <a:pt x="390" y="48"/>
                  </a:lnTo>
                  <a:lnTo>
                    <a:pt x="390" y="48"/>
                  </a:lnTo>
                  <a:lnTo>
                    <a:pt x="390" y="50"/>
                  </a:lnTo>
                  <a:lnTo>
                    <a:pt x="392" y="52"/>
                  </a:lnTo>
                  <a:lnTo>
                    <a:pt x="394" y="55"/>
                  </a:lnTo>
                  <a:lnTo>
                    <a:pt x="394" y="55"/>
                  </a:lnTo>
                  <a:lnTo>
                    <a:pt x="397" y="55"/>
                  </a:lnTo>
                  <a:lnTo>
                    <a:pt x="399" y="52"/>
                  </a:lnTo>
                  <a:lnTo>
                    <a:pt x="399" y="52"/>
                  </a:lnTo>
                  <a:lnTo>
                    <a:pt x="401" y="52"/>
                  </a:lnTo>
                  <a:lnTo>
                    <a:pt x="404" y="52"/>
                  </a:lnTo>
                  <a:lnTo>
                    <a:pt x="406" y="50"/>
                  </a:lnTo>
                  <a:lnTo>
                    <a:pt x="406" y="50"/>
                  </a:lnTo>
                  <a:lnTo>
                    <a:pt x="406" y="48"/>
                  </a:lnTo>
                  <a:lnTo>
                    <a:pt x="404" y="45"/>
                  </a:lnTo>
                  <a:lnTo>
                    <a:pt x="404" y="45"/>
                  </a:lnTo>
                  <a:lnTo>
                    <a:pt x="404" y="45"/>
                  </a:lnTo>
                  <a:lnTo>
                    <a:pt x="408" y="45"/>
                  </a:lnTo>
                  <a:lnTo>
                    <a:pt x="408" y="43"/>
                  </a:lnTo>
                  <a:lnTo>
                    <a:pt x="411" y="43"/>
                  </a:lnTo>
                  <a:lnTo>
                    <a:pt x="411" y="43"/>
                  </a:lnTo>
                  <a:lnTo>
                    <a:pt x="413" y="43"/>
                  </a:lnTo>
                  <a:lnTo>
                    <a:pt x="413" y="45"/>
                  </a:lnTo>
                  <a:lnTo>
                    <a:pt x="416" y="48"/>
                  </a:lnTo>
                  <a:lnTo>
                    <a:pt x="418" y="50"/>
                  </a:lnTo>
                  <a:lnTo>
                    <a:pt x="418" y="50"/>
                  </a:lnTo>
                  <a:lnTo>
                    <a:pt x="420" y="50"/>
                  </a:lnTo>
                  <a:lnTo>
                    <a:pt x="420" y="48"/>
                  </a:lnTo>
                  <a:lnTo>
                    <a:pt x="420" y="45"/>
                  </a:lnTo>
                  <a:lnTo>
                    <a:pt x="420" y="43"/>
                  </a:lnTo>
                  <a:lnTo>
                    <a:pt x="420" y="43"/>
                  </a:lnTo>
                  <a:lnTo>
                    <a:pt x="420" y="43"/>
                  </a:lnTo>
                  <a:lnTo>
                    <a:pt x="423" y="43"/>
                  </a:lnTo>
                  <a:lnTo>
                    <a:pt x="423" y="45"/>
                  </a:lnTo>
                  <a:lnTo>
                    <a:pt x="425" y="48"/>
                  </a:lnTo>
                  <a:lnTo>
                    <a:pt x="427" y="48"/>
                  </a:lnTo>
                  <a:lnTo>
                    <a:pt x="430" y="45"/>
                  </a:lnTo>
                  <a:lnTo>
                    <a:pt x="430" y="43"/>
                  </a:lnTo>
                  <a:lnTo>
                    <a:pt x="430" y="41"/>
                  </a:lnTo>
                  <a:lnTo>
                    <a:pt x="430" y="41"/>
                  </a:lnTo>
                  <a:lnTo>
                    <a:pt x="432" y="41"/>
                  </a:lnTo>
                  <a:lnTo>
                    <a:pt x="434" y="41"/>
                  </a:lnTo>
                  <a:lnTo>
                    <a:pt x="437" y="38"/>
                  </a:lnTo>
                  <a:lnTo>
                    <a:pt x="437" y="36"/>
                  </a:lnTo>
                  <a:lnTo>
                    <a:pt x="437" y="33"/>
                  </a:lnTo>
                  <a:lnTo>
                    <a:pt x="437" y="31"/>
                  </a:lnTo>
                  <a:lnTo>
                    <a:pt x="439" y="29"/>
                  </a:lnTo>
                  <a:lnTo>
                    <a:pt x="439" y="26"/>
                  </a:lnTo>
                  <a:lnTo>
                    <a:pt x="439" y="24"/>
                  </a:lnTo>
                  <a:lnTo>
                    <a:pt x="442" y="22"/>
                  </a:lnTo>
                  <a:lnTo>
                    <a:pt x="442" y="22"/>
                  </a:lnTo>
                  <a:lnTo>
                    <a:pt x="442" y="24"/>
                  </a:lnTo>
                  <a:lnTo>
                    <a:pt x="442" y="24"/>
                  </a:lnTo>
                  <a:lnTo>
                    <a:pt x="442" y="26"/>
                  </a:lnTo>
                  <a:lnTo>
                    <a:pt x="444" y="29"/>
                  </a:lnTo>
                  <a:lnTo>
                    <a:pt x="446" y="29"/>
                  </a:lnTo>
                  <a:lnTo>
                    <a:pt x="449" y="29"/>
                  </a:lnTo>
                  <a:lnTo>
                    <a:pt x="449" y="29"/>
                  </a:lnTo>
                  <a:lnTo>
                    <a:pt x="453" y="29"/>
                  </a:lnTo>
                  <a:lnTo>
                    <a:pt x="453" y="26"/>
                  </a:lnTo>
                  <a:lnTo>
                    <a:pt x="456" y="24"/>
                  </a:lnTo>
                  <a:lnTo>
                    <a:pt x="458" y="22"/>
                  </a:lnTo>
                  <a:lnTo>
                    <a:pt x="460" y="19"/>
                  </a:lnTo>
                  <a:lnTo>
                    <a:pt x="460" y="17"/>
                  </a:lnTo>
                  <a:lnTo>
                    <a:pt x="460" y="15"/>
                  </a:lnTo>
                  <a:lnTo>
                    <a:pt x="465" y="15"/>
                  </a:lnTo>
                  <a:lnTo>
                    <a:pt x="465" y="15"/>
                  </a:lnTo>
                  <a:lnTo>
                    <a:pt x="468" y="15"/>
                  </a:lnTo>
                  <a:lnTo>
                    <a:pt x="468" y="12"/>
                  </a:lnTo>
                  <a:lnTo>
                    <a:pt x="468" y="10"/>
                  </a:lnTo>
                  <a:lnTo>
                    <a:pt x="468" y="10"/>
                  </a:lnTo>
                  <a:lnTo>
                    <a:pt x="470" y="10"/>
                  </a:lnTo>
                  <a:lnTo>
                    <a:pt x="472" y="10"/>
                  </a:lnTo>
                  <a:lnTo>
                    <a:pt x="472" y="12"/>
                  </a:lnTo>
                  <a:lnTo>
                    <a:pt x="475" y="12"/>
                  </a:lnTo>
                  <a:lnTo>
                    <a:pt x="477" y="10"/>
                  </a:lnTo>
                  <a:lnTo>
                    <a:pt x="477" y="8"/>
                  </a:lnTo>
                  <a:lnTo>
                    <a:pt x="477" y="5"/>
                  </a:lnTo>
                  <a:lnTo>
                    <a:pt x="482" y="5"/>
                  </a:lnTo>
                  <a:lnTo>
                    <a:pt x="482" y="10"/>
                  </a:lnTo>
                  <a:lnTo>
                    <a:pt x="484" y="12"/>
                  </a:lnTo>
                  <a:lnTo>
                    <a:pt x="484" y="12"/>
                  </a:lnTo>
                  <a:lnTo>
                    <a:pt x="484" y="12"/>
                  </a:lnTo>
                  <a:lnTo>
                    <a:pt x="486" y="12"/>
                  </a:lnTo>
                  <a:lnTo>
                    <a:pt x="486" y="12"/>
                  </a:lnTo>
                  <a:lnTo>
                    <a:pt x="486" y="12"/>
                  </a:lnTo>
                  <a:lnTo>
                    <a:pt x="491" y="8"/>
                  </a:lnTo>
                  <a:lnTo>
                    <a:pt x="494" y="10"/>
                  </a:lnTo>
                  <a:lnTo>
                    <a:pt x="494" y="15"/>
                  </a:lnTo>
                  <a:lnTo>
                    <a:pt x="496" y="15"/>
                  </a:lnTo>
                  <a:lnTo>
                    <a:pt x="498" y="12"/>
                  </a:lnTo>
                  <a:lnTo>
                    <a:pt x="498" y="12"/>
                  </a:lnTo>
                  <a:lnTo>
                    <a:pt x="501" y="12"/>
                  </a:lnTo>
                  <a:lnTo>
                    <a:pt x="501" y="12"/>
                  </a:lnTo>
                  <a:lnTo>
                    <a:pt x="503" y="10"/>
                  </a:lnTo>
                  <a:lnTo>
                    <a:pt x="503" y="10"/>
                  </a:lnTo>
                  <a:lnTo>
                    <a:pt x="505" y="10"/>
                  </a:lnTo>
                  <a:lnTo>
                    <a:pt x="505" y="12"/>
                  </a:lnTo>
                  <a:lnTo>
                    <a:pt x="505" y="12"/>
                  </a:lnTo>
                  <a:lnTo>
                    <a:pt x="508" y="12"/>
                  </a:lnTo>
                  <a:lnTo>
                    <a:pt x="508" y="15"/>
                  </a:lnTo>
                  <a:lnTo>
                    <a:pt x="508" y="17"/>
                  </a:lnTo>
                  <a:lnTo>
                    <a:pt x="508" y="17"/>
                  </a:lnTo>
                  <a:lnTo>
                    <a:pt x="510" y="17"/>
                  </a:lnTo>
                  <a:lnTo>
                    <a:pt x="510" y="15"/>
                  </a:lnTo>
                  <a:lnTo>
                    <a:pt x="512" y="15"/>
                  </a:lnTo>
                  <a:lnTo>
                    <a:pt x="512" y="15"/>
                  </a:lnTo>
                  <a:lnTo>
                    <a:pt x="515" y="15"/>
                  </a:lnTo>
                  <a:lnTo>
                    <a:pt x="517" y="12"/>
                  </a:lnTo>
                  <a:lnTo>
                    <a:pt x="520" y="12"/>
                  </a:lnTo>
                  <a:lnTo>
                    <a:pt x="520" y="12"/>
                  </a:lnTo>
                  <a:lnTo>
                    <a:pt x="522" y="15"/>
                  </a:lnTo>
                  <a:lnTo>
                    <a:pt x="524" y="15"/>
                  </a:lnTo>
                  <a:lnTo>
                    <a:pt x="524" y="15"/>
                  </a:lnTo>
                  <a:lnTo>
                    <a:pt x="527" y="15"/>
                  </a:lnTo>
                  <a:lnTo>
                    <a:pt x="527" y="15"/>
                  </a:lnTo>
                  <a:lnTo>
                    <a:pt x="527" y="12"/>
                  </a:lnTo>
                  <a:lnTo>
                    <a:pt x="527" y="12"/>
                  </a:lnTo>
                  <a:lnTo>
                    <a:pt x="524" y="10"/>
                  </a:lnTo>
                  <a:lnTo>
                    <a:pt x="524" y="10"/>
                  </a:lnTo>
                  <a:lnTo>
                    <a:pt x="524" y="8"/>
                  </a:lnTo>
                  <a:lnTo>
                    <a:pt x="524" y="8"/>
                  </a:lnTo>
                  <a:lnTo>
                    <a:pt x="527" y="8"/>
                  </a:lnTo>
                  <a:lnTo>
                    <a:pt x="527" y="8"/>
                  </a:lnTo>
                  <a:lnTo>
                    <a:pt x="529" y="8"/>
                  </a:lnTo>
                  <a:lnTo>
                    <a:pt x="529" y="8"/>
                  </a:lnTo>
                  <a:lnTo>
                    <a:pt x="531" y="10"/>
                  </a:lnTo>
                  <a:lnTo>
                    <a:pt x="538" y="8"/>
                  </a:lnTo>
                  <a:lnTo>
                    <a:pt x="538" y="5"/>
                  </a:lnTo>
                  <a:lnTo>
                    <a:pt x="538" y="3"/>
                  </a:lnTo>
                  <a:lnTo>
                    <a:pt x="541" y="3"/>
                  </a:lnTo>
                  <a:lnTo>
                    <a:pt x="541" y="3"/>
                  </a:lnTo>
                  <a:lnTo>
                    <a:pt x="543" y="0"/>
                  </a:lnTo>
                  <a:lnTo>
                    <a:pt x="543" y="3"/>
                  </a:lnTo>
                  <a:lnTo>
                    <a:pt x="543" y="3"/>
                  </a:lnTo>
                  <a:lnTo>
                    <a:pt x="546" y="5"/>
                  </a:lnTo>
                  <a:lnTo>
                    <a:pt x="546" y="5"/>
                  </a:lnTo>
                  <a:lnTo>
                    <a:pt x="548" y="5"/>
                  </a:lnTo>
                  <a:lnTo>
                    <a:pt x="548" y="5"/>
                  </a:lnTo>
                  <a:lnTo>
                    <a:pt x="550" y="5"/>
                  </a:lnTo>
                  <a:lnTo>
                    <a:pt x="550" y="5"/>
                  </a:lnTo>
                  <a:lnTo>
                    <a:pt x="550" y="5"/>
                  </a:lnTo>
                  <a:lnTo>
                    <a:pt x="553" y="5"/>
                  </a:lnTo>
                  <a:lnTo>
                    <a:pt x="553" y="8"/>
                  </a:lnTo>
                  <a:lnTo>
                    <a:pt x="553" y="8"/>
                  </a:lnTo>
                  <a:lnTo>
                    <a:pt x="553" y="8"/>
                  </a:lnTo>
                  <a:lnTo>
                    <a:pt x="550" y="10"/>
                  </a:lnTo>
                  <a:lnTo>
                    <a:pt x="548" y="15"/>
                  </a:lnTo>
                  <a:lnTo>
                    <a:pt x="548" y="15"/>
                  </a:lnTo>
                  <a:lnTo>
                    <a:pt x="548" y="17"/>
                  </a:lnTo>
                  <a:lnTo>
                    <a:pt x="548" y="17"/>
                  </a:lnTo>
                  <a:lnTo>
                    <a:pt x="550" y="17"/>
                  </a:lnTo>
                  <a:lnTo>
                    <a:pt x="550" y="17"/>
                  </a:lnTo>
                  <a:lnTo>
                    <a:pt x="553" y="15"/>
                  </a:lnTo>
                  <a:lnTo>
                    <a:pt x="557" y="12"/>
                  </a:lnTo>
                  <a:lnTo>
                    <a:pt x="560" y="12"/>
                  </a:lnTo>
                  <a:lnTo>
                    <a:pt x="560" y="12"/>
                  </a:lnTo>
                  <a:lnTo>
                    <a:pt x="564" y="15"/>
                  </a:lnTo>
                  <a:lnTo>
                    <a:pt x="567" y="15"/>
                  </a:lnTo>
                  <a:lnTo>
                    <a:pt x="567" y="12"/>
                  </a:lnTo>
                  <a:lnTo>
                    <a:pt x="567" y="8"/>
                  </a:lnTo>
                  <a:lnTo>
                    <a:pt x="567" y="8"/>
                  </a:lnTo>
                  <a:lnTo>
                    <a:pt x="569" y="8"/>
                  </a:lnTo>
                  <a:lnTo>
                    <a:pt x="569" y="8"/>
                  </a:lnTo>
                  <a:lnTo>
                    <a:pt x="569" y="8"/>
                  </a:lnTo>
                  <a:lnTo>
                    <a:pt x="571" y="12"/>
                  </a:lnTo>
                  <a:lnTo>
                    <a:pt x="571" y="12"/>
                  </a:lnTo>
                  <a:lnTo>
                    <a:pt x="574" y="12"/>
                  </a:lnTo>
                  <a:lnTo>
                    <a:pt x="576" y="12"/>
                  </a:lnTo>
                  <a:lnTo>
                    <a:pt x="581" y="10"/>
                  </a:lnTo>
                  <a:lnTo>
                    <a:pt x="581" y="8"/>
                  </a:lnTo>
                  <a:lnTo>
                    <a:pt x="581" y="8"/>
                  </a:lnTo>
                  <a:lnTo>
                    <a:pt x="579" y="5"/>
                  </a:lnTo>
                  <a:lnTo>
                    <a:pt x="579" y="3"/>
                  </a:lnTo>
                  <a:lnTo>
                    <a:pt x="579" y="3"/>
                  </a:lnTo>
                  <a:lnTo>
                    <a:pt x="583" y="0"/>
                  </a:lnTo>
                  <a:lnTo>
                    <a:pt x="583" y="0"/>
                  </a:lnTo>
                  <a:lnTo>
                    <a:pt x="586" y="0"/>
                  </a:lnTo>
                  <a:lnTo>
                    <a:pt x="586" y="0"/>
                  </a:lnTo>
                  <a:lnTo>
                    <a:pt x="588" y="0"/>
                  </a:lnTo>
                  <a:lnTo>
                    <a:pt x="586" y="3"/>
                  </a:lnTo>
                  <a:lnTo>
                    <a:pt x="583" y="5"/>
                  </a:lnTo>
                  <a:lnTo>
                    <a:pt x="583" y="8"/>
                  </a:lnTo>
                  <a:lnTo>
                    <a:pt x="586" y="10"/>
                  </a:lnTo>
                  <a:lnTo>
                    <a:pt x="586" y="10"/>
                  </a:lnTo>
                  <a:lnTo>
                    <a:pt x="588" y="8"/>
                  </a:lnTo>
                  <a:lnTo>
                    <a:pt x="590" y="8"/>
                  </a:lnTo>
                  <a:lnTo>
                    <a:pt x="590" y="8"/>
                  </a:lnTo>
                  <a:lnTo>
                    <a:pt x="593" y="8"/>
                  </a:lnTo>
                  <a:lnTo>
                    <a:pt x="593" y="10"/>
                  </a:lnTo>
                  <a:lnTo>
                    <a:pt x="590" y="12"/>
                  </a:lnTo>
                  <a:lnTo>
                    <a:pt x="588" y="15"/>
                  </a:lnTo>
                  <a:lnTo>
                    <a:pt x="588" y="17"/>
                  </a:lnTo>
                  <a:lnTo>
                    <a:pt x="590" y="17"/>
                  </a:lnTo>
                  <a:lnTo>
                    <a:pt x="590" y="17"/>
                  </a:lnTo>
                  <a:lnTo>
                    <a:pt x="593" y="17"/>
                  </a:lnTo>
                  <a:lnTo>
                    <a:pt x="593" y="17"/>
                  </a:lnTo>
                  <a:lnTo>
                    <a:pt x="593" y="12"/>
                  </a:lnTo>
                  <a:lnTo>
                    <a:pt x="595" y="10"/>
                  </a:lnTo>
                  <a:lnTo>
                    <a:pt x="595" y="10"/>
                  </a:lnTo>
                  <a:lnTo>
                    <a:pt x="597" y="12"/>
                  </a:lnTo>
                  <a:lnTo>
                    <a:pt x="597" y="15"/>
                  </a:lnTo>
                  <a:lnTo>
                    <a:pt x="597" y="15"/>
                  </a:lnTo>
                  <a:lnTo>
                    <a:pt x="600" y="15"/>
                  </a:lnTo>
                  <a:lnTo>
                    <a:pt x="602" y="15"/>
                  </a:lnTo>
                  <a:lnTo>
                    <a:pt x="605" y="15"/>
                  </a:lnTo>
                  <a:lnTo>
                    <a:pt x="605" y="12"/>
                  </a:lnTo>
                  <a:lnTo>
                    <a:pt x="607" y="12"/>
                  </a:lnTo>
                  <a:lnTo>
                    <a:pt x="607" y="12"/>
                  </a:lnTo>
                  <a:lnTo>
                    <a:pt x="609" y="12"/>
                  </a:lnTo>
                  <a:lnTo>
                    <a:pt x="609" y="15"/>
                  </a:lnTo>
                  <a:lnTo>
                    <a:pt x="609" y="17"/>
                  </a:lnTo>
                  <a:lnTo>
                    <a:pt x="609" y="17"/>
                  </a:lnTo>
                  <a:lnTo>
                    <a:pt x="612" y="17"/>
                  </a:lnTo>
                  <a:lnTo>
                    <a:pt x="612" y="15"/>
                  </a:lnTo>
                  <a:lnTo>
                    <a:pt x="614" y="15"/>
                  </a:lnTo>
                  <a:lnTo>
                    <a:pt x="614" y="15"/>
                  </a:lnTo>
                  <a:lnTo>
                    <a:pt x="616" y="15"/>
                  </a:lnTo>
                  <a:lnTo>
                    <a:pt x="616" y="17"/>
                  </a:lnTo>
                  <a:lnTo>
                    <a:pt x="619" y="17"/>
                  </a:lnTo>
                  <a:lnTo>
                    <a:pt x="619" y="17"/>
                  </a:lnTo>
                  <a:lnTo>
                    <a:pt x="619" y="17"/>
                  </a:lnTo>
                  <a:lnTo>
                    <a:pt x="621" y="17"/>
                  </a:lnTo>
                  <a:lnTo>
                    <a:pt x="621" y="17"/>
                  </a:lnTo>
                  <a:lnTo>
                    <a:pt x="619" y="22"/>
                  </a:lnTo>
                  <a:lnTo>
                    <a:pt x="619" y="22"/>
                  </a:lnTo>
                  <a:lnTo>
                    <a:pt x="621" y="22"/>
                  </a:lnTo>
                  <a:lnTo>
                    <a:pt x="621" y="24"/>
                  </a:lnTo>
                  <a:lnTo>
                    <a:pt x="621" y="22"/>
                  </a:lnTo>
                  <a:lnTo>
                    <a:pt x="623" y="22"/>
                  </a:lnTo>
                  <a:lnTo>
                    <a:pt x="623" y="19"/>
                  </a:lnTo>
                  <a:lnTo>
                    <a:pt x="626" y="19"/>
                  </a:lnTo>
                  <a:lnTo>
                    <a:pt x="626" y="22"/>
                  </a:lnTo>
                  <a:lnTo>
                    <a:pt x="626" y="24"/>
                  </a:lnTo>
                  <a:lnTo>
                    <a:pt x="626" y="24"/>
                  </a:lnTo>
                  <a:lnTo>
                    <a:pt x="628" y="26"/>
                  </a:lnTo>
                  <a:lnTo>
                    <a:pt x="628" y="26"/>
                  </a:lnTo>
                  <a:lnTo>
                    <a:pt x="631" y="24"/>
                  </a:lnTo>
                  <a:lnTo>
                    <a:pt x="631" y="22"/>
                  </a:lnTo>
                  <a:lnTo>
                    <a:pt x="631" y="22"/>
                  </a:lnTo>
                  <a:lnTo>
                    <a:pt x="633" y="22"/>
                  </a:lnTo>
                  <a:lnTo>
                    <a:pt x="633" y="22"/>
                  </a:lnTo>
                  <a:lnTo>
                    <a:pt x="635" y="24"/>
                  </a:lnTo>
                  <a:lnTo>
                    <a:pt x="635" y="24"/>
                  </a:lnTo>
                  <a:lnTo>
                    <a:pt x="638" y="24"/>
                  </a:lnTo>
                  <a:lnTo>
                    <a:pt x="638" y="24"/>
                  </a:lnTo>
                  <a:lnTo>
                    <a:pt x="640" y="22"/>
                  </a:lnTo>
                  <a:lnTo>
                    <a:pt x="642" y="22"/>
                  </a:lnTo>
                  <a:lnTo>
                    <a:pt x="645" y="22"/>
                  </a:lnTo>
                  <a:lnTo>
                    <a:pt x="645" y="22"/>
                  </a:lnTo>
                  <a:lnTo>
                    <a:pt x="647" y="22"/>
                  </a:lnTo>
                  <a:lnTo>
                    <a:pt x="649" y="24"/>
                  </a:lnTo>
                  <a:lnTo>
                    <a:pt x="652" y="24"/>
                  </a:lnTo>
                  <a:lnTo>
                    <a:pt x="657" y="24"/>
                  </a:lnTo>
                  <a:lnTo>
                    <a:pt x="657" y="24"/>
                  </a:lnTo>
                  <a:lnTo>
                    <a:pt x="657" y="22"/>
                  </a:lnTo>
                  <a:lnTo>
                    <a:pt x="657" y="22"/>
                  </a:lnTo>
                  <a:lnTo>
                    <a:pt x="657" y="19"/>
                  </a:lnTo>
                  <a:lnTo>
                    <a:pt x="659" y="17"/>
                  </a:lnTo>
                  <a:lnTo>
                    <a:pt x="661" y="17"/>
                  </a:lnTo>
                  <a:lnTo>
                    <a:pt x="661" y="17"/>
                  </a:lnTo>
                  <a:lnTo>
                    <a:pt x="661" y="17"/>
                  </a:lnTo>
                  <a:lnTo>
                    <a:pt x="661" y="22"/>
                  </a:lnTo>
                  <a:lnTo>
                    <a:pt x="661" y="22"/>
                  </a:lnTo>
                  <a:lnTo>
                    <a:pt x="661" y="24"/>
                  </a:lnTo>
                  <a:lnTo>
                    <a:pt x="664" y="26"/>
                  </a:lnTo>
                  <a:lnTo>
                    <a:pt x="664" y="26"/>
                  </a:lnTo>
                  <a:lnTo>
                    <a:pt x="666" y="26"/>
                  </a:lnTo>
                  <a:lnTo>
                    <a:pt x="666" y="26"/>
                  </a:lnTo>
                  <a:lnTo>
                    <a:pt x="666" y="26"/>
                  </a:lnTo>
                  <a:lnTo>
                    <a:pt x="666" y="24"/>
                  </a:lnTo>
                  <a:lnTo>
                    <a:pt x="666" y="22"/>
                  </a:lnTo>
                  <a:lnTo>
                    <a:pt x="666" y="22"/>
                  </a:lnTo>
                  <a:lnTo>
                    <a:pt x="668" y="22"/>
                  </a:lnTo>
                  <a:lnTo>
                    <a:pt x="668" y="24"/>
                  </a:lnTo>
                  <a:lnTo>
                    <a:pt x="668" y="24"/>
                  </a:lnTo>
                  <a:lnTo>
                    <a:pt x="668" y="26"/>
                  </a:lnTo>
                  <a:lnTo>
                    <a:pt x="668" y="29"/>
                  </a:lnTo>
                  <a:lnTo>
                    <a:pt x="671" y="29"/>
                  </a:lnTo>
                  <a:lnTo>
                    <a:pt x="671" y="26"/>
                  </a:lnTo>
                  <a:lnTo>
                    <a:pt x="673" y="26"/>
                  </a:lnTo>
                  <a:lnTo>
                    <a:pt x="675" y="29"/>
                  </a:lnTo>
                  <a:lnTo>
                    <a:pt x="675" y="29"/>
                  </a:lnTo>
                  <a:lnTo>
                    <a:pt x="678" y="31"/>
                  </a:lnTo>
                  <a:lnTo>
                    <a:pt x="678" y="31"/>
                  </a:lnTo>
                  <a:lnTo>
                    <a:pt x="678" y="31"/>
                  </a:lnTo>
                  <a:lnTo>
                    <a:pt x="680" y="29"/>
                  </a:lnTo>
                  <a:lnTo>
                    <a:pt x="678" y="26"/>
                  </a:lnTo>
                  <a:lnTo>
                    <a:pt x="678" y="26"/>
                  </a:lnTo>
                  <a:lnTo>
                    <a:pt x="678" y="24"/>
                  </a:lnTo>
                  <a:lnTo>
                    <a:pt x="678" y="24"/>
                  </a:lnTo>
                  <a:lnTo>
                    <a:pt x="678" y="24"/>
                  </a:lnTo>
                  <a:lnTo>
                    <a:pt x="680" y="24"/>
                  </a:lnTo>
                  <a:lnTo>
                    <a:pt x="683" y="24"/>
                  </a:lnTo>
                  <a:lnTo>
                    <a:pt x="685" y="22"/>
                  </a:lnTo>
                  <a:lnTo>
                    <a:pt x="687" y="24"/>
                  </a:lnTo>
                  <a:lnTo>
                    <a:pt x="685" y="24"/>
                  </a:lnTo>
                  <a:lnTo>
                    <a:pt x="683" y="26"/>
                  </a:lnTo>
                  <a:lnTo>
                    <a:pt x="680" y="26"/>
                  </a:lnTo>
                  <a:lnTo>
                    <a:pt x="680" y="29"/>
                  </a:lnTo>
                  <a:lnTo>
                    <a:pt x="685" y="29"/>
                  </a:lnTo>
                  <a:lnTo>
                    <a:pt x="685" y="29"/>
                  </a:lnTo>
                  <a:lnTo>
                    <a:pt x="687" y="31"/>
                  </a:lnTo>
                  <a:lnTo>
                    <a:pt x="687" y="31"/>
                  </a:lnTo>
                  <a:lnTo>
                    <a:pt x="687" y="33"/>
                  </a:lnTo>
                  <a:lnTo>
                    <a:pt x="690" y="33"/>
                  </a:lnTo>
                  <a:lnTo>
                    <a:pt x="690" y="31"/>
                  </a:lnTo>
                  <a:lnTo>
                    <a:pt x="690" y="31"/>
                  </a:lnTo>
                  <a:lnTo>
                    <a:pt x="692" y="26"/>
                  </a:lnTo>
                  <a:lnTo>
                    <a:pt x="694" y="26"/>
                  </a:lnTo>
                  <a:lnTo>
                    <a:pt x="694" y="24"/>
                  </a:lnTo>
                  <a:lnTo>
                    <a:pt x="694" y="24"/>
                  </a:lnTo>
                  <a:lnTo>
                    <a:pt x="697" y="26"/>
                  </a:lnTo>
                  <a:lnTo>
                    <a:pt x="694" y="31"/>
                  </a:lnTo>
                  <a:lnTo>
                    <a:pt x="697" y="31"/>
                  </a:lnTo>
                  <a:lnTo>
                    <a:pt x="697" y="31"/>
                  </a:lnTo>
                  <a:lnTo>
                    <a:pt x="699" y="29"/>
                  </a:lnTo>
                  <a:lnTo>
                    <a:pt x="699" y="29"/>
                  </a:lnTo>
                  <a:lnTo>
                    <a:pt x="701" y="29"/>
                  </a:lnTo>
                  <a:lnTo>
                    <a:pt x="704" y="29"/>
                  </a:lnTo>
                  <a:lnTo>
                    <a:pt x="704" y="31"/>
                  </a:lnTo>
                  <a:lnTo>
                    <a:pt x="704" y="31"/>
                  </a:lnTo>
                  <a:lnTo>
                    <a:pt x="704" y="33"/>
                  </a:lnTo>
                  <a:lnTo>
                    <a:pt x="704" y="33"/>
                  </a:lnTo>
                  <a:lnTo>
                    <a:pt x="706" y="33"/>
                  </a:lnTo>
                  <a:lnTo>
                    <a:pt x="706" y="33"/>
                  </a:lnTo>
                  <a:lnTo>
                    <a:pt x="709" y="33"/>
                  </a:lnTo>
                  <a:lnTo>
                    <a:pt x="711" y="33"/>
                  </a:lnTo>
                  <a:lnTo>
                    <a:pt x="711" y="33"/>
                  </a:lnTo>
                  <a:lnTo>
                    <a:pt x="713" y="33"/>
                  </a:lnTo>
                  <a:lnTo>
                    <a:pt x="716" y="33"/>
                  </a:lnTo>
                  <a:lnTo>
                    <a:pt x="716" y="33"/>
                  </a:lnTo>
                  <a:lnTo>
                    <a:pt x="713" y="36"/>
                  </a:lnTo>
                  <a:lnTo>
                    <a:pt x="713" y="36"/>
                  </a:lnTo>
                  <a:lnTo>
                    <a:pt x="713" y="36"/>
                  </a:lnTo>
                  <a:lnTo>
                    <a:pt x="716" y="38"/>
                  </a:lnTo>
                  <a:lnTo>
                    <a:pt x="716" y="38"/>
                  </a:lnTo>
                  <a:lnTo>
                    <a:pt x="718" y="38"/>
                  </a:lnTo>
                  <a:lnTo>
                    <a:pt x="720" y="38"/>
                  </a:lnTo>
                  <a:lnTo>
                    <a:pt x="723" y="38"/>
                  </a:lnTo>
                  <a:lnTo>
                    <a:pt x="723" y="41"/>
                  </a:lnTo>
                  <a:lnTo>
                    <a:pt x="723" y="41"/>
                  </a:lnTo>
                  <a:lnTo>
                    <a:pt x="718" y="41"/>
                  </a:lnTo>
                  <a:lnTo>
                    <a:pt x="716" y="41"/>
                  </a:lnTo>
                  <a:lnTo>
                    <a:pt x="716" y="41"/>
                  </a:lnTo>
                  <a:lnTo>
                    <a:pt x="716" y="41"/>
                  </a:lnTo>
                  <a:lnTo>
                    <a:pt x="716" y="43"/>
                  </a:lnTo>
                  <a:lnTo>
                    <a:pt x="718" y="43"/>
                  </a:lnTo>
                  <a:lnTo>
                    <a:pt x="718" y="43"/>
                  </a:lnTo>
                  <a:lnTo>
                    <a:pt x="723" y="43"/>
                  </a:lnTo>
                  <a:lnTo>
                    <a:pt x="725" y="45"/>
                  </a:lnTo>
                  <a:lnTo>
                    <a:pt x="725" y="45"/>
                  </a:lnTo>
                  <a:lnTo>
                    <a:pt x="725" y="48"/>
                  </a:lnTo>
                  <a:lnTo>
                    <a:pt x="720" y="50"/>
                  </a:lnTo>
                  <a:lnTo>
                    <a:pt x="723" y="50"/>
                  </a:lnTo>
                  <a:lnTo>
                    <a:pt x="723" y="50"/>
                  </a:lnTo>
                  <a:lnTo>
                    <a:pt x="725" y="50"/>
                  </a:lnTo>
                  <a:lnTo>
                    <a:pt x="727" y="50"/>
                  </a:lnTo>
                  <a:lnTo>
                    <a:pt x="727" y="50"/>
                  </a:lnTo>
                  <a:lnTo>
                    <a:pt x="730" y="50"/>
                  </a:lnTo>
                  <a:lnTo>
                    <a:pt x="730" y="55"/>
                  </a:lnTo>
                  <a:lnTo>
                    <a:pt x="730" y="57"/>
                  </a:lnTo>
                  <a:lnTo>
                    <a:pt x="732" y="57"/>
                  </a:lnTo>
                  <a:lnTo>
                    <a:pt x="732" y="55"/>
                  </a:lnTo>
                  <a:lnTo>
                    <a:pt x="732" y="52"/>
                  </a:lnTo>
                  <a:lnTo>
                    <a:pt x="732" y="52"/>
                  </a:lnTo>
                  <a:lnTo>
                    <a:pt x="732" y="52"/>
                  </a:lnTo>
                  <a:lnTo>
                    <a:pt x="734" y="52"/>
                  </a:lnTo>
                  <a:lnTo>
                    <a:pt x="737" y="52"/>
                  </a:lnTo>
                  <a:lnTo>
                    <a:pt x="737" y="52"/>
                  </a:lnTo>
                  <a:lnTo>
                    <a:pt x="734" y="57"/>
                  </a:lnTo>
                  <a:lnTo>
                    <a:pt x="734" y="57"/>
                  </a:lnTo>
                  <a:lnTo>
                    <a:pt x="737" y="57"/>
                  </a:lnTo>
                  <a:lnTo>
                    <a:pt x="739" y="55"/>
                  </a:lnTo>
                  <a:lnTo>
                    <a:pt x="742" y="59"/>
                  </a:lnTo>
                  <a:lnTo>
                    <a:pt x="742" y="59"/>
                  </a:lnTo>
                  <a:lnTo>
                    <a:pt x="744" y="59"/>
                  </a:lnTo>
                  <a:lnTo>
                    <a:pt x="744" y="57"/>
                  </a:lnTo>
                  <a:lnTo>
                    <a:pt x="744" y="57"/>
                  </a:lnTo>
                  <a:lnTo>
                    <a:pt x="742" y="55"/>
                  </a:lnTo>
                  <a:lnTo>
                    <a:pt x="742" y="52"/>
                  </a:lnTo>
                  <a:lnTo>
                    <a:pt x="744" y="52"/>
                  </a:lnTo>
                  <a:lnTo>
                    <a:pt x="749" y="52"/>
                  </a:lnTo>
                  <a:lnTo>
                    <a:pt x="749" y="52"/>
                  </a:lnTo>
                  <a:lnTo>
                    <a:pt x="749" y="55"/>
                  </a:lnTo>
                  <a:lnTo>
                    <a:pt x="751" y="55"/>
                  </a:lnTo>
                  <a:lnTo>
                    <a:pt x="751" y="55"/>
                  </a:lnTo>
                  <a:lnTo>
                    <a:pt x="753" y="55"/>
                  </a:lnTo>
                  <a:lnTo>
                    <a:pt x="753" y="52"/>
                  </a:lnTo>
                  <a:lnTo>
                    <a:pt x="753" y="52"/>
                  </a:lnTo>
                  <a:lnTo>
                    <a:pt x="756" y="52"/>
                  </a:lnTo>
                  <a:lnTo>
                    <a:pt x="758" y="52"/>
                  </a:lnTo>
                  <a:lnTo>
                    <a:pt x="758" y="52"/>
                  </a:lnTo>
                  <a:lnTo>
                    <a:pt x="758" y="55"/>
                  </a:lnTo>
                  <a:lnTo>
                    <a:pt x="758" y="57"/>
                  </a:lnTo>
                  <a:lnTo>
                    <a:pt x="758" y="57"/>
                  </a:lnTo>
                  <a:lnTo>
                    <a:pt x="760" y="57"/>
                  </a:lnTo>
                  <a:lnTo>
                    <a:pt x="760" y="57"/>
                  </a:lnTo>
                  <a:lnTo>
                    <a:pt x="760" y="55"/>
                  </a:lnTo>
                  <a:lnTo>
                    <a:pt x="760" y="52"/>
                  </a:lnTo>
                  <a:lnTo>
                    <a:pt x="763" y="52"/>
                  </a:lnTo>
                  <a:lnTo>
                    <a:pt x="763" y="52"/>
                  </a:lnTo>
                  <a:lnTo>
                    <a:pt x="763" y="55"/>
                  </a:lnTo>
                  <a:lnTo>
                    <a:pt x="765" y="55"/>
                  </a:lnTo>
                  <a:lnTo>
                    <a:pt x="763" y="59"/>
                  </a:lnTo>
                  <a:lnTo>
                    <a:pt x="763" y="59"/>
                  </a:lnTo>
                  <a:lnTo>
                    <a:pt x="765" y="59"/>
                  </a:lnTo>
                  <a:lnTo>
                    <a:pt x="768" y="57"/>
                  </a:lnTo>
                  <a:lnTo>
                    <a:pt x="770" y="57"/>
                  </a:lnTo>
                  <a:lnTo>
                    <a:pt x="770" y="57"/>
                  </a:lnTo>
                  <a:lnTo>
                    <a:pt x="770" y="59"/>
                  </a:lnTo>
                  <a:lnTo>
                    <a:pt x="770" y="59"/>
                  </a:lnTo>
                  <a:lnTo>
                    <a:pt x="770" y="62"/>
                  </a:lnTo>
                  <a:lnTo>
                    <a:pt x="770" y="64"/>
                  </a:lnTo>
                  <a:lnTo>
                    <a:pt x="770" y="64"/>
                  </a:lnTo>
                  <a:lnTo>
                    <a:pt x="772" y="64"/>
                  </a:lnTo>
                  <a:lnTo>
                    <a:pt x="772" y="64"/>
                  </a:lnTo>
                  <a:lnTo>
                    <a:pt x="772" y="62"/>
                  </a:lnTo>
                  <a:lnTo>
                    <a:pt x="772" y="62"/>
                  </a:lnTo>
                  <a:lnTo>
                    <a:pt x="772" y="62"/>
                  </a:lnTo>
                  <a:lnTo>
                    <a:pt x="775" y="62"/>
                  </a:lnTo>
                  <a:lnTo>
                    <a:pt x="779" y="62"/>
                  </a:lnTo>
                  <a:lnTo>
                    <a:pt x="782" y="62"/>
                  </a:lnTo>
                  <a:lnTo>
                    <a:pt x="782" y="64"/>
                  </a:lnTo>
                  <a:lnTo>
                    <a:pt x="782" y="64"/>
                  </a:lnTo>
                  <a:lnTo>
                    <a:pt x="782" y="67"/>
                  </a:lnTo>
                  <a:lnTo>
                    <a:pt x="784" y="69"/>
                  </a:lnTo>
                  <a:lnTo>
                    <a:pt x="784" y="69"/>
                  </a:lnTo>
                  <a:lnTo>
                    <a:pt x="786" y="69"/>
                  </a:lnTo>
                  <a:lnTo>
                    <a:pt x="786" y="69"/>
                  </a:lnTo>
                  <a:lnTo>
                    <a:pt x="789" y="71"/>
                  </a:lnTo>
                  <a:lnTo>
                    <a:pt x="789" y="74"/>
                  </a:lnTo>
                  <a:lnTo>
                    <a:pt x="789" y="76"/>
                  </a:lnTo>
                  <a:lnTo>
                    <a:pt x="789" y="76"/>
                  </a:lnTo>
                  <a:lnTo>
                    <a:pt x="791" y="74"/>
                  </a:lnTo>
                  <a:lnTo>
                    <a:pt x="791" y="71"/>
                  </a:lnTo>
                  <a:lnTo>
                    <a:pt x="791" y="71"/>
                  </a:lnTo>
                  <a:lnTo>
                    <a:pt x="794" y="71"/>
                  </a:lnTo>
                  <a:lnTo>
                    <a:pt x="796" y="71"/>
                  </a:lnTo>
                  <a:lnTo>
                    <a:pt x="796" y="71"/>
                  </a:lnTo>
                  <a:lnTo>
                    <a:pt x="796" y="76"/>
                  </a:lnTo>
                  <a:lnTo>
                    <a:pt x="796" y="76"/>
                  </a:lnTo>
                  <a:lnTo>
                    <a:pt x="798" y="78"/>
                  </a:lnTo>
                  <a:lnTo>
                    <a:pt x="801" y="76"/>
                  </a:lnTo>
                  <a:lnTo>
                    <a:pt x="803" y="78"/>
                  </a:lnTo>
                  <a:lnTo>
                    <a:pt x="803" y="78"/>
                  </a:lnTo>
                  <a:lnTo>
                    <a:pt x="803" y="78"/>
                  </a:lnTo>
                  <a:lnTo>
                    <a:pt x="803" y="81"/>
                  </a:lnTo>
                  <a:lnTo>
                    <a:pt x="805" y="81"/>
                  </a:lnTo>
                  <a:lnTo>
                    <a:pt x="803" y="81"/>
                  </a:lnTo>
                  <a:lnTo>
                    <a:pt x="803" y="83"/>
                  </a:lnTo>
                  <a:lnTo>
                    <a:pt x="805" y="85"/>
                  </a:lnTo>
                  <a:lnTo>
                    <a:pt x="808" y="83"/>
                  </a:lnTo>
                  <a:lnTo>
                    <a:pt x="808" y="85"/>
                  </a:lnTo>
                  <a:lnTo>
                    <a:pt x="808" y="88"/>
                  </a:lnTo>
                  <a:lnTo>
                    <a:pt x="812" y="88"/>
                  </a:lnTo>
                  <a:lnTo>
                    <a:pt x="812" y="90"/>
                  </a:lnTo>
                  <a:lnTo>
                    <a:pt x="812" y="90"/>
                  </a:lnTo>
                  <a:lnTo>
                    <a:pt x="815" y="90"/>
                  </a:lnTo>
                  <a:lnTo>
                    <a:pt x="815" y="90"/>
                  </a:lnTo>
                  <a:lnTo>
                    <a:pt x="817" y="90"/>
                  </a:lnTo>
                  <a:lnTo>
                    <a:pt x="820" y="90"/>
                  </a:lnTo>
                  <a:lnTo>
                    <a:pt x="822" y="93"/>
                  </a:lnTo>
                  <a:lnTo>
                    <a:pt x="824" y="95"/>
                  </a:lnTo>
                  <a:lnTo>
                    <a:pt x="827" y="95"/>
                  </a:lnTo>
                  <a:lnTo>
                    <a:pt x="827" y="95"/>
                  </a:lnTo>
                  <a:lnTo>
                    <a:pt x="827" y="97"/>
                  </a:lnTo>
                  <a:lnTo>
                    <a:pt x="827" y="97"/>
                  </a:lnTo>
                  <a:lnTo>
                    <a:pt x="827" y="97"/>
                  </a:lnTo>
                  <a:lnTo>
                    <a:pt x="831" y="97"/>
                  </a:lnTo>
                  <a:lnTo>
                    <a:pt x="831" y="97"/>
                  </a:lnTo>
                  <a:lnTo>
                    <a:pt x="834" y="97"/>
                  </a:lnTo>
                  <a:lnTo>
                    <a:pt x="834" y="100"/>
                  </a:lnTo>
                  <a:lnTo>
                    <a:pt x="834" y="102"/>
                  </a:lnTo>
                  <a:lnTo>
                    <a:pt x="834" y="102"/>
                  </a:lnTo>
                  <a:lnTo>
                    <a:pt x="836" y="102"/>
                  </a:lnTo>
                  <a:lnTo>
                    <a:pt x="836" y="104"/>
                  </a:lnTo>
                  <a:lnTo>
                    <a:pt x="836" y="104"/>
                  </a:lnTo>
                  <a:lnTo>
                    <a:pt x="836" y="107"/>
                  </a:lnTo>
                  <a:lnTo>
                    <a:pt x="838" y="109"/>
                  </a:lnTo>
                  <a:lnTo>
                    <a:pt x="841" y="109"/>
                  </a:lnTo>
                  <a:lnTo>
                    <a:pt x="841" y="114"/>
                  </a:lnTo>
                  <a:lnTo>
                    <a:pt x="841" y="114"/>
                  </a:lnTo>
                  <a:lnTo>
                    <a:pt x="841" y="114"/>
                  </a:lnTo>
                  <a:lnTo>
                    <a:pt x="841" y="116"/>
                  </a:lnTo>
                  <a:lnTo>
                    <a:pt x="843" y="116"/>
                  </a:lnTo>
                  <a:lnTo>
                    <a:pt x="843" y="114"/>
                  </a:lnTo>
                  <a:lnTo>
                    <a:pt x="846" y="111"/>
                  </a:lnTo>
                  <a:lnTo>
                    <a:pt x="846" y="114"/>
                  </a:lnTo>
                  <a:lnTo>
                    <a:pt x="846" y="114"/>
                  </a:lnTo>
                  <a:lnTo>
                    <a:pt x="850" y="116"/>
                  </a:lnTo>
                  <a:lnTo>
                    <a:pt x="853" y="116"/>
                  </a:lnTo>
                  <a:lnTo>
                    <a:pt x="853" y="116"/>
                  </a:lnTo>
                  <a:lnTo>
                    <a:pt x="853" y="119"/>
                  </a:lnTo>
                  <a:lnTo>
                    <a:pt x="853" y="121"/>
                  </a:lnTo>
                  <a:lnTo>
                    <a:pt x="853" y="121"/>
                  </a:lnTo>
                  <a:lnTo>
                    <a:pt x="857" y="123"/>
                  </a:lnTo>
                  <a:lnTo>
                    <a:pt x="860" y="123"/>
                  </a:lnTo>
                  <a:lnTo>
                    <a:pt x="860" y="126"/>
                  </a:lnTo>
                  <a:lnTo>
                    <a:pt x="860" y="126"/>
                  </a:lnTo>
                  <a:lnTo>
                    <a:pt x="860" y="128"/>
                  </a:lnTo>
                  <a:lnTo>
                    <a:pt x="857" y="128"/>
                  </a:lnTo>
                  <a:lnTo>
                    <a:pt x="855" y="130"/>
                  </a:lnTo>
                  <a:lnTo>
                    <a:pt x="855" y="130"/>
                  </a:lnTo>
                  <a:lnTo>
                    <a:pt x="857" y="133"/>
                  </a:lnTo>
                  <a:lnTo>
                    <a:pt x="860" y="133"/>
                  </a:lnTo>
                  <a:lnTo>
                    <a:pt x="860" y="135"/>
                  </a:lnTo>
                  <a:lnTo>
                    <a:pt x="860" y="137"/>
                  </a:lnTo>
                  <a:lnTo>
                    <a:pt x="860" y="137"/>
                  </a:lnTo>
                  <a:lnTo>
                    <a:pt x="860" y="137"/>
                  </a:lnTo>
                  <a:lnTo>
                    <a:pt x="862" y="137"/>
                  </a:lnTo>
                  <a:lnTo>
                    <a:pt x="864" y="135"/>
                  </a:lnTo>
                  <a:lnTo>
                    <a:pt x="864" y="135"/>
                  </a:lnTo>
                  <a:lnTo>
                    <a:pt x="867" y="137"/>
                  </a:lnTo>
                  <a:lnTo>
                    <a:pt x="867" y="137"/>
                  </a:lnTo>
                  <a:lnTo>
                    <a:pt x="869" y="137"/>
                  </a:lnTo>
                  <a:lnTo>
                    <a:pt x="869" y="137"/>
                  </a:lnTo>
                  <a:lnTo>
                    <a:pt x="872" y="137"/>
                  </a:lnTo>
                  <a:lnTo>
                    <a:pt x="869" y="140"/>
                  </a:lnTo>
                  <a:lnTo>
                    <a:pt x="872" y="142"/>
                  </a:lnTo>
                  <a:lnTo>
                    <a:pt x="869" y="145"/>
                  </a:lnTo>
                  <a:lnTo>
                    <a:pt x="869" y="145"/>
                  </a:lnTo>
                  <a:lnTo>
                    <a:pt x="872" y="147"/>
                  </a:lnTo>
                  <a:lnTo>
                    <a:pt x="872" y="145"/>
                  </a:lnTo>
                  <a:lnTo>
                    <a:pt x="874" y="145"/>
                  </a:lnTo>
                  <a:lnTo>
                    <a:pt x="874" y="147"/>
                  </a:lnTo>
                  <a:lnTo>
                    <a:pt x="874" y="147"/>
                  </a:lnTo>
                  <a:lnTo>
                    <a:pt x="874" y="149"/>
                  </a:lnTo>
                  <a:lnTo>
                    <a:pt x="874" y="152"/>
                  </a:lnTo>
                  <a:lnTo>
                    <a:pt x="874" y="152"/>
                  </a:lnTo>
                  <a:lnTo>
                    <a:pt x="879" y="154"/>
                  </a:lnTo>
                  <a:lnTo>
                    <a:pt x="881" y="154"/>
                  </a:lnTo>
                  <a:lnTo>
                    <a:pt x="881" y="154"/>
                  </a:lnTo>
                  <a:lnTo>
                    <a:pt x="881" y="159"/>
                  </a:lnTo>
                  <a:lnTo>
                    <a:pt x="883" y="159"/>
                  </a:lnTo>
                  <a:lnTo>
                    <a:pt x="883" y="159"/>
                  </a:lnTo>
                  <a:lnTo>
                    <a:pt x="886" y="161"/>
                  </a:lnTo>
                  <a:lnTo>
                    <a:pt x="886" y="163"/>
                  </a:lnTo>
                  <a:lnTo>
                    <a:pt x="888" y="166"/>
                  </a:lnTo>
                  <a:lnTo>
                    <a:pt x="890" y="168"/>
                  </a:lnTo>
                  <a:lnTo>
                    <a:pt x="890" y="171"/>
                  </a:lnTo>
                  <a:lnTo>
                    <a:pt x="890" y="171"/>
                  </a:lnTo>
                  <a:lnTo>
                    <a:pt x="893" y="171"/>
                  </a:lnTo>
                  <a:lnTo>
                    <a:pt x="895" y="171"/>
                  </a:lnTo>
                  <a:lnTo>
                    <a:pt x="895" y="171"/>
                  </a:lnTo>
                  <a:lnTo>
                    <a:pt x="897" y="171"/>
                  </a:lnTo>
                  <a:lnTo>
                    <a:pt x="897" y="173"/>
                  </a:lnTo>
                  <a:lnTo>
                    <a:pt x="900" y="175"/>
                  </a:lnTo>
                  <a:lnTo>
                    <a:pt x="900" y="175"/>
                  </a:lnTo>
                  <a:lnTo>
                    <a:pt x="902" y="175"/>
                  </a:lnTo>
                  <a:lnTo>
                    <a:pt x="902" y="175"/>
                  </a:lnTo>
                  <a:lnTo>
                    <a:pt x="902" y="173"/>
                  </a:lnTo>
                  <a:lnTo>
                    <a:pt x="905" y="173"/>
                  </a:lnTo>
                  <a:lnTo>
                    <a:pt x="905" y="173"/>
                  </a:lnTo>
                  <a:lnTo>
                    <a:pt x="907" y="173"/>
                  </a:lnTo>
                  <a:lnTo>
                    <a:pt x="909" y="173"/>
                  </a:lnTo>
                  <a:lnTo>
                    <a:pt x="912" y="173"/>
                  </a:lnTo>
                  <a:lnTo>
                    <a:pt x="914" y="175"/>
                  </a:lnTo>
                  <a:lnTo>
                    <a:pt x="914" y="178"/>
                  </a:lnTo>
                  <a:lnTo>
                    <a:pt x="916" y="178"/>
                  </a:lnTo>
                  <a:lnTo>
                    <a:pt x="919" y="178"/>
                  </a:lnTo>
                  <a:lnTo>
                    <a:pt x="921" y="178"/>
                  </a:lnTo>
                  <a:lnTo>
                    <a:pt x="921" y="178"/>
                  </a:lnTo>
                  <a:lnTo>
                    <a:pt x="923" y="178"/>
                  </a:lnTo>
                  <a:lnTo>
                    <a:pt x="923" y="175"/>
                  </a:lnTo>
                  <a:lnTo>
                    <a:pt x="923" y="175"/>
                  </a:lnTo>
                  <a:lnTo>
                    <a:pt x="926" y="175"/>
                  </a:lnTo>
                  <a:lnTo>
                    <a:pt x="926" y="175"/>
                  </a:lnTo>
                  <a:lnTo>
                    <a:pt x="926" y="180"/>
                  </a:lnTo>
                  <a:lnTo>
                    <a:pt x="926" y="180"/>
                  </a:lnTo>
                  <a:lnTo>
                    <a:pt x="926" y="180"/>
                  </a:lnTo>
                  <a:lnTo>
                    <a:pt x="928" y="180"/>
                  </a:lnTo>
                  <a:lnTo>
                    <a:pt x="926" y="178"/>
                  </a:lnTo>
                  <a:lnTo>
                    <a:pt x="928" y="178"/>
                  </a:lnTo>
                  <a:lnTo>
                    <a:pt x="928" y="178"/>
                  </a:lnTo>
                  <a:lnTo>
                    <a:pt x="931" y="178"/>
                  </a:lnTo>
                  <a:lnTo>
                    <a:pt x="933" y="178"/>
                  </a:lnTo>
                  <a:lnTo>
                    <a:pt x="933" y="178"/>
                  </a:lnTo>
                  <a:lnTo>
                    <a:pt x="933" y="180"/>
                  </a:lnTo>
                  <a:lnTo>
                    <a:pt x="933" y="180"/>
                  </a:lnTo>
                  <a:lnTo>
                    <a:pt x="935" y="180"/>
                  </a:lnTo>
                  <a:lnTo>
                    <a:pt x="938" y="180"/>
                  </a:lnTo>
                  <a:lnTo>
                    <a:pt x="938" y="178"/>
                  </a:lnTo>
                  <a:lnTo>
                    <a:pt x="938" y="178"/>
                  </a:lnTo>
                  <a:lnTo>
                    <a:pt x="935" y="178"/>
                  </a:lnTo>
                  <a:lnTo>
                    <a:pt x="938" y="175"/>
                  </a:lnTo>
                  <a:lnTo>
                    <a:pt x="938" y="178"/>
                  </a:lnTo>
                  <a:lnTo>
                    <a:pt x="940" y="180"/>
                  </a:lnTo>
                  <a:lnTo>
                    <a:pt x="942" y="180"/>
                  </a:lnTo>
                  <a:lnTo>
                    <a:pt x="942" y="180"/>
                  </a:lnTo>
                  <a:lnTo>
                    <a:pt x="945" y="178"/>
                  </a:lnTo>
                  <a:lnTo>
                    <a:pt x="945" y="178"/>
                  </a:lnTo>
                  <a:lnTo>
                    <a:pt x="945" y="180"/>
                  </a:lnTo>
                  <a:lnTo>
                    <a:pt x="947" y="180"/>
                  </a:lnTo>
                  <a:lnTo>
                    <a:pt x="947" y="180"/>
                  </a:lnTo>
                  <a:lnTo>
                    <a:pt x="949" y="182"/>
                  </a:lnTo>
                  <a:lnTo>
                    <a:pt x="949" y="185"/>
                  </a:lnTo>
                  <a:lnTo>
                    <a:pt x="949" y="185"/>
                  </a:lnTo>
                  <a:lnTo>
                    <a:pt x="952" y="185"/>
                  </a:lnTo>
                  <a:lnTo>
                    <a:pt x="952" y="182"/>
                  </a:lnTo>
                  <a:lnTo>
                    <a:pt x="949" y="180"/>
                  </a:lnTo>
                  <a:lnTo>
                    <a:pt x="952" y="180"/>
                  </a:lnTo>
                  <a:lnTo>
                    <a:pt x="952" y="178"/>
                  </a:lnTo>
                  <a:lnTo>
                    <a:pt x="954" y="178"/>
                  </a:lnTo>
                  <a:lnTo>
                    <a:pt x="954" y="178"/>
                  </a:lnTo>
                  <a:lnTo>
                    <a:pt x="954" y="175"/>
                  </a:lnTo>
                  <a:lnTo>
                    <a:pt x="954" y="178"/>
                  </a:lnTo>
                  <a:lnTo>
                    <a:pt x="957" y="178"/>
                  </a:lnTo>
                  <a:lnTo>
                    <a:pt x="957" y="178"/>
                  </a:lnTo>
                  <a:lnTo>
                    <a:pt x="954" y="180"/>
                  </a:lnTo>
                  <a:lnTo>
                    <a:pt x="954" y="180"/>
                  </a:lnTo>
                  <a:lnTo>
                    <a:pt x="954" y="182"/>
                  </a:lnTo>
                  <a:lnTo>
                    <a:pt x="957" y="182"/>
                  </a:lnTo>
                  <a:lnTo>
                    <a:pt x="957" y="182"/>
                  </a:lnTo>
                  <a:lnTo>
                    <a:pt x="959" y="182"/>
                  </a:lnTo>
                  <a:lnTo>
                    <a:pt x="961" y="182"/>
                  </a:lnTo>
                  <a:lnTo>
                    <a:pt x="961" y="182"/>
                  </a:lnTo>
                  <a:lnTo>
                    <a:pt x="966" y="182"/>
                  </a:lnTo>
                  <a:lnTo>
                    <a:pt x="966" y="182"/>
                  </a:lnTo>
                  <a:lnTo>
                    <a:pt x="966" y="180"/>
                  </a:lnTo>
                  <a:lnTo>
                    <a:pt x="968" y="180"/>
                  </a:lnTo>
                  <a:lnTo>
                    <a:pt x="971" y="180"/>
                  </a:lnTo>
                  <a:lnTo>
                    <a:pt x="971" y="180"/>
                  </a:lnTo>
                  <a:lnTo>
                    <a:pt x="971" y="178"/>
                  </a:lnTo>
                  <a:lnTo>
                    <a:pt x="973" y="178"/>
                  </a:lnTo>
                  <a:lnTo>
                    <a:pt x="973" y="178"/>
                  </a:lnTo>
                  <a:lnTo>
                    <a:pt x="973" y="180"/>
                  </a:lnTo>
                  <a:lnTo>
                    <a:pt x="975" y="180"/>
                  </a:lnTo>
                  <a:lnTo>
                    <a:pt x="975" y="180"/>
                  </a:lnTo>
                  <a:lnTo>
                    <a:pt x="978" y="180"/>
                  </a:lnTo>
                  <a:lnTo>
                    <a:pt x="978" y="182"/>
                  </a:lnTo>
                  <a:lnTo>
                    <a:pt x="980" y="182"/>
                  </a:lnTo>
                  <a:lnTo>
                    <a:pt x="978" y="180"/>
                  </a:lnTo>
                  <a:lnTo>
                    <a:pt x="978" y="180"/>
                  </a:lnTo>
                  <a:lnTo>
                    <a:pt x="978" y="180"/>
                  </a:lnTo>
                  <a:lnTo>
                    <a:pt x="980" y="180"/>
                  </a:lnTo>
                  <a:lnTo>
                    <a:pt x="983" y="180"/>
                  </a:lnTo>
                  <a:lnTo>
                    <a:pt x="983" y="180"/>
                  </a:lnTo>
                  <a:lnTo>
                    <a:pt x="983" y="180"/>
                  </a:lnTo>
                  <a:lnTo>
                    <a:pt x="985" y="180"/>
                  </a:lnTo>
                  <a:lnTo>
                    <a:pt x="983" y="178"/>
                  </a:lnTo>
                  <a:lnTo>
                    <a:pt x="983" y="178"/>
                  </a:lnTo>
                  <a:lnTo>
                    <a:pt x="985" y="178"/>
                  </a:lnTo>
                  <a:lnTo>
                    <a:pt x="987" y="178"/>
                  </a:lnTo>
                  <a:lnTo>
                    <a:pt x="987" y="178"/>
                  </a:lnTo>
                  <a:lnTo>
                    <a:pt x="990" y="178"/>
                  </a:lnTo>
                  <a:lnTo>
                    <a:pt x="987" y="178"/>
                  </a:lnTo>
                  <a:lnTo>
                    <a:pt x="985" y="180"/>
                  </a:lnTo>
                  <a:lnTo>
                    <a:pt x="987" y="180"/>
                  </a:lnTo>
                  <a:lnTo>
                    <a:pt x="987" y="182"/>
                  </a:lnTo>
                  <a:lnTo>
                    <a:pt x="987" y="182"/>
                  </a:lnTo>
                  <a:lnTo>
                    <a:pt x="987" y="182"/>
                  </a:lnTo>
                  <a:lnTo>
                    <a:pt x="990" y="182"/>
                  </a:lnTo>
                  <a:lnTo>
                    <a:pt x="990" y="185"/>
                  </a:lnTo>
                  <a:lnTo>
                    <a:pt x="990" y="185"/>
                  </a:lnTo>
                  <a:lnTo>
                    <a:pt x="992" y="182"/>
                  </a:lnTo>
                  <a:lnTo>
                    <a:pt x="994" y="182"/>
                  </a:lnTo>
                  <a:lnTo>
                    <a:pt x="992" y="182"/>
                  </a:lnTo>
                  <a:lnTo>
                    <a:pt x="992" y="180"/>
                  </a:lnTo>
                  <a:lnTo>
                    <a:pt x="994" y="180"/>
                  </a:lnTo>
                  <a:lnTo>
                    <a:pt x="994" y="182"/>
                  </a:lnTo>
                  <a:lnTo>
                    <a:pt x="997" y="182"/>
                  </a:lnTo>
                  <a:lnTo>
                    <a:pt x="997" y="185"/>
                  </a:lnTo>
                  <a:lnTo>
                    <a:pt x="997" y="185"/>
                  </a:lnTo>
                  <a:lnTo>
                    <a:pt x="999" y="185"/>
                  </a:lnTo>
                  <a:lnTo>
                    <a:pt x="997" y="182"/>
                  </a:lnTo>
                  <a:lnTo>
                    <a:pt x="999" y="182"/>
                  </a:lnTo>
                  <a:lnTo>
                    <a:pt x="997" y="182"/>
                  </a:lnTo>
                  <a:lnTo>
                    <a:pt x="999" y="180"/>
                  </a:lnTo>
                  <a:lnTo>
                    <a:pt x="999" y="180"/>
                  </a:lnTo>
                  <a:lnTo>
                    <a:pt x="999" y="180"/>
                  </a:lnTo>
                  <a:lnTo>
                    <a:pt x="999" y="182"/>
                  </a:lnTo>
                  <a:lnTo>
                    <a:pt x="999" y="185"/>
                  </a:lnTo>
                  <a:lnTo>
                    <a:pt x="999" y="185"/>
                  </a:lnTo>
                  <a:lnTo>
                    <a:pt x="1001" y="185"/>
                  </a:lnTo>
                  <a:lnTo>
                    <a:pt x="1001" y="185"/>
                  </a:lnTo>
                  <a:lnTo>
                    <a:pt x="1004" y="185"/>
                  </a:lnTo>
                  <a:lnTo>
                    <a:pt x="1001" y="187"/>
                  </a:lnTo>
                  <a:lnTo>
                    <a:pt x="1004" y="187"/>
                  </a:lnTo>
                  <a:lnTo>
                    <a:pt x="1001" y="189"/>
                  </a:lnTo>
                  <a:lnTo>
                    <a:pt x="1001" y="192"/>
                  </a:lnTo>
                  <a:lnTo>
                    <a:pt x="1001" y="192"/>
                  </a:lnTo>
                  <a:lnTo>
                    <a:pt x="1004" y="192"/>
                  </a:lnTo>
                  <a:lnTo>
                    <a:pt x="1006" y="194"/>
                  </a:lnTo>
                  <a:lnTo>
                    <a:pt x="1006" y="196"/>
                  </a:lnTo>
                  <a:lnTo>
                    <a:pt x="1006" y="194"/>
                  </a:lnTo>
                  <a:lnTo>
                    <a:pt x="1006" y="196"/>
                  </a:lnTo>
                  <a:lnTo>
                    <a:pt x="1006" y="196"/>
                  </a:lnTo>
                  <a:lnTo>
                    <a:pt x="1006" y="196"/>
                  </a:lnTo>
                  <a:lnTo>
                    <a:pt x="1006" y="199"/>
                  </a:lnTo>
                  <a:lnTo>
                    <a:pt x="1009" y="199"/>
                  </a:lnTo>
                  <a:lnTo>
                    <a:pt x="1009" y="201"/>
                  </a:lnTo>
                  <a:lnTo>
                    <a:pt x="1009" y="201"/>
                  </a:lnTo>
                  <a:lnTo>
                    <a:pt x="1009" y="201"/>
                  </a:lnTo>
                  <a:lnTo>
                    <a:pt x="1006" y="201"/>
                  </a:lnTo>
                  <a:lnTo>
                    <a:pt x="1006" y="201"/>
                  </a:lnTo>
                  <a:lnTo>
                    <a:pt x="1006" y="201"/>
                  </a:lnTo>
                  <a:lnTo>
                    <a:pt x="1004" y="201"/>
                  </a:lnTo>
                  <a:lnTo>
                    <a:pt x="1001" y="201"/>
                  </a:lnTo>
                  <a:lnTo>
                    <a:pt x="1001" y="201"/>
                  </a:lnTo>
                  <a:lnTo>
                    <a:pt x="999" y="201"/>
                  </a:lnTo>
                  <a:lnTo>
                    <a:pt x="999" y="201"/>
                  </a:lnTo>
                  <a:lnTo>
                    <a:pt x="997" y="201"/>
                  </a:lnTo>
                  <a:lnTo>
                    <a:pt x="997" y="199"/>
                  </a:lnTo>
                  <a:lnTo>
                    <a:pt x="997" y="201"/>
                  </a:lnTo>
                  <a:lnTo>
                    <a:pt x="997" y="201"/>
                  </a:lnTo>
                  <a:lnTo>
                    <a:pt x="994" y="201"/>
                  </a:lnTo>
                  <a:lnTo>
                    <a:pt x="994" y="204"/>
                  </a:lnTo>
                  <a:lnTo>
                    <a:pt x="992" y="204"/>
                  </a:lnTo>
                  <a:lnTo>
                    <a:pt x="994" y="206"/>
                  </a:lnTo>
                  <a:lnTo>
                    <a:pt x="992" y="206"/>
                  </a:lnTo>
                  <a:lnTo>
                    <a:pt x="994" y="206"/>
                  </a:lnTo>
                  <a:lnTo>
                    <a:pt x="992" y="206"/>
                  </a:lnTo>
                  <a:lnTo>
                    <a:pt x="992" y="208"/>
                  </a:lnTo>
                  <a:lnTo>
                    <a:pt x="990" y="208"/>
                  </a:lnTo>
                  <a:lnTo>
                    <a:pt x="990" y="208"/>
                  </a:lnTo>
                  <a:lnTo>
                    <a:pt x="992" y="208"/>
                  </a:lnTo>
                  <a:lnTo>
                    <a:pt x="992" y="211"/>
                  </a:lnTo>
                  <a:lnTo>
                    <a:pt x="992" y="211"/>
                  </a:lnTo>
                  <a:lnTo>
                    <a:pt x="992" y="211"/>
                  </a:lnTo>
                  <a:lnTo>
                    <a:pt x="992" y="211"/>
                  </a:lnTo>
                  <a:lnTo>
                    <a:pt x="990" y="211"/>
                  </a:lnTo>
                  <a:lnTo>
                    <a:pt x="990" y="213"/>
                  </a:lnTo>
                  <a:lnTo>
                    <a:pt x="990" y="213"/>
                  </a:lnTo>
                  <a:lnTo>
                    <a:pt x="990" y="213"/>
                  </a:lnTo>
                  <a:lnTo>
                    <a:pt x="990" y="211"/>
                  </a:lnTo>
                  <a:lnTo>
                    <a:pt x="987" y="211"/>
                  </a:lnTo>
                  <a:lnTo>
                    <a:pt x="987" y="211"/>
                  </a:lnTo>
                  <a:lnTo>
                    <a:pt x="987" y="211"/>
                  </a:lnTo>
                  <a:lnTo>
                    <a:pt x="987" y="213"/>
                  </a:lnTo>
                  <a:lnTo>
                    <a:pt x="987" y="215"/>
                  </a:lnTo>
                  <a:lnTo>
                    <a:pt x="985" y="215"/>
                  </a:lnTo>
                  <a:lnTo>
                    <a:pt x="987" y="218"/>
                  </a:lnTo>
                  <a:lnTo>
                    <a:pt x="985" y="218"/>
                  </a:lnTo>
                  <a:lnTo>
                    <a:pt x="985" y="218"/>
                  </a:lnTo>
                  <a:lnTo>
                    <a:pt x="983" y="218"/>
                  </a:lnTo>
                  <a:lnTo>
                    <a:pt x="985" y="215"/>
                  </a:lnTo>
                  <a:lnTo>
                    <a:pt x="985" y="213"/>
                  </a:lnTo>
                  <a:lnTo>
                    <a:pt x="983" y="215"/>
                  </a:lnTo>
                  <a:lnTo>
                    <a:pt x="983" y="215"/>
                  </a:lnTo>
                  <a:lnTo>
                    <a:pt x="983" y="213"/>
                  </a:lnTo>
                  <a:lnTo>
                    <a:pt x="983" y="213"/>
                  </a:lnTo>
                  <a:lnTo>
                    <a:pt x="980" y="213"/>
                  </a:lnTo>
                  <a:lnTo>
                    <a:pt x="980" y="213"/>
                  </a:lnTo>
                  <a:lnTo>
                    <a:pt x="978" y="215"/>
                  </a:lnTo>
                  <a:lnTo>
                    <a:pt x="978" y="218"/>
                  </a:lnTo>
                  <a:lnTo>
                    <a:pt x="980" y="218"/>
                  </a:lnTo>
                  <a:lnTo>
                    <a:pt x="980" y="218"/>
                  </a:lnTo>
                  <a:lnTo>
                    <a:pt x="980" y="218"/>
                  </a:lnTo>
                  <a:lnTo>
                    <a:pt x="978" y="220"/>
                  </a:lnTo>
                  <a:lnTo>
                    <a:pt x="978" y="218"/>
                  </a:lnTo>
                  <a:lnTo>
                    <a:pt x="978" y="220"/>
                  </a:lnTo>
                  <a:lnTo>
                    <a:pt x="978" y="218"/>
                  </a:lnTo>
                  <a:lnTo>
                    <a:pt x="975" y="220"/>
                  </a:lnTo>
                  <a:lnTo>
                    <a:pt x="975" y="220"/>
                  </a:lnTo>
                  <a:lnTo>
                    <a:pt x="975" y="220"/>
                  </a:lnTo>
                  <a:lnTo>
                    <a:pt x="975" y="222"/>
                  </a:lnTo>
                  <a:lnTo>
                    <a:pt x="975" y="222"/>
                  </a:lnTo>
                  <a:lnTo>
                    <a:pt x="975" y="222"/>
                  </a:lnTo>
                  <a:lnTo>
                    <a:pt x="975" y="225"/>
                  </a:lnTo>
                  <a:lnTo>
                    <a:pt x="978" y="225"/>
                  </a:lnTo>
                  <a:lnTo>
                    <a:pt x="978" y="225"/>
                  </a:lnTo>
                  <a:lnTo>
                    <a:pt x="975" y="225"/>
                  </a:lnTo>
                  <a:lnTo>
                    <a:pt x="975" y="227"/>
                  </a:lnTo>
                  <a:lnTo>
                    <a:pt x="975" y="227"/>
                  </a:lnTo>
                  <a:lnTo>
                    <a:pt x="975" y="227"/>
                  </a:lnTo>
                  <a:lnTo>
                    <a:pt x="975" y="232"/>
                  </a:lnTo>
                  <a:lnTo>
                    <a:pt x="978" y="230"/>
                  </a:lnTo>
                  <a:lnTo>
                    <a:pt x="978" y="232"/>
                  </a:lnTo>
                  <a:lnTo>
                    <a:pt x="975" y="232"/>
                  </a:lnTo>
                  <a:lnTo>
                    <a:pt x="975" y="232"/>
                  </a:lnTo>
                  <a:lnTo>
                    <a:pt x="975" y="234"/>
                  </a:lnTo>
                  <a:lnTo>
                    <a:pt x="973" y="234"/>
                  </a:lnTo>
                  <a:lnTo>
                    <a:pt x="978" y="234"/>
                  </a:lnTo>
                  <a:lnTo>
                    <a:pt x="978" y="234"/>
                  </a:lnTo>
                  <a:lnTo>
                    <a:pt x="978" y="234"/>
                  </a:lnTo>
                  <a:lnTo>
                    <a:pt x="980" y="234"/>
                  </a:lnTo>
                  <a:lnTo>
                    <a:pt x="978" y="234"/>
                  </a:lnTo>
                  <a:lnTo>
                    <a:pt x="978" y="234"/>
                  </a:lnTo>
                  <a:lnTo>
                    <a:pt x="978" y="234"/>
                  </a:lnTo>
                  <a:lnTo>
                    <a:pt x="978" y="237"/>
                  </a:lnTo>
                  <a:lnTo>
                    <a:pt x="978" y="237"/>
                  </a:lnTo>
                  <a:lnTo>
                    <a:pt x="978" y="237"/>
                  </a:lnTo>
                  <a:lnTo>
                    <a:pt x="978" y="237"/>
                  </a:lnTo>
                  <a:lnTo>
                    <a:pt x="975" y="239"/>
                  </a:lnTo>
                  <a:lnTo>
                    <a:pt x="975" y="239"/>
                  </a:lnTo>
                  <a:lnTo>
                    <a:pt x="973" y="239"/>
                  </a:lnTo>
                  <a:lnTo>
                    <a:pt x="975" y="241"/>
                  </a:lnTo>
                  <a:lnTo>
                    <a:pt x="978" y="241"/>
                  </a:lnTo>
                  <a:lnTo>
                    <a:pt x="978" y="241"/>
                  </a:lnTo>
                  <a:lnTo>
                    <a:pt x="978" y="244"/>
                  </a:lnTo>
                  <a:lnTo>
                    <a:pt x="975" y="244"/>
                  </a:lnTo>
                  <a:lnTo>
                    <a:pt x="975" y="246"/>
                  </a:lnTo>
                  <a:lnTo>
                    <a:pt x="978" y="246"/>
                  </a:lnTo>
                  <a:lnTo>
                    <a:pt x="978" y="246"/>
                  </a:lnTo>
                  <a:lnTo>
                    <a:pt x="980" y="248"/>
                  </a:lnTo>
                  <a:lnTo>
                    <a:pt x="978" y="248"/>
                  </a:lnTo>
                  <a:lnTo>
                    <a:pt x="978" y="248"/>
                  </a:lnTo>
                  <a:lnTo>
                    <a:pt x="978" y="248"/>
                  </a:lnTo>
                  <a:lnTo>
                    <a:pt x="978" y="251"/>
                  </a:lnTo>
                  <a:lnTo>
                    <a:pt x="978" y="251"/>
                  </a:lnTo>
                  <a:lnTo>
                    <a:pt x="975" y="251"/>
                  </a:lnTo>
                  <a:lnTo>
                    <a:pt x="975" y="253"/>
                  </a:lnTo>
                  <a:lnTo>
                    <a:pt x="973" y="253"/>
                  </a:lnTo>
                  <a:lnTo>
                    <a:pt x="978" y="253"/>
                  </a:lnTo>
                  <a:lnTo>
                    <a:pt x="978" y="253"/>
                  </a:lnTo>
                  <a:lnTo>
                    <a:pt x="978" y="253"/>
                  </a:lnTo>
                  <a:lnTo>
                    <a:pt x="978" y="253"/>
                  </a:lnTo>
                  <a:lnTo>
                    <a:pt x="978" y="256"/>
                  </a:lnTo>
                  <a:lnTo>
                    <a:pt x="975" y="256"/>
                  </a:lnTo>
                  <a:lnTo>
                    <a:pt x="975" y="256"/>
                  </a:lnTo>
                  <a:lnTo>
                    <a:pt x="975" y="256"/>
                  </a:lnTo>
                  <a:lnTo>
                    <a:pt x="975" y="258"/>
                  </a:lnTo>
                  <a:lnTo>
                    <a:pt x="968" y="260"/>
                  </a:lnTo>
                  <a:lnTo>
                    <a:pt x="971" y="260"/>
                  </a:lnTo>
                  <a:lnTo>
                    <a:pt x="971" y="260"/>
                  </a:lnTo>
                  <a:lnTo>
                    <a:pt x="971" y="260"/>
                  </a:lnTo>
                  <a:lnTo>
                    <a:pt x="973" y="260"/>
                  </a:lnTo>
                  <a:lnTo>
                    <a:pt x="975" y="260"/>
                  </a:lnTo>
                  <a:lnTo>
                    <a:pt x="975" y="260"/>
                  </a:lnTo>
                  <a:lnTo>
                    <a:pt x="978" y="258"/>
                  </a:lnTo>
                  <a:lnTo>
                    <a:pt x="978" y="258"/>
                  </a:lnTo>
                  <a:lnTo>
                    <a:pt x="978" y="260"/>
                  </a:lnTo>
                  <a:lnTo>
                    <a:pt x="975" y="260"/>
                  </a:lnTo>
                  <a:lnTo>
                    <a:pt x="978" y="260"/>
                  </a:lnTo>
                  <a:lnTo>
                    <a:pt x="975" y="260"/>
                  </a:lnTo>
                  <a:lnTo>
                    <a:pt x="975" y="260"/>
                  </a:lnTo>
                  <a:lnTo>
                    <a:pt x="975" y="260"/>
                  </a:lnTo>
                  <a:lnTo>
                    <a:pt x="975" y="263"/>
                  </a:lnTo>
                  <a:lnTo>
                    <a:pt x="973" y="263"/>
                  </a:lnTo>
                  <a:lnTo>
                    <a:pt x="973" y="263"/>
                  </a:lnTo>
                  <a:lnTo>
                    <a:pt x="975" y="263"/>
                  </a:lnTo>
                  <a:lnTo>
                    <a:pt x="973" y="265"/>
                  </a:lnTo>
                  <a:lnTo>
                    <a:pt x="973" y="265"/>
                  </a:lnTo>
                  <a:lnTo>
                    <a:pt x="975" y="265"/>
                  </a:lnTo>
                  <a:lnTo>
                    <a:pt x="973" y="265"/>
                  </a:lnTo>
                  <a:lnTo>
                    <a:pt x="973" y="265"/>
                  </a:lnTo>
                  <a:lnTo>
                    <a:pt x="971" y="265"/>
                  </a:lnTo>
                  <a:lnTo>
                    <a:pt x="973" y="267"/>
                  </a:lnTo>
                  <a:lnTo>
                    <a:pt x="971" y="270"/>
                  </a:lnTo>
                  <a:lnTo>
                    <a:pt x="971" y="267"/>
                  </a:lnTo>
                  <a:lnTo>
                    <a:pt x="971" y="267"/>
                  </a:lnTo>
                  <a:lnTo>
                    <a:pt x="968" y="267"/>
                  </a:lnTo>
                  <a:lnTo>
                    <a:pt x="968" y="270"/>
                  </a:lnTo>
                  <a:lnTo>
                    <a:pt x="968" y="270"/>
                  </a:lnTo>
                  <a:lnTo>
                    <a:pt x="968" y="272"/>
                  </a:lnTo>
                  <a:lnTo>
                    <a:pt x="966" y="272"/>
                  </a:lnTo>
                  <a:lnTo>
                    <a:pt x="966" y="272"/>
                  </a:lnTo>
                  <a:lnTo>
                    <a:pt x="966" y="272"/>
                  </a:lnTo>
                  <a:lnTo>
                    <a:pt x="966" y="274"/>
                  </a:lnTo>
                  <a:lnTo>
                    <a:pt x="968" y="274"/>
                  </a:lnTo>
                  <a:lnTo>
                    <a:pt x="966" y="274"/>
                  </a:lnTo>
                  <a:lnTo>
                    <a:pt x="966" y="274"/>
                  </a:lnTo>
                  <a:lnTo>
                    <a:pt x="964" y="274"/>
                  </a:lnTo>
                  <a:lnTo>
                    <a:pt x="964" y="274"/>
                  </a:lnTo>
                  <a:lnTo>
                    <a:pt x="964" y="274"/>
                  </a:lnTo>
                  <a:lnTo>
                    <a:pt x="961" y="274"/>
                  </a:lnTo>
                  <a:lnTo>
                    <a:pt x="961" y="274"/>
                  </a:lnTo>
                  <a:lnTo>
                    <a:pt x="961" y="274"/>
                  </a:lnTo>
                  <a:lnTo>
                    <a:pt x="961" y="274"/>
                  </a:lnTo>
                  <a:lnTo>
                    <a:pt x="959" y="274"/>
                  </a:lnTo>
                  <a:lnTo>
                    <a:pt x="961" y="274"/>
                  </a:lnTo>
                  <a:lnTo>
                    <a:pt x="959" y="274"/>
                  </a:lnTo>
                  <a:lnTo>
                    <a:pt x="959" y="272"/>
                  </a:lnTo>
                  <a:lnTo>
                    <a:pt x="961" y="272"/>
                  </a:lnTo>
                  <a:lnTo>
                    <a:pt x="961" y="272"/>
                  </a:lnTo>
                  <a:lnTo>
                    <a:pt x="961" y="272"/>
                  </a:lnTo>
                  <a:lnTo>
                    <a:pt x="959" y="272"/>
                  </a:lnTo>
                  <a:lnTo>
                    <a:pt x="957" y="272"/>
                  </a:lnTo>
                  <a:lnTo>
                    <a:pt x="957" y="272"/>
                  </a:lnTo>
                  <a:lnTo>
                    <a:pt x="957" y="274"/>
                  </a:lnTo>
                  <a:lnTo>
                    <a:pt x="957" y="274"/>
                  </a:lnTo>
                  <a:lnTo>
                    <a:pt x="959" y="274"/>
                  </a:lnTo>
                  <a:lnTo>
                    <a:pt x="959" y="277"/>
                  </a:lnTo>
                  <a:lnTo>
                    <a:pt x="959" y="277"/>
                  </a:lnTo>
                  <a:lnTo>
                    <a:pt x="959" y="277"/>
                  </a:lnTo>
                  <a:lnTo>
                    <a:pt x="959" y="277"/>
                  </a:lnTo>
                  <a:lnTo>
                    <a:pt x="959" y="279"/>
                  </a:lnTo>
                  <a:lnTo>
                    <a:pt x="959" y="279"/>
                  </a:lnTo>
                  <a:lnTo>
                    <a:pt x="959" y="279"/>
                  </a:lnTo>
                  <a:lnTo>
                    <a:pt x="959" y="282"/>
                  </a:lnTo>
                  <a:lnTo>
                    <a:pt x="957" y="282"/>
                  </a:lnTo>
                  <a:lnTo>
                    <a:pt x="959" y="279"/>
                  </a:lnTo>
                  <a:lnTo>
                    <a:pt x="957" y="282"/>
                  </a:lnTo>
                  <a:lnTo>
                    <a:pt x="957" y="282"/>
                  </a:lnTo>
                  <a:lnTo>
                    <a:pt x="957" y="279"/>
                  </a:lnTo>
                  <a:lnTo>
                    <a:pt x="957" y="279"/>
                  </a:lnTo>
                  <a:lnTo>
                    <a:pt x="957" y="279"/>
                  </a:lnTo>
                  <a:lnTo>
                    <a:pt x="954" y="279"/>
                  </a:lnTo>
                  <a:lnTo>
                    <a:pt x="954" y="277"/>
                  </a:lnTo>
                  <a:lnTo>
                    <a:pt x="954" y="277"/>
                  </a:lnTo>
                  <a:lnTo>
                    <a:pt x="954" y="277"/>
                  </a:lnTo>
                  <a:lnTo>
                    <a:pt x="952" y="277"/>
                  </a:lnTo>
                  <a:lnTo>
                    <a:pt x="952" y="274"/>
                  </a:lnTo>
                  <a:lnTo>
                    <a:pt x="952" y="277"/>
                  </a:lnTo>
                  <a:lnTo>
                    <a:pt x="952" y="277"/>
                  </a:lnTo>
                  <a:lnTo>
                    <a:pt x="954" y="279"/>
                  </a:lnTo>
                  <a:lnTo>
                    <a:pt x="954" y="279"/>
                  </a:lnTo>
                  <a:lnTo>
                    <a:pt x="952" y="279"/>
                  </a:lnTo>
                  <a:lnTo>
                    <a:pt x="952" y="279"/>
                  </a:lnTo>
                  <a:lnTo>
                    <a:pt x="952" y="282"/>
                  </a:lnTo>
                  <a:lnTo>
                    <a:pt x="952" y="282"/>
                  </a:lnTo>
                  <a:lnTo>
                    <a:pt x="952" y="282"/>
                  </a:lnTo>
                  <a:lnTo>
                    <a:pt x="952" y="282"/>
                  </a:lnTo>
                  <a:lnTo>
                    <a:pt x="949" y="284"/>
                  </a:lnTo>
                  <a:lnTo>
                    <a:pt x="949" y="284"/>
                  </a:lnTo>
                  <a:lnTo>
                    <a:pt x="952" y="284"/>
                  </a:lnTo>
                  <a:lnTo>
                    <a:pt x="952" y="284"/>
                  </a:lnTo>
                  <a:lnTo>
                    <a:pt x="952" y="284"/>
                  </a:lnTo>
                  <a:lnTo>
                    <a:pt x="952" y="284"/>
                  </a:lnTo>
                  <a:lnTo>
                    <a:pt x="952" y="286"/>
                  </a:lnTo>
                  <a:lnTo>
                    <a:pt x="952" y="289"/>
                  </a:lnTo>
                  <a:lnTo>
                    <a:pt x="952" y="289"/>
                  </a:lnTo>
                  <a:lnTo>
                    <a:pt x="952" y="289"/>
                  </a:lnTo>
                  <a:lnTo>
                    <a:pt x="952" y="289"/>
                  </a:lnTo>
                  <a:lnTo>
                    <a:pt x="952" y="291"/>
                  </a:lnTo>
                  <a:lnTo>
                    <a:pt x="954" y="291"/>
                  </a:lnTo>
                  <a:lnTo>
                    <a:pt x="954" y="289"/>
                  </a:lnTo>
                  <a:lnTo>
                    <a:pt x="954" y="289"/>
                  </a:lnTo>
                  <a:lnTo>
                    <a:pt x="954" y="289"/>
                  </a:lnTo>
                  <a:lnTo>
                    <a:pt x="954" y="289"/>
                  </a:lnTo>
                  <a:lnTo>
                    <a:pt x="954" y="289"/>
                  </a:lnTo>
                  <a:lnTo>
                    <a:pt x="957" y="291"/>
                  </a:lnTo>
                  <a:lnTo>
                    <a:pt x="957" y="291"/>
                  </a:lnTo>
                  <a:lnTo>
                    <a:pt x="957" y="291"/>
                  </a:lnTo>
                  <a:lnTo>
                    <a:pt x="959" y="291"/>
                  </a:lnTo>
                  <a:lnTo>
                    <a:pt x="959" y="291"/>
                  </a:lnTo>
                  <a:lnTo>
                    <a:pt x="959" y="293"/>
                  </a:lnTo>
                  <a:lnTo>
                    <a:pt x="961" y="293"/>
                  </a:lnTo>
                  <a:lnTo>
                    <a:pt x="961" y="293"/>
                  </a:lnTo>
                  <a:lnTo>
                    <a:pt x="961" y="293"/>
                  </a:lnTo>
                  <a:lnTo>
                    <a:pt x="964" y="293"/>
                  </a:lnTo>
                  <a:lnTo>
                    <a:pt x="964" y="293"/>
                  </a:lnTo>
                  <a:lnTo>
                    <a:pt x="961" y="296"/>
                  </a:lnTo>
                  <a:lnTo>
                    <a:pt x="964" y="296"/>
                  </a:lnTo>
                  <a:lnTo>
                    <a:pt x="966" y="296"/>
                  </a:lnTo>
                  <a:lnTo>
                    <a:pt x="961" y="291"/>
                  </a:lnTo>
                  <a:lnTo>
                    <a:pt x="961" y="291"/>
                  </a:lnTo>
                  <a:lnTo>
                    <a:pt x="959" y="289"/>
                  </a:lnTo>
                  <a:lnTo>
                    <a:pt x="957" y="289"/>
                  </a:lnTo>
                  <a:lnTo>
                    <a:pt x="957" y="289"/>
                  </a:lnTo>
                  <a:lnTo>
                    <a:pt x="954" y="284"/>
                  </a:lnTo>
                  <a:lnTo>
                    <a:pt x="957" y="284"/>
                  </a:lnTo>
                  <a:lnTo>
                    <a:pt x="957" y="284"/>
                  </a:lnTo>
                  <a:lnTo>
                    <a:pt x="959" y="284"/>
                  </a:lnTo>
                  <a:lnTo>
                    <a:pt x="961" y="284"/>
                  </a:lnTo>
                  <a:lnTo>
                    <a:pt x="961" y="284"/>
                  </a:lnTo>
                  <a:lnTo>
                    <a:pt x="961" y="282"/>
                  </a:lnTo>
                  <a:lnTo>
                    <a:pt x="964" y="282"/>
                  </a:lnTo>
                  <a:lnTo>
                    <a:pt x="966" y="282"/>
                  </a:lnTo>
                  <a:lnTo>
                    <a:pt x="968" y="279"/>
                  </a:lnTo>
                  <a:lnTo>
                    <a:pt x="971" y="282"/>
                  </a:lnTo>
                  <a:lnTo>
                    <a:pt x="971" y="279"/>
                  </a:lnTo>
                  <a:lnTo>
                    <a:pt x="973" y="279"/>
                  </a:lnTo>
                  <a:lnTo>
                    <a:pt x="973" y="277"/>
                  </a:lnTo>
                  <a:lnTo>
                    <a:pt x="975" y="277"/>
                  </a:lnTo>
                  <a:lnTo>
                    <a:pt x="978" y="277"/>
                  </a:lnTo>
                  <a:lnTo>
                    <a:pt x="978" y="277"/>
                  </a:lnTo>
                  <a:lnTo>
                    <a:pt x="978" y="277"/>
                  </a:lnTo>
                  <a:lnTo>
                    <a:pt x="978" y="277"/>
                  </a:lnTo>
                  <a:lnTo>
                    <a:pt x="980" y="279"/>
                  </a:lnTo>
                  <a:lnTo>
                    <a:pt x="980" y="279"/>
                  </a:lnTo>
                  <a:lnTo>
                    <a:pt x="983" y="279"/>
                  </a:lnTo>
                  <a:lnTo>
                    <a:pt x="985" y="279"/>
                  </a:lnTo>
                  <a:lnTo>
                    <a:pt x="987" y="279"/>
                  </a:lnTo>
                  <a:lnTo>
                    <a:pt x="987" y="282"/>
                  </a:lnTo>
                  <a:lnTo>
                    <a:pt x="987" y="282"/>
                  </a:lnTo>
                  <a:lnTo>
                    <a:pt x="990" y="282"/>
                  </a:lnTo>
                  <a:lnTo>
                    <a:pt x="990" y="284"/>
                  </a:lnTo>
                  <a:lnTo>
                    <a:pt x="990" y="284"/>
                  </a:lnTo>
                  <a:lnTo>
                    <a:pt x="990" y="284"/>
                  </a:lnTo>
                  <a:lnTo>
                    <a:pt x="990" y="284"/>
                  </a:lnTo>
                  <a:lnTo>
                    <a:pt x="990" y="286"/>
                  </a:lnTo>
                  <a:lnTo>
                    <a:pt x="990" y="286"/>
                  </a:lnTo>
                  <a:lnTo>
                    <a:pt x="990" y="286"/>
                  </a:lnTo>
                  <a:lnTo>
                    <a:pt x="992" y="286"/>
                  </a:lnTo>
                  <a:lnTo>
                    <a:pt x="992" y="286"/>
                  </a:lnTo>
                  <a:lnTo>
                    <a:pt x="992" y="289"/>
                  </a:lnTo>
                  <a:lnTo>
                    <a:pt x="992" y="289"/>
                  </a:lnTo>
                  <a:lnTo>
                    <a:pt x="994" y="289"/>
                  </a:lnTo>
                  <a:lnTo>
                    <a:pt x="994" y="289"/>
                  </a:lnTo>
                  <a:lnTo>
                    <a:pt x="997" y="289"/>
                  </a:lnTo>
                  <a:lnTo>
                    <a:pt x="997" y="289"/>
                  </a:lnTo>
                  <a:lnTo>
                    <a:pt x="999" y="291"/>
                  </a:lnTo>
                  <a:lnTo>
                    <a:pt x="999" y="291"/>
                  </a:lnTo>
                  <a:lnTo>
                    <a:pt x="1001" y="289"/>
                  </a:lnTo>
                  <a:lnTo>
                    <a:pt x="1001" y="291"/>
                  </a:lnTo>
                  <a:lnTo>
                    <a:pt x="1001" y="291"/>
                  </a:lnTo>
                  <a:lnTo>
                    <a:pt x="1004" y="291"/>
                  </a:lnTo>
                  <a:lnTo>
                    <a:pt x="1004" y="291"/>
                  </a:lnTo>
                  <a:lnTo>
                    <a:pt x="1004" y="291"/>
                  </a:lnTo>
                  <a:lnTo>
                    <a:pt x="1004" y="291"/>
                  </a:lnTo>
                  <a:lnTo>
                    <a:pt x="1001" y="293"/>
                  </a:lnTo>
                  <a:lnTo>
                    <a:pt x="1001" y="293"/>
                  </a:lnTo>
                  <a:lnTo>
                    <a:pt x="1004" y="293"/>
                  </a:lnTo>
                  <a:lnTo>
                    <a:pt x="1004" y="293"/>
                  </a:lnTo>
                  <a:lnTo>
                    <a:pt x="1006" y="293"/>
                  </a:lnTo>
                  <a:lnTo>
                    <a:pt x="1004" y="296"/>
                  </a:lnTo>
                  <a:lnTo>
                    <a:pt x="1004" y="298"/>
                  </a:lnTo>
                  <a:lnTo>
                    <a:pt x="1001" y="300"/>
                  </a:lnTo>
                  <a:lnTo>
                    <a:pt x="994" y="308"/>
                  </a:lnTo>
                  <a:lnTo>
                    <a:pt x="980" y="329"/>
                  </a:lnTo>
                  <a:lnTo>
                    <a:pt x="978" y="333"/>
                  </a:lnTo>
                  <a:lnTo>
                    <a:pt x="978" y="333"/>
                  </a:lnTo>
                  <a:lnTo>
                    <a:pt x="975" y="336"/>
                  </a:lnTo>
                  <a:lnTo>
                    <a:pt x="975" y="338"/>
                  </a:lnTo>
                  <a:lnTo>
                    <a:pt x="971" y="345"/>
                  </a:lnTo>
                  <a:lnTo>
                    <a:pt x="968" y="352"/>
                  </a:lnTo>
                  <a:lnTo>
                    <a:pt x="964" y="357"/>
                  </a:lnTo>
                  <a:lnTo>
                    <a:pt x="961" y="364"/>
                  </a:lnTo>
                  <a:lnTo>
                    <a:pt x="961" y="367"/>
                  </a:lnTo>
                  <a:lnTo>
                    <a:pt x="954" y="378"/>
                  </a:lnTo>
                  <a:lnTo>
                    <a:pt x="952" y="385"/>
                  </a:lnTo>
                  <a:lnTo>
                    <a:pt x="949" y="390"/>
                  </a:lnTo>
                  <a:lnTo>
                    <a:pt x="947" y="395"/>
                  </a:lnTo>
                  <a:lnTo>
                    <a:pt x="942" y="409"/>
                  </a:lnTo>
                  <a:lnTo>
                    <a:pt x="942" y="411"/>
                  </a:lnTo>
                  <a:lnTo>
                    <a:pt x="940" y="416"/>
                  </a:lnTo>
                  <a:lnTo>
                    <a:pt x="940" y="419"/>
                  </a:lnTo>
                  <a:lnTo>
                    <a:pt x="938" y="421"/>
                  </a:lnTo>
                  <a:lnTo>
                    <a:pt x="938" y="426"/>
                  </a:lnTo>
                  <a:lnTo>
                    <a:pt x="933" y="435"/>
                  </a:lnTo>
                  <a:lnTo>
                    <a:pt x="931" y="440"/>
                  </a:lnTo>
                  <a:lnTo>
                    <a:pt x="928" y="447"/>
                  </a:lnTo>
                  <a:lnTo>
                    <a:pt x="923" y="454"/>
                  </a:lnTo>
                  <a:lnTo>
                    <a:pt x="914" y="466"/>
                  </a:lnTo>
                  <a:lnTo>
                    <a:pt x="909" y="473"/>
                  </a:lnTo>
                  <a:lnTo>
                    <a:pt x="897" y="489"/>
                  </a:lnTo>
                  <a:lnTo>
                    <a:pt x="883" y="508"/>
                  </a:lnTo>
                  <a:lnTo>
                    <a:pt x="883" y="511"/>
                  </a:lnTo>
                  <a:lnTo>
                    <a:pt x="876" y="522"/>
                  </a:lnTo>
                  <a:lnTo>
                    <a:pt x="872" y="527"/>
                  </a:lnTo>
                  <a:lnTo>
                    <a:pt x="869" y="532"/>
                  </a:lnTo>
                  <a:lnTo>
                    <a:pt x="862" y="539"/>
                  </a:lnTo>
                  <a:lnTo>
                    <a:pt x="857" y="544"/>
                  </a:lnTo>
                  <a:lnTo>
                    <a:pt x="853" y="548"/>
                  </a:lnTo>
                  <a:lnTo>
                    <a:pt x="850" y="551"/>
                  </a:lnTo>
                  <a:lnTo>
                    <a:pt x="838" y="560"/>
                  </a:lnTo>
                  <a:lnTo>
                    <a:pt x="827" y="570"/>
                  </a:lnTo>
                  <a:lnTo>
                    <a:pt x="822" y="574"/>
                  </a:lnTo>
                  <a:lnTo>
                    <a:pt x="820" y="577"/>
                  </a:lnTo>
                  <a:lnTo>
                    <a:pt x="815" y="582"/>
                  </a:lnTo>
                  <a:lnTo>
                    <a:pt x="812" y="586"/>
                  </a:lnTo>
                  <a:lnTo>
                    <a:pt x="801" y="593"/>
                  </a:lnTo>
                  <a:lnTo>
                    <a:pt x="791" y="600"/>
                  </a:lnTo>
                  <a:lnTo>
                    <a:pt x="784" y="608"/>
                  </a:lnTo>
                  <a:lnTo>
                    <a:pt x="777" y="612"/>
                  </a:lnTo>
                  <a:lnTo>
                    <a:pt x="763" y="619"/>
                  </a:lnTo>
                  <a:lnTo>
                    <a:pt x="751" y="624"/>
                  </a:lnTo>
                  <a:lnTo>
                    <a:pt x="739" y="631"/>
                  </a:lnTo>
                  <a:lnTo>
                    <a:pt x="732" y="638"/>
                  </a:lnTo>
                  <a:lnTo>
                    <a:pt x="725" y="641"/>
                  </a:lnTo>
                  <a:lnTo>
                    <a:pt x="718" y="648"/>
                  </a:lnTo>
                  <a:lnTo>
                    <a:pt x="706" y="662"/>
                  </a:lnTo>
                  <a:lnTo>
                    <a:pt x="706" y="664"/>
                  </a:lnTo>
                  <a:lnTo>
                    <a:pt x="706" y="667"/>
                  </a:lnTo>
                  <a:lnTo>
                    <a:pt x="704" y="664"/>
                  </a:lnTo>
                  <a:lnTo>
                    <a:pt x="701" y="664"/>
                  </a:lnTo>
                  <a:lnTo>
                    <a:pt x="697" y="669"/>
                  </a:lnTo>
                  <a:lnTo>
                    <a:pt x="692" y="671"/>
                  </a:lnTo>
                  <a:lnTo>
                    <a:pt x="687" y="676"/>
                  </a:lnTo>
                  <a:lnTo>
                    <a:pt x="683" y="683"/>
                  </a:lnTo>
                  <a:lnTo>
                    <a:pt x="678" y="690"/>
                  </a:lnTo>
                  <a:lnTo>
                    <a:pt x="673" y="697"/>
                  </a:lnTo>
                  <a:lnTo>
                    <a:pt x="668" y="707"/>
                  </a:lnTo>
                  <a:lnTo>
                    <a:pt x="664" y="723"/>
                  </a:lnTo>
                  <a:lnTo>
                    <a:pt x="661" y="726"/>
                  </a:lnTo>
                  <a:lnTo>
                    <a:pt x="659" y="740"/>
                  </a:lnTo>
                  <a:lnTo>
                    <a:pt x="657" y="747"/>
                  </a:lnTo>
                  <a:lnTo>
                    <a:pt x="652" y="761"/>
                  </a:lnTo>
                  <a:lnTo>
                    <a:pt x="647" y="770"/>
                  </a:lnTo>
                  <a:lnTo>
                    <a:pt x="640" y="782"/>
                  </a:lnTo>
                  <a:lnTo>
                    <a:pt x="635" y="789"/>
                  </a:lnTo>
                  <a:lnTo>
                    <a:pt x="633" y="794"/>
                  </a:lnTo>
                  <a:lnTo>
                    <a:pt x="623" y="806"/>
                  </a:lnTo>
                  <a:lnTo>
                    <a:pt x="614" y="813"/>
                  </a:lnTo>
                  <a:lnTo>
                    <a:pt x="583" y="839"/>
                  </a:lnTo>
                  <a:lnTo>
                    <a:pt x="569" y="851"/>
                  </a:lnTo>
                  <a:lnTo>
                    <a:pt x="557" y="860"/>
                  </a:lnTo>
                  <a:lnTo>
                    <a:pt x="555" y="863"/>
                  </a:lnTo>
                  <a:lnTo>
                    <a:pt x="541" y="872"/>
                  </a:lnTo>
                  <a:lnTo>
                    <a:pt x="541" y="872"/>
                  </a:lnTo>
                  <a:lnTo>
                    <a:pt x="538" y="872"/>
                  </a:lnTo>
                  <a:lnTo>
                    <a:pt x="538" y="872"/>
                  </a:lnTo>
                  <a:lnTo>
                    <a:pt x="536" y="872"/>
                  </a:lnTo>
                  <a:lnTo>
                    <a:pt x="536" y="872"/>
                  </a:lnTo>
                  <a:lnTo>
                    <a:pt x="534" y="870"/>
                  </a:lnTo>
                  <a:lnTo>
                    <a:pt x="534" y="870"/>
                  </a:lnTo>
                  <a:lnTo>
                    <a:pt x="534" y="867"/>
                  </a:lnTo>
                  <a:lnTo>
                    <a:pt x="534" y="865"/>
                  </a:lnTo>
                  <a:lnTo>
                    <a:pt x="534" y="865"/>
                  </a:lnTo>
                  <a:lnTo>
                    <a:pt x="522" y="863"/>
                  </a:lnTo>
                  <a:lnTo>
                    <a:pt x="522" y="863"/>
                  </a:lnTo>
                  <a:lnTo>
                    <a:pt x="522" y="863"/>
                  </a:lnTo>
                  <a:lnTo>
                    <a:pt x="522" y="863"/>
                  </a:lnTo>
                  <a:lnTo>
                    <a:pt x="522" y="860"/>
                  </a:lnTo>
                  <a:lnTo>
                    <a:pt x="522" y="860"/>
                  </a:lnTo>
                  <a:lnTo>
                    <a:pt x="522" y="858"/>
                  </a:lnTo>
                  <a:lnTo>
                    <a:pt x="522" y="858"/>
                  </a:lnTo>
                  <a:lnTo>
                    <a:pt x="522" y="856"/>
                  </a:lnTo>
                  <a:lnTo>
                    <a:pt x="522" y="853"/>
                  </a:lnTo>
                  <a:lnTo>
                    <a:pt x="522" y="853"/>
                  </a:lnTo>
                  <a:lnTo>
                    <a:pt x="522" y="851"/>
                  </a:lnTo>
                  <a:lnTo>
                    <a:pt x="522" y="844"/>
                  </a:lnTo>
                  <a:lnTo>
                    <a:pt x="524" y="834"/>
                  </a:lnTo>
                  <a:lnTo>
                    <a:pt x="524" y="820"/>
                  </a:lnTo>
                  <a:lnTo>
                    <a:pt x="522" y="806"/>
                  </a:lnTo>
                  <a:lnTo>
                    <a:pt x="524" y="794"/>
                  </a:lnTo>
                  <a:lnTo>
                    <a:pt x="531" y="780"/>
                  </a:lnTo>
                  <a:lnTo>
                    <a:pt x="543" y="775"/>
                  </a:lnTo>
                  <a:lnTo>
                    <a:pt x="550" y="775"/>
                  </a:lnTo>
                  <a:lnTo>
                    <a:pt x="557" y="766"/>
                  </a:lnTo>
                  <a:lnTo>
                    <a:pt x="550" y="763"/>
                  </a:lnTo>
                  <a:lnTo>
                    <a:pt x="553" y="761"/>
                  </a:lnTo>
                  <a:lnTo>
                    <a:pt x="555" y="761"/>
                  </a:lnTo>
                  <a:lnTo>
                    <a:pt x="553" y="761"/>
                  </a:lnTo>
                  <a:lnTo>
                    <a:pt x="555" y="763"/>
                  </a:lnTo>
                  <a:lnTo>
                    <a:pt x="555" y="763"/>
                  </a:lnTo>
                  <a:lnTo>
                    <a:pt x="553" y="761"/>
                  </a:lnTo>
                  <a:lnTo>
                    <a:pt x="567" y="754"/>
                  </a:lnTo>
                  <a:lnTo>
                    <a:pt x="569" y="749"/>
                  </a:lnTo>
                  <a:lnTo>
                    <a:pt x="569" y="749"/>
                  </a:lnTo>
                  <a:lnTo>
                    <a:pt x="571" y="745"/>
                  </a:lnTo>
                  <a:lnTo>
                    <a:pt x="579" y="745"/>
                  </a:lnTo>
                  <a:lnTo>
                    <a:pt x="581" y="740"/>
                  </a:lnTo>
                  <a:lnTo>
                    <a:pt x="567" y="728"/>
                  </a:lnTo>
                  <a:lnTo>
                    <a:pt x="567" y="730"/>
                  </a:lnTo>
                  <a:lnTo>
                    <a:pt x="567" y="728"/>
                  </a:lnTo>
                  <a:lnTo>
                    <a:pt x="567" y="728"/>
                  </a:lnTo>
                  <a:lnTo>
                    <a:pt x="562" y="726"/>
                  </a:lnTo>
                  <a:lnTo>
                    <a:pt x="560" y="726"/>
                  </a:lnTo>
                  <a:lnTo>
                    <a:pt x="557" y="721"/>
                  </a:lnTo>
                  <a:lnTo>
                    <a:pt x="555" y="723"/>
                  </a:lnTo>
                  <a:lnTo>
                    <a:pt x="555" y="723"/>
                  </a:lnTo>
                  <a:lnTo>
                    <a:pt x="553" y="723"/>
                  </a:lnTo>
                  <a:lnTo>
                    <a:pt x="553" y="723"/>
                  </a:lnTo>
                  <a:lnTo>
                    <a:pt x="550" y="723"/>
                  </a:lnTo>
                  <a:lnTo>
                    <a:pt x="548" y="721"/>
                  </a:lnTo>
                  <a:lnTo>
                    <a:pt x="548" y="721"/>
                  </a:lnTo>
                  <a:lnTo>
                    <a:pt x="546" y="721"/>
                  </a:lnTo>
                  <a:lnTo>
                    <a:pt x="543" y="721"/>
                  </a:lnTo>
                  <a:lnTo>
                    <a:pt x="543" y="719"/>
                  </a:lnTo>
                  <a:lnTo>
                    <a:pt x="541" y="719"/>
                  </a:lnTo>
                  <a:lnTo>
                    <a:pt x="541" y="721"/>
                  </a:lnTo>
                  <a:lnTo>
                    <a:pt x="538" y="719"/>
                  </a:lnTo>
                  <a:lnTo>
                    <a:pt x="536" y="716"/>
                  </a:lnTo>
                  <a:lnTo>
                    <a:pt x="536" y="716"/>
                  </a:lnTo>
                  <a:lnTo>
                    <a:pt x="536" y="716"/>
                  </a:lnTo>
                  <a:lnTo>
                    <a:pt x="534" y="716"/>
                  </a:lnTo>
                  <a:lnTo>
                    <a:pt x="534" y="714"/>
                  </a:lnTo>
                  <a:lnTo>
                    <a:pt x="531" y="711"/>
                  </a:lnTo>
                  <a:lnTo>
                    <a:pt x="531" y="711"/>
                  </a:lnTo>
                  <a:lnTo>
                    <a:pt x="531" y="709"/>
                  </a:lnTo>
                  <a:lnTo>
                    <a:pt x="531" y="707"/>
                  </a:lnTo>
                  <a:lnTo>
                    <a:pt x="531" y="707"/>
                  </a:lnTo>
                  <a:lnTo>
                    <a:pt x="529" y="707"/>
                  </a:lnTo>
                  <a:lnTo>
                    <a:pt x="529" y="707"/>
                  </a:lnTo>
                  <a:lnTo>
                    <a:pt x="524" y="707"/>
                  </a:lnTo>
                  <a:lnTo>
                    <a:pt x="524" y="707"/>
                  </a:lnTo>
                  <a:lnTo>
                    <a:pt x="524" y="707"/>
                  </a:lnTo>
                  <a:lnTo>
                    <a:pt x="522" y="707"/>
                  </a:lnTo>
                  <a:lnTo>
                    <a:pt x="520" y="704"/>
                  </a:lnTo>
                  <a:lnTo>
                    <a:pt x="520" y="704"/>
                  </a:lnTo>
                  <a:lnTo>
                    <a:pt x="520" y="704"/>
                  </a:lnTo>
                  <a:lnTo>
                    <a:pt x="517" y="702"/>
                  </a:lnTo>
                  <a:lnTo>
                    <a:pt x="515" y="702"/>
                  </a:lnTo>
                  <a:lnTo>
                    <a:pt x="515" y="700"/>
                  </a:lnTo>
                  <a:lnTo>
                    <a:pt x="512" y="700"/>
                  </a:lnTo>
                  <a:lnTo>
                    <a:pt x="512" y="697"/>
                  </a:lnTo>
                  <a:lnTo>
                    <a:pt x="512" y="695"/>
                  </a:lnTo>
                  <a:lnTo>
                    <a:pt x="512" y="695"/>
                  </a:lnTo>
                  <a:lnTo>
                    <a:pt x="508" y="693"/>
                  </a:lnTo>
                  <a:lnTo>
                    <a:pt x="508" y="693"/>
                  </a:lnTo>
                  <a:lnTo>
                    <a:pt x="510" y="688"/>
                  </a:lnTo>
                  <a:lnTo>
                    <a:pt x="508" y="688"/>
                  </a:lnTo>
                  <a:lnTo>
                    <a:pt x="508" y="685"/>
                  </a:lnTo>
                  <a:lnTo>
                    <a:pt x="505" y="685"/>
                  </a:lnTo>
                  <a:lnTo>
                    <a:pt x="505" y="683"/>
                  </a:lnTo>
                  <a:lnTo>
                    <a:pt x="508" y="683"/>
                  </a:lnTo>
                  <a:lnTo>
                    <a:pt x="508" y="683"/>
                  </a:lnTo>
                  <a:lnTo>
                    <a:pt x="505" y="681"/>
                  </a:lnTo>
                  <a:lnTo>
                    <a:pt x="505" y="678"/>
                  </a:lnTo>
                  <a:lnTo>
                    <a:pt x="505" y="678"/>
                  </a:lnTo>
                  <a:lnTo>
                    <a:pt x="503" y="676"/>
                  </a:lnTo>
                  <a:lnTo>
                    <a:pt x="503" y="674"/>
                  </a:lnTo>
                  <a:lnTo>
                    <a:pt x="503" y="671"/>
                  </a:lnTo>
                  <a:lnTo>
                    <a:pt x="501" y="671"/>
                  </a:lnTo>
                  <a:lnTo>
                    <a:pt x="501" y="669"/>
                  </a:lnTo>
                  <a:lnTo>
                    <a:pt x="501" y="669"/>
                  </a:lnTo>
                  <a:lnTo>
                    <a:pt x="501" y="669"/>
                  </a:lnTo>
                  <a:lnTo>
                    <a:pt x="501" y="669"/>
                  </a:lnTo>
                  <a:lnTo>
                    <a:pt x="498" y="667"/>
                  </a:lnTo>
                  <a:lnTo>
                    <a:pt x="498" y="667"/>
                  </a:lnTo>
                  <a:lnTo>
                    <a:pt x="498" y="667"/>
                  </a:lnTo>
                  <a:lnTo>
                    <a:pt x="498" y="662"/>
                  </a:lnTo>
                  <a:lnTo>
                    <a:pt x="496" y="662"/>
                  </a:lnTo>
                  <a:lnTo>
                    <a:pt x="496" y="662"/>
                  </a:lnTo>
                  <a:lnTo>
                    <a:pt x="496" y="662"/>
                  </a:lnTo>
                  <a:lnTo>
                    <a:pt x="496" y="657"/>
                  </a:lnTo>
                  <a:lnTo>
                    <a:pt x="496" y="657"/>
                  </a:lnTo>
                  <a:lnTo>
                    <a:pt x="496" y="657"/>
                  </a:lnTo>
                  <a:lnTo>
                    <a:pt x="496" y="657"/>
                  </a:lnTo>
                  <a:lnTo>
                    <a:pt x="498" y="657"/>
                  </a:lnTo>
                  <a:lnTo>
                    <a:pt x="496" y="655"/>
                  </a:lnTo>
                  <a:lnTo>
                    <a:pt x="496" y="652"/>
                  </a:lnTo>
                  <a:lnTo>
                    <a:pt x="494" y="652"/>
                  </a:lnTo>
                  <a:lnTo>
                    <a:pt x="494" y="652"/>
                  </a:lnTo>
                  <a:lnTo>
                    <a:pt x="494" y="652"/>
                  </a:lnTo>
                  <a:lnTo>
                    <a:pt x="491" y="652"/>
                  </a:lnTo>
                  <a:lnTo>
                    <a:pt x="491" y="652"/>
                  </a:lnTo>
                  <a:lnTo>
                    <a:pt x="489" y="652"/>
                  </a:lnTo>
                  <a:lnTo>
                    <a:pt x="489" y="652"/>
                  </a:lnTo>
                  <a:lnTo>
                    <a:pt x="486" y="652"/>
                  </a:lnTo>
                  <a:lnTo>
                    <a:pt x="486" y="650"/>
                  </a:lnTo>
                  <a:lnTo>
                    <a:pt x="484" y="650"/>
                  </a:lnTo>
                  <a:lnTo>
                    <a:pt x="484" y="650"/>
                  </a:lnTo>
                  <a:lnTo>
                    <a:pt x="484" y="648"/>
                  </a:lnTo>
                  <a:lnTo>
                    <a:pt x="482" y="648"/>
                  </a:lnTo>
                  <a:lnTo>
                    <a:pt x="484" y="648"/>
                  </a:lnTo>
                  <a:lnTo>
                    <a:pt x="482" y="648"/>
                  </a:lnTo>
                  <a:lnTo>
                    <a:pt x="482" y="648"/>
                  </a:lnTo>
                  <a:lnTo>
                    <a:pt x="482" y="645"/>
                  </a:lnTo>
                  <a:lnTo>
                    <a:pt x="482" y="643"/>
                  </a:lnTo>
                  <a:lnTo>
                    <a:pt x="482" y="643"/>
                  </a:lnTo>
                  <a:lnTo>
                    <a:pt x="479" y="643"/>
                  </a:lnTo>
                  <a:lnTo>
                    <a:pt x="479" y="643"/>
                  </a:lnTo>
                  <a:lnTo>
                    <a:pt x="477" y="643"/>
                  </a:lnTo>
                  <a:lnTo>
                    <a:pt x="475" y="641"/>
                  </a:lnTo>
                  <a:lnTo>
                    <a:pt x="475" y="641"/>
                  </a:lnTo>
                  <a:lnTo>
                    <a:pt x="475" y="638"/>
                  </a:lnTo>
                  <a:lnTo>
                    <a:pt x="472" y="638"/>
                  </a:lnTo>
                  <a:lnTo>
                    <a:pt x="470" y="638"/>
                  </a:lnTo>
                  <a:lnTo>
                    <a:pt x="468" y="638"/>
                  </a:lnTo>
                  <a:lnTo>
                    <a:pt x="468" y="638"/>
                  </a:lnTo>
                  <a:lnTo>
                    <a:pt x="465" y="636"/>
                  </a:lnTo>
                  <a:lnTo>
                    <a:pt x="465" y="633"/>
                  </a:lnTo>
                  <a:lnTo>
                    <a:pt x="468" y="633"/>
                  </a:lnTo>
                  <a:lnTo>
                    <a:pt x="468" y="633"/>
                  </a:lnTo>
                  <a:lnTo>
                    <a:pt x="468" y="633"/>
                  </a:lnTo>
                  <a:lnTo>
                    <a:pt x="468" y="633"/>
                  </a:lnTo>
                  <a:lnTo>
                    <a:pt x="468" y="633"/>
                  </a:lnTo>
                  <a:lnTo>
                    <a:pt x="465" y="631"/>
                  </a:lnTo>
                  <a:lnTo>
                    <a:pt x="463" y="631"/>
                  </a:lnTo>
                  <a:lnTo>
                    <a:pt x="460" y="631"/>
                  </a:lnTo>
                  <a:lnTo>
                    <a:pt x="460" y="631"/>
                  </a:lnTo>
                  <a:lnTo>
                    <a:pt x="460" y="631"/>
                  </a:lnTo>
                  <a:lnTo>
                    <a:pt x="460" y="631"/>
                  </a:lnTo>
                  <a:lnTo>
                    <a:pt x="458" y="629"/>
                  </a:lnTo>
                  <a:lnTo>
                    <a:pt x="458" y="629"/>
                  </a:lnTo>
                  <a:lnTo>
                    <a:pt x="458" y="629"/>
                  </a:lnTo>
                  <a:lnTo>
                    <a:pt x="458" y="629"/>
                  </a:lnTo>
                  <a:lnTo>
                    <a:pt x="458" y="629"/>
                  </a:lnTo>
                  <a:lnTo>
                    <a:pt x="456" y="631"/>
                  </a:lnTo>
                  <a:lnTo>
                    <a:pt x="456" y="631"/>
                  </a:lnTo>
                  <a:lnTo>
                    <a:pt x="456" y="631"/>
                  </a:lnTo>
                  <a:lnTo>
                    <a:pt x="453" y="633"/>
                  </a:lnTo>
                  <a:lnTo>
                    <a:pt x="453" y="631"/>
                  </a:lnTo>
                  <a:lnTo>
                    <a:pt x="451" y="633"/>
                  </a:lnTo>
                  <a:lnTo>
                    <a:pt x="451" y="633"/>
                  </a:lnTo>
                  <a:lnTo>
                    <a:pt x="449" y="633"/>
                  </a:lnTo>
                  <a:lnTo>
                    <a:pt x="449" y="633"/>
                  </a:lnTo>
                  <a:lnTo>
                    <a:pt x="449" y="631"/>
                  </a:lnTo>
                  <a:lnTo>
                    <a:pt x="449" y="631"/>
                  </a:lnTo>
                  <a:lnTo>
                    <a:pt x="449" y="631"/>
                  </a:lnTo>
                  <a:lnTo>
                    <a:pt x="444" y="629"/>
                  </a:lnTo>
                  <a:lnTo>
                    <a:pt x="444" y="629"/>
                  </a:lnTo>
                  <a:lnTo>
                    <a:pt x="442" y="626"/>
                  </a:lnTo>
                  <a:lnTo>
                    <a:pt x="404" y="598"/>
                  </a:lnTo>
                  <a:lnTo>
                    <a:pt x="406" y="596"/>
                  </a:lnTo>
                  <a:lnTo>
                    <a:pt x="404" y="596"/>
                  </a:lnTo>
                  <a:lnTo>
                    <a:pt x="404" y="593"/>
                  </a:lnTo>
                  <a:lnTo>
                    <a:pt x="404" y="593"/>
                  </a:lnTo>
                  <a:lnTo>
                    <a:pt x="404" y="591"/>
                  </a:lnTo>
                  <a:lnTo>
                    <a:pt x="404" y="591"/>
                  </a:lnTo>
                  <a:lnTo>
                    <a:pt x="404" y="591"/>
                  </a:lnTo>
                  <a:lnTo>
                    <a:pt x="404" y="591"/>
                  </a:lnTo>
                  <a:lnTo>
                    <a:pt x="404" y="589"/>
                  </a:lnTo>
                  <a:lnTo>
                    <a:pt x="404" y="591"/>
                  </a:lnTo>
                  <a:lnTo>
                    <a:pt x="401" y="586"/>
                  </a:lnTo>
                  <a:lnTo>
                    <a:pt x="401" y="586"/>
                  </a:lnTo>
                  <a:lnTo>
                    <a:pt x="399" y="586"/>
                  </a:lnTo>
                  <a:lnTo>
                    <a:pt x="401" y="584"/>
                  </a:lnTo>
                  <a:lnTo>
                    <a:pt x="397" y="579"/>
                  </a:lnTo>
                  <a:lnTo>
                    <a:pt x="397" y="579"/>
                  </a:lnTo>
                  <a:lnTo>
                    <a:pt x="394" y="577"/>
                  </a:lnTo>
                  <a:lnTo>
                    <a:pt x="392" y="577"/>
                  </a:lnTo>
                  <a:lnTo>
                    <a:pt x="392" y="577"/>
                  </a:lnTo>
                  <a:lnTo>
                    <a:pt x="392" y="577"/>
                  </a:lnTo>
                  <a:lnTo>
                    <a:pt x="392" y="577"/>
                  </a:lnTo>
                  <a:lnTo>
                    <a:pt x="390" y="574"/>
                  </a:lnTo>
                  <a:lnTo>
                    <a:pt x="390" y="574"/>
                  </a:lnTo>
                  <a:lnTo>
                    <a:pt x="390" y="572"/>
                  </a:lnTo>
                  <a:lnTo>
                    <a:pt x="390" y="572"/>
                  </a:lnTo>
                  <a:lnTo>
                    <a:pt x="378" y="572"/>
                  </a:lnTo>
                  <a:lnTo>
                    <a:pt x="375" y="570"/>
                  </a:lnTo>
                  <a:lnTo>
                    <a:pt x="375" y="570"/>
                  </a:lnTo>
                  <a:lnTo>
                    <a:pt x="373" y="570"/>
                  </a:lnTo>
                  <a:lnTo>
                    <a:pt x="373" y="570"/>
                  </a:lnTo>
                  <a:lnTo>
                    <a:pt x="371" y="570"/>
                  </a:lnTo>
                  <a:lnTo>
                    <a:pt x="371" y="567"/>
                  </a:lnTo>
                  <a:lnTo>
                    <a:pt x="366" y="567"/>
                  </a:lnTo>
                  <a:lnTo>
                    <a:pt x="364" y="570"/>
                  </a:lnTo>
                  <a:lnTo>
                    <a:pt x="361" y="567"/>
                  </a:lnTo>
                  <a:lnTo>
                    <a:pt x="359" y="570"/>
                  </a:lnTo>
                  <a:lnTo>
                    <a:pt x="357" y="570"/>
                  </a:lnTo>
                  <a:lnTo>
                    <a:pt x="357" y="570"/>
                  </a:lnTo>
                  <a:lnTo>
                    <a:pt x="354" y="567"/>
                  </a:lnTo>
                  <a:lnTo>
                    <a:pt x="354" y="567"/>
                  </a:lnTo>
                  <a:lnTo>
                    <a:pt x="354" y="565"/>
                  </a:lnTo>
                  <a:lnTo>
                    <a:pt x="352" y="565"/>
                  </a:lnTo>
                  <a:lnTo>
                    <a:pt x="349" y="563"/>
                  </a:lnTo>
                  <a:lnTo>
                    <a:pt x="349" y="563"/>
                  </a:lnTo>
                  <a:lnTo>
                    <a:pt x="349" y="560"/>
                  </a:lnTo>
                  <a:lnTo>
                    <a:pt x="349" y="560"/>
                  </a:lnTo>
                  <a:lnTo>
                    <a:pt x="349" y="563"/>
                  </a:lnTo>
                  <a:lnTo>
                    <a:pt x="347" y="563"/>
                  </a:lnTo>
                  <a:lnTo>
                    <a:pt x="345" y="560"/>
                  </a:lnTo>
                  <a:lnTo>
                    <a:pt x="345" y="563"/>
                  </a:lnTo>
                  <a:lnTo>
                    <a:pt x="345" y="563"/>
                  </a:lnTo>
                  <a:lnTo>
                    <a:pt x="345" y="560"/>
                  </a:lnTo>
                  <a:lnTo>
                    <a:pt x="345" y="560"/>
                  </a:lnTo>
                  <a:lnTo>
                    <a:pt x="345" y="560"/>
                  </a:lnTo>
                  <a:lnTo>
                    <a:pt x="345" y="558"/>
                  </a:lnTo>
                  <a:lnTo>
                    <a:pt x="340" y="558"/>
                  </a:lnTo>
                  <a:lnTo>
                    <a:pt x="340" y="558"/>
                  </a:lnTo>
                  <a:lnTo>
                    <a:pt x="342" y="556"/>
                  </a:lnTo>
                  <a:lnTo>
                    <a:pt x="342" y="556"/>
                  </a:lnTo>
                  <a:lnTo>
                    <a:pt x="340" y="556"/>
                  </a:lnTo>
                  <a:lnTo>
                    <a:pt x="338" y="553"/>
                  </a:lnTo>
                  <a:lnTo>
                    <a:pt x="338" y="553"/>
                  </a:lnTo>
                  <a:lnTo>
                    <a:pt x="338" y="551"/>
                  </a:lnTo>
                  <a:lnTo>
                    <a:pt x="338" y="551"/>
                  </a:lnTo>
                  <a:lnTo>
                    <a:pt x="335" y="551"/>
                  </a:lnTo>
                  <a:lnTo>
                    <a:pt x="338" y="548"/>
                  </a:lnTo>
                  <a:lnTo>
                    <a:pt x="335" y="548"/>
                  </a:lnTo>
                  <a:lnTo>
                    <a:pt x="335" y="548"/>
                  </a:lnTo>
                  <a:lnTo>
                    <a:pt x="335" y="548"/>
                  </a:lnTo>
                  <a:lnTo>
                    <a:pt x="335" y="546"/>
                  </a:lnTo>
                  <a:lnTo>
                    <a:pt x="335" y="548"/>
                  </a:lnTo>
                  <a:lnTo>
                    <a:pt x="333" y="546"/>
                  </a:lnTo>
                  <a:lnTo>
                    <a:pt x="331" y="548"/>
                  </a:lnTo>
                  <a:lnTo>
                    <a:pt x="331" y="548"/>
                  </a:lnTo>
                  <a:lnTo>
                    <a:pt x="331" y="548"/>
                  </a:lnTo>
                  <a:lnTo>
                    <a:pt x="331" y="548"/>
                  </a:lnTo>
                  <a:lnTo>
                    <a:pt x="331" y="551"/>
                  </a:lnTo>
                  <a:lnTo>
                    <a:pt x="331" y="553"/>
                  </a:lnTo>
                  <a:lnTo>
                    <a:pt x="328" y="553"/>
                  </a:lnTo>
                  <a:lnTo>
                    <a:pt x="328" y="553"/>
                  </a:lnTo>
                  <a:lnTo>
                    <a:pt x="328" y="556"/>
                  </a:lnTo>
                  <a:lnTo>
                    <a:pt x="328" y="556"/>
                  </a:lnTo>
                  <a:lnTo>
                    <a:pt x="326" y="556"/>
                  </a:lnTo>
                  <a:lnTo>
                    <a:pt x="326" y="556"/>
                  </a:lnTo>
                  <a:lnTo>
                    <a:pt x="323" y="553"/>
                  </a:lnTo>
                  <a:lnTo>
                    <a:pt x="321" y="553"/>
                  </a:lnTo>
                  <a:lnTo>
                    <a:pt x="321" y="553"/>
                  </a:lnTo>
                  <a:lnTo>
                    <a:pt x="321" y="551"/>
                  </a:lnTo>
                  <a:lnTo>
                    <a:pt x="319" y="551"/>
                  </a:lnTo>
                  <a:lnTo>
                    <a:pt x="319" y="551"/>
                  </a:lnTo>
                  <a:lnTo>
                    <a:pt x="316" y="551"/>
                  </a:lnTo>
                  <a:lnTo>
                    <a:pt x="316" y="548"/>
                  </a:lnTo>
                  <a:lnTo>
                    <a:pt x="316" y="548"/>
                  </a:lnTo>
                  <a:lnTo>
                    <a:pt x="314" y="548"/>
                  </a:lnTo>
                  <a:lnTo>
                    <a:pt x="316" y="548"/>
                  </a:lnTo>
                  <a:lnTo>
                    <a:pt x="314" y="548"/>
                  </a:lnTo>
                  <a:lnTo>
                    <a:pt x="312" y="548"/>
                  </a:lnTo>
                  <a:lnTo>
                    <a:pt x="312" y="546"/>
                  </a:lnTo>
                  <a:lnTo>
                    <a:pt x="307" y="546"/>
                  </a:lnTo>
                  <a:lnTo>
                    <a:pt x="305" y="546"/>
                  </a:lnTo>
                  <a:lnTo>
                    <a:pt x="305" y="546"/>
                  </a:lnTo>
                  <a:lnTo>
                    <a:pt x="305" y="546"/>
                  </a:lnTo>
                  <a:lnTo>
                    <a:pt x="305" y="541"/>
                  </a:lnTo>
                  <a:lnTo>
                    <a:pt x="302" y="539"/>
                  </a:lnTo>
                  <a:lnTo>
                    <a:pt x="305" y="539"/>
                  </a:lnTo>
                  <a:lnTo>
                    <a:pt x="302" y="537"/>
                  </a:lnTo>
                  <a:lnTo>
                    <a:pt x="300" y="537"/>
                  </a:lnTo>
                  <a:lnTo>
                    <a:pt x="300" y="537"/>
                  </a:lnTo>
                  <a:lnTo>
                    <a:pt x="302" y="537"/>
                  </a:lnTo>
                  <a:lnTo>
                    <a:pt x="300" y="534"/>
                  </a:lnTo>
                  <a:lnTo>
                    <a:pt x="300" y="534"/>
                  </a:lnTo>
                  <a:lnTo>
                    <a:pt x="300" y="532"/>
                  </a:lnTo>
                  <a:lnTo>
                    <a:pt x="300" y="532"/>
                  </a:lnTo>
                  <a:lnTo>
                    <a:pt x="300" y="532"/>
                  </a:lnTo>
                  <a:lnTo>
                    <a:pt x="300" y="532"/>
                  </a:lnTo>
                  <a:lnTo>
                    <a:pt x="297" y="530"/>
                  </a:lnTo>
                  <a:lnTo>
                    <a:pt x="297" y="532"/>
                  </a:lnTo>
                  <a:lnTo>
                    <a:pt x="295" y="532"/>
                  </a:lnTo>
                  <a:lnTo>
                    <a:pt x="295" y="530"/>
                  </a:lnTo>
                  <a:lnTo>
                    <a:pt x="295" y="530"/>
                  </a:lnTo>
                  <a:lnTo>
                    <a:pt x="293" y="530"/>
                  </a:lnTo>
                  <a:lnTo>
                    <a:pt x="293" y="530"/>
                  </a:lnTo>
                  <a:lnTo>
                    <a:pt x="293" y="527"/>
                  </a:lnTo>
                  <a:lnTo>
                    <a:pt x="293" y="527"/>
                  </a:lnTo>
                  <a:lnTo>
                    <a:pt x="293" y="527"/>
                  </a:lnTo>
                  <a:lnTo>
                    <a:pt x="293" y="527"/>
                  </a:lnTo>
                  <a:lnTo>
                    <a:pt x="293" y="525"/>
                  </a:lnTo>
                  <a:lnTo>
                    <a:pt x="295" y="522"/>
                  </a:lnTo>
                  <a:lnTo>
                    <a:pt x="293" y="522"/>
                  </a:lnTo>
                  <a:lnTo>
                    <a:pt x="290" y="520"/>
                  </a:lnTo>
                  <a:lnTo>
                    <a:pt x="290" y="522"/>
                  </a:lnTo>
                  <a:lnTo>
                    <a:pt x="290" y="520"/>
                  </a:lnTo>
                  <a:lnTo>
                    <a:pt x="290" y="520"/>
                  </a:lnTo>
                  <a:lnTo>
                    <a:pt x="290" y="518"/>
                  </a:lnTo>
                  <a:lnTo>
                    <a:pt x="290" y="518"/>
                  </a:lnTo>
                  <a:lnTo>
                    <a:pt x="288" y="518"/>
                  </a:lnTo>
                  <a:lnTo>
                    <a:pt x="288" y="515"/>
                  </a:lnTo>
                  <a:lnTo>
                    <a:pt x="288" y="515"/>
                  </a:lnTo>
                  <a:lnTo>
                    <a:pt x="286" y="515"/>
                  </a:lnTo>
                  <a:lnTo>
                    <a:pt x="286" y="515"/>
                  </a:lnTo>
                  <a:lnTo>
                    <a:pt x="283" y="515"/>
                  </a:lnTo>
                  <a:lnTo>
                    <a:pt x="283" y="515"/>
                  </a:lnTo>
                  <a:lnTo>
                    <a:pt x="283" y="513"/>
                  </a:lnTo>
                  <a:lnTo>
                    <a:pt x="281" y="513"/>
                  </a:lnTo>
                  <a:lnTo>
                    <a:pt x="281" y="513"/>
                  </a:lnTo>
                  <a:lnTo>
                    <a:pt x="281" y="511"/>
                  </a:lnTo>
                  <a:lnTo>
                    <a:pt x="281" y="511"/>
                  </a:lnTo>
                  <a:lnTo>
                    <a:pt x="281" y="511"/>
                  </a:lnTo>
                  <a:lnTo>
                    <a:pt x="281" y="508"/>
                  </a:lnTo>
                  <a:lnTo>
                    <a:pt x="281" y="508"/>
                  </a:lnTo>
                  <a:lnTo>
                    <a:pt x="281" y="508"/>
                  </a:lnTo>
                  <a:lnTo>
                    <a:pt x="279" y="508"/>
                  </a:lnTo>
                  <a:lnTo>
                    <a:pt x="276" y="506"/>
                  </a:lnTo>
                  <a:lnTo>
                    <a:pt x="274" y="506"/>
                  </a:lnTo>
                  <a:lnTo>
                    <a:pt x="274" y="506"/>
                  </a:lnTo>
                  <a:lnTo>
                    <a:pt x="274" y="504"/>
                  </a:lnTo>
                  <a:lnTo>
                    <a:pt x="274" y="504"/>
                  </a:lnTo>
                  <a:lnTo>
                    <a:pt x="271" y="501"/>
                  </a:lnTo>
                  <a:lnTo>
                    <a:pt x="271" y="501"/>
                  </a:lnTo>
                  <a:lnTo>
                    <a:pt x="271" y="499"/>
                  </a:lnTo>
                  <a:lnTo>
                    <a:pt x="269" y="499"/>
                  </a:lnTo>
                  <a:lnTo>
                    <a:pt x="267" y="499"/>
                  </a:lnTo>
                  <a:lnTo>
                    <a:pt x="267" y="499"/>
                  </a:lnTo>
                  <a:lnTo>
                    <a:pt x="267" y="496"/>
                  </a:lnTo>
                  <a:lnTo>
                    <a:pt x="264" y="496"/>
                  </a:lnTo>
                  <a:lnTo>
                    <a:pt x="264" y="494"/>
                  </a:lnTo>
                  <a:lnTo>
                    <a:pt x="264" y="494"/>
                  </a:lnTo>
                  <a:lnTo>
                    <a:pt x="264" y="492"/>
                  </a:lnTo>
                  <a:lnTo>
                    <a:pt x="262" y="492"/>
                  </a:lnTo>
                  <a:lnTo>
                    <a:pt x="262" y="492"/>
                  </a:lnTo>
                  <a:lnTo>
                    <a:pt x="262" y="492"/>
                  </a:lnTo>
                  <a:lnTo>
                    <a:pt x="262" y="492"/>
                  </a:lnTo>
                  <a:lnTo>
                    <a:pt x="260" y="492"/>
                  </a:lnTo>
                  <a:lnTo>
                    <a:pt x="257" y="492"/>
                  </a:lnTo>
                  <a:lnTo>
                    <a:pt x="257" y="492"/>
                  </a:lnTo>
                  <a:lnTo>
                    <a:pt x="257" y="492"/>
                  </a:lnTo>
                  <a:lnTo>
                    <a:pt x="255" y="492"/>
                  </a:lnTo>
                  <a:lnTo>
                    <a:pt x="255" y="492"/>
                  </a:lnTo>
                  <a:lnTo>
                    <a:pt x="255" y="494"/>
                  </a:lnTo>
                  <a:lnTo>
                    <a:pt x="253" y="494"/>
                  </a:lnTo>
                  <a:lnTo>
                    <a:pt x="253" y="494"/>
                  </a:lnTo>
                  <a:lnTo>
                    <a:pt x="253" y="496"/>
                  </a:lnTo>
                  <a:lnTo>
                    <a:pt x="253" y="496"/>
                  </a:lnTo>
                  <a:lnTo>
                    <a:pt x="253" y="496"/>
                  </a:lnTo>
                  <a:lnTo>
                    <a:pt x="253" y="499"/>
                  </a:lnTo>
                  <a:lnTo>
                    <a:pt x="255" y="501"/>
                  </a:lnTo>
                  <a:lnTo>
                    <a:pt x="253" y="501"/>
                  </a:lnTo>
                  <a:lnTo>
                    <a:pt x="253" y="501"/>
                  </a:lnTo>
                  <a:lnTo>
                    <a:pt x="253" y="504"/>
                  </a:lnTo>
                  <a:lnTo>
                    <a:pt x="253" y="504"/>
                  </a:lnTo>
                  <a:lnTo>
                    <a:pt x="253" y="506"/>
                  </a:lnTo>
                  <a:lnTo>
                    <a:pt x="253" y="506"/>
                  </a:lnTo>
                  <a:lnTo>
                    <a:pt x="250" y="506"/>
                  </a:lnTo>
                  <a:lnTo>
                    <a:pt x="248" y="506"/>
                  </a:lnTo>
                  <a:lnTo>
                    <a:pt x="248" y="506"/>
                  </a:lnTo>
                  <a:lnTo>
                    <a:pt x="248" y="504"/>
                  </a:lnTo>
                  <a:lnTo>
                    <a:pt x="245" y="506"/>
                  </a:lnTo>
                  <a:lnTo>
                    <a:pt x="245" y="506"/>
                  </a:lnTo>
                  <a:lnTo>
                    <a:pt x="245" y="504"/>
                  </a:lnTo>
                  <a:lnTo>
                    <a:pt x="243" y="504"/>
                  </a:lnTo>
                  <a:lnTo>
                    <a:pt x="245" y="506"/>
                  </a:lnTo>
                  <a:lnTo>
                    <a:pt x="243" y="506"/>
                  </a:lnTo>
                  <a:lnTo>
                    <a:pt x="243" y="508"/>
                  </a:lnTo>
                  <a:lnTo>
                    <a:pt x="243" y="508"/>
                  </a:lnTo>
                  <a:lnTo>
                    <a:pt x="243" y="511"/>
                  </a:lnTo>
                  <a:lnTo>
                    <a:pt x="241" y="511"/>
                  </a:lnTo>
                  <a:lnTo>
                    <a:pt x="241" y="511"/>
                  </a:lnTo>
                  <a:lnTo>
                    <a:pt x="241" y="513"/>
                  </a:lnTo>
                  <a:lnTo>
                    <a:pt x="238" y="511"/>
                  </a:lnTo>
                  <a:lnTo>
                    <a:pt x="238" y="513"/>
                  </a:lnTo>
                  <a:lnTo>
                    <a:pt x="236" y="513"/>
                  </a:lnTo>
                  <a:lnTo>
                    <a:pt x="234" y="513"/>
                  </a:lnTo>
                  <a:lnTo>
                    <a:pt x="234" y="513"/>
                  </a:lnTo>
                  <a:lnTo>
                    <a:pt x="234" y="515"/>
                  </a:lnTo>
                  <a:lnTo>
                    <a:pt x="231" y="518"/>
                  </a:lnTo>
                  <a:lnTo>
                    <a:pt x="231" y="518"/>
                  </a:lnTo>
                  <a:lnTo>
                    <a:pt x="229" y="518"/>
                  </a:lnTo>
                  <a:lnTo>
                    <a:pt x="227" y="518"/>
                  </a:lnTo>
                  <a:lnTo>
                    <a:pt x="227" y="522"/>
                  </a:lnTo>
                  <a:lnTo>
                    <a:pt x="224" y="522"/>
                  </a:lnTo>
                  <a:lnTo>
                    <a:pt x="224" y="522"/>
                  </a:lnTo>
                  <a:lnTo>
                    <a:pt x="224" y="522"/>
                  </a:lnTo>
                  <a:lnTo>
                    <a:pt x="222" y="520"/>
                  </a:lnTo>
                  <a:lnTo>
                    <a:pt x="220" y="522"/>
                  </a:lnTo>
                  <a:lnTo>
                    <a:pt x="220" y="522"/>
                  </a:lnTo>
                  <a:lnTo>
                    <a:pt x="217" y="522"/>
                  </a:lnTo>
                  <a:lnTo>
                    <a:pt x="217" y="522"/>
                  </a:lnTo>
                  <a:lnTo>
                    <a:pt x="215" y="522"/>
                  </a:lnTo>
                  <a:lnTo>
                    <a:pt x="212" y="522"/>
                  </a:lnTo>
                  <a:lnTo>
                    <a:pt x="210" y="522"/>
                  </a:lnTo>
                  <a:lnTo>
                    <a:pt x="210" y="522"/>
                  </a:lnTo>
                  <a:lnTo>
                    <a:pt x="208" y="522"/>
                  </a:lnTo>
                  <a:lnTo>
                    <a:pt x="208" y="522"/>
                  </a:lnTo>
                  <a:lnTo>
                    <a:pt x="208" y="518"/>
                  </a:lnTo>
                  <a:lnTo>
                    <a:pt x="208" y="513"/>
                  </a:lnTo>
                  <a:lnTo>
                    <a:pt x="208" y="511"/>
                  </a:lnTo>
                  <a:lnTo>
                    <a:pt x="208" y="508"/>
                  </a:lnTo>
                  <a:lnTo>
                    <a:pt x="208" y="508"/>
                  </a:lnTo>
                  <a:lnTo>
                    <a:pt x="208" y="506"/>
                  </a:lnTo>
                  <a:lnTo>
                    <a:pt x="208" y="506"/>
                  </a:lnTo>
                  <a:lnTo>
                    <a:pt x="208" y="506"/>
                  </a:lnTo>
                  <a:lnTo>
                    <a:pt x="208" y="501"/>
                  </a:lnTo>
                  <a:lnTo>
                    <a:pt x="208" y="501"/>
                  </a:lnTo>
                  <a:lnTo>
                    <a:pt x="208" y="499"/>
                  </a:lnTo>
                  <a:lnTo>
                    <a:pt x="210" y="494"/>
                  </a:lnTo>
                  <a:lnTo>
                    <a:pt x="210" y="494"/>
                  </a:lnTo>
                  <a:lnTo>
                    <a:pt x="210" y="492"/>
                  </a:lnTo>
                  <a:lnTo>
                    <a:pt x="208" y="492"/>
                  </a:lnTo>
                  <a:lnTo>
                    <a:pt x="208" y="489"/>
                  </a:lnTo>
                  <a:lnTo>
                    <a:pt x="208" y="487"/>
                  </a:lnTo>
                  <a:lnTo>
                    <a:pt x="208" y="487"/>
                  </a:lnTo>
                  <a:lnTo>
                    <a:pt x="208" y="487"/>
                  </a:lnTo>
                  <a:lnTo>
                    <a:pt x="205" y="487"/>
                  </a:lnTo>
                  <a:lnTo>
                    <a:pt x="205" y="485"/>
                  </a:lnTo>
                  <a:lnTo>
                    <a:pt x="205" y="485"/>
                  </a:lnTo>
                  <a:lnTo>
                    <a:pt x="203" y="485"/>
                  </a:lnTo>
                  <a:lnTo>
                    <a:pt x="203" y="482"/>
                  </a:lnTo>
                  <a:lnTo>
                    <a:pt x="203" y="482"/>
                  </a:lnTo>
                  <a:lnTo>
                    <a:pt x="203" y="482"/>
                  </a:lnTo>
                  <a:lnTo>
                    <a:pt x="201" y="482"/>
                  </a:lnTo>
                  <a:lnTo>
                    <a:pt x="201" y="482"/>
                  </a:lnTo>
                  <a:lnTo>
                    <a:pt x="201" y="480"/>
                  </a:lnTo>
                  <a:lnTo>
                    <a:pt x="201" y="478"/>
                  </a:lnTo>
                  <a:lnTo>
                    <a:pt x="198" y="478"/>
                  </a:lnTo>
                  <a:lnTo>
                    <a:pt x="198" y="480"/>
                  </a:lnTo>
                  <a:lnTo>
                    <a:pt x="196" y="480"/>
                  </a:lnTo>
                  <a:lnTo>
                    <a:pt x="196" y="478"/>
                  </a:lnTo>
                  <a:lnTo>
                    <a:pt x="194" y="478"/>
                  </a:lnTo>
                  <a:lnTo>
                    <a:pt x="194" y="478"/>
                  </a:lnTo>
                  <a:lnTo>
                    <a:pt x="191" y="478"/>
                  </a:lnTo>
                  <a:lnTo>
                    <a:pt x="191" y="478"/>
                  </a:lnTo>
                  <a:lnTo>
                    <a:pt x="194" y="475"/>
                  </a:lnTo>
                  <a:lnTo>
                    <a:pt x="191" y="475"/>
                  </a:lnTo>
                  <a:lnTo>
                    <a:pt x="191" y="475"/>
                  </a:lnTo>
                  <a:lnTo>
                    <a:pt x="189" y="473"/>
                  </a:lnTo>
                  <a:lnTo>
                    <a:pt x="189" y="473"/>
                  </a:lnTo>
                  <a:lnTo>
                    <a:pt x="191" y="470"/>
                  </a:lnTo>
                  <a:lnTo>
                    <a:pt x="191" y="470"/>
                  </a:lnTo>
                  <a:lnTo>
                    <a:pt x="189" y="470"/>
                  </a:lnTo>
                  <a:lnTo>
                    <a:pt x="189" y="468"/>
                  </a:lnTo>
                  <a:lnTo>
                    <a:pt x="186" y="466"/>
                  </a:lnTo>
                  <a:lnTo>
                    <a:pt x="189" y="466"/>
                  </a:lnTo>
                  <a:lnTo>
                    <a:pt x="186" y="463"/>
                  </a:lnTo>
                  <a:lnTo>
                    <a:pt x="184" y="463"/>
                  </a:lnTo>
                  <a:lnTo>
                    <a:pt x="186" y="461"/>
                  </a:lnTo>
                  <a:lnTo>
                    <a:pt x="184" y="461"/>
                  </a:lnTo>
                  <a:lnTo>
                    <a:pt x="182" y="461"/>
                  </a:lnTo>
                  <a:lnTo>
                    <a:pt x="179" y="459"/>
                  </a:lnTo>
                  <a:lnTo>
                    <a:pt x="179" y="459"/>
                  </a:lnTo>
                  <a:lnTo>
                    <a:pt x="179" y="459"/>
                  </a:lnTo>
                  <a:lnTo>
                    <a:pt x="179" y="459"/>
                  </a:lnTo>
                  <a:lnTo>
                    <a:pt x="179" y="456"/>
                  </a:lnTo>
                  <a:lnTo>
                    <a:pt x="179" y="456"/>
                  </a:lnTo>
                  <a:lnTo>
                    <a:pt x="177" y="456"/>
                  </a:lnTo>
                  <a:lnTo>
                    <a:pt x="177" y="459"/>
                  </a:lnTo>
                  <a:lnTo>
                    <a:pt x="175" y="459"/>
                  </a:lnTo>
                  <a:lnTo>
                    <a:pt x="175" y="456"/>
                  </a:lnTo>
                  <a:lnTo>
                    <a:pt x="177" y="456"/>
                  </a:lnTo>
                  <a:lnTo>
                    <a:pt x="175" y="454"/>
                  </a:lnTo>
                  <a:lnTo>
                    <a:pt x="175" y="454"/>
                  </a:lnTo>
                  <a:lnTo>
                    <a:pt x="175" y="454"/>
                  </a:lnTo>
                  <a:lnTo>
                    <a:pt x="172" y="454"/>
                  </a:lnTo>
                  <a:lnTo>
                    <a:pt x="172" y="454"/>
                  </a:lnTo>
                  <a:lnTo>
                    <a:pt x="172" y="452"/>
                  </a:lnTo>
                  <a:lnTo>
                    <a:pt x="172" y="452"/>
                  </a:lnTo>
                  <a:lnTo>
                    <a:pt x="172" y="449"/>
                  </a:lnTo>
                  <a:lnTo>
                    <a:pt x="172" y="449"/>
                  </a:lnTo>
                  <a:lnTo>
                    <a:pt x="172" y="449"/>
                  </a:lnTo>
                  <a:lnTo>
                    <a:pt x="170" y="452"/>
                  </a:lnTo>
                  <a:lnTo>
                    <a:pt x="168" y="449"/>
                  </a:lnTo>
                  <a:lnTo>
                    <a:pt x="165" y="449"/>
                  </a:lnTo>
                  <a:lnTo>
                    <a:pt x="165" y="449"/>
                  </a:lnTo>
                  <a:lnTo>
                    <a:pt x="165" y="447"/>
                  </a:lnTo>
                  <a:lnTo>
                    <a:pt x="165" y="447"/>
                  </a:lnTo>
                  <a:lnTo>
                    <a:pt x="163" y="447"/>
                  </a:lnTo>
                  <a:lnTo>
                    <a:pt x="163" y="447"/>
                  </a:lnTo>
                  <a:lnTo>
                    <a:pt x="163" y="447"/>
                  </a:lnTo>
                  <a:lnTo>
                    <a:pt x="160" y="447"/>
                  </a:lnTo>
                  <a:lnTo>
                    <a:pt x="160" y="447"/>
                  </a:lnTo>
                  <a:lnTo>
                    <a:pt x="160" y="447"/>
                  </a:lnTo>
                  <a:lnTo>
                    <a:pt x="160" y="445"/>
                  </a:lnTo>
                  <a:lnTo>
                    <a:pt x="158" y="445"/>
                  </a:lnTo>
                  <a:lnTo>
                    <a:pt x="158" y="445"/>
                  </a:lnTo>
                  <a:lnTo>
                    <a:pt x="158" y="442"/>
                  </a:lnTo>
                  <a:lnTo>
                    <a:pt x="158" y="442"/>
                  </a:lnTo>
                  <a:lnTo>
                    <a:pt x="158" y="442"/>
                  </a:lnTo>
                  <a:lnTo>
                    <a:pt x="158" y="440"/>
                  </a:lnTo>
                  <a:lnTo>
                    <a:pt x="156" y="440"/>
                  </a:lnTo>
                  <a:lnTo>
                    <a:pt x="156" y="437"/>
                  </a:lnTo>
                  <a:lnTo>
                    <a:pt x="156" y="437"/>
                  </a:lnTo>
                  <a:lnTo>
                    <a:pt x="153" y="437"/>
                  </a:lnTo>
                  <a:lnTo>
                    <a:pt x="151" y="437"/>
                  </a:lnTo>
                  <a:lnTo>
                    <a:pt x="153" y="435"/>
                  </a:lnTo>
                  <a:lnTo>
                    <a:pt x="151" y="435"/>
                  </a:lnTo>
                  <a:lnTo>
                    <a:pt x="151" y="430"/>
                  </a:lnTo>
                  <a:lnTo>
                    <a:pt x="149" y="433"/>
                  </a:lnTo>
                  <a:lnTo>
                    <a:pt x="146" y="435"/>
                  </a:lnTo>
                  <a:lnTo>
                    <a:pt x="146" y="435"/>
                  </a:lnTo>
                  <a:lnTo>
                    <a:pt x="146" y="433"/>
                  </a:lnTo>
                  <a:lnTo>
                    <a:pt x="144" y="430"/>
                  </a:lnTo>
                  <a:lnTo>
                    <a:pt x="144" y="430"/>
                  </a:lnTo>
                  <a:lnTo>
                    <a:pt x="144" y="428"/>
                  </a:lnTo>
                  <a:lnTo>
                    <a:pt x="139" y="428"/>
                  </a:lnTo>
                  <a:lnTo>
                    <a:pt x="139" y="428"/>
                  </a:lnTo>
                  <a:lnTo>
                    <a:pt x="139" y="426"/>
                  </a:lnTo>
                  <a:lnTo>
                    <a:pt x="142" y="426"/>
                  </a:lnTo>
                  <a:lnTo>
                    <a:pt x="142" y="423"/>
                  </a:lnTo>
                  <a:lnTo>
                    <a:pt x="139" y="421"/>
                  </a:lnTo>
                  <a:lnTo>
                    <a:pt x="139" y="423"/>
                  </a:lnTo>
                  <a:lnTo>
                    <a:pt x="137" y="421"/>
                  </a:lnTo>
                  <a:lnTo>
                    <a:pt x="137" y="419"/>
                  </a:lnTo>
                  <a:lnTo>
                    <a:pt x="134" y="421"/>
                  </a:lnTo>
                  <a:lnTo>
                    <a:pt x="132" y="421"/>
                  </a:lnTo>
                  <a:lnTo>
                    <a:pt x="132" y="421"/>
                  </a:lnTo>
                  <a:lnTo>
                    <a:pt x="130" y="421"/>
                  </a:lnTo>
                  <a:lnTo>
                    <a:pt x="132" y="419"/>
                  </a:lnTo>
                  <a:lnTo>
                    <a:pt x="132" y="416"/>
                  </a:lnTo>
                  <a:lnTo>
                    <a:pt x="130" y="416"/>
                  </a:lnTo>
                  <a:lnTo>
                    <a:pt x="127" y="414"/>
                  </a:lnTo>
                  <a:lnTo>
                    <a:pt x="127" y="414"/>
                  </a:lnTo>
                  <a:lnTo>
                    <a:pt x="130" y="414"/>
                  </a:lnTo>
                  <a:lnTo>
                    <a:pt x="130" y="414"/>
                  </a:lnTo>
                  <a:lnTo>
                    <a:pt x="127" y="411"/>
                  </a:lnTo>
                  <a:lnTo>
                    <a:pt x="127" y="411"/>
                  </a:lnTo>
                  <a:lnTo>
                    <a:pt x="125" y="411"/>
                  </a:lnTo>
                  <a:lnTo>
                    <a:pt x="125" y="409"/>
                  </a:lnTo>
                  <a:lnTo>
                    <a:pt x="127" y="409"/>
                  </a:lnTo>
                  <a:lnTo>
                    <a:pt x="127" y="409"/>
                  </a:lnTo>
                  <a:lnTo>
                    <a:pt x="125" y="409"/>
                  </a:lnTo>
                  <a:lnTo>
                    <a:pt x="125" y="409"/>
                  </a:lnTo>
                  <a:lnTo>
                    <a:pt x="125" y="407"/>
                  </a:lnTo>
                  <a:lnTo>
                    <a:pt x="123" y="409"/>
                  </a:lnTo>
                  <a:lnTo>
                    <a:pt x="123" y="407"/>
                  </a:lnTo>
                  <a:lnTo>
                    <a:pt x="120" y="409"/>
                  </a:lnTo>
                  <a:lnTo>
                    <a:pt x="118" y="407"/>
                  </a:lnTo>
                  <a:lnTo>
                    <a:pt x="118" y="404"/>
                  </a:lnTo>
                  <a:lnTo>
                    <a:pt x="118" y="404"/>
                  </a:lnTo>
                  <a:lnTo>
                    <a:pt x="116" y="404"/>
                  </a:lnTo>
                  <a:lnTo>
                    <a:pt x="113" y="402"/>
                  </a:lnTo>
                  <a:lnTo>
                    <a:pt x="111" y="402"/>
                  </a:lnTo>
                  <a:lnTo>
                    <a:pt x="108" y="402"/>
                  </a:lnTo>
                  <a:lnTo>
                    <a:pt x="111" y="400"/>
                  </a:lnTo>
                  <a:lnTo>
                    <a:pt x="111" y="397"/>
                  </a:lnTo>
                  <a:lnTo>
                    <a:pt x="108" y="397"/>
                  </a:lnTo>
                  <a:lnTo>
                    <a:pt x="106" y="395"/>
                  </a:lnTo>
                  <a:lnTo>
                    <a:pt x="106" y="395"/>
                  </a:lnTo>
                  <a:lnTo>
                    <a:pt x="104" y="395"/>
                  </a:lnTo>
                  <a:lnTo>
                    <a:pt x="101" y="393"/>
                  </a:lnTo>
                  <a:lnTo>
                    <a:pt x="101" y="393"/>
                  </a:lnTo>
                  <a:lnTo>
                    <a:pt x="99" y="393"/>
                  </a:lnTo>
                  <a:lnTo>
                    <a:pt x="99" y="393"/>
                  </a:lnTo>
                  <a:lnTo>
                    <a:pt x="97" y="393"/>
                  </a:lnTo>
                  <a:lnTo>
                    <a:pt x="94" y="395"/>
                  </a:lnTo>
                  <a:lnTo>
                    <a:pt x="94" y="395"/>
                  </a:lnTo>
                  <a:lnTo>
                    <a:pt x="92" y="395"/>
                  </a:lnTo>
                  <a:lnTo>
                    <a:pt x="92" y="395"/>
                  </a:lnTo>
                  <a:lnTo>
                    <a:pt x="92" y="395"/>
                  </a:lnTo>
                  <a:lnTo>
                    <a:pt x="90" y="393"/>
                  </a:lnTo>
                  <a:lnTo>
                    <a:pt x="87" y="395"/>
                  </a:lnTo>
                  <a:lnTo>
                    <a:pt x="85" y="395"/>
                  </a:lnTo>
                  <a:lnTo>
                    <a:pt x="85" y="393"/>
                  </a:lnTo>
                  <a:lnTo>
                    <a:pt x="83" y="393"/>
                  </a:lnTo>
                  <a:lnTo>
                    <a:pt x="80" y="393"/>
                  </a:lnTo>
                  <a:lnTo>
                    <a:pt x="78" y="393"/>
                  </a:lnTo>
                  <a:lnTo>
                    <a:pt x="78" y="395"/>
                  </a:lnTo>
                  <a:lnTo>
                    <a:pt x="78" y="395"/>
                  </a:lnTo>
                  <a:lnTo>
                    <a:pt x="75" y="395"/>
                  </a:lnTo>
                  <a:lnTo>
                    <a:pt x="73" y="395"/>
                  </a:lnTo>
                  <a:lnTo>
                    <a:pt x="73" y="393"/>
                  </a:lnTo>
                  <a:lnTo>
                    <a:pt x="73" y="393"/>
                  </a:lnTo>
                  <a:lnTo>
                    <a:pt x="73" y="393"/>
                  </a:lnTo>
                  <a:lnTo>
                    <a:pt x="73" y="393"/>
                  </a:lnTo>
                  <a:lnTo>
                    <a:pt x="71" y="395"/>
                  </a:lnTo>
                  <a:lnTo>
                    <a:pt x="71" y="395"/>
                  </a:lnTo>
                  <a:lnTo>
                    <a:pt x="71" y="395"/>
                  </a:lnTo>
                  <a:lnTo>
                    <a:pt x="71" y="397"/>
                  </a:lnTo>
                  <a:lnTo>
                    <a:pt x="71" y="397"/>
                  </a:lnTo>
                  <a:lnTo>
                    <a:pt x="68" y="395"/>
                  </a:lnTo>
                  <a:lnTo>
                    <a:pt x="68" y="397"/>
                  </a:lnTo>
                  <a:lnTo>
                    <a:pt x="68" y="397"/>
                  </a:lnTo>
                  <a:lnTo>
                    <a:pt x="68" y="400"/>
                  </a:lnTo>
                  <a:lnTo>
                    <a:pt x="68" y="400"/>
                  </a:lnTo>
                  <a:lnTo>
                    <a:pt x="66" y="400"/>
                  </a:lnTo>
                  <a:lnTo>
                    <a:pt x="64" y="404"/>
                  </a:lnTo>
                  <a:lnTo>
                    <a:pt x="61" y="404"/>
                  </a:lnTo>
                  <a:lnTo>
                    <a:pt x="61" y="407"/>
                  </a:lnTo>
                  <a:lnTo>
                    <a:pt x="61" y="407"/>
                  </a:lnTo>
                  <a:lnTo>
                    <a:pt x="61" y="409"/>
                  </a:lnTo>
                  <a:lnTo>
                    <a:pt x="61" y="409"/>
                  </a:lnTo>
                  <a:lnTo>
                    <a:pt x="61" y="409"/>
                  </a:lnTo>
                  <a:lnTo>
                    <a:pt x="61" y="409"/>
                  </a:lnTo>
                  <a:lnTo>
                    <a:pt x="61" y="411"/>
                  </a:lnTo>
                  <a:lnTo>
                    <a:pt x="61" y="411"/>
                  </a:lnTo>
                  <a:lnTo>
                    <a:pt x="61" y="414"/>
                  </a:lnTo>
                  <a:lnTo>
                    <a:pt x="61" y="414"/>
                  </a:lnTo>
                  <a:lnTo>
                    <a:pt x="59" y="414"/>
                  </a:lnTo>
                  <a:lnTo>
                    <a:pt x="57" y="416"/>
                  </a:lnTo>
                  <a:lnTo>
                    <a:pt x="57" y="419"/>
                  </a:lnTo>
                  <a:lnTo>
                    <a:pt x="54" y="419"/>
                  </a:lnTo>
                  <a:lnTo>
                    <a:pt x="52" y="419"/>
                  </a:lnTo>
                  <a:lnTo>
                    <a:pt x="49" y="419"/>
                  </a:lnTo>
                  <a:lnTo>
                    <a:pt x="49" y="419"/>
                  </a:lnTo>
                  <a:lnTo>
                    <a:pt x="49" y="416"/>
                  </a:lnTo>
                  <a:lnTo>
                    <a:pt x="49" y="419"/>
                  </a:lnTo>
                  <a:lnTo>
                    <a:pt x="49" y="419"/>
                  </a:lnTo>
                  <a:lnTo>
                    <a:pt x="47" y="421"/>
                  </a:lnTo>
                  <a:lnTo>
                    <a:pt x="45" y="421"/>
                  </a:lnTo>
                  <a:lnTo>
                    <a:pt x="45" y="419"/>
                  </a:lnTo>
                  <a:lnTo>
                    <a:pt x="42" y="416"/>
                  </a:lnTo>
                  <a:lnTo>
                    <a:pt x="42" y="414"/>
                  </a:lnTo>
                  <a:lnTo>
                    <a:pt x="42" y="416"/>
                  </a:lnTo>
                  <a:lnTo>
                    <a:pt x="38" y="419"/>
                  </a:lnTo>
                  <a:lnTo>
                    <a:pt x="35" y="416"/>
                  </a:lnTo>
                  <a:lnTo>
                    <a:pt x="35" y="419"/>
                  </a:lnTo>
                  <a:lnTo>
                    <a:pt x="33" y="419"/>
                  </a:lnTo>
                  <a:lnTo>
                    <a:pt x="33" y="421"/>
                  </a:lnTo>
                  <a:lnTo>
                    <a:pt x="33" y="421"/>
                  </a:lnTo>
                  <a:lnTo>
                    <a:pt x="31" y="421"/>
                  </a:lnTo>
                  <a:lnTo>
                    <a:pt x="28" y="421"/>
                  </a:lnTo>
                  <a:lnTo>
                    <a:pt x="28" y="419"/>
                  </a:lnTo>
                  <a:lnTo>
                    <a:pt x="28" y="419"/>
                  </a:lnTo>
                  <a:lnTo>
                    <a:pt x="28" y="419"/>
                  </a:lnTo>
                  <a:lnTo>
                    <a:pt x="26" y="419"/>
                  </a:lnTo>
                  <a:lnTo>
                    <a:pt x="23" y="416"/>
                  </a:lnTo>
                  <a:lnTo>
                    <a:pt x="21" y="416"/>
                  </a:lnTo>
                  <a:lnTo>
                    <a:pt x="19" y="416"/>
                  </a:lnTo>
                  <a:lnTo>
                    <a:pt x="19" y="419"/>
                  </a:lnTo>
                  <a:lnTo>
                    <a:pt x="16" y="419"/>
                  </a:lnTo>
                  <a:lnTo>
                    <a:pt x="12" y="419"/>
                  </a:lnTo>
                  <a:lnTo>
                    <a:pt x="12" y="416"/>
                  </a:lnTo>
                  <a:lnTo>
                    <a:pt x="9" y="414"/>
                  </a:lnTo>
                  <a:lnTo>
                    <a:pt x="12" y="409"/>
                  </a:lnTo>
                  <a:lnTo>
                    <a:pt x="9" y="409"/>
                  </a:lnTo>
                  <a:lnTo>
                    <a:pt x="5" y="407"/>
                  </a:lnTo>
                  <a:lnTo>
                    <a:pt x="2" y="404"/>
                  </a:lnTo>
                  <a:lnTo>
                    <a:pt x="0" y="407"/>
                  </a:lnTo>
                  <a:lnTo>
                    <a:pt x="2" y="404"/>
                  </a:lnTo>
                  <a:lnTo>
                    <a:pt x="7" y="404"/>
                  </a:lnTo>
                  <a:lnTo>
                    <a:pt x="12" y="402"/>
                  </a:lnTo>
                  <a:lnTo>
                    <a:pt x="21" y="397"/>
                  </a:lnTo>
                  <a:lnTo>
                    <a:pt x="23" y="395"/>
                  </a:lnTo>
                  <a:lnTo>
                    <a:pt x="26" y="390"/>
                  </a:lnTo>
                  <a:lnTo>
                    <a:pt x="28" y="388"/>
                  </a:lnTo>
                  <a:lnTo>
                    <a:pt x="31" y="385"/>
                  </a:lnTo>
                  <a:lnTo>
                    <a:pt x="38" y="381"/>
                  </a:lnTo>
                  <a:lnTo>
                    <a:pt x="40" y="378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 cap="flat">
              <a:solidFill>
                <a:schemeClr val="bg2">
                  <a:lumMod val="7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>
                <a:solidFill>
                  <a:srgbClr val="000000"/>
                </a:solidFill>
              </a:endParaRPr>
            </a:p>
          </p:txBody>
        </p:sp>
        <p:sp>
          <p:nvSpPr>
            <p:cNvPr id="10" name="Freeform 34"/>
            <p:cNvSpPr>
              <a:spLocks noEditPoints="1"/>
            </p:cNvSpPr>
            <p:nvPr/>
          </p:nvSpPr>
          <p:spPr bwMode="gray">
            <a:xfrm>
              <a:off x="2252029" y="5814744"/>
              <a:ext cx="561591" cy="388669"/>
            </a:xfrm>
            <a:custGeom>
              <a:avLst/>
              <a:gdLst/>
              <a:ahLst/>
              <a:cxnLst>
                <a:cxn ang="0">
                  <a:pos x="10" y="144"/>
                </a:cxn>
                <a:cxn ang="0">
                  <a:pos x="21" y="118"/>
                </a:cxn>
                <a:cxn ang="0">
                  <a:pos x="12" y="96"/>
                </a:cxn>
                <a:cxn ang="0">
                  <a:pos x="14" y="78"/>
                </a:cxn>
                <a:cxn ang="0">
                  <a:pos x="17" y="56"/>
                </a:cxn>
                <a:cxn ang="0">
                  <a:pos x="59" y="37"/>
                </a:cxn>
                <a:cxn ang="0">
                  <a:pos x="102" y="54"/>
                </a:cxn>
                <a:cxn ang="0">
                  <a:pos x="154" y="61"/>
                </a:cxn>
                <a:cxn ang="0">
                  <a:pos x="203" y="68"/>
                </a:cxn>
                <a:cxn ang="0">
                  <a:pos x="258" y="82"/>
                </a:cxn>
                <a:cxn ang="0">
                  <a:pos x="317" y="92"/>
                </a:cxn>
                <a:cxn ang="0">
                  <a:pos x="324" y="66"/>
                </a:cxn>
                <a:cxn ang="0">
                  <a:pos x="347" y="42"/>
                </a:cxn>
                <a:cxn ang="0">
                  <a:pos x="392" y="37"/>
                </a:cxn>
                <a:cxn ang="0">
                  <a:pos x="423" y="9"/>
                </a:cxn>
                <a:cxn ang="0">
                  <a:pos x="444" y="21"/>
                </a:cxn>
                <a:cxn ang="0">
                  <a:pos x="468" y="14"/>
                </a:cxn>
                <a:cxn ang="0">
                  <a:pos x="499" y="11"/>
                </a:cxn>
                <a:cxn ang="0">
                  <a:pos x="522" y="28"/>
                </a:cxn>
                <a:cxn ang="0">
                  <a:pos x="543" y="35"/>
                </a:cxn>
                <a:cxn ang="0">
                  <a:pos x="562" y="26"/>
                </a:cxn>
                <a:cxn ang="0">
                  <a:pos x="581" y="16"/>
                </a:cxn>
                <a:cxn ang="0">
                  <a:pos x="607" y="9"/>
                </a:cxn>
                <a:cxn ang="0">
                  <a:pos x="664" y="7"/>
                </a:cxn>
                <a:cxn ang="0">
                  <a:pos x="654" y="106"/>
                </a:cxn>
                <a:cxn ang="0">
                  <a:pos x="664" y="137"/>
                </a:cxn>
                <a:cxn ang="0">
                  <a:pos x="678" y="156"/>
                </a:cxn>
                <a:cxn ang="0">
                  <a:pos x="666" y="179"/>
                </a:cxn>
                <a:cxn ang="0">
                  <a:pos x="664" y="193"/>
                </a:cxn>
                <a:cxn ang="0">
                  <a:pos x="664" y="229"/>
                </a:cxn>
                <a:cxn ang="0">
                  <a:pos x="664" y="271"/>
                </a:cxn>
                <a:cxn ang="0">
                  <a:pos x="650" y="311"/>
                </a:cxn>
                <a:cxn ang="0">
                  <a:pos x="588" y="373"/>
                </a:cxn>
                <a:cxn ang="0">
                  <a:pos x="506" y="432"/>
                </a:cxn>
                <a:cxn ang="0">
                  <a:pos x="477" y="444"/>
                </a:cxn>
                <a:cxn ang="0">
                  <a:pos x="470" y="427"/>
                </a:cxn>
                <a:cxn ang="0">
                  <a:pos x="477" y="422"/>
                </a:cxn>
                <a:cxn ang="0">
                  <a:pos x="491" y="408"/>
                </a:cxn>
                <a:cxn ang="0">
                  <a:pos x="494" y="389"/>
                </a:cxn>
                <a:cxn ang="0">
                  <a:pos x="491" y="368"/>
                </a:cxn>
                <a:cxn ang="0">
                  <a:pos x="508" y="359"/>
                </a:cxn>
                <a:cxn ang="0">
                  <a:pos x="517" y="340"/>
                </a:cxn>
                <a:cxn ang="0">
                  <a:pos x="506" y="326"/>
                </a:cxn>
                <a:cxn ang="0">
                  <a:pos x="470" y="328"/>
                </a:cxn>
                <a:cxn ang="0">
                  <a:pos x="444" y="326"/>
                </a:cxn>
                <a:cxn ang="0">
                  <a:pos x="402" y="311"/>
                </a:cxn>
                <a:cxn ang="0">
                  <a:pos x="373" y="276"/>
                </a:cxn>
                <a:cxn ang="0">
                  <a:pos x="343" y="243"/>
                </a:cxn>
                <a:cxn ang="0">
                  <a:pos x="302" y="217"/>
                </a:cxn>
                <a:cxn ang="0">
                  <a:pos x="274" y="203"/>
                </a:cxn>
                <a:cxn ang="0">
                  <a:pos x="243" y="198"/>
                </a:cxn>
                <a:cxn ang="0">
                  <a:pos x="220" y="179"/>
                </a:cxn>
                <a:cxn ang="0">
                  <a:pos x="194" y="179"/>
                </a:cxn>
                <a:cxn ang="0">
                  <a:pos x="161" y="170"/>
                </a:cxn>
                <a:cxn ang="0">
                  <a:pos x="128" y="165"/>
                </a:cxn>
                <a:cxn ang="0">
                  <a:pos x="102" y="148"/>
                </a:cxn>
                <a:cxn ang="0">
                  <a:pos x="66" y="153"/>
                </a:cxn>
                <a:cxn ang="0">
                  <a:pos x="28" y="163"/>
                </a:cxn>
                <a:cxn ang="0">
                  <a:pos x="671" y="222"/>
                </a:cxn>
                <a:cxn ang="0">
                  <a:pos x="673" y="196"/>
                </a:cxn>
                <a:cxn ang="0">
                  <a:pos x="688" y="215"/>
                </a:cxn>
                <a:cxn ang="0">
                  <a:pos x="669" y="245"/>
                </a:cxn>
              </a:cxnLst>
              <a:rect l="0" t="0" r="r" b="b"/>
              <a:pathLst>
                <a:path w="695" h="444">
                  <a:moveTo>
                    <a:pt x="0" y="160"/>
                  </a:moveTo>
                  <a:lnTo>
                    <a:pt x="0" y="158"/>
                  </a:lnTo>
                  <a:lnTo>
                    <a:pt x="0" y="158"/>
                  </a:lnTo>
                  <a:lnTo>
                    <a:pt x="0" y="156"/>
                  </a:lnTo>
                  <a:lnTo>
                    <a:pt x="5" y="156"/>
                  </a:lnTo>
                  <a:lnTo>
                    <a:pt x="5" y="156"/>
                  </a:lnTo>
                  <a:lnTo>
                    <a:pt x="2" y="156"/>
                  </a:lnTo>
                  <a:lnTo>
                    <a:pt x="0" y="153"/>
                  </a:lnTo>
                  <a:lnTo>
                    <a:pt x="2" y="153"/>
                  </a:lnTo>
                  <a:lnTo>
                    <a:pt x="2" y="153"/>
                  </a:lnTo>
                  <a:lnTo>
                    <a:pt x="2" y="153"/>
                  </a:lnTo>
                  <a:lnTo>
                    <a:pt x="2" y="151"/>
                  </a:lnTo>
                  <a:lnTo>
                    <a:pt x="2" y="151"/>
                  </a:lnTo>
                  <a:lnTo>
                    <a:pt x="2" y="151"/>
                  </a:lnTo>
                  <a:lnTo>
                    <a:pt x="2" y="151"/>
                  </a:lnTo>
                  <a:lnTo>
                    <a:pt x="2" y="151"/>
                  </a:lnTo>
                  <a:lnTo>
                    <a:pt x="5" y="151"/>
                  </a:lnTo>
                  <a:lnTo>
                    <a:pt x="7" y="151"/>
                  </a:lnTo>
                  <a:lnTo>
                    <a:pt x="2" y="148"/>
                  </a:lnTo>
                  <a:lnTo>
                    <a:pt x="2" y="146"/>
                  </a:lnTo>
                  <a:lnTo>
                    <a:pt x="5" y="146"/>
                  </a:lnTo>
                  <a:lnTo>
                    <a:pt x="7" y="146"/>
                  </a:lnTo>
                  <a:lnTo>
                    <a:pt x="7" y="146"/>
                  </a:lnTo>
                  <a:lnTo>
                    <a:pt x="7" y="146"/>
                  </a:lnTo>
                  <a:lnTo>
                    <a:pt x="7" y="146"/>
                  </a:lnTo>
                  <a:lnTo>
                    <a:pt x="5" y="144"/>
                  </a:lnTo>
                  <a:lnTo>
                    <a:pt x="2" y="144"/>
                  </a:lnTo>
                  <a:lnTo>
                    <a:pt x="5" y="144"/>
                  </a:lnTo>
                  <a:lnTo>
                    <a:pt x="7" y="144"/>
                  </a:lnTo>
                  <a:lnTo>
                    <a:pt x="7" y="146"/>
                  </a:lnTo>
                  <a:lnTo>
                    <a:pt x="10" y="146"/>
                  </a:lnTo>
                  <a:lnTo>
                    <a:pt x="10" y="144"/>
                  </a:lnTo>
                  <a:lnTo>
                    <a:pt x="7" y="144"/>
                  </a:lnTo>
                  <a:lnTo>
                    <a:pt x="7" y="141"/>
                  </a:lnTo>
                  <a:lnTo>
                    <a:pt x="7" y="141"/>
                  </a:lnTo>
                  <a:lnTo>
                    <a:pt x="10" y="144"/>
                  </a:lnTo>
                  <a:lnTo>
                    <a:pt x="10" y="141"/>
                  </a:lnTo>
                  <a:lnTo>
                    <a:pt x="10" y="141"/>
                  </a:lnTo>
                  <a:lnTo>
                    <a:pt x="10" y="141"/>
                  </a:lnTo>
                  <a:lnTo>
                    <a:pt x="10" y="139"/>
                  </a:lnTo>
                  <a:lnTo>
                    <a:pt x="10" y="137"/>
                  </a:lnTo>
                  <a:lnTo>
                    <a:pt x="10" y="137"/>
                  </a:lnTo>
                  <a:lnTo>
                    <a:pt x="12" y="139"/>
                  </a:lnTo>
                  <a:lnTo>
                    <a:pt x="12" y="137"/>
                  </a:lnTo>
                  <a:lnTo>
                    <a:pt x="12" y="137"/>
                  </a:lnTo>
                  <a:lnTo>
                    <a:pt x="14" y="137"/>
                  </a:lnTo>
                  <a:lnTo>
                    <a:pt x="14" y="137"/>
                  </a:lnTo>
                  <a:lnTo>
                    <a:pt x="14" y="134"/>
                  </a:lnTo>
                  <a:lnTo>
                    <a:pt x="12" y="134"/>
                  </a:lnTo>
                  <a:lnTo>
                    <a:pt x="12" y="134"/>
                  </a:lnTo>
                  <a:lnTo>
                    <a:pt x="12" y="132"/>
                  </a:lnTo>
                  <a:lnTo>
                    <a:pt x="14" y="132"/>
                  </a:lnTo>
                  <a:lnTo>
                    <a:pt x="17" y="132"/>
                  </a:lnTo>
                  <a:lnTo>
                    <a:pt x="17" y="132"/>
                  </a:lnTo>
                  <a:lnTo>
                    <a:pt x="17" y="130"/>
                  </a:lnTo>
                  <a:lnTo>
                    <a:pt x="17" y="127"/>
                  </a:lnTo>
                  <a:lnTo>
                    <a:pt x="19" y="130"/>
                  </a:lnTo>
                  <a:lnTo>
                    <a:pt x="19" y="130"/>
                  </a:lnTo>
                  <a:lnTo>
                    <a:pt x="21" y="130"/>
                  </a:lnTo>
                  <a:lnTo>
                    <a:pt x="19" y="130"/>
                  </a:lnTo>
                  <a:lnTo>
                    <a:pt x="17" y="127"/>
                  </a:lnTo>
                  <a:lnTo>
                    <a:pt x="19" y="127"/>
                  </a:lnTo>
                  <a:lnTo>
                    <a:pt x="19" y="125"/>
                  </a:lnTo>
                  <a:lnTo>
                    <a:pt x="19" y="125"/>
                  </a:lnTo>
                  <a:lnTo>
                    <a:pt x="19" y="122"/>
                  </a:lnTo>
                  <a:lnTo>
                    <a:pt x="17" y="122"/>
                  </a:lnTo>
                  <a:lnTo>
                    <a:pt x="19" y="120"/>
                  </a:lnTo>
                  <a:lnTo>
                    <a:pt x="19" y="120"/>
                  </a:lnTo>
                  <a:lnTo>
                    <a:pt x="17" y="120"/>
                  </a:lnTo>
                  <a:lnTo>
                    <a:pt x="17" y="118"/>
                  </a:lnTo>
                  <a:lnTo>
                    <a:pt x="21" y="120"/>
                  </a:lnTo>
                  <a:lnTo>
                    <a:pt x="21" y="118"/>
                  </a:lnTo>
                  <a:lnTo>
                    <a:pt x="21" y="118"/>
                  </a:lnTo>
                  <a:lnTo>
                    <a:pt x="19" y="118"/>
                  </a:lnTo>
                  <a:lnTo>
                    <a:pt x="17" y="118"/>
                  </a:lnTo>
                  <a:lnTo>
                    <a:pt x="17" y="115"/>
                  </a:lnTo>
                  <a:lnTo>
                    <a:pt x="19" y="115"/>
                  </a:lnTo>
                  <a:lnTo>
                    <a:pt x="17" y="115"/>
                  </a:lnTo>
                  <a:lnTo>
                    <a:pt x="17" y="113"/>
                  </a:lnTo>
                  <a:lnTo>
                    <a:pt x="17" y="113"/>
                  </a:lnTo>
                  <a:lnTo>
                    <a:pt x="17" y="111"/>
                  </a:lnTo>
                  <a:lnTo>
                    <a:pt x="17" y="113"/>
                  </a:lnTo>
                  <a:lnTo>
                    <a:pt x="17" y="113"/>
                  </a:lnTo>
                  <a:lnTo>
                    <a:pt x="17" y="111"/>
                  </a:lnTo>
                  <a:lnTo>
                    <a:pt x="17" y="111"/>
                  </a:lnTo>
                  <a:lnTo>
                    <a:pt x="14" y="108"/>
                  </a:lnTo>
                  <a:lnTo>
                    <a:pt x="14" y="108"/>
                  </a:lnTo>
                  <a:lnTo>
                    <a:pt x="17" y="108"/>
                  </a:lnTo>
                  <a:lnTo>
                    <a:pt x="17" y="106"/>
                  </a:lnTo>
                  <a:lnTo>
                    <a:pt x="14" y="106"/>
                  </a:lnTo>
                  <a:lnTo>
                    <a:pt x="14" y="108"/>
                  </a:lnTo>
                  <a:lnTo>
                    <a:pt x="12" y="108"/>
                  </a:lnTo>
                  <a:lnTo>
                    <a:pt x="12" y="106"/>
                  </a:lnTo>
                  <a:lnTo>
                    <a:pt x="12" y="106"/>
                  </a:lnTo>
                  <a:lnTo>
                    <a:pt x="14" y="106"/>
                  </a:lnTo>
                  <a:lnTo>
                    <a:pt x="14" y="106"/>
                  </a:lnTo>
                  <a:lnTo>
                    <a:pt x="14" y="104"/>
                  </a:lnTo>
                  <a:lnTo>
                    <a:pt x="14" y="104"/>
                  </a:lnTo>
                  <a:lnTo>
                    <a:pt x="12" y="101"/>
                  </a:lnTo>
                  <a:lnTo>
                    <a:pt x="12" y="104"/>
                  </a:lnTo>
                  <a:lnTo>
                    <a:pt x="10" y="104"/>
                  </a:lnTo>
                  <a:lnTo>
                    <a:pt x="12" y="101"/>
                  </a:lnTo>
                  <a:lnTo>
                    <a:pt x="10" y="101"/>
                  </a:lnTo>
                  <a:lnTo>
                    <a:pt x="10" y="99"/>
                  </a:lnTo>
                  <a:lnTo>
                    <a:pt x="10" y="101"/>
                  </a:lnTo>
                  <a:lnTo>
                    <a:pt x="12" y="99"/>
                  </a:lnTo>
                  <a:lnTo>
                    <a:pt x="12" y="99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14" y="96"/>
                  </a:lnTo>
                  <a:lnTo>
                    <a:pt x="12" y="94"/>
                  </a:lnTo>
                  <a:lnTo>
                    <a:pt x="12" y="94"/>
                  </a:lnTo>
                  <a:lnTo>
                    <a:pt x="14" y="94"/>
                  </a:lnTo>
                  <a:lnTo>
                    <a:pt x="14" y="92"/>
                  </a:lnTo>
                  <a:lnTo>
                    <a:pt x="14" y="92"/>
                  </a:lnTo>
                  <a:lnTo>
                    <a:pt x="14" y="92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0" y="89"/>
                  </a:lnTo>
                  <a:lnTo>
                    <a:pt x="10" y="89"/>
                  </a:lnTo>
                  <a:lnTo>
                    <a:pt x="12" y="89"/>
                  </a:lnTo>
                  <a:lnTo>
                    <a:pt x="12" y="89"/>
                  </a:lnTo>
                  <a:lnTo>
                    <a:pt x="12" y="89"/>
                  </a:lnTo>
                  <a:lnTo>
                    <a:pt x="12" y="87"/>
                  </a:lnTo>
                  <a:lnTo>
                    <a:pt x="12" y="87"/>
                  </a:lnTo>
                  <a:lnTo>
                    <a:pt x="12" y="87"/>
                  </a:lnTo>
                  <a:lnTo>
                    <a:pt x="12" y="85"/>
                  </a:lnTo>
                  <a:lnTo>
                    <a:pt x="12" y="85"/>
                  </a:lnTo>
                  <a:lnTo>
                    <a:pt x="12" y="82"/>
                  </a:lnTo>
                  <a:lnTo>
                    <a:pt x="14" y="82"/>
                  </a:lnTo>
                  <a:lnTo>
                    <a:pt x="14" y="80"/>
                  </a:lnTo>
                  <a:lnTo>
                    <a:pt x="17" y="80"/>
                  </a:lnTo>
                  <a:lnTo>
                    <a:pt x="17" y="80"/>
                  </a:lnTo>
                  <a:lnTo>
                    <a:pt x="14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4" y="80"/>
                  </a:lnTo>
                  <a:lnTo>
                    <a:pt x="12" y="78"/>
                  </a:lnTo>
                  <a:lnTo>
                    <a:pt x="12" y="78"/>
                  </a:lnTo>
                  <a:lnTo>
                    <a:pt x="12" y="78"/>
                  </a:lnTo>
                  <a:lnTo>
                    <a:pt x="14" y="78"/>
                  </a:lnTo>
                  <a:lnTo>
                    <a:pt x="14" y="78"/>
                  </a:lnTo>
                  <a:lnTo>
                    <a:pt x="14" y="75"/>
                  </a:lnTo>
                  <a:lnTo>
                    <a:pt x="12" y="75"/>
                  </a:lnTo>
                  <a:lnTo>
                    <a:pt x="12" y="73"/>
                  </a:lnTo>
                  <a:lnTo>
                    <a:pt x="14" y="73"/>
                  </a:lnTo>
                  <a:lnTo>
                    <a:pt x="14" y="73"/>
                  </a:lnTo>
                  <a:lnTo>
                    <a:pt x="14" y="73"/>
                  </a:lnTo>
                  <a:lnTo>
                    <a:pt x="17" y="73"/>
                  </a:lnTo>
                  <a:lnTo>
                    <a:pt x="17" y="70"/>
                  </a:lnTo>
                  <a:lnTo>
                    <a:pt x="17" y="70"/>
                  </a:lnTo>
                  <a:lnTo>
                    <a:pt x="17" y="70"/>
                  </a:lnTo>
                  <a:lnTo>
                    <a:pt x="17" y="68"/>
                  </a:lnTo>
                  <a:lnTo>
                    <a:pt x="17" y="68"/>
                  </a:lnTo>
                  <a:lnTo>
                    <a:pt x="17" y="68"/>
                  </a:lnTo>
                  <a:lnTo>
                    <a:pt x="17" y="70"/>
                  </a:lnTo>
                  <a:lnTo>
                    <a:pt x="17" y="68"/>
                  </a:lnTo>
                  <a:lnTo>
                    <a:pt x="14" y="68"/>
                  </a:lnTo>
                  <a:lnTo>
                    <a:pt x="17" y="68"/>
                  </a:lnTo>
                  <a:lnTo>
                    <a:pt x="17" y="68"/>
                  </a:lnTo>
                  <a:lnTo>
                    <a:pt x="17" y="66"/>
                  </a:lnTo>
                  <a:lnTo>
                    <a:pt x="17" y="66"/>
                  </a:lnTo>
                  <a:lnTo>
                    <a:pt x="17" y="63"/>
                  </a:lnTo>
                  <a:lnTo>
                    <a:pt x="17" y="63"/>
                  </a:lnTo>
                  <a:lnTo>
                    <a:pt x="17" y="63"/>
                  </a:lnTo>
                  <a:lnTo>
                    <a:pt x="19" y="63"/>
                  </a:lnTo>
                  <a:lnTo>
                    <a:pt x="19" y="63"/>
                  </a:lnTo>
                  <a:lnTo>
                    <a:pt x="17" y="63"/>
                  </a:lnTo>
                  <a:lnTo>
                    <a:pt x="17" y="61"/>
                  </a:lnTo>
                  <a:lnTo>
                    <a:pt x="17" y="61"/>
                  </a:lnTo>
                  <a:lnTo>
                    <a:pt x="17" y="61"/>
                  </a:lnTo>
                  <a:lnTo>
                    <a:pt x="17" y="61"/>
                  </a:lnTo>
                  <a:lnTo>
                    <a:pt x="17" y="59"/>
                  </a:lnTo>
                  <a:lnTo>
                    <a:pt x="17" y="59"/>
                  </a:lnTo>
                  <a:lnTo>
                    <a:pt x="17" y="56"/>
                  </a:lnTo>
                  <a:lnTo>
                    <a:pt x="17" y="56"/>
                  </a:lnTo>
                  <a:lnTo>
                    <a:pt x="17" y="56"/>
                  </a:lnTo>
                  <a:lnTo>
                    <a:pt x="17" y="54"/>
                  </a:lnTo>
                  <a:lnTo>
                    <a:pt x="17" y="54"/>
                  </a:lnTo>
                  <a:lnTo>
                    <a:pt x="19" y="54"/>
                  </a:lnTo>
                  <a:lnTo>
                    <a:pt x="17" y="52"/>
                  </a:lnTo>
                  <a:lnTo>
                    <a:pt x="19" y="52"/>
                  </a:lnTo>
                  <a:lnTo>
                    <a:pt x="19" y="52"/>
                  </a:lnTo>
                  <a:lnTo>
                    <a:pt x="19" y="49"/>
                  </a:lnTo>
                  <a:lnTo>
                    <a:pt x="21" y="49"/>
                  </a:lnTo>
                  <a:lnTo>
                    <a:pt x="19" y="49"/>
                  </a:lnTo>
                  <a:lnTo>
                    <a:pt x="21" y="49"/>
                  </a:lnTo>
                  <a:lnTo>
                    <a:pt x="21" y="49"/>
                  </a:lnTo>
                  <a:lnTo>
                    <a:pt x="21" y="44"/>
                  </a:lnTo>
                  <a:lnTo>
                    <a:pt x="24" y="44"/>
                  </a:lnTo>
                  <a:lnTo>
                    <a:pt x="24" y="42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6" y="40"/>
                  </a:lnTo>
                  <a:lnTo>
                    <a:pt x="26" y="40"/>
                  </a:lnTo>
                  <a:lnTo>
                    <a:pt x="28" y="40"/>
                  </a:lnTo>
                  <a:lnTo>
                    <a:pt x="31" y="40"/>
                  </a:lnTo>
                  <a:lnTo>
                    <a:pt x="31" y="42"/>
                  </a:lnTo>
                  <a:lnTo>
                    <a:pt x="33" y="42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8" y="44"/>
                  </a:lnTo>
                  <a:lnTo>
                    <a:pt x="43" y="44"/>
                  </a:lnTo>
                  <a:lnTo>
                    <a:pt x="45" y="44"/>
                  </a:lnTo>
                  <a:lnTo>
                    <a:pt x="45" y="44"/>
                  </a:lnTo>
                  <a:lnTo>
                    <a:pt x="47" y="44"/>
                  </a:lnTo>
                  <a:lnTo>
                    <a:pt x="50" y="42"/>
                  </a:lnTo>
                  <a:lnTo>
                    <a:pt x="50" y="42"/>
                  </a:lnTo>
                  <a:lnTo>
                    <a:pt x="52" y="42"/>
                  </a:lnTo>
                  <a:lnTo>
                    <a:pt x="57" y="37"/>
                  </a:lnTo>
                  <a:lnTo>
                    <a:pt x="57" y="37"/>
                  </a:lnTo>
                  <a:lnTo>
                    <a:pt x="59" y="40"/>
                  </a:lnTo>
                  <a:lnTo>
                    <a:pt x="59" y="37"/>
                  </a:lnTo>
                  <a:lnTo>
                    <a:pt x="62" y="40"/>
                  </a:lnTo>
                  <a:lnTo>
                    <a:pt x="62" y="37"/>
                  </a:lnTo>
                  <a:lnTo>
                    <a:pt x="62" y="37"/>
                  </a:lnTo>
                  <a:lnTo>
                    <a:pt x="64" y="37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6" y="40"/>
                  </a:lnTo>
                  <a:lnTo>
                    <a:pt x="66" y="40"/>
                  </a:lnTo>
                  <a:lnTo>
                    <a:pt x="71" y="37"/>
                  </a:lnTo>
                  <a:lnTo>
                    <a:pt x="71" y="40"/>
                  </a:lnTo>
                  <a:lnTo>
                    <a:pt x="71" y="40"/>
                  </a:lnTo>
                  <a:lnTo>
                    <a:pt x="73" y="42"/>
                  </a:lnTo>
                  <a:lnTo>
                    <a:pt x="73" y="44"/>
                  </a:lnTo>
                  <a:lnTo>
                    <a:pt x="73" y="44"/>
                  </a:lnTo>
                  <a:lnTo>
                    <a:pt x="73" y="44"/>
                  </a:lnTo>
                  <a:lnTo>
                    <a:pt x="73" y="44"/>
                  </a:lnTo>
                  <a:lnTo>
                    <a:pt x="76" y="47"/>
                  </a:lnTo>
                  <a:lnTo>
                    <a:pt x="80" y="49"/>
                  </a:lnTo>
                  <a:lnTo>
                    <a:pt x="80" y="49"/>
                  </a:lnTo>
                  <a:lnTo>
                    <a:pt x="80" y="49"/>
                  </a:lnTo>
                  <a:lnTo>
                    <a:pt x="83" y="52"/>
                  </a:lnTo>
                  <a:lnTo>
                    <a:pt x="83" y="52"/>
                  </a:lnTo>
                  <a:lnTo>
                    <a:pt x="85" y="52"/>
                  </a:lnTo>
                  <a:lnTo>
                    <a:pt x="85" y="52"/>
                  </a:lnTo>
                  <a:lnTo>
                    <a:pt x="85" y="52"/>
                  </a:lnTo>
                  <a:lnTo>
                    <a:pt x="87" y="52"/>
                  </a:lnTo>
                  <a:lnTo>
                    <a:pt x="87" y="54"/>
                  </a:lnTo>
                  <a:lnTo>
                    <a:pt x="90" y="54"/>
                  </a:lnTo>
                  <a:lnTo>
                    <a:pt x="90" y="54"/>
                  </a:lnTo>
                  <a:lnTo>
                    <a:pt x="92" y="56"/>
                  </a:lnTo>
                  <a:lnTo>
                    <a:pt x="92" y="56"/>
                  </a:lnTo>
                  <a:lnTo>
                    <a:pt x="92" y="56"/>
                  </a:lnTo>
                  <a:lnTo>
                    <a:pt x="95" y="59"/>
                  </a:lnTo>
                  <a:lnTo>
                    <a:pt x="95" y="59"/>
                  </a:lnTo>
                  <a:lnTo>
                    <a:pt x="99" y="56"/>
                  </a:lnTo>
                  <a:lnTo>
                    <a:pt x="102" y="54"/>
                  </a:lnTo>
                  <a:lnTo>
                    <a:pt x="106" y="52"/>
                  </a:lnTo>
                  <a:lnTo>
                    <a:pt x="111" y="54"/>
                  </a:lnTo>
                  <a:lnTo>
                    <a:pt x="113" y="54"/>
                  </a:lnTo>
                  <a:lnTo>
                    <a:pt x="113" y="54"/>
                  </a:lnTo>
                  <a:lnTo>
                    <a:pt x="116" y="52"/>
                  </a:lnTo>
                  <a:lnTo>
                    <a:pt x="118" y="54"/>
                  </a:lnTo>
                  <a:lnTo>
                    <a:pt x="118" y="54"/>
                  </a:lnTo>
                  <a:lnTo>
                    <a:pt x="121" y="54"/>
                  </a:lnTo>
                  <a:lnTo>
                    <a:pt x="121" y="54"/>
                  </a:lnTo>
                  <a:lnTo>
                    <a:pt x="121" y="54"/>
                  </a:lnTo>
                  <a:lnTo>
                    <a:pt x="125" y="52"/>
                  </a:lnTo>
                  <a:lnTo>
                    <a:pt x="125" y="52"/>
                  </a:lnTo>
                  <a:lnTo>
                    <a:pt x="128" y="52"/>
                  </a:lnTo>
                  <a:lnTo>
                    <a:pt x="130" y="52"/>
                  </a:lnTo>
                  <a:lnTo>
                    <a:pt x="130" y="52"/>
                  </a:lnTo>
                  <a:lnTo>
                    <a:pt x="130" y="52"/>
                  </a:lnTo>
                  <a:lnTo>
                    <a:pt x="132" y="52"/>
                  </a:lnTo>
                  <a:lnTo>
                    <a:pt x="132" y="52"/>
                  </a:lnTo>
                  <a:lnTo>
                    <a:pt x="135" y="52"/>
                  </a:lnTo>
                  <a:lnTo>
                    <a:pt x="137" y="52"/>
                  </a:lnTo>
                  <a:lnTo>
                    <a:pt x="137" y="52"/>
                  </a:lnTo>
                  <a:lnTo>
                    <a:pt x="137" y="52"/>
                  </a:lnTo>
                  <a:lnTo>
                    <a:pt x="139" y="52"/>
                  </a:lnTo>
                  <a:lnTo>
                    <a:pt x="139" y="52"/>
                  </a:lnTo>
                  <a:lnTo>
                    <a:pt x="142" y="54"/>
                  </a:lnTo>
                  <a:lnTo>
                    <a:pt x="142" y="52"/>
                  </a:lnTo>
                  <a:lnTo>
                    <a:pt x="142" y="54"/>
                  </a:lnTo>
                  <a:lnTo>
                    <a:pt x="144" y="54"/>
                  </a:lnTo>
                  <a:lnTo>
                    <a:pt x="147" y="52"/>
                  </a:lnTo>
                  <a:lnTo>
                    <a:pt x="149" y="54"/>
                  </a:lnTo>
                  <a:lnTo>
                    <a:pt x="151" y="56"/>
                  </a:lnTo>
                  <a:lnTo>
                    <a:pt x="151" y="56"/>
                  </a:lnTo>
                  <a:lnTo>
                    <a:pt x="151" y="59"/>
                  </a:lnTo>
                  <a:lnTo>
                    <a:pt x="154" y="59"/>
                  </a:lnTo>
                  <a:lnTo>
                    <a:pt x="154" y="59"/>
                  </a:lnTo>
                  <a:lnTo>
                    <a:pt x="154" y="61"/>
                  </a:lnTo>
                  <a:lnTo>
                    <a:pt x="156" y="61"/>
                  </a:lnTo>
                  <a:lnTo>
                    <a:pt x="156" y="61"/>
                  </a:lnTo>
                  <a:lnTo>
                    <a:pt x="156" y="61"/>
                  </a:lnTo>
                  <a:lnTo>
                    <a:pt x="158" y="59"/>
                  </a:lnTo>
                  <a:lnTo>
                    <a:pt x="161" y="61"/>
                  </a:lnTo>
                  <a:lnTo>
                    <a:pt x="161" y="59"/>
                  </a:lnTo>
                  <a:lnTo>
                    <a:pt x="163" y="61"/>
                  </a:lnTo>
                  <a:lnTo>
                    <a:pt x="163" y="59"/>
                  </a:lnTo>
                  <a:lnTo>
                    <a:pt x="165" y="59"/>
                  </a:lnTo>
                  <a:lnTo>
                    <a:pt x="170" y="61"/>
                  </a:lnTo>
                  <a:lnTo>
                    <a:pt x="173" y="61"/>
                  </a:lnTo>
                  <a:lnTo>
                    <a:pt x="173" y="63"/>
                  </a:lnTo>
                  <a:lnTo>
                    <a:pt x="175" y="63"/>
                  </a:lnTo>
                  <a:lnTo>
                    <a:pt x="175" y="63"/>
                  </a:lnTo>
                  <a:lnTo>
                    <a:pt x="175" y="63"/>
                  </a:lnTo>
                  <a:lnTo>
                    <a:pt x="177" y="63"/>
                  </a:lnTo>
                  <a:lnTo>
                    <a:pt x="180" y="63"/>
                  </a:lnTo>
                  <a:lnTo>
                    <a:pt x="182" y="63"/>
                  </a:lnTo>
                  <a:lnTo>
                    <a:pt x="182" y="61"/>
                  </a:lnTo>
                  <a:lnTo>
                    <a:pt x="182" y="63"/>
                  </a:lnTo>
                  <a:lnTo>
                    <a:pt x="184" y="63"/>
                  </a:lnTo>
                  <a:lnTo>
                    <a:pt x="184" y="63"/>
                  </a:lnTo>
                  <a:lnTo>
                    <a:pt x="187" y="63"/>
                  </a:lnTo>
                  <a:lnTo>
                    <a:pt x="187" y="63"/>
                  </a:lnTo>
                  <a:lnTo>
                    <a:pt x="189" y="63"/>
                  </a:lnTo>
                  <a:lnTo>
                    <a:pt x="189" y="63"/>
                  </a:lnTo>
                  <a:lnTo>
                    <a:pt x="191" y="63"/>
                  </a:lnTo>
                  <a:lnTo>
                    <a:pt x="194" y="63"/>
                  </a:lnTo>
                  <a:lnTo>
                    <a:pt x="196" y="66"/>
                  </a:lnTo>
                  <a:lnTo>
                    <a:pt x="196" y="68"/>
                  </a:lnTo>
                  <a:lnTo>
                    <a:pt x="196" y="68"/>
                  </a:lnTo>
                  <a:lnTo>
                    <a:pt x="199" y="66"/>
                  </a:lnTo>
                  <a:lnTo>
                    <a:pt x="201" y="66"/>
                  </a:lnTo>
                  <a:lnTo>
                    <a:pt x="201" y="66"/>
                  </a:lnTo>
                  <a:lnTo>
                    <a:pt x="201" y="68"/>
                  </a:lnTo>
                  <a:lnTo>
                    <a:pt x="203" y="68"/>
                  </a:lnTo>
                  <a:lnTo>
                    <a:pt x="206" y="66"/>
                  </a:lnTo>
                  <a:lnTo>
                    <a:pt x="208" y="63"/>
                  </a:lnTo>
                  <a:lnTo>
                    <a:pt x="213" y="68"/>
                  </a:lnTo>
                  <a:lnTo>
                    <a:pt x="213" y="68"/>
                  </a:lnTo>
                  <a:lnTo>
                    <a:pt x="215" y="68"/>
                  </a:lnTo>
                  <a:lnTo>
                    <a:pt x="215" y="68"/>
                  </a:lnTo>
                  <a:lnTo>
                    <a:pt x="217" y="68"/>
                  </a:lnTo>
                  <a:lnTo>
                    <a:pt x="220" y="70"/>
                  </a:lnTo>
                  <a:lnTo>
                    <a:pt x="220" y="73"/>
                  </a:lnTo>
                  <a:lnTo>
                    <a:pt x="220" y="73"/>
                  </a:lnTo>
                  <a:lnTo>
                    <a:pt x="222" y="73"/>
                  </a:lnTo>
                  <a:lnTo>
                    <a:pt x="222" y="75"/>
                  </a:lnTo>
                  <a:lnTo>
                    <a:pt x="225" y="75"/>
                  </a:lnTo>
                  <a:lnTo>
                    <a:pt x="225" y="75"/>
                  </a:lnTo>
                  <a:lnTo>
                    <a:pt x="225" y="75"/>
                  </a:lnTo>
                  <a:lnTo>
                    <a:pt x="227" y="78"/>
                  </a:lnTo>
                  <a:lnTo>
                    <a:pt x="229" y="78"/>
                  </a:lnTo>
                  <a:lnTo>
                    <a:pt x="229" y="78"/>
                  </a:lnTo>
                  <a:lnTo>
                    <a:pt x="229" y="78"/>
                  </a:lnTo>
                  <a:lnTo>
                    <a:pt x="229" y="80"/>
                  </a:lnTo>
                  <a:lnTo>
                    <a:pt x="232" y="80"/>
                  </a:lnTo>
                  <a:lnTo>
                    <a:pt x="234" y="80"/>
                  </a:lnTo>
                  <a:lnTo>
                    <a:pt x="234" y="80"/>
                  </a:lnTo>
                  <a:lnTo>
                    <a:pt x="236" y="80"/>
                  </a:lnTo>
                  <a:lnTo>
                    <a:pt x="239" y="82"/>
                  </a:lnTo>
                  <a:lnTo>
                    <a:pt x="239" y="80"/>
                  </a:lnTo>
                  <a:lnTo>
                    <a:pt x="241" y="82"/>
                  </a:lnTo>
                  <a:lnTo>
                    <a:pt x="246" y="82"/>
                  </a:lnTo>
                  <a:lnTo>
                    <a:pt x="248" y="82"/>
                  </a:lnTo>
                  <a:lnTo>
                    <a:pt x="248" y="85"/>
                  </a:lnTo>
                  <a:lnTo>
                    <a:pt x="248" y="85"/>
                  </a:lnTo>
                  <a:lnTo>
                    <a:pt x="248" y="85"/>
                  </a:lnTo>
                  <a:lnTo>
                    <a:pt x="250" y="82"/>
                  </a:lnTo>
                  <a:lnTo>
                    <a:pt x="253" y="85"/>
                  </a:lnTo>
                  <a:lnTo>
                    <a:pt x="255" y="82"/>
                  </a:lnTo>
                  <a:lnTo>
                    <a:pt x="258" y="82"/>
                  </a:lnTo>
                  <a:lnTo>
                    <a:pt x="260" y="82"/>
                  </a:lnTo>
                  <a:lnTo>
                    <a:pt x="267" y="82"/>
                  </a:lnTo>
                  <a:lnTo>
                    <a:pt x="269" y="82"/>
                  </a:lnTo>
                  <a:lnTo>
                    <a:pt x="272" y="82"/>
                  </a:lnTo>
                  <a:lnTo>
                    <a:pt x="274" y="80"/>
                  </a:lnTo>
                  <a:lnTo>
                    <a:pt x="276" y="82"/>
                  </a:lnTo>
                  <a:lnTo>
                    <a:pt x="279" y="82"/>
                  </a:lnTo>
                  <a:lnTo>
                    <a:pt x="281" y="82"/>
                  </a:lnTo>
                  <a:lnTo>
                    <a:pt x="284" y="82"/>
                  </a:lnTo>
                  <a:lnTo>
                    <a:pt x="286" y="82"/>
                  </a:lnTo>
                  <a:lnTo>
                    <a:pt x="293" y="82"/>
                  </a:lnTo>
                  <a:lnTo>
                    <a:pt x="295" y="82"/>
                  </a:lnTo>
                  <a:lnTo>
                    <a:pt x="295" y="82"/>
                  </a:lnTo>
                  <a:lnTo>
                    <a:pt x="298" y="85"/>
                  </a:lnTo>
                  <a:lnTo>
                    <a:pt x="298" y="87"/>
                  </a:lnTo>
                  <a:lnTo>
                    <a:pt x="298" y="87"/>
                  </a:lnTo>
                  <a:lnTo>
                    <a:pt x="298" y="87"/>
                  </a:lnTo>
                  <a:lnTo>
                    <a:pt x="300" y="87"/>
                  </a:lnTo>
                  <a:lnTo>
                    <a:pt x="300" y="89"/>
                  </a:lnTo>
                  <a:lnTo>
                    <a:pt x="302" y="89"/>
                  </a:lnTo>
                  <a:lnTo>
                    <a:pt x="302" y="92"/>
                  </a:lnTo>
                  <a:lnTo>
                    <a:pt x="302" y="94"/>
                  </a:lnTo>
                  <a:lnTo>
                    <a:pt x="305" y="96"/>
                  </a:lnTo>
                  <a:lnTo>
                    <a:pt x="307" y="99"/>
                  </a:lnTo>
                  <a:lnTo>
                    <a:pt x="307" y="99"/>
                  </a:lnTo>
                  <a:lnTo>
                    <a:pt x="307" y="99"/>
                  </a:lnTo>
                  <a:lnTo>
                    <a:pt x="310" y="99"/>
                  </a:lnTo>
                  <a:lnTo>
                    <a:pt x="310" y="96"/>
                  </a:lnTo>
                  <a:lnTo>
                    <a:pt x="307" y="94"/>
                  </a:lnTo>
                  <a:lnTo>
                    <a:pt x="310" y="92"/>
                  </a:lnTo>
                  <a:lnTo>
                    <a:pt x="312" y="92"/>
                  </a:lnTo>
                  <a:lnTo>
                    <a:pt x="312" y="92"/>
                  </a:lnTo>
                  <a:lnTo>
                    <a:pt x="314" y="92"/>
                  </a:lnTo>
                  <a:lnTo>
                    <a:pt x="317" y="92"/>
                  </a:lnTo>
                  <a:lnTo>
                    <a:pt x="317" y="92"/>
                  </a:lnTo>
                  <a:lnTo>
                    <a:pt x="317" y="92"/>
                  </a:lnTo>
                  <a:lnTo>
                    <a:pt x="319" y="92"/>
                  </a:lnTo>
                  <a:lnTo>
                    <a:pt x="321" y="92"/>
                  </a:lnTo>
                  <a:lnTo>
                    <a:pt x="324" y="92"/>
                  </a:lnTo>
                  <a:lnTo>
                    <a:pt x="324" y="89"/>
                  </a:lnTo>
                  <a:lnTo>
                    <a:pt x="324" y="89"/>
                  </a:lnTo>
                  <a:lnTo>
                    <a:pt x="324" y="89"/>
                  </a:lnTo>
                  <a:lnTo>
                    <a:pt x="326" y="89"/>
                  </a:lnTo>
                  <a:lnTo>
                    <a:pt x="326" y="89"/>
                  </a:lnTo>
                  <a:lnTo>
                    <a:pt x="328" y="89"/>
                  </a:lnTo>
                  <a:lnTo>
                    <a:pt x="328" y="87"/>
                  </a:lnTo>
                  <a:lnTo>
                    <a:pt x="331" y="87"/>
                  </a:lnTo>
                  <a:lnTo>
                    <a:pt x="328" y="85"/>
                  </a:lnTo>
                  <a:lnTo>
                    <a:pt x="331" y="85"/>
                  </a:lnTo>
                  <a:lnTo>
                    <a:pt x="331" y="82"/>
                  </a:lnTo>
                  <a:lnTo>
                    <a:pt x="331" y="82"/>
                  </a:lnTo>
                  <a:lnTo>
                    <a:pt x="331" y="80"/>
                  </a:lnTo>
                  <a:lnTo>
                    <a:pt x="331" y="80"/>
                  </a:lnTo>
                  <a:lnTo>
                    <a:pt x="331" y="80"/>
                  </a:lnTo>
                  <a:lnTo>
                    <a:pt x="331" y="78"/>
                  </a:lnTo>
                  <a:lnTo>
                    <a:pt x="328" y="78"/>
                  </a:lnTo>
                  <a:lnTo>
                    <a:pt x="328" y="78"/>
                  </a:lnTo>
                  <a:lnTo>
                    <a:pt x="328" y="78"/>
                  </a:lnTo>
                  <a:lnTo>
                    <a:pt x="328" y="75"/>
                  </a:lnTo>
                  <a:lnTo>
                    <a:pt x="326" y="75"/>
                  </a:lnTo>
                  <a:lnTo>
                    <a:pt x="326" y="73"/>
                  </a:lnTo>
                  <a:lnTo>
                    <a:pt x="324" y="73"/>
                  </a:lnTo>
                  <a:lnTo>
                    <a:pt x="324" y="70"/>
                  </a:lnTo>
                  <a:lnTo>
                    <a:pt x="324" y="70"/>
                  </a:lnTo>
                  <a:lnTo>
                    <a:pt x="326" y="70"/>
                  </a:lnTo>
                  <a:lnTo>
                    <a:pt x="326" y="70"/>
                  </a:lnTo>
                  <a:lnTo>
                    <a:pt x="328" y="68"/>
                  </a:lnTo>
                  <a:lnTo>
                    <a:pt x="326" y="68"/>
                  </a:lnTo>
                  <a:lnTo>
                    <a:pt x="328" y="68"/>
                  </a:lnTo>
                  <a:lnTo>
                    <a:pt x="326" y="66"/>
                  </a:lnTo>
                  <a:lnTo>
                    <a:pt x="324" y="66"/>
                  </a:lnTo>
                  <a:lnTo>
                    <a:pt x="324" y="66"/>
                  </a:lnTo>
                  <a:lnTo>
                    <a:pt x="324" y="66"/>
                  </a:lnTo>
                  <a:lnTo>
                    <a:pt x="324" y="63"/>
                  </a:lnTo>
                  <a:lnTo>
                    <a:pt x="321" y="63"/>
                  </a:lnTo>
                  <a:lnTo>
                    <a:pt x="321" y="61"/>
                  </a:lnTo>
                  <a:lnTo>
                    <a:pt x="321" y="61"/>
                  </a:lnTo>
                  <a:lnTo>
                    <a:pt x="324" y="61"/>
                  </a:lnTo>
                  <a:lnTo>
                    <a:pt x="321" y="59"/>
                  </a:lnTo>
                  <a:lnTo>
                    <a:pt x="321" y="59"/>
                  </a:lnTo>
                  <a:lnTo>
                    <a:pt x="324" y="59"/>
                  </a:lnTo>
                  <a:lnTo>
                    <a:pt x="324" y="59"/>
                  </a:lnTo>
                  <a:lnTo>
                    <a:pt x="324" y="56"/>
                  </a:lnTo>
                  <a:lnTo>
                    <a:pt x="328" y="56"/>
                  </a:lnTo>
                  <a:lnTo>
                    <a:pt x="326" y="54"/>
                  </a:lnTo>
                  <a:lnTo>
                    <a:pt x="326" y="54"/>
                  </a:lnTo>
                  <a:lnTo>
                    <a:pt x="328" y="52"/>
                  </a:lnTo>
                  <a:lnTo>
                    <a:pt x="328" y="52"/>
                  </a:lnTo>
                  <a:lnTo>
                    <a:pt x="326" y="52"/>
                  </a:lnTo>
                  <a:lnTo>
                    <a:pt x="328" y="49"/>
                  </a:lnTo>
                  <a:lnTo>
                    <a:pt x="328" y="49"/>
                  </a:lnTo>
                  <a:lnTo>
                    <a:pt x="328" y="49"/>
                  </a:lnTo>
                  <a:lnTo>
                    <a:pt x="331" y="49"/>
                  </a:lnTo>
                  <a:lnTo>
                    <a:pt x="331" y="47"/>
                  </a:lnTo>
                  <a:lnTo>
                    <a:pt x="333" y="44"/>
                  </a:lnTo>
                  <a:lnTo>
                    <a:pt x="333" y="44"/>
                  </a:lnTo>
                  <a:lnTo>
                    <a:pt x="333" y="44"/>
                  </a:lnTo>
                  <a:lnTo>
                    <a:pt x="336" y="44"/>
                  </a:lnTo>
                  <a:lnTo>
                    <a:pt x="338" y="44"/>
                  </a:lnTo>
                  <a:lnTo>
                    <a:pt x="338" y="44"/>
                  </a:lnTo>
                  <a:lnTo>
                    <a:pt x="338" y="44"/>
                  </a:lnTo>
                  <a:lnTo>
                    <a:pt x="340" y="42"/>
                  </a:lnTo>
                  <a:lnTo>
                    <a:pt x="340" y="44"/>
                  </a:lnTo>
                  <a:lnTo>
                    <a:pt x="343" y="44"/>
                  </a:lnTo>
                  <a:lnTo>
                    <a:pt x="343" y="42"/>
                  </a:lnTo>
                  <a:lnTo>
                    <a:pt x="343" y="42"/>
                  </a:lnTo>
                  <a:lnTo>
                    <a:pt x="345" y="42"/>
                  </a:lnTo>
                  <a:lnTo>
                    <a:pt x="347" y="42"/>
                  </a:lnTo>
                  <a:lnTo>
                    <a:pt x="347" y="40"/>
                  </a:lnTo>
                  <a:lnTo>
                    <a:pt x="347" y="37"/>
                  </a:lnTo>
                  <a:lnTo>
                    <a:pt x="347" y="37"/>
                  </a:lnTo>
                  <a:lnTo>
                    <a:pt x="350" y="35"/>
                  </a:lnTo>
                  <a:lnTo>
                    <a:pt x="352" y="37"/>
                  </a:lnTo>
                  <a:lnTo>
                    <a:pt x="352" y="37"/>
                  </a:lnTo>
                  <a:lnTo>
                    <a:pt x="359" y="35"/>
                  </a:lnTo>
                  <a:lnTo>
                    <a:pt x="359" y="37"/>
                  </a:lnTo>
                  <a:lnTo>
                    <a:pt x="362" y="37"/>
                  </a:lnTo>
                  <a:lnTo>
                    <a:pt x="362" y="42"/>
                  </a:lnTo>
                  <a:lnTo>
                    <a:pt x="366" y="42"/>
                  </a:lnTo>
                  <a:lnTo>
                    <a:pt x="366" y="42"/>
                  </a:lnTo>
                  <a:lnTo>
                    <a:pt x="366" y="42"/>
                  </a:lnTo>
                  <a:lnTo>
                    <a:pt x="369" y="42"/>
                  </a:lnTo>
                  <a:lnTo>
                    <a:pt x="366" y="37"/>
                  </a:lnTo>
                  <a:lnTo>
                    <a:pt x="366" y="37"/>
                  </a:lnTo>
                  <a:lnTo>
                    <a:pt x="369" y="37"/>
                  </a:lnTo>
                  <a:lnTo>
                    <a:pt x="371" y="40"/>
                  </a:lnTo>
                  <a:lnTo>
                    <a:pt x="371" y="44"/>
                  </a:lnTo>
                  <a:lnTo>
                    <a:pt x="371" y="44"/>
                  </a:lnTo>
                  <a:lnTo>
                    <a:pt x="373" y="44"/>
                  </a:lnTo>
                  <a:lnTo>
                    <a:pt x="373" y="42"/>
                  </a:lnTo>
                  <a:lnTo>
                    <a:pt x="376" y="40"/>
                  </a:lnTo>
                  <a:lnTo>
                    <a:pt x="376" y="37"/>
                  </a:lnTo>
                  <a:lnTo>
                    <a:pt x="376" y="37"/>
                  </a:lnTo>
                  <a:lnTo>
                    <a:pt x="378" y="42"/>
                  </a:lnTo>
                  <a:lnTo>
                    <a:pt x="380" y="42"/>
                  </a:lnTo>
                  <a:lnTo>
                    <a:pt x="380" y="42"/>
                  </a:lnTo>
                  <a:lnTo>
                    <a:pt x="380" y="37"/>
                  </a:lnTo>
                  <a:lnTo>
                    <a:pt x="383" y="37"/>
                  </a:lnTo>
                  <a:lnTo>
                    <a:pt x="385" y="37"/>
                  </a:lnTo>
                  <a:lnTo>
                    <a:pt x="385" y="35"/>
                  </a:lnTo>
                  <a:lnTo>
                    <a:pt x="390" y="35"/>
                  </a:lnTo>
                  <a:lnTo>
                    <a:pt x="390" y="35"/>
                  </a:lnTo>
                  <a:lnTo>
                    <a:pt x="390" y="37"/>
                  </a:lnTo>
                  <a:lnTo>
                    <a:pt x="392" y="37"/>
                  </a:lnTo>
                  <a:lnTo>
                    <a:pt x="395" y="37"/>
                  </a:lnTo>
                  <a:lnTo>
                    <a:pt x="395" y="37"/>
                  </a:lnTo>
                  <a:lnTo>
                    <a:pt x="392" y="33"/>
                  </a:lnTo>
                  <a:lnTo>
                    <a:pt x="397" y="30"/>
                  </a:lnTo>
                  <a:lnTo>
                    <a:pt x="397" y="30"/>
                  </a:lnTo>
                  <a:lnTo>
                    <a:pt x="399" y="28"/>
                  </a:lnTo>
                  <a:lnTo>
                    <a:pt x="399" y="26"/>
                  </a:lnTo>
                  <a:lnTo>
                    <a:pt x="399" y="26"/>
                  </a:lnTo>
                  <a:lnTo>
                    <a:pt x="402" y="23"/>
                  </a:lnTo>
                  <a:lnTo>
                    <a:pt x="404" y="23"/>
                  </a:lnTo>
                  <a:lnTo>
                    <a:pt x="404" y="23"/>
                  </a:lnTo>
                  <a:lnTo>
                    <a:pt x="402" y="19"/>
                  </a:lnTo>
                  <a:lnTo>
                    <a:pt x="404" y="19"/>
                  </a:lnTo>
                  <a:lnTo>
                    <a:pt x="404" y="16"/>
                  </a:lnTo>
                  <a:lnTo>
                    <a:pt x="406" y="14"/>
                  </a:lnTo>
                  <a:lnTo>
                    <a:pt x="411" y="16"/>
                  </a:lnTo>
                  <a:lnTo>
                    <a:pt x="411" y="16"/>
                  </a:lnTo>
                  <a:lnTo>
                    <a:pt x="413" y="14"/>
                  </a:lnTo>
                  <a:lnTo>
                    <a:pt x="416" y="14"/>
                  </a:lnTo>
                  <a:lnTo>
                    <a:pt x="416" y="14"/>
                  </a:lnTo>
                  <a:lnTo>
                    <a:pt x="416" y="11"/>
                  </a:lnTo>
                  <a:lnTo>
                    <a:pt x="416" y="11"/>
                  </a:lnTo>
                  <a:lnTo>
                    <a:pt x="413" y="11"/>
                  </a:lnTo>
                  <a:lnTo>
                    <a:pt x="413" y="14"/>
                  </a:lnTo>
                  <a:lnTo>
                    <a:pt x="411" y="14"/>
                  </a:lnTo>
                  <a:lnTo>
                    <a:pt x="411" y="11"/>
                  </a:lnTo>
                  <a:lnTo>
                    <a:pt x="411" y="9"/>
                  </a:lnTo>
                  <a:lnTo>
                    <a:pt x="413" y="7"/>
                  </a:lnTo>
                  <a:lnTo>
                    <a:pt x="413" y="7"/>
                  </a:lnTo>
                  <a:lnTo>
                    <a:pt x="416" y="9"/>
                  </a:lnTo>
                  <a:lnTo>
                    <a:pt x="416" y="9"/>
                  </a:lnTo>
                  <a:lnTo>
                    <a:pt x="416" y="11"/>
                  </a:lnTo>
                  <a:lnTo>
                    <a:pt x="416" y="11"/>
                  </a:lnTo>
                  <a:lnTo>
                    <a:pt x="421" y="9"/>
                  </a:lnTo>
                  <a:lnTo>
                    <a:pt x="421" y="9"/>
                  </a:lnTo>
                  <a:lnTo>
                    <a:pt x="423" y="9"/>
                  </a:lnTo>
                  <a:lnTo>
                    <a:pt x="423" y="9"/>
                  </a:lnTo>
                  <a:lnTo>
                    <a:pt x="423" y="9"/>
                  </a:lnTo>
                  <a:lnTo>
                    <a:pt x="425" y="9"/>
                  </a:lnTo>
                  <a:lnTo>
                    <a:pt x="425" y="9"/>
                  </a:lnTo>
                  <a:lnTo>
                    <a:pt x="425" y="11"/>
                  </a:lnTo>
                  <a:lnTo>
                    <a:pt x="425" y="9"/>
                  </a:lnTo>
                  <a:lnTo>
                    <a:pt x="425" y="9"/>
                  </a:lnTo>
                  <a:lnTo>
                    <a:pt x="425" y="9"/>
                  </a:lnTo>
                  <a:lnTo>
                    <a:pt x="428" y="9"/>
                  </a:lnTo>
                  <a:lnTo>
                    <a:pt x="428" y="11"/>
                  </a:lnTo>
                  <a:lnTo>
                    <a:pt x="428" y="9"/>
                  </a:lnTo>
                  <a:lnTo>
                    <a:pt x="430" y="11"/>
                  </a:lnTo>
                  <a:lnTo>
                    <a:pt x="430" y="11"/>
                  </a:lnTo>
                  <a:lnTo>
                    <a:pt x="430" y="14"/>
                  </a:lnTo>
                  <a:lnTo>
                    <a:pt x="430" y="14"/>
                  </a:lnTo>
                  <a:lnTo>
                    <a:pt x="432" y="14"/>
                  </a:lnTo>
                  <a:lnTo>
                    <a:pt x="432" y="14"/>
                  </a:lnTo>
                  <a:lnTo>
                    <a:pt x="435" y="14"/>
                  </a:lnTo>
                  <a:lnTo>
                    <a:pt x="435" y="14"/>
                  </a:lnTo>
                  <a:lnTo>
                    <a:pt x="435" y="14"/>
                  </a:lnTo>
                  <a:lnTo>
                    <a:pt x="439" y="16"/>
                  </a:lnTo>
                  <a:lnTo>
                    <a:pt x="439" y="19"/>
                  </a:lnTo>
                  <a:lnTo>
                    <a:pt x="439" y="21"/>
                  </a:lnTo>
                  <a:lnTo>
                    <a:pt x="439" y="21"/>
                  </a:lnTo>
                  <a:lnTo>
                    <a:pt x="439" y="21"/>
                  </a:lnTo>
                  <a:lnTo>
                    <a:pt x="439" y="21"/>
                  </a:lnTo>
                  <a:lnTo>
                    <a:pt x="442" y="23"/>
                  </a:lnTo>
                  <a:lnTo>
                    <a:pt x="442" y="23"/>
                  </a:lnTo>
                  <a:lnTo>
                    <a:pt x="444" y="23"/>
                  </a:lnTo>
                  <a:lnTo>
                    <a:pt x="444" y="23"/>
                  </a:lnTo>
                  <a:lnTo>
                    <a:pt x="444" y="23"/>
                  </a:lnTo>
                  <a:lnTo>
                    <a:pt x="444" y="23"/>
                  </a:lnTo>
                  <a:lnTo>
                    <a:pt x="444" y="23"/>
                  </a:lnTo>
                  <a:lnTo>
                    <a:pt x="444" y="23"/>
                  </a:lnTo>
                  <a:lnTo>
                    <a:pt x="444" y="23"/>
                  </a:lnTo>
                  <a:lnTo>
                    <a:pt x="444" y="21"/>
                  </a:lnTo>
                  <a:lnTo>
                    <a:pt x="444" y="21"/>
                  </a:lnTo>
                  <a:lnTo>
                    <a:pt x="444" y="19"/>
                  </a:lnTo>
                  <a:lnTo>
                    <a:pt x="444" y="19"/>
                  </a:lnTo>
                  <a:lnTo>
                    <a:pt x="444" y="16"/>
                  </a:lnTo>
                  <a:lnTo>
                    <a:pt x="444" y="16"/>
                  </a:lnTo>
                  <a:lnTo>
                    <a:pt x="444" y="16"/>
                  </a:lnTo>
                  <a:lnTo>
                    <a:pt x="449" y="14"/>
                  </a:lnTo>
                  <a:lnTo>
                    <a:pt x="451" y="14"/>
                  </a:lnTo>
                  <a:lnTo>
                    <a:pt x="451" y="11"/>
                  </a:lnTo>
                  <a:lnTo>
                    <a:pt x="454" y="14"/>
                  </a:lnTo>
                  <a:lnTo>
                    <a:pt x="454" y="11"/>
                  </a:lnTo>
                  <a:lnTo>
                    <a:pt x="454" y="9"/>
                  </a:lnTo>
                  <a:lnTo>
                    <a:pt x="456" y="11"/>
                  </a:lnTo>
                  <a:lnTo>
                    <a:pt x="456" y="14"/>
                  </a:lnTo>
                  <a:lnTo>
                    <a:pt x="458" y="14"/>
                  </a:lnTo>
                  <a:lnTo>
                    <a:pt x="458" y="14"/>
                  </a:lnTo>
                  <a:lnTo>
                    <a:pt x="458" y="14"/>
                  </a:lnTo>
                  <a:lnTo>
                    <a:pt x="461" y="14"/>
                  </a:lnTo>
                  <a:lnTo>
                    <a:pt x="461" y="14"/>
                  </a:lnTo>
                  <a:lnTo>
                    <a:pt x="461" y="16"/>
                  </a:lnTo>
                  <a:lnTo>
                    <a:pt x="463" y="16"/>
                  </a:lnTo>
                  <a:lnTo>
                    <a:pt x="463" y="16"/>
                  </a:lnTo>
                  <a:lnTo>
                    <a:pt x="463" y="14"/>
                  </a:lnTo>
                  <a:lnTo>
                    <a:pt x="465" y="14"/>
                  </a:lnTo>
                  <a:lnTo>
                    <a:pt x="465" y="11"/>
                  </a:lnTo>
                  <a:lnTo>
                    <a:pt x="465" y="11"/>
                  </a:lnTo>
                  <a:lnTo>
                    <a:pt x="465" y="11"/>
                  </a:lnTo>
                  <a:lnTo>
                    <a:pt x="463" y="11"/>
                  </a:lnTo>
                  <a:lnTo>
                    <a:pt x="463" y="11"/>
                  </a:lnTo>
                  <a:lnTo>
                    <a:pt x="463" y="11"/>
                  </a:lnTo>
                  <a:lnTo>
                    <a:pt x="463" y="9"/>
                  </a:lnTo>
                  <a:lnTo>
                    <a:pt x="463" y="9"/>
                  </a:lnTo>
                  <a:lnTo>
                    <a:pt x="465" y="9"/>
                  </a:lnTo>
                  <a:lnTo>
                    <a:pt x="468" y="9"/>
                  </a:lnTo>
                  <a:lnTo>
                    <a:pt x="468" y="9"/>
                  </a:lnTo>
                  <a:lnTo>
                    <a:pt x="468" y="14"/>
                  </a:lnTo>
                  <a:lnTo>
                    <a:pt x="468" y="14"/>
                  </a:lnTo>
                  <a:lnTo>
                    <a:pt x="468" y="11"/>
                  </a:lnTo>
                  <a:lnTo>
                    <a:pt x="470" y="14"/>
                  </a:lnTo>
                  <a:lnTo>
                    <a:pt x="470" y="14"/>
                  </a:lnTo>
                  <a:lnTo>
                    <a:pt x="473" y="14"/>
                  </a:lnTo>
                  <a:lnTo>
                    <a:pt x="475" y="11"/>
                  </a:lnTo>
                  <a:lnTo>
                    <a:pt x="475" y="9"/>
                  </a:lnTo>
                  <a:lnTo>
                    <a:pt x="477" y="11"/>
                  </a:lnTo>
                  <a:lnTo>
                    <a:pt x="477" y="14"/>
                  </a:lnTo>
                  <a:lnTo>
                    <a:pt x="477" y="11"/>
                  </a:lnTo>
                  <a:lnTo>
                    <a:pt x="477" y="11"/>
                  </a:lnTo>
                  <a:lnTo>
                    <a:pt x="477" y="11"/>
                  </a:lnTo>
                  <a:lnTo>
                    <a:pt x="480" y="11"/>
                  </a:lnTo>
                  <a:lnTo>
                    <a:pt x="480" y="9"/>
                  </a:lnTo>
                  <a:lnTo>
                    <a:pt x="482" y="9"/>
                  </a:lnTo>
                  <a:lnTo>
                    <a:pt x="482" y="9"/>
                  </a:lnTo>
                  <a:lnTo>
                    <a:pt x="484" y="11"/>
                  </a:lnTo>
                  <a:lnTo>
                    <a:pt x="487" y="11"/>
                  </a:lnTo>
                  <a:lnTo>
                    <a:pt x="484" y="9"/>
                  </a:lnTo>
                  <a:lnTo>
                    <a:pt x="484" y="9"/>
                  </a:lnTo>
                  <a:lnTo>
                    <a:pt x="487" y="9"/>
                  </a:lnTo>
                  <a:lnTo>
                    <a:pt x="487" y="7"/>
                  </a:lnTo>
                  <a:lnTo>
                    <a:pt x="489" y="9"/>
                  </a:lnTo>
                  <a:lnTo>
                    <a:pt x="489" y="9"/>
                  </a:lnTo>
                  <a:lnTo>
                    <a:pt x="489" y="11"/>
                  </a:lnTo>
                  <a:lnTo>
                    <a:pt x="489" y="14"/>
                  </a:lnTo>
                  <a:lnTo>
                    <a:pt x="494" y="9"/>
                  </a:lnTo>
                  <a:lnTo>
                    <a:pt x="491" y="9"/>
                  </a:lnTo>
                  <a:lnTo>
                    <a:pt x="491" y="9"/>
                  </a:lnTo>
                  <a:lnTo>
                    <a:pt x="494" y="7"/>
                  </a:lnTo>
                  <a:lnTo>
                    <a:pt x="494" y="9"/>
                  </a:lnTo>
                  <a:lnTo>
                    <a:pt x="494" y="9"/>
                  </a:lnTo>
                  <a:lnTo>
                    <a:pt x="494" y="9"/>
                  </a:lnTo>
                  <a:lnTo>
                    <a:pt x="496" y="9"/>
                  </a:lnTo>
                  <a:lnTo>
                    <a:pt x="499" y="9"/>
                  </a:lnTo>
                  <a:lnTo>
                    <a:pt x="499" y="11"/>
                  </a:lnTo>
                  <a:lnTo>
                    <a:pt x="499" y="9"/>
                  </a:lnTo>
                  <a:lnTo>
                    <a:pt x="503" y="11"/>
                  </a:lnTo>
                  <a:lnTo>
                    <a:pt x="503" y="11"/>
                  </a:lnTo>
                  <a:lnTo>
                    <a:pt x="503" y="14"/>
                  </a:lnTo>
                  <a:lnTo>
                    <a:pt x="503" y="14"/>
                  </a:lnTo>
                  <a:lnTo>
                    <a:pt x="506" y="14"/>
                  </a:lnTo>
                  <a:lnTo>
                    <a:pt x="506" y="14"/>
                  </a:lnTo>
                  <a:lnTo>
                    <a:pt x="506" y="14"/>
                  </a:lnTo>
                  <a:lnTo>
                    <a:pt x="506" y="14"/>
                  </a:lnTo>
                  <a:lnTo>
                    <a:pt x="508" y="14"/>
                  </a:lnTo>
                  <a:lnTo>
                    <a:pt x="508" y="16"/>
                  </a:lnTo>
                  <a:lnTo>
                    <a:pt x="506" y="16"/>
                  </a:lnTo>
                  <a:lnTo>
                    <a:pt x="506" y="16"/>
                  </a:lnTo>
                  <a:lnTo>
                    <a:pt x="508" y="16"/>
                  </a:lnTo>
                  <a:lnTo>
                    <a:pt x="508" y="16"/>
                  </a:lnTo>
                  <a:lnTo>
                    <a:pt x="508" y="19"/>
                  </a:lnTo>
                  <a:lnTo>
                    <a:pt x="508" y="19"/>
                  </a:lnTo>
                  <a:lnTo>
                    <a:pt x="510" y="19"/>
                  </a:lnTo>
                  <a:lnTo>
                    <a:pt x="510" y="21"/>
                  </a:lnTo>
                  <a:lnTo>
                    <a:pt x="513" y="21"/>
                  </a:lnTo>
                  <a:lnTo>
                    <a:pt x="513" y="21"/>
                  </a:lnTo>
                  <a:lnTo>
                    <a:pt x="513" y="19"/>
                  </a:lnTo>
                  <a:lnTo>
                    <a:pt x="515" y="23"/>
                  </a:lnTo>
                  <a:lnTo>
                    <a:pt x="515" y="23"/>
                  </a:lnTo>
                  <a:lnTo>
                    <a:pt x="515" y="21"/>
                  </a:lnTo>
                  <a:lnTo>
                    <a:pt x="515" y="21"/>
                  </a:lnTo>
                  <a:lnTo>
                    <a:pt x="515" y="19"/>
                  </a:lnTo>
                  <a:lnTo>
                    <a:pt x="515" y="19"/>
                  </a:lnTo>
                  <a:lnTo>
                    <a:pt x="515" y="21"/>
                  </a:lnTo>
                  <a:lnTo>
                    <a:pt x="517" y="23"/>
                  </a:lnTo>
                  <a:lnTo>
                    <a:pt x="517" y="26"/>
                  </a:lnTo>
                  <a:lnTo>
                    <a:pt x="520" y="26"/>
                  </a:lnTo>
                  <a:lnTo>
                    <a:pt x="522" y="26"/>
                  </a:lnTo>
                  <a:lnTo>
                    <a:pt x="520" y="26"/>
                  </a:lnTo>
                  <a:lnTo>
                    <a:pt x="520" y="28"/>
                  </a:lnTo>
                  <a:lnTo>
                    <a:pt x="522" y="28"/>
                  </a:lnTo>
                  <a:lnTo>
                    <a:pt x="522" y="26"/>
                  </a:lnTo>
                  <a:lnTo>
                    <a:pt x="525" y="28"/>
                  </a:lnTo>
                  <a:lnTo>
                    <a:pt x="525" y="28"/>
                  </a:lnTo>
                  <a:lnTo>
                    <a:pt x="527" y="28"/>
                  </a:lnTo>
                  <a:lnTo>
                    <a:pt x="525" y="30"/>
                  </a:lnTo>
                  <a:lnTo>
                    <a:pt x="527" y="30"/>
                  </a:lnTo>
                  <a:lnTo>
                    <a:pt x="527" y="33"/>
                  </a:lnTo>
                  <a:lnTo>
                    <a:pt x="527" y="30"/>
                  </a:lnTo>
                  <a:lnTo>
                    <a:pt x="529" y="33"/>
                  </a:lnTo>
                  <a:lnTo>
                    <a:pt x="529" y="30"/>
                  </a:lnTo>
                  <a:lnTo>
                    <a:pt x="529" y="30"/>
                  </a:lnTo>
                  <a:lnTo>
                    <a:pt x="529" y="33"/>
                  </a:lnTo>
                  <a:lnTo>
                    <a:pt x="532" y="33"/>
                  </a:lnTo>
                  <a:lnTo>
                    <a:pt x="532" y="33"/>
                  </a:lnTo>
                  <a:lnTo>
                    <a:pt x="532" y="33"/>
                  </a:lnTo>
                  <a:lnTo>
                    <a:pt x="532" y="33"/>
                  </a:lnTo>
                  <a:lnTo>
                    <a:pt x="532" y="30"/>
                  </a:lnTo>
                  <a:lnTo>
                    <a:pt x="534" y="30"/>
                  </a:lnTo>
                  <a:lnTo>
                    <a:pt x="534" y="33"/>
                  </a:lnTo>
                  <a:lnTo>
                    <a:pt x="532" y="33"/>
                  </a:lnTo>
                  <a:lnTo>
                    <a:pt x="534" y="35"/>
                  </a:lnTo>
                  <a:lnTo>
                    <a:pt x="534" y="35"/>
                  </a:lnTo>
                  <a:lnTo>
                    <a:pt x="534" y="33"/>
                  </a:lnTo>
                  <a:lnTo>
                    <a:pt x="534" y="35"/>
                  </a:lnTo>
                  <a:lnTo>
                    <a:pt x="536" y="35"/>
                  </a:lnTo>
                  <a:lnTo>
                    <a:pt x="536" y="35"/>
                  </a:lnTo>
                  <a:lnTo>
                    <a:pt x="536" y="35"/>
                  </a:lnTo>
                  <a:lnTo>
                    <a:pt x="536" y="35"/>
                  </a:lnTo>
                  <a:lnTo>
                    <a:pt x="539" y="35"/>
                  </a:lnTo>
                  <a:lnTo>
                    <a:pt x="539" y="35"/>
                  </a:lnTo>
                  <a:lnTo>
                    <a:pt x="539" y="35"/>
                  </a:lnTo>
                  <a:lnTo>
                    <a:pt x="539" y="35"/>
                  </a:lnTo>
                  <a:lnTo>
                    <a:pt x="541" y="37"/>
                  </a:lnTo>
                  <a:lnTo>
                    <a:pt x="543" y="37"/>
                  </a:lnTo>
                  <a:lnTo>
                    <a:pt x="543" y="35"/>
                  </a:lnTo>
                  <a:lnTo>
                    <a:pt x="543" y="35"/>
                  </a:lnTo>
                  <a:lnTo>
                    <a:pt x="543" y="35"/>
                  </a:lnTo>
                  <a:lnTo>
                    <a:pt x="543" y="35"/>
                  </a:lnTo>
                  <a:lnTo>
                    <a:pt x="546" y="35"/>
                  </a:lnTo>
                  <a:lnTo>
                    <a:pt x="543" y="35"/>
                  </a:lnTo>
                  <a:lnTo>
                    <a:pt x="543" y="35"/>
                  </a:lnTo>
                  <a:lnTo>
                    <a:pt x="546" y="35"/>
                  </a:lnTo>
                  <a:lnTo>
                    <a:pt x="546" y="35"/>
                  </a:lnTo>
                  <a:lnTo>
                    <a:pt x="546" y="35"/>
                  </a:lnTo>
                  <a:lnTo>
                    <a:pt x="546" y="35"/>
                  </a:lnTo>
                  <a:lnTo>
                    <a:pt x="548" y="35"/>
                  </a:lnTo>
                  <a:lnTo>
                    <a:pt x="548" y="35"/>
                  </a:lnTo>
                  <a:lnTo>
                    <a:pt x="548" y="35"/>
                  </a:lnTo>
                  <a:lnTo>
                    <a:pt x="551" y="35"/>
                  </a:lnTo>
                  <a:lnTo>
                    <a:pt x="551" y="35"/>
                  </a:lnTo>
                  <a:lnTo>
                    <a:pt x="551" y="33"/>
                  </a:lnTo>
                  <a:lnTo>
                    <a:pt x="551" y="35"/>
                  </a:lnTo>
                  <a:lnTo>
                    <a:pt x="551" y="33"/>
                  </a:lnTo>
                  <a:lnTo>
                    <a:pt x="551" y="33"/>
                  </a:lnTo>
                  <a:lnTo>
                    <a:pt x="551" y="33"/>
                  </a:lnTo>
                  <a:lnTo>
                    <a:pt x="551" y="33"/>
                  </a:lnTo>
                  <a:lnTo>
                    <a:pt x="551" y="30"/>
                  </a:lnTo>
                  <a:lnTo>
                    <a:pt x="551" y="30"/>
                  </a:lnTo>
                  <a:lnTo>
                    <a:pt x="553" y="30"/>
                  </a:lnTo>
                  <a:lnTo>
                    <a:pt x="553" y="28"/>
                  </a:lnTo>
                  <a:lnTo>
                    <a:pt x="555" y="28"/>
                  </a:lnTo>
                  <a:lnTo>
                    <a:pt x="555" y="28"/>
                  </a:lnTo>
                  <a:lnTo>
                    <a:pt x="558" y="28"/>
                  </a:lnTo>
                  <a:lnTo>
                    <a:pt x="558" y="28"/>
                  </a:lnTo>
                  <a:lnTo>
                    <a:pt x="558" y="28"/>
                  </a:lnTo>
                  <a:lnTo>
                    <a:pt x="560" y="28"/>
                  </a:lnTo>
                  <a:lnTo>
                    <a:pt x="560" y="28"/>
                  </a:lnTo>
                  <a:lnTo>
                    <a:pt x="560" y="28"/>
                  </a:lnTo>
                  <a:lnTo>
                    <a:pt x="560" y="26"/>
                  </a:lnTo>
                  <a:lnTo>
                    <a:pt x="562" y="28"/>
                  </a:lnTo>
                  <a:lnTo>
                    <a:pt x="562" y="26"/>
                  </a:lnTo>
                  <a:lnTo>
                    <a:pt x="562" y="26"/>
                  </a:lnTo>
                  <a:lnTo>
                    <a:pt x="562" y="28"/>
                  </a:lnTo>
                  <a:lnTo>
                    <a:pt x="562" y="26"/>
                  </a:lnTo>
                  <a:lnTo>
                    <a:pt x="565" y="26"/>
                  </a:lnTo>
                  <a:lnTo>
                    <a:pt x="565" y="26"/>
                  </a:lnTo>
                  <a:lnTo>
                    <a:pt x="565" y="26"/>
                  </a:lnTo>
                  <a:lnTo>
                    <a:pt x="567" y="26"/>
                  </a:lnTo>
                  <a:lnTo>
                    <a:pt x="567" y="26"/>
                  </a:lnTo>
                  <a:lnTo>
                    <a:pt x="567" y="26"/>
                  </a:lnTo>
                  <a:lnTo>
                    <a:pt x="567" y="23"/>
                  </a:lnTo>
                  <a:lnTo>
                    <a:pt x="567" y="26"/>
                  </a:lnTo>
                  <a:lnTo>
                    <a:pt x="567" y="23"/>
                  </a:lnTo>
                  <a:lnTo>
                    <a:pt x="569" y="23"/>
                  </a:lnTo>
                  <a:lnTo>
                    <a:pt x="569" y="23"/>
                  </a:lnTo>
                  <a:lnTo>
                    <a:pt x="569" y="23"/>
                  </a:lnTo>
                  <a:lnTo>
                    <a:pt x="569" y="23"/>
                  </a:lnTo>
                  <a:lnTo>
                    <a:pt x="572" y="21"/>
                  </a:lnTo>
                  <a:lnTo>
                    <a:pt x="574" y="21"/>
                  </a:lnTo>
                  <a:lnTo>
                    <a:pt x="574" y="21"/>
                  </a:lnTo>
                  <a:lnTo>
                    <a:pt x="574" y="21"/>
                  </a:lnTo>
                  <a:lnTo>
                    <a:pt x="576" y="21"/>
                  </a:lnTo>
                  <a:lnTo>
                    <a:pt x="574" y="19"/>
                  </a:lnTo>
                  <a:lnTo>
                    <a:pt x="576" y="19"/>
                  </a:lnTo>
                  <a:lnTo>
                    <a:pt x="576" y="19"/>
                  </a:lnTo>
                  <a:lnTo>
                    <a:pt x="576" y="19"/>
                  </a:lnTo>
                  <a:lnTo>
                    <a:pt x="576" y="19"/>
                  </a:lnTo>
                  <a:lnTo>
                    <a:pt x="576" y="19"/>
                  </a:lnTo>
                  <a:lnTo>
                    <a:pt x="576" y="16"/>
                  </a:lnTo>
                  <a:lnTo>
                    <a:pt x="576" y="16"/>
                  </a:lnTo>
                  <a:lnTo>
                    <a:pt x="576" y="16"/>
                  </a:lnTo>
                  <a:lnTo>
                    <a:pt x="579" y="16"/>
                  </a:lnTo>
                  <a:lnTo>
                    <a:pt x="579" y="16"/>
                  </a:lnTo>
                  <a:lnTo>
                    <a:pt x="579" y="16"/>
                  </a:lnTo>
                  <a:lnTo>
                    <a:pt x="579" y="16"/>
                  </a:lnTo>
                  <a:lnTo>
                    <a:pt x="579" y="16"/>
                  </a:lnTo>
                  <a:lnTo>
                    <a:pt x="579" y="16"/>
                  </a:lnTo>
                  <a:lnTo>
                    <a:pt x="581" y="16"/>
                  </a:lnTo>
                  <a:lnTo>
                    <a:pt x="581" y="14"/>
                  </a:lnTo>
                  <a:lnTo>
                    <a:pt x="581" y="14"/>
                  </a:lnTo>
                  <a:lnTo>
                    <a:pt x="581" y="14"/>
                  </a:lnTo>
                  <a:lnTo>
                    <a:pt x="581" y="11"/>
                  </a:lnTo>
                  <a:lnTo>
                    <a:pt x="584" y="11"/>
                  </a:lnTo>
                  <a:lnTo>
                    <a:pt x="581" y="9"/>
                  </a:lnTo>
                  <a:lnTo>
                    <a:pt x="584" y="9"/>
                  </a:lnTo>
                  <a:lnTo>
                    <a:pt x="584" y="9"/>
                  </a:lnTo>
                  <a:lnTo>
                    <a:pt x="586" y="9"/>
                  </a:lnTo>
                  <a:lnTo>
                    <a:pt x="586" y="9"/>
                  </a:lnTo>
                  <a:lnTo>
                    <a:pt x="588" y="9"/>
                  </a:lnTo>
                  <a:lnTo>
                    <a:pt x="588" y="7"/>
                  </a:lnTo>
                  <a:lnTo>
                    <a:pt x="591" y="7"/>
                  </a:lnTo>
                  <a:lnTo>
                    <a:pt x="591" y="7"/>
                  </a:lnTo>
                  <a:lnTo>
                    <a:pt x="591" y="7"/>
                  </a:lnTo>
                  <a:lnTo>
                    <a:pt x="593" y="7"/>
                  </a:lnTo>
                  <a:lnTo>
                    <a:pt x="593" y="7"/>
                  </a:lnTo>
                  <a:lnTo>
                    <a:pt x="595" y="9"/>
                  </a:lnTo>
                  <a:lnTo>
                    <a:pt x="595" y="7"/>
                  </a:lnTo>
                  <a:lnTo>
                    <a:pt x="595" y="7"/>
                  </a:lnTo>
                  <a:lnTo>
                    <a:pt x="595" y="9"/>
                  </a:lnTo>
                  <a:lnTo>
                    <a:pt x="595" y="7"/>
                  </a:lnTo>
                  <a:lnTo>
                    <a:pt x="598" y="7"/>
                  </a:lnTo>
                  <a:lnTo>
                    <a:pt x="595" y="7"/>
                  </a:lnTo>
                  <a:lnTo>
                    <a:pt x="598" y="7"/>
                  </a:lnTo>
                  <a:lnTo>
                    <a:pt x="598" y="7"/>
                  </a:lnTo>
                  <a:lnTo>
                    <a:pt x="600" y="7"/>
                  </a:lnTo>
                  <a:lnTo>
                    <a:pt x="600" y="7"/>
                  </a:lnTo>
                  <a:lnTo>
                    <a:pt x="600" y="7"/>
                  </a:lnTo>
                  <a:lnTo>
                    <a:pt x="600" y="7"/>
                  </a:lnTo>
                  <a:lnTo>
                    <a:pt x="602" y="7"/>
                  </a:lnTo>
                  <a:lnTo>
                    <a:pt x="605" y="7"/>
                  </a:lnTo>
                  <a:lnTo>
                    <a:pt x="605" y="7"/>
                  </a:lnTo>
                  <a:lnTo>
                    <a:pt x="605" y="9"/>
                  </a:lnTo>
                  <a:lnTo>
                    <a:pt x="607" y="9"/>
                  </a:lnTo>
                  <a:lnTo>
                    <a:pt x="607" y="9"/>
                  </a:lnTo>
                  <a:lnTo>
                    <a:pt x="607" y="7"/>
                  </a:lnTo>
                  <a:lnTo>
                    <a:pt x="610" y="7"/>
                  </a:lnTo>
                  <a:lnTo>
                    <a:pt x="610" y="9"/>
                  </a:lnTo>
                  <a:lnTo>
                    <a:pt x="610" y="9"/>
                  </a:lnTo>
                  <a:lnTo>
                    <a:pt x="612" y="9"/>
                  </a:lnTo>
                  <a:lnTo>
                    <a:pt x="612" y="7"/>
                  </a:lnTo>
                  <a:lnTo>
                    <a:pt x="614" y="7"/>
                  </a:lnTo>
                  <a:lnTo>
                    <a:pt x="614" y="7"/>
                  </a:lnTo>
                  <a:lnTo>
                    <a:pt x="614" y="7"/>
                  </a:lnTo>
                  <a:lnTo>
                    <a:pt x="614" y="7"/>
                  </a:lnTo>
                  <a:lnTo>
                    <a:pt x="617" y="4"/>
                  </a:lnTo>
                  <a:lnTo>
                    <a:pt x="617" y="4"/>
                  </a:lnTo>
                  <a:lnTo>
                    <a:pt x="617" y="4"/>
                  </a:lnTo>
                  <a:lnTo>
                    <a:pt x="617" y="4"/>
                  </a:lnTo>
                  <a:lnTo>
                    <a:pt x="619" y="4"/>
                  </a:lnTo>
                  <a:lnTo>
                    <a:pt x="619" y="4"/>
                  </a:lnTo>
                  <a:lnTo>
                    <a:pt x="617" y="4"/>
                  </a:lnTo>
                  <a:lnTo>
                    <a:pt x="636" y="4"/>
                  </a:lnTo>
                  <a:lnTo>
                    <a:pt x="650" y="4"/>
                  </a:lnTo>
                  <a:lnTo>
                    <a:pt x="654" y="4"/>
                  </a:lnTo>
                  <a:lnTo>
                    <a:pt x="654" y="4"/>
                  </a:lnTo>
                  <a:lnTo>
                    <a:pt x="654" y="4"/>
                  </a:lnTo>
                  <a:lnTo>
                    <a:pt x="654" y="4"/>
                  </a:lnTo>
                  <a:lnTo>
                    <a:pt x="654" y="2"/>
                  </a:lnTo>
                  <a:lnTo>
                    <a:pt x="657" y="0"/>
                  </a:lnTo>
                  <a:lnTo>
                    <a:pt x="659" y="2"/>
                  </a:lnTo>
                  <a:lnTo>
                    <a:pt x="659" y="2"/>
                  </a:lnTo>
                  <a:lnTo>
                    <a:pt x="659" y="4"/>
                  </a:lnTo>
                  <a:lnTo>
                    <a:pt x="662" y="4"/>
                  </a:lnTo>
                  <a:lnTo>
                    <a:pt x="662" y="4"/>
                  </a:lnTo>
                  <a:lnTo>
                    <a:pt x="662" y="4"/>
                  </a:lnTo>
                  <a:lnTo>
                    <a:pt x="662" y="4"/>
                  </a:lnTo>
                  <a:lnTo>
                    <a:pt x="662" y="4"/>
                  </a:lnTo>
                  <a:lnTo>
                    <a:pt x="664" y="4"/>
                  </a:lnTo>
                  <a:lnTo>
                    <a:pt x="664" y="4"/>
                  </a:lnTo>
                  <a:lnTo>
                    <a:pt x="664" y="7"/>
                  </a:lnTo>
                  <a:lnTo>
                    <a:pt x="662" y="14"/>
                  </a:lnTo>
                  <a:lnTo>
                    <a:pt x="664" y="16"/>
                  </a:lnTo>
                  <a:lnTo>
                    <a:pt x="664" y="16"/>
                  </a:lnTo>
                  <a:lnTo>
                    <a:pt x="664" y="23"/>
                  </a:lnTo>
                  <a:lnTo>
                    <a:pt x="666" y="28"/>
                  </a:lnTo>
                  <a:lnTo>
                    <a:pt x="669" y="28"/>
                  </a:lnTo>
                  <a:lnTo>
                    <a:pt x="669" y="28"/>
                  </a:lnTo>
                  <a:lnTo>
                    <a:pt x="671" y="28"/>
                  </a:lnTo>
                  <a:lnTo>
                    <a:pt x="673" y="28"/>
                  </a:lnTo>
                  <a:lnTo>
                    <a:pt x="673" y="28"/>
                  </a:lnTo>
                  <a:lnTo>
                    <a:pt x="673" y="33"/>
                  </a:lnTo>
                  <a:lnTo>
                    <a:pt x="673" y="35"/>
                  </a:lnTo>
                  <a:lnTo>
                    <a:pt x="676" y="35"/>
                  </a:lnTo>
                  <a:lnTo>
                    <a:pt x="676" y="35"/>
                  </a:lnTo>
                  <a:lnTo>
                    <a:pt x="678" y="35"/>
                  </a:lnTo>
                  <a:lnTo>
                    <a:pt x="678" y="35"/>
                  </a:lnTo>
                  <a:lnTo>
                    <a:pt x="676" y="37"/>
                  </a:lnTo>
                  <a:lnTo>
                    <a:pt x="676" y="37"/>
                  </a:lnTo>
                  <a:lnTo>
                    <a:pt x="671" y="44"/>
                  </a:lnTo>
                  <a:lnTo>
                    <a:pt x="669" y="49"/>
                  </a:lnTo>
                  <a:lnTo>
                    <a:pt x="669" y="54"/>
                  </a:lnTo>
                  <a:lnTo>
                    <a:pt x="664" y="59"/>
                  </a:lnTo>
                  <a:lnTo>
                    <a:pt x="664" y="63"/>
                  </a:lnTo>
                  <a:lnTo>
                    <a:pt x="664" y="66"/>
                  </a:lnTo>
                  <a:lnTo>
                    <a:pt x="662" y="68"/>
                  </a:lnTo>
                  <a:lnTo>
                    <a:pt x="659" y="73"/>
                  </a:lnTo>
                  <a:lnTo>
                    <a:pt x="657" y="78"/>
                  </a:lnTo>
                  <a:lnTo>
                    <a:pt x="657" y="80"/>
                  </a:lnTo>
                  <a:lnTo>
                    <a:pt x="654" y="82"/>
                  </a:lnTo>
                  <a:lnTo>
                    <a:pt x="654" y="87"/>
                  </a:lnTo>
                  <a:lnTo>
                    <a:pt x="652" y="94"/>
                  </a:lnTo>
                  <a:lnTo>
                    <a:pt x="652" y="96"/>
                  </a:lnTo>
                  <a:lnTo>
                    <a:pt x="654" y="99"/>
                  </a:lnTo>
                  <a:lnTo>
                    <a:pt x="652" y="101"/>
                  </a:lnTo>
                  <a:lnTo>
                    <a:pt x="654" y="106"/>
                  </a:lnTo>
                  <a:lnTo>
                    <a:pt x="654" y="106"/>
                  </a:lnTo>
                  <a:lnTo>
                    <a:pt x="654" y="106"/>
                  </a:lnTo>
                  <a:lnTo>
                    <a:pt x="657" y="108"/>
                  </a:lnTo>
                  <a:lnTo>
                    <a:pt x="657" y="106"/>
                  </a:lnTo>
                  <a:lnTo>
                    <a:pt x="659" y="106"/>
                  </a:lnTo>
                  <a:lnTo>
                    <a:pt x="659" y="108"/>
                  </a:lnTo>
                  <a:lnTo>
                    <a:pt x="662" y="108"/>
                  </a:lnTo>
                  <a:lnTo>
                    <a:pt x="664" y="108"/>
                  </a:lnTo>
                  <a:lnTo>
                    <a:pt x="664" y="108"/>
                  </a:lnTo>
                  <a:lnTo>
                    <a:pt x="664" y="108"/>
                  </a:lnTo>
                  <a:lnTo>
                    <a:pt x="666" y="108"/>
                  </a:lnTo>
                  <a:lnTo>
                    <a:pt x="664" y="111"/>
                  </a:lnTo>
                  <a:lnTo>
                    <a:pt x="666" y="111"/>
                  </a:lnTo>
                  <a:lnTo>
                    <a:pt x="664" y="111"/>
                  </a:lnTo>
                  <a:lnTo>
                    <a:pt x="664" y="111"/>
                  </a:lnTo>
                  <a:lnTo>
                    <a:pt x="664" y="115"/>
                  </a:lnTo>
                  <a:lnTo>
                    <a:pt x="662" y="115"/>
                  </a:lnTo>
                  <a:lnTo>
                    <a:pt x="659" y="115"/>
                  </a:lnTo>
                  <a:lnTo>
                    <a:pt x="659" y="120"/>
                  </a:lnTo>
                  <a:lnTo>
                    <a:pt x="657" y="125"/>
                  </a:lnTo>
                  <a:lnTo>
                    <a:pt x="659" y="125"/>
                  </a:lnTo>
                  <a:lnTo>
                    <a:pt x="657" y="127"/>
                  </a:lnTo>
                  <a:lnTo>
                    <a:pt x="659" y="127"/>
                  </a:lnTo>
                  <a:lnTo>
                    <a:pt x="662" y="127"/>
                  </a:lnTo>
                  <a:lnTo>
                    <a:pt x="659" y="130"/>
                  </a:lnTo>
                  <a:lnTo>
                    <a:pt x="659" y="132"/>
                  </a:lnTo>
                  <a:lnTo>
                    <a:pt x="662" y="132"/>
                  </a:lnTo>
                  <a:lnTo>
                    <a:pt x="659" y="132"/>
                  </a:lnTo>
                  <a:lnTo>
                    <a:pt x="662" y="134"/>
                  </a:lnTo>
                  <a:lnTo>
                    <a:pt x="659" y="134"/>
                  </a:lnTo>
                  <a:lnTo>
                    <a:pt x="659" y="134"/>
                  </a:lnTo>
                  <a:lnTo>
                    <a:pt x="662" y="137"/>
                  </a:lnTo>
                  <a:lnTo>
                    <a:pt x="662" y="137"/>
                  </a:lnTo>
                  <a:lnTo>
                    <a:pt x="664" y="137"/>
                  </a:lnTo>
                  <a:lnTo>
                    <a:pt x="664" y="137"/>
                  </a:lnTo>
                  <a:lnTo>
                    <a:pt x="664" y="137"/>
                  </a:lnTo>
                  <a:lnTo>
                    <a:pt x="664" y="137"/>
                  </a:lnTo>
                  <a:lnTo>
                    <a:pt x="664" y="137"/>
                  </a:lnTo>
                  <a:lnTo>
                    <a:pt x="666" y="137"/>
                  </a:lnTo>
                  <a:lnTo>
                    <a:pt x="666" y="137"/>
                  </a:lnTo>
                  <a:lnTo>
                    <a:pt x="666" y="139"/>
                  </a:lnTo>
                  <a:lnTo>
                    <a:pt x="669" y="139"/>
                  </a:lnTo>
                  <a:lnTo>
                    <a:pt x="666" y="139"/>
                  </a:lnTo>
                  <a:lnTo>
                    <a:pt x="669" y="141"/>
                  </a:lnTo>
                  <a:lnTo>
                    <a:pt x="666" y="141"/>
                  </a:lnTo>
                  <a:lnTo>
                    <a:pt x="666" y="141"/>
                  </a:lnTo>
                  <a:lnTo>
                    <a:pt x="666" y="144"/>
                  </a:lnTo>
                  <a:lnTo>
                    <a:pt x="664" y="146"/>
                  </a:lnTo>
                  <a:lnTo>
                    <a:pt x="664" y="146"/>
                  </a:lnTo>
                  <a:lnTo>
                    <a:pt x="664" y="148"/>
                  </a:lnTo>
                  <a:lnTo>
                    <a:pt x="664" y="148"/>
                  </a:lnTo>
                  <a:lnTo>
                    <a:pt x="664" y="148"/>
                  </a:lnTo>
                  <a:lnTo>
                    <a:pt x="664" y="151"/>
                  </a:lnTo>
                  <a:lnTo>
                    <a:pt x="664" y="148"/>
                  </a:lnTo>
                  <a:lnTo>
                    <a:pt x="662" y="148"/>
                  </a:lnTo>
                  <a:lnTo>
                    <a:pt x="662" y="151"/>
                  </a:lnTo>
                  <a:lnTo>
                    <a:pt x="664" y="153"/>
                  </a:lnTo>
                  <a:lnTo>
                    <a:pt x="666" y="156"/>
                  </a:lnTo>
                  <a:lnTo>
                    <a:pt x="669" y="158"/>
                  </a:lnTo>
                  <a:lnTo>
                    <a:pt x="669" y="158"/>
                  </a:lnTo>
                  <a:lnTo>
                    <a:pt x="671" y="158"/>
                  </a:lnTo>
                  <a:lnTo>
                    <a:pt x="671" y="156"/>
                  </a:lnTo>
                  <a:lnTo>
                    <a:pt x="671" y="156"/>
                  </a:lnTo>
                  <a:lnTo>
                    <a:pt x="673" y="153"/>
                  </a:lnTo>
                  <a:lnTo>
                    <a:pt x="673" y="153"/>
                  </a:lnTo>
                  <a:lnTo>
                    <a:pt x="673" y="153"/>
                  </a:lnTo>
                  <a:lnTo>
                    <a:pt x="673" y="153"/>
                  </a:lnTo>
                  <a:lnTo>
                    <a:pt x="676" y="151"/>
                  </a:lnTo>
                  <a:lnTo>
                    <a:pt x="676" y="153"/>
                  </a:lnTo>
                  <a:lnTo>
                    <a:pt x="673" y="153"/>
                  </a:lnTo>
                  <a:lnTo>
                    <a:pt x="676" y="156"/>
                  </a:lnTo>
                  <a:lnTo>
                    <a:pt x="678" y="156"/>
                  </a:lnTo>
                  <a:lnTo>
                    <a:pt x="678" y="156"/>
                  </a:lnTo>
                  <a:lnTo>
                    <a:pt x="678" y="156"/>
                  </a:lnTo>
                  <a:lnTo>
                    <a:pt x="678" y="156"/>
                  </a:lnTo>
                  <a:lnTo>
                    <a:pt x="680" y="156"/>
                  </a:lnTo>
                  <a:lnTo>
                    <a:pt x="680" y="156"/>
                  </a:lnTo>
                  <a:lnTo>
                    <a:pt x="680" y="158"/>
                  </a:lnTo>
                  <a:lnTo>
                    <a:pt x="678" y="158"/>
                  </a:lnTo>
                  <a:lnTo>
                    <a:pt x="678" y="158"/>
                  </a:lnTo>
                  <a:lnTo>
                    <a:pt x="678" y="160"/>
                  </a:lnTo>
                  <a:lnTo>
                    <a:pt x="676" y="160"/>
                  </a:lnTo>
                  <a:lnTo>
                    <a:pt x="678" y="163"/>
                  </a:lnTo>
                  <a:lnTo>
                    <a:pt x="678" y="163"/>
                  </a:lnTo>
                  <a:lnTo>
                    <a:pt x="680" y="163"/>
                  </a:lnTo>
                  <a:lnTo>
                    <a:pt x="678" y="165"/>
                  </a:lnTo>
                  <a:lnTo>
                    <a:pt x="678" y="165"/>
                  </a:lnTo>
                  <a:lnTo>
                    <a:pt x="678" y="165"/>
                  </a:lnTo>
                  <a:lnTo>
                    <a:pt x="676" y="165"/>
                  </a:lnTo>
                  <a:lnTo>
                    <a:pt x="673" y="165"/>
                  </a:lnTo>
                  <a:lnTo>
                    <a:pt x="673" y="165"/>
                  </a:lnTo>
                  <a:lnTo>
                    <a:pt x="676" y="165"/>
                  </a:lnTo>
                  <a:lnTo>
                    <a:pt x="676" y="163"/>
                  </a:lnTo>
                  <a:lnTo>
                    <a:pt x="673" y="163"/>
                  </a:lnTo>
                  <a:lnTo>
                    <a:pt x="673" y="160"/>
                  </a:lnTo>
                  <a:lnTo>
                    <a:pt x="671" y="163"/>
                  </a:lnTo>
                  <a:lnTo>
                    <a:pt x="669" y="163"/>
                  </a:lnTo>
                  <a:lnTo>
                    <a:pt x="669" y="163"/>
                  </a:lnTo>
                  <a:lnTo>
                    <a:pt x="666" y="165"/>
                  </a:lnTo>
                  <a:lnTo>
                    <a:pt x="666" y="165"/>
                  </a:lnTo>
                  <a:lnTo>
                    <a:pt x="664" y="165"/>
                  </a:lnTo>
                  <a:lnTo>
                    <a:pt x="664" y="165"/>
                  </a:lnTo>
                  <a:lnTo>
                    <a:pt x="662" y="165"/>
                  </a:lnTo>
                  <a:lnTo>
                    <a:pt x="662" y="170"/>
                  </a:lnTo>
                  <a:lnTo>
                    <a:pt x="662" y="170"/>
                  </a:lnTo>
                  <a:lnTo>
                    <a:pt x="662" y="172"/>
                  </a:lnTo>
                  <a:lnTo>
                    <a:pt x="664" y="177"/>
                  </a:lnTo>
                  <a:lnTo>
                    <a:pt x="664" y="179"/>
                  </a:lnTo>
                  <a:lnTo>
                    <a:pt x="666" y="179"/>
                  </a:lnTo>
                  <a:lnTo>
                    <a:pt x="666" y="179"/>
                  </a:lnTo>
                  <a:lnTo>
                    <a:pt x="666" y="179"/>
                  </a:lnTo>
                  <a:lnTo>
                    <a:pt x="669" y="177"/>
                  </a:lnTo>
                  <a:lnTo>
                    <a:pt x="669" y="177"/>
                  </a:lnTo>
                  <a:lnTo>
                    <a:pt x="669" y="179"/>
                  </a:lnTo>
                  <a:lnTo>
                    <a:pt x="669" y="179"/>
                  </a:lnTo>
                  <a:lnTo>
                    <a:pt x="669" y="177"/>
                  </a:lnTo>
                  <a:lnTo>
                    <a:pt x="671" y="177"/>
                  </a:lnTo>
                  <a:lnTo>
                    <a:pt x="671" y="177"/>
                  </a:lnTo>
                  <a:lnTo>
                    <a:pt x="671" y="179"/>
                  </a:lnTo>
                  <a:lnTo>
                    <a:pt x="671" y="181"/>
                  </a:lnTo>
                  <a:lnTo>
                    <a:pt x="673" y="181"/>
                  </a:lnTo>
                  <a:lnTo>
                    <a:pt x="673" y="181"/>
                  </a:lnTo>
                  <a:lnTo>
                    <a:pt x="673" y="181"/>
                  </a:lnTo>
                  <a:lnTo>
                    <a:pt x="671" y="181"/>
                  </a:lnTo>
                  <a:lnTo>
                    <a:pt x="671" y="184"/>
                  </a:lnTo>
                  <a:lnTo>
                    <a:pt x="671" y="184"/>
                  </a:lnTo>
                  <a:lnTo>
                    <a:pt x="673" y="186"/>
                  </a:lnTo>
                  <a:lnTo>
                    <a:pt x="671" y="189"/>
                  </a:lnTo>
                  <a:lnTo>
                    <a:pt x="671" y="186"/>
                  </a:lnTo>
                  <a:lnTo>
                    <a:pt x="671" y="186"/>
                  </a:lnTo>
                  <a:lnTo>
                    <a:pt x="671" y="184"/>
                  </a:lnTo>
                  <a:lnTo>
                    <a:pt x="671" y="184"/>
                  </a:lnTo>
                  <a:lnTo>
                    <a:pt x="669" y="184"/>
                  </a:lnTo>
                  <a:lnTo>
                    <a:pt x="669" y="189"/>
                  </a:lnTo>
                  <a:lnTo>
                    <a:pt x="669" y="189"/>
                  </a:lnTo>
                  <a:lnTo>
                    <a:pt x="669" y="191"/>
                  </a:lnTo>
                  <a:lnTo>
                    <a:pt x="669" y="191"/>
                  </a:lnTo>
                  <a:lnTo>
                    <a:pt x="669" y="191"/>
                  </a:lnTo>
                  <a:lnTo>
                    <a:pt x="669" y="191"/>
                  </a:lnTo>
                  <a:lnTo>
                    <a:pt x="669" y="193"/>
                  </a:lnTo>
                  <a:lnTo>
                    <a:pt x="666" y="193"/>
                  </a:lnTo>
                  <a:lnTo>
                    <a:pt x="666" y="193"/>
                  </a:lnTo>
                  <a:lnTo>
                    <a:pt x="664" y="193"/>
                  </a:lnTo>
                  <a:lnTo>
                    <a:pt x="664" y="193"/>
                  </a:lnTo>
                  <a:lnTo>
                    <a:pt x="664" y="193"/>
                  </a:lnTo>
                  <a:lnTo>
                    <a:pt x="662" y="193"/>
                  </a:lnTo>
                  <a:lnTo>
                    <a:pt x="659" y="196"/>
                  </a:lnTo>
                  <a:lnTo>
                    <a:pt x="659" y="198"/>
                  </a:lnTo>
                  <a:lnTo>
                    <a:pt x="659" y="200"/>
                  </a:lnTo>
                  <a:lnTo>
                    <a:pt x="657" y="200"/>
                  </a:lnTo>
                  <a:lnTo>
                    <a:pt x="659" y="205"/>
                  </a:lnTo>
                  <a:lnTo>
                    <a:pt x="659" y="207"/>
                  </a:lnTo>
                  <a:lnTo>
                    <a:pt x="662" y="207"/>
                  </a:lnTo>
                  <a:lnTo>
                    <a:pt x="662" y="210"/>
                  </a:lnTo>
                  <a:lnTo>
                    <a:pt x="664" y="212"/>
                  </a:lnTo>
                  <a:lnTo>
                    <a:pt x="666" y="212"/>
                  </a:lnTo>
                  <a:lnTo>
                    <a:pt x="666" y="212"/>
                  </a:lnTo>
                  <a:lnTo>
                    <a:pt x="669" y="215"/>
                  </a:lnTo>
                  <a:lnTo>
                    <a:pt x="666" y="217"/>
                  </a:lnTo>
                  <a:lnTo>
                    <a:pt x="669" y="217"/>
                  </a:lnTo>
                  <a:lnTo>
                    <a:pt x="666" y="217"/>
                  </a:lnTo>
                  <a:lnTo>
                    <a:pt x="666" y="217"/>
                  </a:lnTo>
                  <a:lnTo>
                    <a:pt x="664" y="217"/>
                  </a:lnTo>
                  <a:lnTo>
                    <a:pt x="664" y="217"/>
                  </a:lnTo>
                  <a:lnTo>
                    <a:pt x="664" y="217"/>
                  </a:lnTo>
                  <a:lnTo>
                    <a:pt x="664" y="217"/>
                  </a:lnTo>
                  <a:lnTo>
                    <a:pt x="662" y="217"/>
                  </a:lnTo>
                  <a:lnTo>
                    <a:pt x="659" y="217"/>
                  </a:lnTo>
                  <a:lnTo>
                    <a:pt x="662" y="217"/>
                  </a:lnTo>
                  <a:lnTo>
                    <a:pt x="659" y="219"/>
                  </a:lnTo>
                  <a:lnTo>
                    <a:pt x="659" y="219"/>
                  </a:lnTo>
                  <a:lnTo>
                    <a:pt x="659" y="222"/>
                  </a:lnTo>
                  <a:lnTo>
                    <a:pt x="657" y="219"/>
                  </a:lnTo>
                  <a:lnTo>
                    <a:pt x="657" y="222"/>
                  </a:lnTo>
                  <a:lnTo>
                    <a:pt x="659" y="222"/>
                  </a:lnTo>
                  <a:lnTo>
                    <a:pt x="662" y="224"/>
                  </a:lnTo>
                  <a:lnTo>
                    <a:pt x="664" y="224"/>
                  </a:lnTo>
                  <a:lnTo>
                    <a:pt x="664" y="226"/>
                  </a:lnTo>
                  <a:lnTo>
                    <a:pt x="664" y="226"/>
                  </a:lnTo>
                  <a:lnTo>
                    <a:pt x="664" y="229"/>
                  </a:lnTo>
                  <a:lnTo>
                    <a:pt x="664" y="229"/>
                  </a:lnTo>
                  <a:lnTo>
                    <a:pt x="664" y="231"/>
                  </a:lnTo>
                  <a:lnTo>
                    <a:pt x="664" y="233"/>
                  </a:lnTo>
                  <a:lnTo>
                    <a:pt x="664" y="236"/>
                  </a:lnTo>
                  <a:lnTo>
                    <a:pt x="664" y="236"/>
                  </a:lnTo>
                  <a:lnTo>
                    <a:pt x="664" y="238"/>
                  </a:lnTo>
                  <a:lnTo>
                    <a:pt x="664" y="238"/>
                  </a:lnTo>
                  <a:lnTo>
                    <a:pt x="664" y="241"/>
                  </a:lnTo>
                  <a:lnTo>
                    <a:pt x="664" y="243"/>
                  </a:lnTo>
                  <a:lnTo>
                    <a:pt x="666" y="245"/>
                  </a:lnTo>
                  <a:lnTo>
                    <a:pt x="666" y="248"/>
                  </a:lnTo>
                  <a:lnTo>
                    <a:pt x="666" y="248"/>
                  </a:lnTo>
                  <a:lnTo>
                    <a:pt x="666" y="248"/>
                  </a:lnTo>
                  <a:lnTo>
                    <a:pt x="664" y="248"/>
                  </a:lnTo>
                  <a:lnTo>
                    <a:pt x="664" y="248"/>
                  </a:lnTo>
                  <a:lnTo>
                    <a:pt x="664" y="250"/>
                  </a:lnTo>
                  <a:lnTo>
                    <a:pt x="664" y="252"/>
                  </a:lnTo>
                  <a:lnTo>
                    <a:pt x="664" y="252"/>
                  </a:lnTo>
                  <a:lnTo>
                    <a:pt x="664" y="252"/>
                  </a:lnTo>
                  <a:lnTo>
                    <a:pt x="666" y="252"/>
                  </a:lnTo>
                  <a:lnTo>
                    <a:pt x="666" y="255"/>
                  </a:lnTo>
                  <a:lnTo>
                    <a:pt x="666" y="255"/>
                  </a:lnTo>
                  <a:lnTo>
                    <a:pt x="664" y="255"/>
                  </a:lnTo>
                  <a:lnTo>
                    <a:pt x="664" y="257"/>
                  </a:lnTo>
                  <a:lnTo>
                    <a:pt x="662" y="259"/>
                  </a:lnTo>
                  <a:lnTo>
                    <a:pt x="662" y="262"/>
                  </a:lnTo>
                  <a:lnTo>
                    <a:pt x="662" y="262"/>
                  </a:lnTo>
                  <a:lnTo>
                    <a:pt x="662" y="262"/>
                  </a:lnTo>
                  <a:lnTo>
                    <a:pt x="662" y="264"/>
                  </a:lnTo>
                  <a:lnTo>
                    <a:pt x="662" y="264"/>
                  </a:lnTo>
                  <a:lnTo>
                    <a:pt x="659" y="267"/>
                  </a:lnTo>
                  <a:lnTo>
                    <a:pt x="659" y="269"/>
                  </a:lnTo>
                  <a:lnTo>
                    <a:pt x="662" y="271"/>
                  </a:lnTo>
                  <a:lnTo>
                    <a:pt x="662" y="271"/>
                  </a:lnTo>
                  <a:lnTo>
                    <a:pt x="664" y="271"/>
                  </a:lnTo>
                  <a:lnTo>
                    <a:pt x="664" y="274"/>
                  </a:lnTo>
                  <a:lnTo>
                    <a:pt x="664" y="271"/>
                  </a:lnTo>
                  <a:lnTo>
                    <a:pt x="662" y="274"/>
                  </a:lnTo>
                  <a:lnTo>
                    <a:pt x="662" y="274"/>
                  </a:lnTo>
                  <a:lnTo>
                    <a:pt x="662" y="276"/>
                  </a:lnTo>
                  <a:lnTo>
                    <a:pt x="662" y="276"/>
                  </a:lnTo>
                  <a:lnTo>
                    <a:pt x="662" y="278"/>
                  </a:lnTo>
                  <a:lnTo>
                    <a:pt x="659" y="278"/>
                  </a:lnTo>
                  <a:lnTo>
                    <a:pt x="659" y="281"/>
                  </a:lnTo>
                  <a:lnTo>
                    <a:pt x="659" y="281"/>
                  </a:lnTo>
                  <a:lnTo>
                    <a:pt x="659" y="283"/>
                  </a:lnTo>
                  <a:lnTo>
                    <a:pt x="659" y="283"/>
                  </a:lnTo>
                  <a:lnTo>
                    <a:pt x="659" y="283"/>
                  </a:lnTo>
                  <a:lnTo>
                    <a:pt x="659" y="283"/>
                  </a:lnTo>
                  <a:lnTo>
                    <a:pt x="659" y="283"/>
                  </a:lnTo>
                  <a:lnTo>
                    <a:pt x="659" y="283"/>
                  </a:lnTo>
                  <a:lnTo>
                    <a:pt x="659" y="283"/>
                  </a:lnTo>
                  <a:lnTo>
                    <a:pt x="657" y="285"/>
                  </a:lnTo>
                  <a:lnTo>
                    <a:pt x="657" y="285"/>
                  </a:lnTo>
                  <a:lnTo>
                    <a:pt x="659" y="285"/>
                  </a:lnTo>
                  <a:lnTo>
                    <a:pt x="657" y="285"/>
                  </a:lnTo>
                  <a:lnTo>
                    <a:pt x="657" y="288"/>
                  </a:lnTo>
                  <a:lnTo>
                    <a:pt x="657" y="288"/>
                  </a:lnTo>
                  <a:lnTo>
                    <a:pt x="654" y="293"/>
                  </a:lnTo>
                  <a:lnTo>
                    <a:pt x="654" y="293"/>
                  </a:lnTo>
                  <a:lnTo>
                    <a:pt x="657" y="293"/>
                  </a:lnTo>
                  <a:lnTo>
                    <a:pt x="657" y="293"/>
                  </a:lnTo>
                  <a:lnTo>
                    <a:pt x="654" y="295"/>
                  </a:lnTo>
                  <a:lnTo>
                    <a:pt x="654" y="295"/>
                  </a:lnTo>
                  <a:lnTo>
                    <a:pt x="654" y="295"/>
                  </a:lnTo>
                  <a:lnTo>
                    <a:pt x="654" y="297"/>
                  </a:lnTo>
                  <a:lnTo>
                    <a:pt x="657" y="300"/>
                  </a:lnTo>
                  <a:lnTo>
                    <a:pt x="657" y="297"/>
                  </a:lnTo>
                  <a:lnTo>
                    <a:pt x="657" y="300"/>
                  </a:lnTo>
                  <a:lnTo>
                    <a:pt x="654" y="302"/>
                  </a:lnTo>
                  <a:lnTo>
                    <a:pt x="650" y="307"/>
                  </a:lnTo>
                  <a:lnTo>
                    <a:pt x="650" y="311"/>
                  </a:lnTo>
                  <a:lnTo>
                    <a:pt x="650" y="311"/>
                  </a:lnTo>
                  <a:lnTo>
                    <a:pt x="652" y="311"/>
                  </a:lnTo>
                  <a:lnTo>
                    <a:pt x="650" y="311"/>
                  </a:lnTo>
                  <a:lnTo>
                    <a:pt x="647" y="316"/>
                  </a:lnTo>
                  <a:lnTo>
                    <a:pt x="645" y="319"/>
                  </a:lnTo>
                  <a:lnTo>
                    <a:pt x="645" y="321"/>
                  </a:lnTo>
                  <a:lnTo>
                    <a:pt x="645" y="323"/>
                  </a:lnTo>
                  <a:lnTo>
                    <a:pt x="645" y="323"/>
                  </a:lnTo>
                  <a:lnTo>
                    <a:pt x="645" y="323"/>
                  </a:lnTo>
                  <a:lnTo>
                    <a:pt x="643" y="326"/>
                  </a:lnTo>
                  <a:lnTo>
                    <a:pt x="643" y="328"/>
                  </a:lnTo>
                  <a:lnTo>
                    <a:pt x="643" y="333"/>
                  </a:lnTo>
                  <a:lnTo>
                    <a:pt x="645" y="333"/>
                  </a:lnTo>
                  <a:lnTo>
                    <a:pt x="645" y="333"/>
                  </a:lnTo>
                  <a:lnTo>
                    <a:pt x="645" y="335"/>
                  </a:lnTo>
                  <a:lnTo>
                    <a:pt x="645" y="335"/>
                  </a:lnTo>
                  <a:lnTo>
                    <a:pt x="643" y="335"/>
                  </a:lnTo>
                  <a:lnTo>
                    <a:pt x="643" y="337"/>
                  </a:lnTo>
                  <a:lnTo>
                    <a:pt x="645" y="337"/>
                  </a:lnTo>
                  <a:lnTo>
                    <a:pt x="643" y="337"/>
                  </a:lnTo>
                  <a:lnTo>
                    <a:pt x="643" y="340"/>
                  </a:lnTo>
                  <a:lnTo>
                    <a:pt x="640" y="340"/>
                  </a:lnTo>
                  <a:lnTo>
                    <a:pt x="640" y="342"/>
                  </a:lnTo>
                  <a:lnTo>
                    <a:pt x="640" y="342"/>
                  </a:lnTo>
                  <a:lnTo>
                    <a:pt x="638" y="342"/>
                  </a:lnTo>
                  <a:lnTo>
                    <a:pt x="636" y="344"/>
                  </a:lnTo>
                  <a:lnTo>
                    <a:pt x="636" y="347"/>
                  </a:lnTo>
                  <a:lnTo>
                    <a:pt x="638" y="347"/>
                  </a:lnTo>
                  <a:lnTo>
                    <a:pt x="636" y="347"/>
                  </a:lnTo>
                  <a:lnTo>
                    <a:pt x="636" y="347"/>
                  </a:lnTo>
                  <a:lnTo>
                    <a:pt x="633" y="347"/>
                  </a:lnTo>
                  <a:lnTo>
                    <a:pt x="633" y="347"/>
                  </a:lnTo>
                  <a:lnTo>
                    <a:pt x="631" y="349"/>
                  </a:lnTo>
                  <a:lnTo>
                    <a:pt x="624" y="352"/>
                  </a:lnTo>
                  <a:lnTo>
                    <a:pt x="614" y="356"/>
                  </a:lnTo>
                  <a:lnTo>
                    <a:pt x="602" y="363"/>
                  </a:lnTo>
                  <a:lnTo>
                    <a:pt x="588" y="373"/>
                  </a:lnTo>
                  <a:lnTo>
                    <a:pt x="576" y="382"/>
                  </a:lnTo>
                  <a:lnTo>
                    <a:pt x="572" y="387"/>
                  </a:lnTo>
                  <a:lnTo>
                    <a:pt x="572" y="387"/>
                  </a:lnTo>
                  <a:lnTo>
                    <a:pt x="565" y="392"/>
                  </a:lnTo>
                  <a:lnTo>
                    <a:pt x="560" y="399"/>
                  </a:lnTo>
                  <a:lnTo>
                    <a:pt x="548" y="411"/>
                  </a:lnTo>
                  <a:lnTo>
                    <a:pt x="548" y="411"/>
                  </a:lnTo>
                  <a:lnTo>
                    <a:pt x="532" y="430"/>
                  </a:lnTo>
                  <a:lnTo>
                    <a:pt x="522" y="441"/>
                  </a:lnTo>
                  <a:lnTo>
                    <a:pt x="520" y="441"/>
                  </a:lnTo>
                  <a:lnTo>
                    <a:pt x="520" y="441"/>
                  </a:lnTo>
                  <a:lnTo>
                    <a:pt x="517" y="441"/>
                  </a:lnTo>
                  <a:lnTo>
                    <a:pt x="517" y="441"/>
                  </a:lnTo>
                  <a:lnTo>
                    <a:pt x="520" y="439"/>
                  </a:lnTo>
                  <a:lnTo>
                    <a:pt x="520" y="439"/>
                  </a:lnTo>
                  <a:lnTo>
                    <a:pt x="520" y="439"/>
                  </a:lnTo>
                  <a:lnTo>
                    <a:pt x="520" y="439"/>
                  </a:lnTo>
                  <a:lnTo>
                    <a:pt x="517" y="439"/>
                  </a:lnTo>
                  <a:lnTo>
                    <a:pt x="517" y="439"/>
                  </a:lnTo>
                  <a:lnTo>
                    <a:pt x="517" y="437"/>
                  </a:lnTo>
                  <a:lnTo>
                    <a:pt x="515" y="439"/>
                  </a:lnTo>
                  <a:lnTo>
                    <a:pt x="515" y="439"/>
                  </a:lnTo>
                  <a:lnTo>
                    <a:pt x="513" y="437"/>
                  </a:lnTo>
                  <a:lnTo>
                    <a:pt x="513" y="437"/>
                  </a:lnTo>
                  <a:lnTo>
                    <a:pt x="510" y="437"/>
                  </a:lnTo>
                  <a:lnTo>
                    <a:pt x="510" y="437"/>
                  </a:lnTo>
                  <a:lnTo>
                    <a:pt x="508" y="437"/>
                  </a:lnTo>
                  <a:lnTo>
                    <a:pt x="508" y="437"/>
                  </a:lnTo>
                  <a:lnTo>
                    <a:pt x="508" y="434"/>
                  </a:lnTo>
                  <a:lnTo>
                    <a:pt x="508" y="434"/>
                  </a:lnTo>
                  <a:lnTo>
                    <a:pt x="506" y="434"/>
                  </a:lnTo>
                  <a:lnTo>
                    <a:pt x="506" y="434"/>
                  </a:lnTo>
                  <a:lnTo>
                    <a:pt x="506" y="434"/>
                  </a:lnTo>
                  <a:lnTo>
                    <a:pt x="506" y="432"/>
                  </a:lnTo>
                  <a:lnTo>
                    <a:pt x="506" y="432"/>
                  </a:lnTo>
                  <a:lnTo>
                    <a:pt x="506" y="432"/>
                  </a:lnTo>
                  <a:lnTo>
                    <a:pt x="506" y="432"/>
                  </a:lnTo>
                  <a:lnTo>
                    <a:pt x="506" y="430"/>
                  </a:lnTo>
                  <a:lnTo>
                    <a:pt x="503" y="430"/>
                  </a:lnTo>
                  <a:lnTo>
                    <a:pt x="503" y="430"/>
                  </a:lnTo>
                  <a:lnTo>
                    <a:pt x="503" y="427"/>
                  </a:lnTo>
                  <a:lnTo>
                    <a:pt x="501" y="427"/>
                  </a:lnTo>
                  <a:lnTo>
                    <a:pt x="499" y="427"/>
                  </a:lnTo>
                  <a:lnTo>
                    <a:pt x="496" y="427"/>
                  </a:lnTo>
                  <a:lnTo>
                    <a:pt x="496" y="427"/>
                  </a:lnTo>
                  <a:lnTo>
                    <a:pt x="494" y="425"/>
                  </a:lnTo>
                  <a:lnTo>
                    <a:pt x="494" y="425"/>
                  </a:lnTo>
                  <a:lnTo>
                    <a:pt x="494" y="425"/>
                  </a:lnTo>
                  <a:lnTo>
                    <a:pt x="494" y="425"/>
                  </a:lnTo>
                  <a:lnTo>
                    <a:pt x="491" y="425"/>
                  </a:lnTo>
                  <a:lnTo>
                    <a:pt x="489" y="425"/>
                  </a:lnTo>
                  <a:lnTo>
                    <a:pt x="489" y="427"/>
                  </a:lnTo>
                  <a:lnTo>
                    <a:pt x="487" y="427"/>
                  </a:lnTo>
                  <a:lnTo>
                    <a:pt x="487" y="430"/>
                  </a:lnTo>
                  <a:lnTo>
                    <a:pt x="484" y="427"/>
                  </a:lnTo>
                  <a:lnTo>
                    <a:pt x="482" y="430"/>
                  </a:lnTo>
                  <a:lnTo>
                    <a:pt x="480" y="430"/>
                  </a:lnTo>
                  <a:lnTo>
                    <a:pt x="477" y="430"/>
                  </a:lnTo>
                  <a:lnTo>
                    <a:pt x="477" y="432"/>
                  </a:lnTo>
                  <a:lnTo>
                    <a:pt x="477" y="432"/>
                  </a:lnTo>
                  <a:lnTo>
                    <a:pt x="475" y="432"/>
                  </a:lnTo>
                  <a:lnTo>
                    <a:pt x="473" y="432"/>
                  </a:lnTo>
                  <a:lnTo>
                    <a:pt x="473" y="432"/>
                  </a:lnTo>
                  <a:lnTo>
                    <a:pt x="470" y="432"/>
                  </a:lnTo>
                  <a:lnTo>
                    <a:pt x="473" y="437"/>
                  </a:lnTo>
                  <a:lnTo>
                    <a:pt x="473" y="437"/>
                  </a:lnTo>
                  <a:lnTo>
                    <a:pt x="475" y="437"/>
                  </a:lnTo>
                  <a:lnTo>
                    <a:pt x="477" y="439"/>
                  </a:lnTo>
                  <a:lnTo>
                    <a:pt x="477" y="439"/>
                  </a:lnTo>
                  <a:lnTo>
                    <a:pt x="482" y="444"/>
                  </a:lnTo>
                  <a:lnTo>
                    <a:pt x="480" y="444"/>
                  </a:lnTo>
                  <a:lnTo>
                    <a:pt x="477" y="444"/>
                  </a:lnTo>
                  <a:lnTo>
                    <a:pt x="480" y="441"/>
                  </a:lnTo>
                  <a:lnTo>
                    <a:pt x="480" y="441"/>
                  </a:lnTo>
                  <a:lnTo>
                    <a:pt x="477" y="441"/>
                  </a:lnTo>
                  <a:lnTo>
                    <a:pt x="477" y="441"/>
                  </a:lnTo>
                  <a:lnTo>
                    <a:pt x="477" y="441"/>
                  </a:lnTo>
                  <a:lnTo>
                    <a:pt x="475" y="441"/>
                  </a:lnTo>
                  <a:lnTo>
                    <a:pt x="475" y="439"/>
                  </a:lnTo>
                  <a:lnTo>
                    <a:pt x="475" y="439"/>
                  </a:lnTo>
                  <a:lnTo>
                    <a:pt x="473" y="439"/>
                  </a:lnTo>
                  <a:lnTo>
                    <a:pt x="473" y="439"/>
                  </a:lnTo>
                  <a:lnTo>
                    <a:pt x="473" y="439"/>
                  </a:lnTo>
                  <a:lnTo>
                    <a:pt x="470" y="437"/>
                  </a:lnTo>
                  <a:lnTo>
                    <a:pt x="470" y="437"/>
                  </a:lnTo>
                  <a:lnTo>
                    <a:pt x="470" y="437"/>
                  </a:lnTo>
                  <a:lnTo>
                    <a:pt x="470" y="437"/>
                  </a:lnTo>
                  <a:lnTo>
                    <a:pt x="470" y="437"/>
                  </a:lnTo>
                  <a:lnTo>
                    <a:pt x="470" y="439"/>
                  </a:lnTo>
                  <a:lnTo>
                    <a:pt x="468" y="439"/>
                  </a:lnTo>
                  <a:lnTo>
                    <a:pt x="468" y="437"/>
                  </a:lnTo>
                  <a:lnTo>
                    <a:pt x="468" y="437"/>
                  </a:lnTo>
                  <a:lnTo>
                    <a:pt x="468" y="437"/>
                  </a:lnTo>
                  <a:lnTo>
                    <a:pt x="468" y="437"/>
                  </a:lnTo>
                  <a:lnTo>
                    <a:pt x="468" y="434"/>
                  </a:lnTo>
                  <a:lnTo>
                    <a:pt x="468" y="432"/>
                  </a:lnTo>
                  <a:lnTo>
                    <a:pt x="468" y="432"/>
                  </a:lnTo>
                  <a:lnTo>
                    <a:pt x="468" y="432"/>
                  </a:lnTo>
                  <a:lnTo>
                    <a:pt x="468" y="432"/>
                  </a:lnTo>
                  <a:lnTo>
                    <a:pt x="465" y="432"/>
                  </a:lnTo>
                  <a:lnTo>
                    <a:pt x="465" y="432"/>
                  </a:lnTo>
                  <a:lnTo>
                    <a:pt x="468" y="430"/>
                  </a:lnTo>
                  <a:lnTo>
                    <a:pt x="468" y="430"/>
                  </a:lnTo>
                  <a:lnTo>
                    <a:pt x="468" y="430"/>
                  </a:lnTo>
                  <a:lnTo>
                    <a:pt x="468" y="430"/>
                  </a:lnTo>
                  <a:lnTo>
                    <a:pt x="468" y="427"/>
                  </a:lnTo>
                  <a:lnTo>
                    <a:pt x="468" y="427"/>
                  </a:lnTo>
                  <a:lnTo>
                    <a:pt x="470" y="427"/>
                  </a:lnTo>
                  <a:lnTo>
                    <a:pt x="470" y="427"/>
                  </a:lnTo>
                  <a:lnTo>
                    <a:pt x="468" y="425"/>
                  </a:lnTo>
                  <a:lnTo>
                    <a:pt x="468" y="425"/>
                  </a:lnTo>
                  <a:lnTo>
                    <a:pt x="468" y="422"/>
                  </a:lnTo>
                  <a:lnTo>
                    <a:pt x="468" y="425"/>
                  </a:lnTo>
                  <a:lnTo>
                    <a:pt x="470" y="425"/>
                  </a:lnTo>
                  <a:lnTo>
                    <a:pt x="470" y="425"/>
                  </a:lnTo>
                  <a:lnTo>
                    <a:pt x="470" y="425"/>
                  </a:lnTo>
                  <a:lnTo>
                    <a:pt x="470" y="427"/>
                  </a:lnTo>
                  <a:lnTo>
                    <a:pt x="473" y="427"/>
                  </a:lnTo>
                  <a:lnTo>
                    <a:pt x="473" y="427"/>
                  </a:lnTo>
                  <a:lnTo>
                    <a:pt x="473" y="427"/>
                  </a:lnTo>
                  <a:lnTo>
                    <a:pt x="473" y="430"/>
                  </a:lnTo>
                  <a:lnTo>
                    <a:pt x="473" y="430"/>
                  </a:lnTo>
                  <a:lnTo>
                    <a:pt x="475" y="427"/>
                  </a:lnTo>
                  <a:lnTo>
                    <a:pt x="473" y="430"/>
                  </a:lnTo>
                  <a:lnTo>
                    <a:pt x="475" y="430"/>
                  </a:lnTo>
                  <a:lnTo>
                    <a:pt x="475" y="427"/>
                  </a:lnTo>
                  <a:lnTo>
                    <a:pt x="475" y="427"/>
                  </a:lnTo>
                  <a:lnTo>
                    <a:pt x="475" y="427"/>
                  </a:lnTo>
                  <a:lnTo>
                    <a:pt x="475" y="425"/>
                  </a:lnTo>
                  <a:lnTo>
                    <a:pt x="475" y="425"/>
                  </a:lnTo>
                  <a:lnTo>
                    <a:pt x="475" y="425"/>
                  </a:lnTo>
                  <a:lnTo>
                    <a:pt x="475" y="425"/>
                  </a:lnTo>
                  <a:lnTo>
                    <a:pt x="475" y="422"/>
                  </a:lnTo>
                  <a:lnTo>
                    <a:pt x="473" y="422"/>
                  </a:lnTo>
                  <a:lnTo>
                    <a:pt x="473" y="422"/>
                  </a:lnTo>
                  <a:lnTo>
                    <a:pt x="473" y="420"/>
                  </a:lnTo>
                  <a:lnTo>
                    <a:pt x="473" y="420"/>
                  </a:lnTo>
                  <a:lnTo>
                    <a:pt x="475" y="420"/>
                  </a:lnTo>
                  <a:lnTo>
                    <a:pt x="477" y="420"/>
                  </a:lnTo>
                  <a:lnTo>
                    <a:pt x="477" y="420"/>
                  </a:lnTo>
                  <a:lnTo>
                    <a:pt x="477" y="420"/>
                  </a:lnTo>
                  <a:lnTo>
                    <a:pt x="475" y="420"/>
                  </a:lnTo>
                  <a:lnTo>
                    <a:pt x="475" y="422"/>
                  </a:lnTo>
                  <a:lnTo>
                    <a:pt x="477" y="422"/>
                  </a:lnTo>
                  <a:lnTo>
                    <a:pt x="475" y="422"/>
                  </a:lnTo>
                  <a:lnTo>
                    <a:pt x="477" y="422"/>
                  </a:lnTo>
                  <a:lnTo>
                    <a:pt x="477" y="422"/>
                  </a:lnTo>
                  <a:lnTo>
                    <a:pt x="477" y="422"/>
                  </a:lnTo>
                  <a:lnTo>
                    <a:pt x="477" y="422"/>
                  </a:lnTo>
                  <a:lnTo>
                    <a:pt x="480" y="422"/>
                  </a:lnTo>
                  <a:lnTo>
                    <a:pt x="480" y="422"/>
                  </a:lnTo>
                  <a:lnTo>
                    <a:pt x="480" y="422"/>
                  </a:lnTo>
                  <a:lnTo>
                    <a:pt x="482" y="422"/>
                  </a:lnTo>
                  <a:lnTo>
                    <a:pt x="482" y="422"/>
                  </a:lnTo>
                  <a:lnTo>
                    <a:pt x="484" y="422"/>
                  </a:lnTo>
                  <a:lnTo>
                    <a:pt x="482" y="422"/>
                  </a:lnTo>
                  <a:lnTo>
                    <a:pt x="482" y="420"/>
                  </a:lnTo>
                  <a:lnTo>
                    <a:pt x="482" y="420"/>
                  </a:lnTo>
                  <a:lnTo>
                    <a:pt x="482" y="420"/>
                  </a:lnTo>
                  <a:lnTo>
                    <a:pt x="484" y="420"/>
                  </a:lnTo>
                  <a:lnTo>
                    <a:pt x="484" y="418"/>
                  </a:lnTo>
                  <a:lnTo>
                    <a:pt x="484" y="418"/>
                  </a:lnTo>
                  <a:lnTo>
                    <a:pt x="484" y="415"/>
                  </a:lnTo>
                  <a:lnTo>
                    <a:pt x="487" y="415"/>
                  </a:lnTo>
                  <a:lnTo>
                    <a:pt x="487" y="415"/>
                  </a:lnTo>
                  <a:lnTo>
                    <a:pt x="487" y="418"/>
                  </a:lnTo>
                  <a:lnTo>
                    <a:pt x="489" y="415"/>
                  </a:lnTo>
                  <a:lnTo>
                    <a:pt x="487" y="413"/>
                  </a:lnTo>
                  <a:lnTo>
                    <a:pt x="489" y="413"/>
                  </a:lnTo>
                  <a:lnTo>
                    <a:pt x="489" y="413"/>
                  </a:lnTo>
                  <a:lnTo>
                    <a:pt x="491" y="413"/>
                  </a:lnTo>
                  <a:lnTo>
                    <a:pt x="489" y="413"/>
                  </a:lnTo>
                  <a:lnTo>
                    <a:pt x="489" y="413"/>
                  </a:lnTo>
                  <a:lnTo>
                    <a:pt x="491" y="411"/>
                  </a:lnTo>
                  <a:lnTo>
                    <a:pt x="489" y="411"/>
                  </a:lnTo>
                  <a:lnTo>
                    <a:pt x="489" y="411"/>
                  </a:lnTo>
                  <a:lnTo>
                    <a:pt x="491" y="411"/>
                  </a:lnTo>
                  <a:lnTo>
                    <a:pt x="491" y="408"/>
                  </a:lnTo>
                  <a:lnTo>
                    <a:pt x="491" y="408"/>
                  </a:lnTo>
                  <a:lnTo>
                    <a:pt x="491" y="408"/>
                  </a:lnTo>
                  <a:lnTo>
                    <a:pt x="494" y="408"/>
                  </a:lnTo>
                  <a:lnTo>
                    <a:pt x="491" y="408"/>
                  </a:lnTo>
                  <a:lnTo>
                    <a:pt x="494" y="408"/>
                  </a:lnTo>
                  <a:lnTo>
                    <a:pt x="494" y="406"/>
                  </a:lnTo>
                  <a:lnTo>
                    <a:pt x="494" y="406"/>
                  </a:lnTo>
                  <a:lnTo>
                    <a:pt x="491" y="408"/>
                  </a:lnTo>
                  <a:lnTo>
                    <a:pt x="491" y="408"/>
                  </a:lnTo>
                  <a:lnTo>
                    <a:pt x="489" y="408"/>
                  </a:lnTo>
                  <a:lnTo>
                    <a:pt x="487" y="408"/>
                  </a:lnTo>
                  <a:lnTo>
                    <a:pt x="487" y="408"/>
                  </a:lnTo>
                  <a:lnTo>
                    <a:pt x="487" y="408"/>
                  </a:lnTo>
                  <a:lnTo>
                    <a:pt x="484" y="408"/>
                  </a:lnTo>
                  <a:lnTo>
                    <a:pt x="491" y="406"/>
                  </a:lnTo>
                  <a:lnTo>
                    <a:pt x="491" y="404"/>
                  </a:lnTo>
                  <a:lnTo>
                    <a:pt x="491" y="404"/>
                  </a:lnTo>
                  <a:lnTo>
                    <a:pt x="491" y="404"/>
                  </a:lnTo>
                  <a:lnTo>
                    <a:pt x="494" y="404"/>
                  </a:lnTo>
                  <a:lnTo>
                    <a:pt x="494" y="401"/>
                  </a:lnTo>
                  <a:lnTo>
                    <a:pt x="494" y="401"/>
                  </a:lnTo>
                  <a:lnTo>
                    <a:pt x="494" y="401"/>
                  </a:lnTo>
                  <a:lnTo>
                    <a:pt x="494" y="401"/>
                  </a:lnTo>
                  <a:lnTo>
                    <a:pt x="489" y="401"/>
                  </a:lnTo>
                  <a:lnTo>
                    <a:pt x="491" y="401"/>
                  </a:lnTo>
                  <a:lnTo>
                    <a:pt x="491" y="399"/>
                  </a:lnTo>
                  <a:lnTo>
                    <a:pt x="494" y="399"/>
                  </a:lnTo>
                  <a:lnTo>
                    <a:pt x="494" y="399"/>
                  </a:lnTo>
                  <a:lnTo>
                    <a:pt x="494" y="396"/>
                  </a:lnTo>
                  <a:lnTo>
                    <a:pt x="494" y="396"/>
                  </a:lnTo>
                  <a:lnTo>
                    <a:pt x="494" y="396"/>
                  </a:lnTo>
                  <a:lnTo>
                    <a:pt x="496" y="396"/>
                  </a:lnTo>
                  <a:lnTo>
                    <a:pt x="494" y="394"/>
                  </a:lnTo>
                  <a:lnTo>
                    <a:pt x="494" y="394"/>
                  </a:lnTo>
                  <a:lnTo>
                    <a:pt x="491" y="394"/>
                  </a:lnTo>
                  <a:lnTo>
                    <a:pt x="491" y="392"/>
                  </a:lnTo>
                  <a:lnTo>
                    <a:pt x="494" y="392"/>
                  </a:lnTo>
                  <a:lnTo>
                    <a:pt x="494" y="389"/>
                  </a:lnTo>
                  <a:lnTo>
                    <a:pt x="494" y="389"/>
                  </a:lnTo>
                  <a:lnTo>
                    <a:pt x="491" y="389"/>
                  </a:lnTo>
                  <a:lnTo>
                    <a:pt x="489" y="387"/>
                  </a:lnTo>
                  <a:lnTo>
                    <a:pt x="491" y="387"/>
                  </a:lnTo>
                  <a:lnTo>
                    <a:pt x="491" y="387"/>
                  </a:lnTo>
                  <a:lnTo>
                    <a:pt x="494" y="385"/>
                  </a:lnTo>
                  <a:lnTo>
                    <a:pt x="494" y="385"/>
                  </a:lnTo>
                  <a:lnTo>
                    <a:pt x="494" y="385"/>
                  </a:lnTo>
                  <a:lnTo>
                    <a:pt x="494" y="385"/>
                  </a:lnTo>
                  <a:lnTo>
                    <a:pt x="494" y="382"/>
                  </a:lnTo>
                  <a:lnTo>
                    <a:pt x="494" y="382"/>
                  </a:lnTo>
                  <a:lnTo>
                    <a:pt x="494" y="382"/>
                  </a:lnTo>
                  <a:lnTo>
                    <a:pt x="496" y="382"/>
                  </a:lnTo>
                  <a:lnTo>
                    <a:pt x="494" y="382"/>
                  </a:lnTo>
                  <a:lnTo>
                    <a:pt x="494" y="382"/>
                  </a:lnTo>
                  <a:lnTo>
                    <a:pt x="494" y="382"/>
                  </a:lnTo>
                  <a:lnTo>
                    <a:pt x="489" y="382"/>
                  </a:lnTo>
                  <a:lnTo>
                    <a:pt x="491" y="382"/>
                  </a:lnTo>
                  <a:lnTo>
                    <a:pt x="491" y="380"/>
                  </a:lnTo>
                  <a:lnTo>
                    <a:pt x="491" y="380"/>
                  </a:lnTo>
                  <a:lnTo>
                    <a:pt x="494" y="380"/>
                  </a:lnTo>
                  <a:lnTo>
                    <a:pt x="494" y="378"/>
                  </a:lnTo>
                  <a:lnTo>
                    <a:pt x="491" y="380"/>
                  </a:lnTo>
                  <a:lnTo>
                    <a:pt x="491" y="375"/>
                  </a:lnTo>
                  <a:lnTo>
                    <a:pt x="491" y="375"/>
                  </a:lnTo>
                  <a:lnTo>
                    <a:pt x="491" y="375"/>
                  </a:lnTo>
                  <a:lnTo>
                    <a:pt x="491" y="373"/>
                  </a:lnTo>
                  <a:lnTo>
                    <a:pt x="494" y="373"/>
                  </a:lnTo>
                  <a:lnTo>
                    <a:pt x="494" y="373"/>
                  </a:lnTo>
                  <a:lnTo>
                    <a:pt x="491" y="373"/>
                  </a:lnTo>
                  <a:lnTo>
                    <a:pt x="491" y="370"/>
                  </a:lnTo>
                  <a:lnTo>
                    <a:pt x="491" y="370"/>
                  </a:lnTo>
                  <a:lnTo>
                    <a:pt x="491" y="370"/>
                  </a:lnTo>
                  <a:lnTo>
                    <a:pt x="491" y="368"/>
                  </a:lnTo>
                  <a:lnTo>
                    <a:pt x="491" y="368"/>
                  </a:lnTo>
                  <a:lnTo>
                    <a:pt x="491" y="368"/>
                  </a:lnTo>
                  <a:lnTo>
                    <a:pt x="494" y="366"/>
                  </a:lnTo>
                  <a:lnTo>
                    <a:pt x="494" y="368"/>
                  </a:lnTo>
                  <a:lnTo>
                    <a:pt x="494" y="366"/>
                  </a:lnTo>
                  <a:lnTo>
                    <a:pt x="494" y="368"/>
                  </a:lnTo>
                  <a:lnTo>
                    <a:pt x="496" y="366"/>
                  </a:lnTo>
                  <a:lnTo>
                    <a:pt x="496" y="366"/>
                  </a:lnTo>
                  <a:lnTo>
                    <a:pt x="496" y="366"/>
                  </a:lnTo>
                  <a:lnTo>
                    <a:pt x="494" y="366"/>
                  </a:lnTo>
                  <a:lnTo>
                    <a:pt x="494" y="363"/>
                  </a:lnTo>
                  <a:lnTo>
                    <a:pt x="496" y="361"/>
                  </a:lnTo>
                  <a:lnTo>
                    <a:pt x="496" y="361"/>
                  </a:lnTo>
                  <a:lnTo>
                    <a:pt x="499" y="361"/>
                  </a:lnTo>
                  <a:lnTo>
                    <a:pt x="499" y="361"/>
                  </a:lnTo>
                  <a:lnTo>
                    <a:pt x="499" y="363"/>
                  </a:lnTo>
                  <a:lnTo>
                    <a:pt x="499" y="363"/>
                  </a:lnTo>
                  <a:lnTo>
                    <a:pt x="501" y="361"/>
                  </a:lnTo>
                  <a:lnTo>
                    <a:pt x="501" y="363"/>
                  </a:lnTo>
                  <a:lnTo>
                    <a:pt x="499" y="366"/>
                  </a:lnTo>
                  <a:lnTo>
                    <a:pt x="501" y="366"/>
                  </a:lnTo>
                  <a:lnTo>
                    <a:pt x="501" y="366"/>
                  </a:lnTo>
                  <a:lnTo>
                    <a:pt x="503" y="366"/>
                  </a:lnTo>
                  <a:lnTo>
                    <a:pt x="501" y="363"/>
                  </a:lnTo>
                  <a:lnTo>
                    <a:pt x="503" y="363"/>
                  </a:lnTo>
                  <a:lnTo>
                    <a:pt x="503" y="361"/>
                  </a:lnTo>
                  <a:lnTo>
                    <a:pt x="503" y="359"/>
                  </a:lnTo>
                  <a:lnTo>
                    <a:pt x="503" y="359"/>
                  </a:lnTo>
                  <a:lnTo>
                    <a:pt x="503" y="359"/>
                  </a:lnTo>
                  <a:lnTo>
                    <a:pt x="506" y="359"/>
                  </a:lnTo>
                  <a:lnTo>
                    <a:pt x="506" y="361"/>
                  </a:lnTo>
                  <a:lnTo>
                    <a:pt x="506" y="361"/>
                  </a:lnTo>
                  <a:lnTo>
                    <a:pt x="506" y="361"/>
                  </a:lnTo>
                  <a:lnTo>
                    <a:pt x="506" y="359"/>
                  </a:lnTo>
                  <a:lnTo>
                    <a:pt x="508" y="359"/>
                  </a:lnTo>
                  <a:lnTo>
                    <a:pt x="508" y="359"/>
                  </a:lnTo>
                  <a:lnTo>
                    <a:pt x="508" y="359"/>
                  </a:lnTo>
                  <a:lnTo>
                    <a:pt x="508" y="359"/>
                  </a:lnTo>
                  <a:lnTo>
                    <a:pt x="508" y="356"/>
                  </a:lnTo>
                  <a:lnTo>
                    <a:pt x="506" y="356"/>
                  </a:lnTo>
                  <a:lnTo>
                    <a:pt x="506" y="356"/>
                  </a:lnTo>
                  <a:lnTo>
                    <a:pt x="508" y="356"/>
                  </a:lnTo>
                  <a:lnTo>
                    <a:pt x="508" y="354"/>
                  </a:lnTo>
                  <a:lnTo>
                    <a:pt x="510" y="354"/>
                  </a:lnTo>
                  <a:lnTo>
                    <a:pt x="508" y="354"/>
                  </a:lnTo>
                  <a:lnTo>
                    <a:pt x="510" y="354"/>
                  </a:lnTo>
                  <a:lnTo>
                    <a:pt x="508" y="352"/>
                  </a:lnTo>
                  <a:lnTo>
                    <a:pt x="510" y="352"/>
                  </a:lnTo>
                  <a:lnTo>
                    <a:pt x="510" y="349"/>
                  </a:lnTo>
                  <a:lnTo>
                    <a:pt x="513" y="349"/>
                  </a:lnTo>
                  <a:lnTo>
                    <a:pt x="513" y="349"/>
                  </a:lnTo>
                  <a:lnTo>
                    <a:pt x="513" y="347"/>
                  </a:lnTo>
                  <a:lnTo>
                    <a:pt x="513" y="349"/>
                  </a:lnTo>
                  <a:lnTo>
                    <a:pt x="515" y="349"/>
                  </a:lnTo>
                  <a:lnTo>
                    <a:pt x="515" y="349"/>
                  </a:lnTo>
                  <a:lnTo>
                    <a:pt x="517" y="349"/>
                  </a:lnTo>
                  <a:lnTo>
                    <a:pt x="517" y="349"/>
                  </a:lnTo>
                  <a:lnTo>
                    <a:pt x="520" y="349"/>
                  </a:lnTo>
                  <a:lnTo>
                    <a:pt x="522" y="349"/>
                  </a:lnTo>
                  <a:lnTo>
                    <a:pt x="522" y="349"/>
                  </a:lnTo>
                  <a:lnTo>
                    <a:pt x="522" y="349"/>
                  </a:lnTo>
                  <a:lnTo>
                    <a:pt x="525" y="349"/>
                  </a:lnTo>
                  <a:lnTo>
                    <a:pt x="525" y="349"/>
                  </a:lnTo>
                  <a:lnTo>
                    <a:pt x="525" y="349"/>
                  </a:lnTo>
                  <a:lnTo>
                    <a:pt x="525" y="347"/>
                  </a:lnTo>
                  <a:lnTo>
                    <a:pt x="522" y="347"/>
                  </a:lnTo>
                  <a:lnTo>
                    <a:pt x="522" y="344"/>
                  </a:lnTo>
                  <a:lnTo>
                    <a:pt x="522" y="344"/>
                  </a:lnTo>
                  <a:lnTo>
                    <a:pt x="522" y="344"/>
                  </a:lnTo>
                  <a:lnTo>
                    <a:pt x="522" y="342"/>
                  </a:lnTo>
                  <a:lnTo>
                    <a:pt x="522" y="344"/>
                  </a:lnTo>
                  <a:lnTo>
                    <a:pt x="522" y="342"/>
                  </a:lnTo>
                  <a:lnTo>
                    <a:pt x="520" y="340"/>
                  </a:lnTo>
                  <a:lnTo>
                    <a:pt x="517" y="340"/>
                  </a:lnTo>
                  <a:lnTo>
                    <a:pt x="517" y="340"/>
                  </a:lnTo>
                  <a:lnTo>
                    <a:pt x="517" y="337"/>
                  </a:lnTo>
                  <a:lnTo>
                    <a:pt x="520" y="335"/>
                  </a:lnTo>
                  <a:lnTo>
                    <a:pt x="517" y="335"/>
                  </a:lnTo>
                  <a:lnTo>
                    <a:pt x="520" y="333"/>
                  </a:lnTo>
                  <a:lnTo>
                    <a:pt x="517" y="333"/>
                  </a:lnTo>
                  <a:lnTo>
                    <a:pt x="517" y="333"/>
                  </a:lnTo>
                  <a:lnTo>
                    <a:pt x="515" y="333"/>
                  </a:lnTo>
                  <a:lnTo>
                    <a:pt x="515" y="333"/>
                  </a:lnTo>
                  <a:lnTo>
                    <a:pt x="515" y="330"/>
                  </a:lnTo>
                  <a:lnTo>
                    <a:pt x="515" y="328"/>
                  </a:lnTo>
                  <a:lnTo>
                    <a:pt x="515" y="328"/>
                  </a:lnTo>
                  <a:lnTo>
                    <a:pt x="515" y="328"/>
                  </a:lnTo>
                  <a:lnTo>
                    <a:pt x="513" y="330"/>
                  </a:lnTo>
                  <a:lnTo>
                    <a:pt x="515" y="330"/>
                  </a:lnTo>
                  <a:lnTo>
                    <a:pt x="513" y="330"/>
                  </a:lnTo>
                  <a:lnTo>
                    <a:pt x="515" y="333"/>
                  </a:lnTo>
                  <a:lnTo>
                    <a:pt x="513" y="333"/>
                  </a:lnTo>
                  <a:lnTo>
                    <a:pt x="513" y="333"/>
                  </a:lnTo>
                  <a:lnTo>
                    <a:pt x="513" y="330"/>
                  </a:lnTo>
                  <a:lnTo>
                    <a:pt x="510" y="330"/>
                  </a:lnTo>
                  <a:lnTo>
                    <a:pt x="510" y="328"/>
                  </a:lnTo>
                  <a:lnTo>
                    <a:pt x="508" y="328"/>
                  </a:lnTo>
                  <a:lnTo>
                    <a:pt x="508" y="330"/>
                  </a:lnTo>
                  <a:lnTo>
                    <a:pt x="510" y="330"/>
                  </a:lnTo>
                  <a:lnTo>
                    <a:pt x="508" y="330"/>
                  </a:lnTo>
                  <a:lnTo>
                    <a:pt x="506" y="333"/>
                  </a:lnTo>
                  <a:lnTo>
                    <a:pt x="506" y="333"/>
                  </a:lnTo>
                  <a:lnTo>
                    <a:pt x="506" y="330"/>
                  </a:lnTo>
                  <a:lnTo>
                    <a:pt x="503" y="330"/>
                  </a:lnTo>
                  <a:lnTo>
                    <a:pt x="503" y="330"/>
                  </a:lnTo>
                  <a:lnTo>
                    <a:pt x="503" y="330"/>
                  </a:lnTo>
                  <a:lnTo>
                    <a:pt x="503" y="328"/>
                  </a:lnTo>
                  <a:lnTo>
                    <a:pt x="501" y="328"/>
                  </a:lnTo>
                  <a:lnTo>
                    <a:pt x="503" y="326"/>
                  </a:lnTo>
                  <a:lnTo>
                    <a:pt x="506" y="326"/>
                  </a:lnTo>
                  <a:lnTo>
                    <a:pt x="503" y="326"/>
                  </a:lnTo>
                  <a:lnTo>
                    <a:pt x="503" y="326"/>
                  </a:lnTo>
                  <a:lnTo>
                    <a:pt x="501" y="326"/>
                  </a:lnTo>
                  <a:lnTo>
                    <a:pt x="499" y="326"/>
                  </a:lnTo>
                  <a:lnTo>
                    <a:pt x="499" y="326"/>
                  </a:lnTo>
                  <a:lnTo>
                    <a:pt x="501" y="328"/>
                  </a:lnTo>
                  <a:lnTo>
                    <a:pt x="499" y="328"/>
                  </a:lnTo>
                  <a:lnTo>
                    <a:pt x="499" y="328"/>
                  </a:lnTo>
                  <a:lnTo>
                    <a:pt x="499" y="328"/>
                  </a:lnTo>
                  <a:lnTo>
                    <a:pt x="496" y="328"/>
                  </a:lnTo>
                  <a:lnTo>
                    <a:pt x="494" y="328"/>
                  </a:lnTo>
                  <a:lnTo>
                    <a:pt x="494" y="328"/>
                  </a:lnTo>
                  <a:lnTo>
                    <a:pt x="494" y="328"/>
                  </a:lnTo>
                  <a:lnTo>
                    <a:pt x="496" y="330"/>
                  </a:lnTo>
                  <a:lnTo>
                    <a:pt x="494" y="330"/>
                  </a:lnTo>
                  <a:lnTo>
                    <a:pt x="494" y="328"/>
                  </a:lnTo>
                  <a:lnTo>
                    <a:pt x="491" y="328"/>
                  </a:lnTo>
                  <a:lnTo>
                    <a:pt x="491" y="328"/>
                  </a:lnTo>
                  <a:lnTo>
                    <a:pt x="489" y="328"/>
                  </a:lnTo>
                  <a:lnTo>
                    <a:pt x="489" y="326"/>
                  </a:lnTo>
                  <a:lnTo>
                    <a:pt x="489" y="326"/>
                  </a:lnTo>
                  <a:lnTo>
                    <a:pt x="487" y="326"/>
                  </a:lnTo>
                  <a:lnTo>
                    <a:pt x="487" y="328"/>
                  </a:lnTo>
                  <a:lnTo>
                    <a:pt x="487" y="328"/>
                  </a:lnTo>
                  <a:lnTo>
                    <a:pt x="484" y="328"/>
                  </a:lnTo>
                  <a:lnTo>
                    <a:pt x="482" y="328"/>
                  </a:lnTo>
                  <a:lnTo>
                    <a:pt x="482" y="330"/>
                  </a:lnTo>
                  <a:lnTo>
                    <a:pt x="482" y="330"/>
                  </a:lnTo>
                  <a:lnTo>
                    <a:pt x="477" y="330"/>
                  </a:lnTo>
                  <a:lnTo>
                    <a:pt x="477" y="330"/>
                  </a:lnTo>
                  <a:lnTo>
                    <a:pt x="475" y="330"/>
                  </a:lnTo>
                  <a:lnTo>
                    <a:pt x="473" y="330"/>
                  </a:lnTo>
                  <a:lnTo>
                    <a:pt x="473" y="330"/>
                  </a:lnTo>
                  <a:lnTo>
                    <a:pt x="470" y="330"/>
                  </a:lnTo>
                  <a:lnTo>
                    <a:pt x="470" y="328"/>
                  </a:lnTo>
                  <a:lnTo>
                    <a:pt x="470" y="328"/>
                  </a:lnTo>
                  <a:lnTo>
                    <a:pt x="473" y="326"/>
                  </a:lnTo>
                  <a:lnTo>
                    <a:pt x="473" y="326"/>
                  </a:lnTo>
                  <a:lnTo>
                    <a:pt x="470" y="326"/>
                  </a:lnTo>
                  <a:lnTo>
                    <a:pt x="470" y="323"/>
                  </a:lnTo>
                  <a:lnTo>
                    <a:pt x="470" y="326"/>
                  </a:lnTo>
                  <a:lnTo>
                    <a:pt x="470" y="326"/>
                  </a:lnTo>
                  <a:lnTo>
                    <a:pt x="468" y="326"/>
                  </a:lnTo>
                  <a:lnTo>
                    <a:pt x="468" y="328"/>
                  </a:lnTo>
                  <a:lnTo>
                    <a:pt x="465" y="328"/>
                  </a:lnTo>
                  <a:lnTo>
                    <a:pt x="468" y="330"/>
                  </a:lnTo>
                  <a:lnTo>
                    <a:pt x="468" y="333"/>
                  </a:lnTo>
                  <a:lnTo>
                    <a:pt x="465" y="333"/>
                  </a:lnTo>
                  <a:lnTo>
                    <a:pt x="465" y="333"/>
                  </a:lnTo>
                  <a:lnTo>
                    <a:pt x="465" y="330"/>
                  </a:lnTo>
                  <a:lnTo>
                    <a:pt x="463" y="328"/>
                  </a:lnTo>
                  <a:lnTo>
                    <a:pt x="463" y="328"/>
                  </a:lnTo>
                  <a:lnTo>
                    <a:pt x="461" y="328"/>
                  </a:lnTo>
                  <a:lnTo>
                    <a:pt x="461" y="326"/>
                  </a:lnTo>
                  <a:lnTo>
                    <a:pt x="461" y="326"/>
                  </a:lnTo>
                  <a:lnTo>
                    <a:pt x="458" y="328"/>
                  </a:lnTo>
                  <a:lnTo>
                    <a:pt x="458" y="328"/>
                  </a:lnTo>
                  <a:lnTo>
                    <a:pt x="456" y="328"/>
                  </a:lnTo>
                  <a:lnTo>
                    <a:pt x="454" y="326"/>
                  </a:lnTo>
                  <a:lnTo>
                    <a:pt x="454" y="323"/>
                  </a:lnTo>
                  <a:lnTo>
                    <a:pt x="451" y="326"/>
                  </a:lnTo>
                  <a:lnTo>
                    <a:pt x="454" y="326"/>
                  </a:lnTo>
                  <a:lnTo>
                    <a:pt x="454" y="326"/>
                  </a:lnTo>
                  <a:lnTo>
                    <a:pt x="454" y="328"/>
                  </a:lnTo>
                  <a:lnTo>
                    <a:pt x="451" y="328"/>
                  </a:lnTo>
                  <a:lnTo>
                    <a:pt x="449" y="328"/>
                  </a:lnTo>
                  <a:lnTo>
                    <a:pt x="449" y="328"/>
                  </a:lnTo>
                  <a:lnTo>
                    <a:pt x="449" y="326"/>
                  </a:lnTo>
                  <a:lnTo>
                    <a:pt x="449" y="326"/>
                  </a:lnTo>
                  <a:lnTo>
                    <a:pt x="447" y="326"/>
                  </a:lnTo>
                  <a:lnTo>
                    <a:pt x="444" y="326"/>
                  </a:lnTo>
                  <a:lnTo>
                    <a:pt x="444" y="326"/>
                  </a:lnTo>
                  <a:lnTo>
                    <a:pt x="442" y="326"/>
                  </a:lnTo>
                  <a:lnTo>
                    <a:pt x="444" y="328"/>
                  </a:lnTo>
                  <a:lnTo>
                    <a:pt x="442" y="328"/>
                  </a:lnTo>
                  <a:lnTo>
                    <a:pt x="442" y="328"/>
                  </a:lnTo>
                  <a:lnTo>
                    <a:pt x="442" y="328"/>
                  </a:lnTo>
                  <a:lnTo>
                    <a:pt x="442" y="323"/>
                  </a:lnTo>
                  <a:lnTo>
                    <a:pt x="442" y="323"/>
                  </a:lnTo>
                  <a:lnTo>
                    <a:pt x="439" y="323"/>
                  </a:lnTo>
                  <a:lnTo>
                    <a:pt x="439" y="323"/>
                  </a:lnTo>
                  <a:lnTo>
                    <a:pt x="439" y="326"/>
                  </a:lnTo>
                  <a:lnTo>
                    <a:pt x="437" y="326"/>
                  </a:lnTo>
                  <a:lnTo>
                    <a:pt x="437" y="326"/>
                  </a:lnTo>
                  <a:lnTo>
                    <a:pt x="435" y="326"/>
                  </a:lnTo>
                  <a:lnTo>
                    <a:pt x="432" y="326"/>
                  </a:lnTo>
                  <a:lnTo>
                    <a:pt x="430" y="326"/>
                  </a:lnTo>
                  <a:lnTo>
                    <a:pt x="430" y="323"/>
                  </a:lnTo>
                  <a:lnTo>
                    <a:pt x="428" y="321"/>
                  </a:lnTo>
                  <a:lnTo>
                    <a:pt x="425" y="321"/>
                  </a:lnTo>
                  <a:lnTo>
                    <a:pt x="423" y="321"/>
                  </a:lnTo>
                  <a:lnTo>
                    <a:pt x="421" y="321"/>
                  </a:lnTo>
                  <a:lnTo>
                    <a:pt x="421" y="321"/>
                  </a:lnTo>
                  <a:lnTo>
                    <a:pt x="418" y="321"/>
                  </a:lnTo>
                  <a:lnTo>
                    <a:pt x="418" y="323"/>
                  </a:lnTo>
                  <a:lnTo>
                    <a:pt x="418" y="323"/>
                  </a:lnTo>
                  <a:lnTo>
                    <a:pt x="416" y="323"/>
                  </a:lnTo>
                  <a:lnTo>
                    <a:pt x="416" y="323"/>
                  </a:lnTo>
                  <a:lnTo>
                    <a:pt x="413" y="321"/>
                  </a:lnTo>
                  <a:lnTo>
                    <a:pt x="413" y="319"/>
                  </a:lnTo>
                  <a:lnTo>
                    <a:pt x="411" y="319"/>
                  </a:lnTo>
                  <a:lnTo>
                    <a:pt x="411" y="319"/>
                  </a:lnTo>
                  <a:lnTo>
                    <a:pt x="409" y="319"/>
                  </a:lnTo>
                  <a:lnTo>
                    <a:pt x="406" y="319"/>
                  </a:lnTo>
                  <a:lnTo>
                    <a:pt x="406" y="319"/>
                  </a:lnTo>
                  <a:lnTo>
                    <a:pt x="406" y="316"/>
                  </a:lnTo>
                  <a:lnTo>
                    <a:pt x="404" y="314"/>
                  </a:lnTo>
                  <a:lnTo>
                    <a:pt x="402" y="311"/>
                  </a:lnTo>
                  <a:lnTo>
                    <a:pt x="402" y="309"/>
                  </a:lnTo>
                  <a:lnTo>
                    <a:pt x="399" y="307"/>
                  </a:lnTo>
                  <a:lnTo>
                    <a:pt x="399" y="307"/>
                  </a:lnTo>
                  <a:lnTo>
                    <a:pt x="397" y="307"/>
                  </a:lnTo>
                  <a:lnTo>
                    <a:pt x="397" y="302"/>
                  </a:lnTo>
                  <a:lnTo>
                    <a:pt x="397" y="302"/>
                  </a:lnTo>
                  <a:lnTo>
                    <a:pt x="395" y="302"/>
                  </a:lnTo>
                  <a:lnTo>
                    <a:pt x="390" y="300"/>
                  </a:lnTo>
                  <a:lnTo>
                    <a:pt x="390" y="300"/>
                  </a:lnTo>
                  <a:lnTo>
                    <a:pt x="390" y="297"/>
                  </a:lnTo>
                  <a:lnTo>
                    <a:pt x="390" y="295"/>
                  </a:lnTo>
                  <a:lnTo>
                    <a:pt x="390" y="295"/>
                  </a:lnTo>
                  <a:lnTo>
                    <a:pt x="390" y="293"/>
                  </a:lnTo>
                  <a:lnTo>
                    <a:pt x="388" y="293"/>
                  </a:lnTo>
                  <a:lnTo>
                    <a:pt x="388" y="295"/>
                  </a:lnTo>
                  <a:lnTo>
                    <a:pt x="385" y="293"/>
                  </a:lnTo>
                  <a:lnTo>
                    <a:pt x="385" y="293"/>
                  </a:lnTo>
                  <a:lnTo>
                    <a:pt x="388" y="290"/>
                  </a:lnTo>
                  <a:lnTo>
                    <a:pt x="385" y="288"/>
                  </a:lnTo>
                  <a:lnTo>
                    <a:pt x="388" y="285"/>
                  </a:lnTo>
                  <a:lnTo>
                    <a:pt x="385" y="285"/>
                  </a:lnTo>
                  <a:lnTo>
                    <a:pt x="385" y="285"/>
                  </a:lnTo>
                  <a:lnTo>
                    <a:pt x="383" y="285"/>
                  </a:lnTo>
                  <a:lnTo>
                    <a:pt x="383" y="285"/>
                  </a:lnTo>
                  <a:lnTo>
                    <a:pt x="380" y="283"/>
                  </a:lnTo>
                  <a:lnTo>
                    <a:pt x="380" y="283"/>
                  </a:lnTo>
                  <a:lnTo>
                    <a:pt x="378" y="285"/>
                  </a:lnTo>
                  <a:lnTo>
                    <a:pt x="376" y="285"/>
                  </a:lnTo>
                  <a:lnTo>
                    <a:pt x="376" y="285"/>
                  </a:lnTo>
                  <a:lnTo>
                    <a:pt x="376" y="285"/>
                  </a:lnTo>
                  <a:lnTo>
                    <a:pt x="376" y="283"/>
                  </a:lnTo>
                  <a:lnTo>
                    <a:pt x="376" y="281"/>
                  </a:lnTo>
                  <a:lnTo>
                    <a:pt x="373" y="281"/>
                  </a:lnTo>
                  <a:lnTo>
                    <a:pt x="371" y="278"/>
                  </a:lnTo>
                  <a:lnTo>
                    <a:pt x="371" y="278"/>
                  </a:lnTo>
                  <a:lnTo>
                    <a:pt x="373" y="276"/>
                  </a:lnTo>
                  <a:lnTo>
                    <a:pt x="376" y="276"/>
                  </a:lnTo>
                  <a:lnTo>
                    <a:pt x="376" y="274"/>
                  </a:lnTo>
                  <a:lnTo>
                    <a:pt x="376" y="274"/>
                  </a:lnTo>
                  <a:lnTo>
                    <a:pt x="376" y="271"/>
                  </a:lnTo>
                  <a:lnTo>
                    <a:pt x="373" y="271"/>
                  </a:lnTo>
                  <a:lnTo>
                    <a:pt x="369" y="269"/>
                  </a:lnTo>
                  <a:lnTo>
                    <a:pt x="369" y="269"/>
                  </a:lnTo>
                  <a:lnTo>
                    <a:pt x="369" y="267"/>
                  </a:lnTo>
                  <a:lnTo>
                    <a:pt x="369" y="264"/>
                  </a:lnTo>
                  <a:lnTo>
                    <a:pt x="369" y="264"/>
                  </a:lnTo>
                  <a:lnTo>
                    <a:pt x="366" y="264"/>
                  </a:lnTo>
                  <a:lnTo>
                    <a:pt x="362" y="262"/>
                  </a:lnTo>
                  <a:lnTo>
                    <a:pt x="362" y="262"/>
                  </a:lnTo>
                  <a:lnTo>
                    <a:pt x="362" y="259"/>
                  </a:lnTo>
                  <a:lnTo>
                    <a:pt x="359" y="262"/>
                  </a:lnTo>
                  <a:lnTo>
                    <a:pt x="359" y="264"/>
                  </a:lnTo>
                  <a:lnTo>
                    <a:pt x="357" y="264"/>
                  </a:lnTo>
                  <a:lnTo>
                    <a:pt x="357" y="262"/>
                  </a:lnTo>
                  <a:lnTo>
                    <a:pt x="357" y="262"/>
                  </a:lnTo>
                  <a:lnTo>
                    <a:pt x="357" y="262"/>
                  </a:lnTo>
                  <a:lnTo>
                    <a:pt x="357" y="257"/>
                  </a:lnTo>
                  <a:lnTo>
                    <a:pt x="354" y="257"/>
                  </a:lnTo>
                  <a:lnTo>
                    <a:pt x="352" y="255"/>
                  </a:lnTo>
                  <a:lnTo>
                    <a:pt x="352" y="252"/>
                  </a:lnTo>
                  <a:lnTo>
                    <a:pt x="352" y="252"/>
                  </a:lnTo>
                  <a:lnTo>
                    <a:pt x="352" y="250"/>
                  </a:lnTo>
                  <a:lnTo>
                    <a:pt x="350" y="250"/>
                  </a:lnTo>
                  <a:lnTo>
                    <a:pt x="350" y="250"/>
                  </a:lnTo>
                  <a:lnTo>
                    <a:pt x="350" y="248"/>
                  </a:lnTo>
                  <a:lnTo>
                    <a:pt x="350" y="245"/>
                  </a:lnTo>
                  <a:lnTo>
                    <a:pt x="347" y="245"/>
                  </a:lnTo>
                  <a:lnTo>
                    <a:pt x="347" y="245"/>
                  </a:lnTo>
                  <a:lnTo>
                    <a:pt x="343" y="245"/>
                  </a:lnTo>
                  <a:lnTo>
                    <a:pt x="343" y="245"/>
                  </a:lnTo>
                  <a:lnTo>
                    <a:pt x="343" y="245"/>
                  </a:lnTo>
                  <a:lnTo>
                    <a:pt x="343" y="243"/>
                  </a:lnTo>
                  <a:lnTo>
                    <a:pt x="343" y="243"/>
                  </a:lnTo>
                  <a:lnTo>
                    <a:pt x="340" y="243"/>
                  </a:lnTo>
                  <a:lnTo>
                    <a:pt x="338" y="241"/>
                  </a:lnTo>
                  <a:lnTo>
                    <a:pt x="336" y="238"/>
                  </a:lnTo>
                  <a:lnTo>
                    <a:pt x="333" y="238"/>
                  </a:lnTo>
                  <a:lnTo>
                    <a:pt x="331" y="238"/>
                  </a:lnTo>
                  <a:lnTo>
                    <a:pt x="331" y="238"/>
                  </a:lnTo>
                  <a:lnTo>
                    <a:pt x="328" y="238"/>
                  </a:lnTo>
                  <a:lnTo>
                    <a:pt x="328" y="238"/>
                  </a:lnTo>
                  <a:lnTo>
                    <a:pt x="328" y="236"/>
                  </a:lnTo>
                  <a:lnTo>
                    <a:pt x="324" y="236"/>
                  </a:lnTo>
                  <a:lnTo>
                    <a:pt x="324" y="233"/>
                  </a:lnTo>
                  <a:lnTo>
                    <a:pt x="324" y="231"/>
                  </a:lnTo>
                  <a:lnTo>
                    <a:pt x="321" y="233"/>
                  </a:lnTo>
                  <a:lnTo>
                    <a:pt x="319" y="231"/>
                  </a:lnTo>
                  <a:lnTo>
                    <a:pt x="319" y="229"/>
                  </a:lnTo>
                  <a:lnTo>
                    <a:pt x="321" y="229"/>
                  </a:lnTo>
                  <a:lnTo>
                    <a:pt x="319" y="229"/>
                  </a:lnTo>
                  <a:lnTo>
                    <a:pt x="319" y="226"/>
                  </a:lnTo>
                  <a:lnTo>
                    <a:pt x="319" y="226"/>
                  </a:lnTo>
                  <a:lnTo>
                    <a:pt x="319" y="226"/>
                  </a:lnTo>
                  <a:lnTo>
                    <a:pt x="317" y="224"/>
                  </a:lnTo>
                  <a:lnTo>
                    <a:pt x="314" y="226"/>
                  </a:lnTo>
                  <a:lnTo>
                    <a:pt x="312" y="224"/>
                  </a:lnTo>
                  <a:lnTo>
                    <a:pt x="312" y="224"/>
                  </a:lnTo>
                  <a:lnTo>
                    <a:pt x="312" y="219"/>
                  </a:lnTo>
                  <a:lnTo>
                    <a:pt x="312" y="219"/>
                  </a:lnTo>
                  <a:lnTo>
                    <a:pt x="310" y="219"/>
                  </a:lnTo>
                  <a:lnTo>
                    <a:pt x="307" y="219"/>
                  </a:lnTo>
                  <a:lnTo>
                    <a:pt x="307" y="219"/>
                  </a:lnTo>
                  <a:lnTo>
                    <a:pt x="307" y="222"/>
                  </a:lnTo>
                  <a:lnTo>
                    <a:pt x="305" y="224"/>
                  </a:lnTo>
                  <a:lnTo>
                    <a:pt x="305" y="224"/>
                  </a:lnTo>
                  <a:lnTo>
                    <a:pt x="305" y="222"/>
                  </a:lnTo>
                  <a:lnTo>
                    <a:pt x="305" y="219"/>
                  </a:lnTo>
                  <a:lnTo>
                    <a:pt x="302" y="217"/>
                  </a:lnTo>
                  <a:lnTo>
                    <a:pt x="302" y="217"/>
                  </a:lnTo>
                  <a:lnTo>
                    <a:pt x="300" y="217"/>
                  </a:lnTo>
                  <a:lnTo>
                    <a:pt x="300" y="217"/>
                  </a:lnTo>
                  <a:lnTo>
                    <a:pt x="298" y="215"/>
                  </a:lnTo>
                  <a:lnTo>
                    <a:pt x="298" y="212"/>
                  </a:lnTo>
                  <a:lnTo>
                    <a:pt x="298" y="212"/>
                  </a:lnTo>
                  <a:lnTo>
                    <a:pt x="298" y="210"/>
                  </a:lnTo>
                  <a:lnTo>
                    <a:pt x="295" y="210"/>
                  </a:lnTo>
                  <a:lnTo>
                    <a:pt x="291" y="210"/>
                  </a:lnTo>
                  <a:lnTo>
                    <a:pt x="288" y="210"/>
                  </a:lnTo>
                  <a:lnTo>
                    <a:pt x="288" y="210"/>
                  </a:lnTo>
                  <a:lnTo>
                    <a:pt x="288" y="210"/>
                  </a:lnTo>
                  <a:lnTo>
                    <a:pt x="288" y="212"/>
                  </a:lnTo>
                  <a:lnTo>
                    <a:pt x="288" y="212"/>
                  </a:lnTo>
                  <a:lnTo>
                    <a:pt x="286" y="212"/>
                  </a:lnTo>
                  <a:lnTo>
                    <a:pt x="286" y="212"/>
                  </a:lnTo>
                  <a:lnTo>
                    <a:pt x="286" y="210"/>
                  </a:lnTo>
                  <a:lnTo>
                    <a:pt x="286" y="207"/>
                  </a:lnTo>
                  <a:lnTo>
                    <a:pt x="286" y="207"/>
                  </a:lnTo>
                  <a:lnTo>
                    <a:pt x="286" y="205"/>
                  </a:lnTo>
                  <a:lnTo>
                    <a:pt x="286" y="205"/>
                  </a:lnTo>
                  <a:lnTo>
                    <a:pt x="284" y="205"/>
                  </a:lnTo>
                  <a:lnTo>
                    <a:pt x="281" y="207"/>
                  </a:lnTo>
                  <a:lnTo>
                    <a:pt x="279" y="207"/>
                  </a:lnTo>
                  <a:lnTo>
                    <a:pt x="279" y="207"/>
                  </a:lnTo>
                  <a:lnTo>
                    <a:pt x="281" y="203"/>
                  </a:lnTo>
                  <a:lnTo>
                    <a:pt x="279" y="203"/>
                  </a:lnTo>
                  <a:lnTo>
                    <a:pt x="279" y="200"/>
                  </a:lnTo>
                  <a:lnTo>
                    <a:pt x="279" y="200"/>
                  </a:lnTo>
                  <a:lnTo>
                    <a:pt x="276" y="200"/>
                  </a:lnTo>
                  <a:lnTo>
                    <a:pt x="276" y="203"/>
                  </a:lnTo>
                  <a:lnTo>
                    <a:pt x="276" y="205"/>
                  </a:lnTo>
                  <a:lnTo>
                    <a:pt x="276" y="205"/>
                  </a:lnTo>
                  <a:lnTo>
                    <a:pt x="274" y="205"/>
                  </a:lnTo>
                  <a:lnTo>
                    <a:pt x="274" y="205"/>
                  </a:lnTo>
                  <a:lnTo>
                    <a:pt x="274" y="203"/>
                  </a:lnTo>
                  <a:lnTo>
                    <a:pt x="274" y="200"/>
                  </a:lnTo>
                  <a:lnTo>
                    <a:pt x="274" y="200"/>
                  </a:lnTo>
                  <a:lnTo>
                    <a:pt x="272" y="200"/>
                  </a:lnTo>
                  <a:lnTo>
                    <a:pt x="269" y="200"/>
                  </a:lnTo>
                  <a:lnTo>
                    <a:pt x="269" y="200"/>
                  </a:lnTo>
                  <a:lnTo>
                    <a:pt x="269" y="203"/>
                  </a:lnTo>
                  <a:lnTo>
                    <a:pt x="267" y="203"/>
                  </a:lnTo>
                  <a:lnTo>
                    <a:pt x="267" y="203"/>
                  </a:lnTo>
                  <a:lnTo>
                    <a:pt x="265" y="203"/>
                  </a:lnTo>
                  <a:lnTo>
                    <a:pt x="265" y="200"/>
                  </a:lnTo>
                  <a:lnTo>
                    <a:pt x="265" y="200"/>
                  </a:lnTo>
                  <a:lnTo>
                    <a:pt x="260" y="200"/>
                  </a:lnTo>
                  <a:lnTo>
                    <a:pt x="258" y="200"/>
                  </a:lnTo>
                  <a:lnTo>
                    <a:pt x="258" y="203"/>
                  </a:lnTo>
                  <a:lnTo>
                    <a:pt x="260" y="205"/>
                  </a:lnTo>
                  <a:lnTo>
                    <a:pt x="260" y="205"/>
                  </a:lnTo>
                  <a:lnTo>
                    <a:pt x="260" y="207"/>
                  </a:lnTo>
                  <a:lnTo>
                    <a:pt x="258" y="207"/>
                  </a:lnTo>
                  <a:lnTo>
                    <a:pt x="258" y="207"/>
                  </a:lnTo>
                  <a:lnTo>
                    <a:pt x="255" y="203"/>
                  </a:lnTo>
                  <a:lnTo>
                    <a:pt x="253" y="205"/>
                  </a:lnTo>
                  <a:lnTo>
                    <a:pt x="250" y="205"/>
                  </a:lnTo>
                  <a:lnTo>
                    <a:pt x="250" y="205"/>
                  </a:lnTo>
                  <a:lnTo>
                    <a:pt x="253" y="200"/>
                  </a:lnTo>
                  <a:lnTo>
                    <a:pt x="253" y="200"/>
                  </a:lnTo>
                  <a:lnTo>
                    <a:pt x="250" y="200"/>
                  </a:lnTo>
                  <a:lnTo>
                    <a:pt x="248" y="200"/>
                  </a:lnTo>
                  <a:lnTo>
                    <a:pt x="248" y="200"/>
                  </a:lnTo>
                  <a:lnTo>
                    <a:pt x="248" y="200"/>
                  </a:lnTo>
                  <a:lnTo>
                    <a:pt x="248" y="203"/>
                  </a:lnTo>
                  <a:lnTo>
                    <a:pt x="248" y="205"/>
                  </a:lnTo>
                  <a:lnTo>
                    <a:pt x="246" y="205"/>
                  </a:lnTo>
                  <a:lnTo>
                    <a:pt x="246" y="203"/>
                  </a:lnTo>
                  <a:lnTo>
                    <a:pt x="246" y="198"/>
                  </a:lnTo>
                  <a:lnTo>
                    <a:pt x="243" y="198"/>
                  </a:lnTo>
                  <a:lnTo>
                    <a:pt x="243" y="198"/>
                  </a:lnTo>
                  <a:lnTo>
                    <a:pt x="241" y="198"/>
                  </a:lnTo>
                  <a:lnTo>
                    <a:pt x="239" y="198"/>
                  </a:lnTo>
                  <a:lnTo>
                    <a:pt x="239" y="198"/>
                  </a:lnTo>
                  <a:lnTo>
                    <a:pt x="236" y="198"/>
                  </a:lnTo>
                  <a:lnTo>
                    <a:pt x="241" y="196"/>
                  </a:lnTo>
                  <a:lnTo>
                    <a:pt x="241" y="193"/>
                  </a:lnTo>
                  <a:lnTo>
                    <a:pt x="241" y="193"/>
                  </a:lnTo>
                  <a:lnTo>
                    <a:pt x="239" y="191"/>
                  </a:lnTo>
                  <a:lnTo>
                    <a:pt x="234" y="191"/>
                  </a:lnTo>
                  <a:lnTo>
                    <a:pt x="234" y="191"/>
                  </a:lnTo>
                  <a:lnTo>
                    <a:pt x="232" y="191"/>
                  </a:lnTo>
                  <a:lnTo>
                    <a:pt x="232" y="189"/>
                  </a:lnTo>
                  <a:lnTo>
                    <a:pt x="232" y="189"/>
                  </a:lnTo>
                  <a:lnTo>
                    <a:pt x="232" y="189"/>
                  </a:lnTo>
                  <a:lnTo>
                    <a:pt x="234" y="189"/>
                  </a:lnTo>
                  <a:lnTo>
                    <a:pt x="239" y="189"/>
                  </a:lnTo>
                  <a:lnTo>
                    <a:pt x="239" y="189"/>
                  </a:lnTo>
                  <a:lnTo>
                    <a:pt x="239" y="186"/>
                  </a:lnTo>
                  <a:lnTo>
                    <a:pt x="236" y="186"/>
                  </a:lnTo>
                  <a:lnTo>
                    <a:pt x="234" y="186"/>
                  </a:lnTo>
                  <a:lnTo>
                    <a:pt x="232" y="186"/>
                  </a:lnTo>
                  <a:lnTo>
                    <a:pt x="232" y="186"/>
                  </a:lnTo>
                  <a:lnTo>
                    <a:pt x="229" y="184"/>
                  </a:lnTo>
                  <a:lnTo>
                    <a:pt x="229" y="184"/>
                  </a:lnTo>
                  <a:lnTo>
                    <a:pt x="229" y="184"/>
                  </a:lnTo>
                  <a:lnTo>
                    <a:pt x="232" y="181"/>
                  </a:lnTo>
                  <a:lnTo>
                    <a:pt x="232" y="181"/>
                  </a:lnTo>
                  <a:lnTo>
                    <a:pt x="229" y="181"/>
                  </a:lnTo>
                  <a:lnTo>
                    <a:pt x="227" y="181"/>
                  </a:lnTo>
                  <a:lnTo>
                    <a:pt x="227" y="181"/>
                  </a:lnTo>
                  <a:lnTo>
                    <a:pt x="225" y="181"/>
                  </a:lnTo>
                  <a:lnTo>
                    <a:pt x="222" y="181"/>
                  </a:lnTo>
                  <a:lnTo>
                    <a:pt x="222" y="181"/>
                  </a:lnTo>
                  <a:lnTo>
                    <a:pt x="220" y="181"/>
                  </a:lnTo>
                  <a:lnTo>
                    <a:pt x="220" y="181"/>
                  </a:lnTo>
                  <a:lnTo>
                    <a:pt x="220" y="179"/>
                  </a:lnTo>
                  <a:lnTo>
                    <a:pt x="220" y="179"/>
                  </a:lnTo>
                  <a:lnTo>
                    <a:pt x="220" y="177"/>
                  </a:lnTo>
                  <a:lnTo>
                    <a:pt x="217" y="177"/>
                  </a:lnTo>
                  <a:lnTo>
                    <a:pt x="215" y="177"/>
                  </a:lnTo>
                  <a:lnTo>
                    <a:pt x="215" y="177"/>
                  </a:lnTo>
                  <a:lnTo>
                    <a:pt x="213" y="179"/>
                  </a:lnTo>
                  <a:lnTo>
                    <a:pt x="213" y="179"/>
                  </a:lnTo>
                  <a:lnTo>
                    <a:pt x="210" y="179"/>
                  </a:lnTo>
                  <a:lnTo>
                    <a:pt x="213" y="174"/>
                  </a:lnTo>
                  <a:lnTo>
                    <a:pt x="210" y="172"/>
                  </a:lnTo>
                  <a:lnTo>
                    <a:pt x="210" y="172"/>
                  </a:lnTo>
                  <a:lnTo>
                    <a:pt x="210" y="174"/>
                  </a:lnTo>
                  <a:lnTo>
                    <a:pt x="208" y="174"/>
                  </a:lnTo>
                  <a:lnTo>
                    <a:pt x="206" y="179"/>
                  </a:lnTo>
                  <a:lnTo>
                    <a:pt x="206" y="179"/>
                  </a:lnTo>
                  <a:lnTo>
                    <a:pt x="206" y="181"/>
                  </a:lnTo>
                  <a:lnTo>
                    <a:pt x="203" y="181"/>
                  </a:lnTo>
                  <a:lnTo>
                    <a:pt x="203" y="179"/>
                  </a:lnTo>
                  <a:lnTo>
                    <a:pt x="203" y="179"/>
                  </a:lnTo>
                  <a:lnTo>
                    <a:pt x="201" y="177"/>
                  </a:lnTo>
                  <a:lnTo>
                    <a:pt x="201" y="177"/>
                  </a:lnTo>
                  <a:lnTo>
                    <a:pt x="196" y="177"/>
                  </a:lnTo>
                  <a:lnTo>
                    <a:pt x="196" y="174"/>
                  </a:lnTo>
                  <a:lnTo>
                    <a:pt x="199" y="174"/>
                  </a:lnTo>
                  <a:lnTo>
                    <a:pt x="201" y="172"/>
                  </a:lnTo>
                  <a:lnTo>
                    <a:pt x="203" y="172"/>
                  </a:lnTo>
                  <a:lnTo>
                    <a:pt x="201" y="170"/>
                  </a:lnTo>
                  <a:lnTo>
                    <a:pt x="199" y="172"/>
                  </a:lnTo>
                  <a:lnTo>
                    <a:pt x="196" y="172"/>
                  </a:lnTo>
                  <a:lnTo>
                    <a:pt x="194" y="172"/>
                  </a:lnTo>
                  <a:lnTo>
                    <a:pt x="194" y="172"/>
                  </a:lnTo>
                  <a:lnTo>
                    <a:pt x="194" y="172"/>
                  </a:lnTo>
                  <a:lnTo>
                    <a:pt x="194" y="174"/>
                  </a:lnTo>
                  <a:lnTo>
                    <a:pt x="194" y="174"/>
                  </a:lnTo>
                  <a:lnTo>
                    <a:pt x="196" y="177"/>
                  </a:lnTo>
                  <a:lnTo>
                    <a:pt x="194" y="179"/>
                  </a:lnTo>
                  <a:lnTo>
                    <a:pt x="194" y="179"/>
                  </a:lnTo>
                  <a:lnTo>
                    <a:pt x="194" y="179"/>
                  </a:lnTo>
                  <a:lnTo>
                    <a:pt x="191" y="177"/>
                  </a:lnTo>
                  <a:lnTo>
                    <a:pt x="191" y="177"/>
                  </a:lnTo>
                  <a:lnTo>
                    <a:pt x="189" y="174"/>
                  </a:lnTo>
                  <a:lnTo>
                    <a:pt x="187" y="174"/>
                  </a:lnTo>
                  <a:lnTo>
                    <a:pt x="187" y="177"/>
                  </a:lnTo>
                  <a:lnTo>
                    <a:pt x="184" y="177"/>
                  </a:lnTo>
                  <a:lnTo>
                    <a:pt x="184" y="174"/>
                  </a:lnTo>
                  <a:lnTo>
                    <a:pt x="184" y="172"/>
                  </a:lnTo>
                  <a:lnTo>
                    <a:pt x="184" y="172"/>
                  </a:lnTo>
                  <a:lnTo>
                    <a:pt x="184" y="170"/>
                  </a:lnTo>
                  <a:lnTo>
                    <a:pt x="182" y="170"/>
                  </a:lnTo>
                  <a:lnTo>
                    <a:pt x="182" y="170"/>
                  </a:lnTo>
                  <a:lnTo>
                    <a:pt x="182" y="172"/>
                  </a:lnTo>
                  <a:lnTo>
                    <a:pt x="182" y="174"/>
                  </a:lnTo>
                  <a:lnTo>
                    <a:pt x="182" y="174"/>
                  </a:lnTo>
                  <a:lnTo>
                    <a:pt x="182" y="174"/>
                  </a:lnTo>
                  <a:lnTo>
                    <a:pt x="180" y="174"/>
                  </a:lnTo>
                  <a:lnTo>
                    <a:pt x="180" y="174"/>
                  </a:lnTo>
                  <a:lnTo>
                    <a:pt x="177" y="172"/>
                  </a:lnTo>
                  <a:lnTo>
                    <a:pt x="177" y="170"/>
                  </a:lnTo>
                  <a:lnTo>
                    <a:pt x="177" y="170"/>
                  </a:lnTo>
                  <a:lnTo>
                    <a:pt x="177" y="165"/>
                  </a:lnTo>
                  <a:lnTo>
                    <a:pt x="177" y="165"/>
                  </a:lnTo>
                  <a:lnTo>
                    <a:pt x="177" y="165"/>
                  </a:lnTo>
                  <a:lnTo>
                    <a:pt x="175" y="165"/>
                  </a:lnTo>
                  <a:lnTo>
                    <a:pt x="173" y="167"/>
                  </a:lnTo>
                  <a:lnTo>
                    <a:pt x="173" y="170"/>
                  </a:lnTo>
                  <a:lnTo>
                    <a:pt x="173" y="170"/>
                  </a:lnTo>
                  <a:lnTo>
                    <a:pt x="173" y="172"/>
                  </a:lnTo>
                  <a:lnTo>
                    <a:pt x="173" y="172"/>
                  </a:lnTo>
                  <a:lnTo>
                    <a:pt x="168" y="172"/>
                  </a:lnTo>
                  <a:lnTo>
                    <a:pt x="165" y="172"/>
                  </a:lnTo>
                  <a:lnTo>
                    <a:pt x="163" y="170"/>
                  </a:lnTo>
                  <a:lnTo>
                    <a:pt x="161" y="170"/>
                  </a:lnTo>
                  <a:lnTo>
                    <a:pt x="161" y="170"/>
                  </a:lnTo>
                  <a:lnTo>
                    <a:pt x="158" y="170"/>
                  </a:lnTo>
                  <a:lnTo>
                    <a:pt x="156" y="170"/>
                  </a:lnTo>
                  <a:lnTo>
                    <a:pt x="154" y="172"/>
                  </a:lnTo>
                  <a:lnTo>
                    <a:pt x="154" y="172"/>
                  </a:lnTo>
                  <a:lnTo>
                    <a:pt x="151" y="172"/>
                  </a:lnTo>
                  <a:lnTo>
                    <a:pt x="151" y="172"/>
                  </a:lnTo>
                  <a:lnTo>
                    <a:pt x="149" y="170"/>
                  </a:lnTo>
                  <a:lnTo>
                    <a:pt x="149" y="170"/>
                  </a:lnTo>
                  <a:lnTo>
                    <a:pt x="147" y="170"/>
                  </a:lnTo>
                  <a:lnTo>
                    <a:pt x="147" y="170"/>
                  </a:lnTo>
                  <a:lnTo>
                    <a:pt x="147" y="172"/>
                  </a:lnTo>
                  <a:lnTo>
                    <a:pt x="144" y="174"/>
                  </a:lnTo>
                  <a:lnTo>
                    <a:pt x="144" y="174"/>
                  </a:lnTo>
                  <a:lnTo>
                    <a:pt x="142" y="172"/>
                  </a:lnTo>
                  <a:lnTo>
                    <a:pt x="142" y="172"/>
                  </a:lnTo>
                  <a:lnTo>
                    <a:pt x="142" y="170"/>
                  </a:lnTo>
                  <a:lnTo>
                    <a:pt x="142" y="167"/>
                  </a:lnTo>
                  <a:lnTo>
                    <a:pt x="139" y="167"/>
                  </a:lnTo>
                  <a:lnTo>
                    <a:pt x="139" y="170"/>
                  </a:lnTo>
                  <a:lnTo>
                    <a:pt x="137" y="170"/>
                  </a:lnTo>
                  <a:lnTo>
                    <a:pt x="137" y="172"/>
                  </a:lnTo>
                  <a:lnTo>
                    <a:pt x="137" y="170"/>
                  </a:lnTo>
                  <a:lnTo>
                    <a:pt x="135" y="170"/>
                  </a:lnTo>
                  <a:lnTo>
                    <a:pt x="135" y="170"/>
                  </a:lnTo>
                  <a:lnTo>
                    <a:pt x="137" y="165"/>
                  </a:lnTo>
                  <a:lnTo>
                    <a:pt x="137" y="165"/>
                  </a:lnTo>
                  <a:lnTo>
                    <a:pt x="135" y="165"/>
                  </a:lnTo>
                  <a:lnTo>
                    <a:pt x="135" y="165"/>
                  </a:lnTo>
                  <a:lnTo>
                    <a:pt x="135" y="165"/>
                  </a:lnTo>
                  <a:lnTo>
                    <a:pt x="132" y="165"/>
                  </a:lnTo>
                  <a:lnTo>
                    <a:pt x="132" y="163"/>
                  </a:lnTo>
                  <a:lnTo>
                    <a:pt x="130" y="163"/>
                  </a:lnTo>
                  <a:lnTo>
                    <a:pt x="130" y="163"/>
                  </a:lnTo>
                  <a:lnTo>
                    <a:pt x="128" y="163"/>
                  </a:lnTo>
                  <a:lnTo>
                    <a:pt x="128" y="165"/>
                  </a:lnTo>
                  <a:lnTo>
                    <a:pt x="125" y="165"/>
                  </a:lnTo>
                  <a:lnTo>
                    <a:pt x="125" y="165"/>
                  </a:lnTo>
                  <a:lnTo>
                    <a:pt x="125" y="163"/>
                  </a:lnTo>
                  <a:lnTo>
                    <a:pt x="125" y="160"/>
                  </a:lnTo>
                  <a:lnTo>
                    <a:pt x="123" y="160"/>
                  </a:lnTo>
                  <a:lnTo>
                    <a:pt x="123" y="160"/>
                  </a:lnTo>
                  <a:lnTo>
                    <a:pt x="121" y="160"/>
                  </a:lnTo>
                  <a:lnTo>
                    <a:pt x="121" y="163"/>
                  </a:lnTo>
                  <a:lnTo>
                    <a:pt x="118" y="163"/>
                  </a:lnTo>
                  <a:lnTo>
                    <a:pt x="116" y="163"/>
                  </a:lnTo>
                  <a:lnTo>
                    <a:pt x="113" y="163"/>
                  </a:lnTo>
                  <a:lnTo>
                    <a:pt x="113" y="163"/>
                  </a:lnTo>
                  <a:lnTo>
                    <a:pt x="113" y="160"/>
                  </a:lnTo>
                  <a:lnTo>
                    <a:pt x="111" y="158"/>
                  </a:lnTo>
                  <a:lnTo>
                    <a:pt x="111" y="158"/>
                  </a:lnTo>
                  <a:lnTo>
                    <a:pt x="109" y="160"/>
                  </a:lnTo>
                  <a:lnTo>
                    <a:pt x="109" y="165"/>
                  </a:lnTo>
                  <a:lnTo>
                    <a:pt x="109" y="165"/>
                  </a:lnTo>
                  <a:lnTo>
                    <a:pt x="106" y="165"/>
                  </a:lnTo>
                  <a:lnTo>
                    <a:pt x="106" y="165"/>
                  </a:lnTo>
                  <a:lnTo>
                    <a:pt x="104" y="165"/>
                  </a:lnTo>
                  <a:lnTo>
                    <a:pt x="104" y="163"/>
                  </a:lnTo>
                  <a:lnTo>
                    <a:pt x="106" y="160"/>
                  </a:lnTo>
                  <a:lnTo>
                    <a:pt x="109" y="158"/>
                  </a:lnTo>
                  <a:lnTo>
                    <a:pt x="109" y="156"/>
                  </a:lnTo>
                  <a:lnTo>
                    <a:pt x="106" y="156"/>
                  </a:lnTo>
                  <a:lnTo>
                    <a:pt x="106" y="156"/>
                  </a:lnTo>
                  <a:lnTo>
                    <a:pt x="104" y="156"/>
                  </a:lnTo>
                  <a:lnTo>
                    <a:pt x="102" y="158"/>
                  </a:lnTo>
                  <a:lnTo>
                    <a:pt x="102" y="158"/>
                  </a:lnTo>
                  <a:lnTo>
                    <a:pt x="99" y="156"/>
                  </a:lnTo>
                  <a:lnTo>
                    <a:pt x="99" y="153"/>
                  </a:lnTo>
                  <a:lnTo>
                    <a:pt x="102" y="151"/>
                  </a:lnTo>
                  <a:lnTo>
                    <a:pt x="104" y="148"/>
                  </a:lnTo>
                  <a:lnTo>
                    <a:pt x="102" y="148"/>
                  </a:lnTo>
                  <a:lnTo>
                    <a:pt x="102" y="148"/>
                  </a:lnTo>
                  <a:lnTo>
                    <a:pt x="99" y="148"/>
                  </a:lnTo>
                  <a:lnTo>
                    <a:pt x="99" y="148"/>
                  </a:lnTo>
                  <a:lnTo>
                    <a:pt x="95" y="151"/>
                  </a:lnTo>
                  <a:lnTo>
                    <a:pt x="95" y="151"/>
                  </a:lnTo>
                  <a:lnTo>
                    <a:pt x="95" y="153"/>
                  </a:lnTo>
                  <a:lnTo>
                    <a:pt x="97" y="156"/>
                  </a:lnTo>
                  <a:lnTo>
                    <a:pt x="97" y="156"/>
                  </a:lnTo>
                  <a:lnTo>
                    <a:pt x="97" y="158"/>
                  </a:lnTo>
                  <a:lnTo>
                    <a:pt x="92" y="160"/>
                  </a:lnTo>
                  <a:lnTo>
                    <a:pt x="90" y="160"/>
                  </a:lnTo>
                  <a:lnTo>
                    <a:pt x="87" y="160"/>
                  </a:lnTo>
                  <a:lnTo>
                    <a:pt x="87" y="160"/>
                  </a:lnTo>
                  <a:lnTo>
                    <a:pt x="85" y="156"/>
                  </a:lnTo>
                  <a:lnTo>
                    <a:pt x="85" y="156"/>
                  </a:lnTo>
                  <a:lnTo>
                    <a:pt x="85" y="156"/>
                  </a:lnTo>
                  <a:lnTo>
                    <a:pt x="83" y="156"/>
                  </a:lnTo>
                  <a:lnTo>
                    <a:pt x="83" y="156"/>
                  </a:lnTo>
                  <a:lnTo>
                    <a:pt x="83" y="160"/>
                  </a:lnTo>
                  <a:lnTo>
                    <a:pt x="83" y="163"/>
                  </a:lnTo>
                  <a:lnTo>
                    <a:pt x="80" y="163"/>
                  </a:lnTo>
                  <a:lnTo>
                    <a:pt x="76" y="160"/>
                  </a:lnTo>
                  <a:lnTo>
                    <a:pt x="76" y="160"/>
                  </a:lnTo>
                  <a:lnTo>
                    <a:pt x="73" y="160"/>
                  </a:lnTo>
                  <a:lnTo>
                    <a:pt x="69" y="163"/>
                  </a:lnTo>
                  <a:lnTo>
                    <a:pt x="66" y="165"/>
                  </a:lnTo>
                  <a:lnTo>
                    <a:pt x="66" y="165"/>
                  </a:lnTo>
                  <a:lnTo>
                    <a:pt x="64" y="165"/>
                  </a:lnTo>
                  <a:lnTo>
                    <a:pt x="64" y="165"/>
                  </a:lnTo>
                  <a:lnTo>
                    <a:pt x="64" y="163"/>
                  </a:lnTo>
                  <a:lnTo>
                    <a:pt x="64" y="163"/>
                  </a:lnTo>
                  <a:lnTo>
                    <a:pt x="66" y="158"/>
                  </a:lnTo>
                  <a:lnTo>
                    <a:pt x="69" y="156"/>
                  </a:lnTo>
                  <a:lnTo>
                    <a:pt x="69" y="156"/>
                  </a:lnTo>
                  <a:lnTo>
                    <a:pt x="69" y="156"/>
                  </a:lnTo>
                  <a:lnTo>
                    <a:pt x="69" y="153"/>
                  </a:lnTo>
                  <a:lnTo>
                    <a:pt x="66" y="153"/>
                  </a:lnTo>
                  <a:lnTo>
                    <a:pt x="66" y="153"/>
                  </a:lnTo>
                  <a:lnTo>
                    <a:pt x="66" y="153"/>
                  </a:lnTo>
                  <a:lnTo>
                    <a:pt x="64" y="153"/>
                  </a:lnTo>
                  <a:lnTo>
                    <a:pt x="64" y="153"/>
                  </a:lnTo>
                  <a:lnTo>
                    <a:pt x="62" y="153"/>
                  </a:lnTo>
                  <a:lnTo>
                    <a:pt x="62" y="153"/>
                  </a:lnTo>
                  <a:lnTo>
                    <a:pt x="59" y="151"/>
                  </a:lnTo>
                  <a:lnTo>
                    <a:pt x="59" y="151"/>
                  </a:lnTo>
                  <a:lnTo>
                    <a:pt x="59" y="148"/>
                  </a:lnTo>
                  <a:lnTo>
                    <a:pt x="57" y="151"/>
                  </a:lnTo>
                  <a:lnTo>
                    <a:pt x="57" y="151"/>
                  </a:lnTo>
                  <a:lnTo>
                    <a:pt x="54" y="151"/>
                  </a:lnTo>
                  <a:lnTo>
                    <a:pt x="54" y="153"/>
                  </a:lnTo>
                  <a:lnTo>
                    <a:pt x="54" y="156"/>
                  </a:lnTo>
                  <a:lnTo>
                    <a:pt x="47" y="158"/>
                  </a:lnTo>
                  <a:lnTo>
                    <a:pt x="45" y="156"/>
                  </a:lnTo>
                  <a:lnTo>
                    <a:pt x="45" y="156"/>
                  </a:lnTo>
                  <a:lnTo>
                    <a:pt x="43" y="156"/>
                  </a:lnTo>
                  <a:lnTo>
                    <a:pt x="43" y="156"/>
                  </a:lnTo>
                  <a:lnTo>
                    <a:pt x="40" y="156"/>
                  </a:lnTo>
                  <a:lnTo>
                    <a:pt x="40" y="156"/>
                  </a:lnTo>
                  <a:lnTo>
                    <a:pt x="40" y="158"/>
                  </a:lnTo>
                  <a:lnTo>
                    <a:pt x="40" y="158"/>
                  </a:lnTo>
                  <a:lnTo>
                    <a:pt x="43" y="160"/>
                  </a:lnTo>
                  <a:lnTo>
                    <a:pt x="43" y="160"/>
                  </a:lnTo>
                  <a:lnTo>
                    <a:pt x="43" y="163"/>
                  </a:lnTo>
                  <a:lnTo>
                    <a:pt x="43" y="163"/>
                  </a:lnTo>
                  <a:lnTo>
                    <a:pt x="40" y="163"/>
                  </a:lnTo>
                  <a:lnTo>
                    <a:pt x="40" y="163"/>
                  </a:lnTo>
                  <a:lnTo>
                    <a:pt x="38" y="163"/>
                  </a:lnTo>
                  <a:lnTo>
                    <a:pt x="36" y="160"/>
                  </a:lnTo>
                  <a:lnTo>
                    <a:pt x="36" y="160"/>
                  </a:lnTo>
                  <a:lnTo>
                    <a:pt x="33" y="160"/>
                  </a:lnTo>
                  <a:lnTo>
                    <a:pt x="31" y="163"/>
                  </a:lnTo>
                  <a:lnTo>
                    <a:pt x="28" y="163"/>
                  </a:lnTo>
                  <a:lnTo>
                    <a:pt x="28" y="163"/>
                  </a:lnTo>
                  <a:lnTo>
                    <a:pt x="26" y="163"/>
                  </a:lnTo>
                  <a:lnTo>
                    <a:pt x="26" y="165"/>
                  </a:lnTo>
                  <a:lnTo>
                    <a:pt x="24" y="165"/>
                  </a:lnTo>
                  <a:lnTo>
                    <a:pt x="24" y="165"/>
                  </a:lnTo>
                  <a:lnTo>
                    <a:pt x="24" y="163"/>
                  </a:lnTo>
                  <a:lnTo>
                    <a:pt x="24" y="160"/>
                  </a:lnTo>
                  <a:lnTo>
                    <a:pt x="21" y="160"/>
                  </a:lnTo>
                  <a:lnTo>
                    <a:pt x="21" y="160"/>
                  </a:lnTo>
                  <a:lnTo>
                    <a:pt x="21" y="158"/>
                  </a:lnTo>
                  <a:lnTo>
                    <a:pt x="19" y="158"/>
                  </a:lnTo>
                  <a:lnTo>
                    <a:pt x="19" y="158"/>
                  </a:lnTo>
                  <a:lnTo>
                    <a:pt x="17" y="160"/>
                  </a:lnTo>
                  <a:lnTo>
                    <a:pt x="17" y="160"/>
                  </a:lnTo>
                  <a:lnTo>
                    <a:pt x="14" y="160"/>
                  </a:lnTo>
                  <a:lnTo>
                    <a:pt x="14" y="160"/>
                  </a:lnTo>
                  <a:lnTo>
                    <a:pt x="12" y="163"/>
                  </a:lnTo>
                  <a:lnTo>
                    <a:pt x="10" y="163"/>
                  </a:lnTo>
                  <a:lnTo>
                    <a:pt x="10" y="158"/>
                  </a:lnTo>
                  <a:lnTo>
                    <a:pt x="7" y="156"/>
                  </a:lnTo>
                  <a:lnTo>
                    <a:pt x="2" y="160"/>
                  </a:lnTo>
                  <a:lnTo>
                    <a:pt x="2" y="160"/>
                  </a:lnTo>
                  <a:lnTo>
                    <a:pt x="2" y="160"/>
                  </a:lnTo>
                  <a:lnTo>
                    <a:pt x="0" y="160"/>
                  </a:lnTo>
                  <a:lnTo>
                    <a:pt x="0" y="160"/>
                  </a:lnTo>
                  <a:close/>
                  <a:moveTo>
                    <a:pt x="669" y="203"/>
                  </a:moveTo>
                  <a:lnTo>
                    <a:pt x="669" y="200"/>
                  </a:lnTo>
                  <a:lnTo>
                    <a:pt x="669" y="203"/>
                  </a:lnTo>
                  <a:close/>
                  <a:moveTo>
                    <a:pt x="669" y="229"/>
                  </a:moveTo>
                  <a:lnTo>
                    <a:pt x="669" y="229"/>
                  </a:lnTo>
                  <a:lnTo>
                    <a:pt x="669" y="229"/>
                  </a:lnTo>
                  <a:lnTo>
                    <a:pt x="669" y="226"/>
                  </a:lnTo>
                  <a:lnTo>
                    <a:pt x="669" y="226"/>
                  </a:lnTo>
                  <a:lnTo>
                    <a:pt x="669" y="226"/>
                  </a:lnTo>
                  <a:lnTo>
                    <a:pt x="669" y="224"/>
                  </a:lnTo>
                  <a:lnTo>
                    <a:pt x="669" y="222"/>
                  </a:lnTo>
                  <a:lnTo>
                    <a:pt x="671" y="222"/>
                  </a:lnTo>
                  <a:lnTo>
                    <a:pt x="673" y="222"/>
                  </a:lnTo>
                  <a:lnTo>
                    <a:pt x="673" y="217"/>
                  </a:lnTo>
                  <a:lnTo>
                    <a:pt x="671" y="217"/>
                  </a:lnTo>
                  <a:lnTo>
                    <a:pt x="671" y="217"/>
                  </a:lnTo>
                  <a:lnTo>
                    <a:pt x="671" y="217"/>
                  </a:lnTo>
                  <a:lnTo>
                    <a:pt x="671" y="217"/>
                  </a:lnTo>
                  <a:lnTo>
                    <a:pt x="669" y="215"/>
                  </a:lnTo>
                  <a:lnTo>
                    <a:pt x="669" y="215"/>
                  </a:lnTo>
                  <a:lnTo>
                    <a:pt x="671" y="212"/>
                  </a:lnTo>
                  <a:lnTo>
                    <a:pt x="671" y="212"/>
                  </a:lnTo>
                  <a:lnTo>
                    <a:pt x="671" y="212"/>
                  </a:lnTo>
                  <a:lnTo>
                    <a:pt x="673" y="212"/>
                  </a:lnTo>
                  <a:lnTo>
                    <a:pt x="673" y="212"/>
                  </a:lnTo>
                  <a:lnTo>
                    <a:pt x="673" y="210"/>
                  </a:lnTo>
                  <a:lnTo>
                    <a:pt x="673" y="210"/>
                  </a:lnTo>
                  <a:lnTo>
                    <a:pt x="676" y="210"/>
                  </a:lnTo>
                  <a:lnTo>
                    <a:pt x="673" y="207"/>
                  </a:lnTo>
                  <a:lnTo>
                    <a:pt x="673" y="207"/>
                  </a:lnTo>
                  <a:lnTo>
                    <a:pt x="673" y="207"/>
                  </a:lnTo>
                  <a:lnTo>
                    <a:pt x="673" y="205"/>
                  </a:lnTo>
                  <a:lnTo>
                    <a:pt x="673" y="205"/>
                  </a:lnTo>
                  <a:lnTo>
                    <a:pt x="673" y="203"/>
                  </a:lnTo>
                  <a:lnTo>
                    <a:pt x="673" y="203"/>
                  </a:lnTo>
                  <a:lnTo>
                    <a:pt x="673" y="203"/>
                  </a:lnTo>
                  <a:lnTo>
                    <a:pt x="671" y="200"/>
                  </a:lnTo>
                  <a:lnTo>
                    <a:pt x="671" y="200"/>
                  </a:lnTo>
                  <a:lnTo>
                    <a:pt x="671" y="200"/>
                  </a:lnTo>
                  <a:lnTo>
                    <a:pt x="671" y="198"/>
                  </a:lnTo>
                  <a:lnTo>
                    <a:pt x="673" y="198"/>
                  </a:lnTo>
                  <a:lnTo>
                    <a:pt x="673" y="198"/>
                  </a:lnTo>
                  <a:lnTo>
                    <a:pt x="673" y="198"/>
                  </a:lnTo>
                  <a:lnTo>
                    <a:pt x="673" y="196"/>
                  </a:lnTo>
                  <a:lnTo>
                    <a:pt x="671" y="196"/>
                  </a:lnTo>
                  <a:lnTo>
                    <a:pt x="671" y="198"/>
                  </a:lnTo>
                  <a:lnTo>
                    <a:pt x="671" y="196"/>
                  </a:lnTo>
                  <a:lnTo>
                    <a:pt x="673" y="196"/>
                  </a:lnTo>
                  <a:lnTo>
                    <a:pt x="673" y="193"/>
                  </a:lnTo>
                  <a:lnTo>
                    <a:pt x="676" y="193"/>
                  </a:lnTo>
                  <a:lnTo>
                    <a:pt x="678" y="193"/>
                  </a:lnTo>
                  <a:lnTo>
                    <a:pt x="680" y="193"/>
                  </a:lnTo>
                  <a:lnTo>
                    <a:pt x="683" y="193"/>
                  </a:lnTo>
                  <a:lnTo>
                    <a:pt x="685" y="191"/>
                  </a:lnTo>
                  <a:lnTo>
                    <a:pt x="685" y="191"/>
                  </a:lnTo>
                  <a:lnTo>
                    <a:pt x="685" y="189"/>
                  </a:lnTo>
                  <a:lnTo>
                    <a:pt x="685" y="191"/>
                  </a:lnTo>
                  <a:lnTo>
                    <a:pt x="685" y="189"/>
                  </a:lnTo>
                  <a:lnTo>
                    <a:pt x="685" y="189"/>
                  </a:lnTo>
                  <a:lnTo>
                    <a:pt x="685" y="189"/>
                  </a:lnTo>
                  <a:lnTo>
                    <a:pt x="688" y="189"/>
                  </a:lnTo>
                  <a:lnTo>
                    <a:pt x="688" y="186"/>
                  </a:lnTo>
                  <a:lnTo>
                    <a:pt x="688" y="189"/>
                  </a:lnTo>
                  <a:lnTo>
                    <a:pt x="688" y="191"/>
                  </a:lnTo>
                  <a:lnTo>
                    <a:pt x="688" y="191"/>
                  </a:lnTo>
                  <a:lnTo>
                    <a:pt x="690" y="193"/>
                  </a:lnTo>
                  <a:lnTo>
                    <a:pt x="690" y="193"/>
                  </a:lnTo>
                  <a:lnTo>
                    <a:pt x="692" y="196"/>
                  </a:lnTo>
                  <a:lnTo>
                    <a:pt x="692" y="193"/>
                  </a:lnTo>
                  <a:lnTo>
                    <a:pt x="695" y="193"/>
                  </a:lnTo>
                  <a:lnTo>
                    <a:pt x="695" y="196"/>
                  </a:lnTo>
                  <a:lnTo>
                    <a:pt x="692" y="196"/>
                  </a:lnTo>
                  <a:lnTo>
                    <a:pt x="692" y="198"/>
                  </a:lnTo>
                  <a:lnTo>
                    <a:pt x="692" y="200"/>
                  </a:lnTo>
                  <a:lnTo>
                    <a:pt x="690" y="200"/>
                  </a:lnTo>
                  <a:lnTo>
                    <a:pt x="688" y="205"/>
                  </a:lnTo>
                  <a:lnTo>
                    <a:pt x="685" y="207"/>
                  </a:lnTo>
                  <a:lnTo>
                    <a:pt x="685" y="210"/>
                  </a:lnTo>
                  <a:lnTo>
                    <a:pt x="685" y="212"/>
                  </a:lnTo>
                  <a:lnTo>
                    <a:pt x="685" y="212"/>
                  </a:lnTo>
                  <a:lnTo>
                    <a:pt x="688" y="212"/>
                  </a:lnTo>
                  <a:lnTo>
                    <a:pt x="688" y="212"/>
                  </a:lnTo>
                  <a:lnTo>
                    <a:pt x="688" y="212"/>
                  </a:lnTo>
                  <a:lnTo>
                    <a:pt x="688" y="215"/>
                  </a:lnTo>
                  <a:lnTo>
                    <a:pt x="685" y="215"/>
                  </a:lnTo>
                  <a:lnTo>
                    <a:pt x="685" y="217"/>
                  </a:lnTo>
                  <a:lnTo>
                    <a:pt x="685" y="217"/>
                  </a:lnTo>
                  <a:lnTo>
                    <a:pt x="683" y="217"/>
                  </a:lnTo>
                  <a:lnTo>
                    <a:pt x="683" y="219"/>
                  </a:lnTo>
                  <a:lnTo>
                    <a:pt x="683" y="219"/>
                  </a:lnTo>
                  <a:lnTo>
                    <a:pt x="680" y="222"/>
                  </a:lnTo>
                  <a:lnTo>
                    <a:pt x="680" y="224"/>
                  </a:lnTo>
                  <a:lnTo>
                    <a:pt x="678" y="226"/>
                  </a:lnTo>
                  <a:lnTo>
                    <a:pt x="676" y="231"/>
                  </a:lnTo>
                  <a:lnTo>
                    <a:pt x="676" y="231"/>
                  </a:lnTo>
                  <a:lnTo>
                    <a:pt x="676" y="233"/>
                  </a:lnTo>
                  <a:lnTo>
                    <a:pt x="676" y="236"/>
                  </a:lnTo>
                  <a:lnTo>
                    <a:pt x="676" y="236"/>
                  </a:lnTo>
                  <a:lnTo>
                    <a:pt x="676" y="236"/>
                  </a:lnTo>
                  <a:lnTo>
                    <a:pt x="678" y="236"/>
                  </a:lnTo>
                  <a:lnTo>
                    <a:pt x="678" y="236"/>
                  </a:lnTo>
                  <a:lnTo>
                    <a:pt x="678" y="236"/>
                  </a:lnTo>
                  <a:lnTo>
                    <a:pt x="680" y="236"/>
                  </a:lnTo>
                  <a:lnTo>
                    <a:pt x="680" y="238"/>
                  </a:lnTo>
                  <a:lnTo>
                    <a:pt x="678" y="238"/>
                  </a:lnTo>
                  <a:lnTo>
                    <a:pt x="678" y="238"/>
                  </a:lnTo>
                  <a:lnTo>
                    <a:pt x="678" y="238"/>
                  </a:lnTo>
                  <a:lnTo>
                    <a:pt x="678" y="238"/>
                  </a:lnTo>
                  <a:lnTo>
                    <a:pt x="678" y="241"/>
                  </a:lnTo>
                  <a:lnTo>
                    <a:pt x="676" y="241"/>
                  </a:lnTo>
                  <a:lnTo>
                    <a:pt x="676" y="241"/>
                  </a:lnTo>
                  <a:lnTo>
                    <a:pt x="676" y="238"/>
                  </a:lnTo>
                  <a:lnTo>
                    <a:pt x="673" y="238"/>
                  </a:lnTo>
                  <a:lnTo>
                    <a:pt x="673" y="241"/>
                  </a:lnTo>
                  <a:lnTo>
                    <a:pt x="671" y="241"/>
                  </a:lnTo>
                  <a:lnTo>
                    <a:pt x="671" y="245"/>
                  </a:lnTo>
                  <a:lnTo>
                    <a:pt x="671" y="245"/>
                  </a:lnTo>
                  <a:lnTo>
                    <a:pt x="669" y="248"/>
                  </a:lnTo>
                  <a:lnTo>
                    <a:pt x="669" y="245"/>
                  </a:lnTo>
                  <a:lnTo>
                    <a:pt x="669" y="245"/>
                  </a:lnTo>
                  <a:lnTo>
                    <a:pt x="669" y="245"/>
                  </a:lnTo>
                  <a:lnTo>
                    <a:pt x="669" y="243"/>
                  </a:lnTo>
                  <a:lnTo>
                    <a:pt x="669" y="243"/>
                  </a:lnTo>
                  <a:lnTo>
                    <a:pt x="669" y="241"/>
                  </a:lnTo>
                  <a:lnTo>
                    <a:pt x="669" y="241"/>
                  </a:lnTo>
                  <a:lnTo>
                    <a:pt x="666" y="238"/>
                  </a:lnTo>
                  <a:lnTo>
                    <a:pt x="666" y="238"/>
                  </a:lnTo>
                  <a:lnTo>
                    <a:pt x="666" y="236"/>
                  </a:lnTo>
                  <a:lnTo>
                    <a:pt x="669" y="236"/>
                  </a:lnTo>
                  <a:lnTo>
                    <a:pt x="669" y="236"/>
                  </a:lnTo>
                  <a:lnTo>
                    <a:pt x="669" y="233"/>
                  </a:lnTo>
                  <a:lnTo>
                    <a:pt x="669" y="231"/>
                  </a:lnTo>
                  <a:lnTo>
                    <a:pt x="671" y="229"/>
                  </a:lnTo>
                  <a:lnTo>
                    <a:pt x="669" y="229"/>
                  </a:lnTo>
                  <a:lnTo>
                    <a:pt x="669" y="229"/>
                  </a:lnTo>
                  <a:lnTo>
                    <a:pt x="669" y="229"/>
                  </a:lnTo>
                  <a:lnTo>
                    <a:pt x="669" y="229"/>
                  </a:lnTo>
                  <a:close/>
                  <a:moveTo>
                    <a:pt x="669" y="200"/>
                  </a:moveTo>
                  <a:lnTo>
                    <a:pt x="669" y="200"/>
                  </a:lnTo>
                  <a:lnTo>
                    <a:pt x="669" y="200"/>
                  </a:lnTo>
                  <a:lnTo>
                    <a:pt x="669" y="198"/>
                  </a:lnTo>
                  <a:lnTo>
                    <a:pt x="669" y="200"/>
                  </a:lnTo>
                  <a:lnTo>
                    <a:pt x="669" y="200"/>
                  </a:lnTo>
                  <a:lnTo>
                    <a:pt x="669" y="20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 cap="flat">
              <a:solidFill>
                <a:schemeClr val="bg2">
                  <a:lumMod val="7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>
                <a:solidFill>
                  <a:srgbClr val="000000"/>
                </a:solidFill>
              </a:endParaRPr>
            </a:p>
          </p:txBody>
        </p:sp>
        <p:sp>
          <p:nvSpPr>
            <p:cNvPr id="12" name="Freeform 35"/>
            <p:cNvSpPr>
              <a:spLocks noEditPoints="1"/>
            </p:cNvSpPr>
            <p:nvPr/>
          </p:nvSpPr>
          <p:spPr bwMode="gray">
            <a:xfrm>
              <a:off x="2326370" y="5107187"/>
              <a:ext cx="916322" cy="632900"/>
            </a:xfrm>
            <a:custGeom>
              <a:avLst/>
              <a:gdLst/>
              <a:ahLst/>
              <a:cxnLst>
                <a:cxn ang="0">
                  <a:pos x="99" y="286"/>
                </a:cxn>
                <a:cxn ang="0">
                  <a:pos x="158" y="194"/>
                </a:cxn>
                <a:cxn ang="0">
                  <a:pos x="210" y="92"/>
                </a:cxn>
                <a:cxn ang="0">
                  <a:pos x="307" y="17"/>
                </a:cxn>
                <a:cxn ang="0">
                  <a:pos x="407" y="19"/>
                </a:cxn>
                <a:cxn ang="0">
                  <a:pos x="487" y="62"/>
                </a:cxn>
                <a:cxn ang="0">
                  <a:pos x="548" y="50"/>
                </a:cxn>
                <a:cxn ang="0">
                  <a:pos x="624" y="38"/>
                </a:cxn>
                <a:cxn ang="0">
                  <a:pos x="681" y="26"/>
                </a:cxn>
                <a:cxn ang="0">
                  <a:pos x="742" y="50"/>
                </a:cxn>
                <a:cxn ang="0">
                  <a:pos x="754" y="95"/>
                </a:cxn>
                <a:cxn ang="0">
                  <a:pos x="754" y="151"/>
                </a:cxn>
                <a:cxn ang="0">
                  <a:pos x="770" y="199"/>
                </a:cxn>
                <a:cxn ang="0">
                  <a:pos x="801" y="206"/>
                </a:cxn>
                <a:cxn ang="0">
                  <a:pos x="836" y="222"/>
                </a:cxn>
                <a:cxn ang="0">
                  <a:pos x="815" y="267"/>
                </a:cxn>
                <a:cxn ang="0">
                  <a:pos x="810" y="300"/>
                </a:cxn>
                <a:cxn ang="0">
                  <a:pos x="813" y="336"/>
                </a:cxn>
                <a:cxn ang="0">
                  <a:pos x="848" y="362"/>
                </a:cxn>
                <a:cxn ang="0">
                  <a:pos x="858" y="390"/>
                </a:cxn>
                <a:cxn ang="0">
                  <a:pos x="891" y="406"/>
                </a:cxn>
                <a:cxn ang="0">
                  <a:pos x="931" y="399"/>
                </a:cxn>
                <a:cxn ang="0">
                  <a:pos x="940" y="373"/>
                </a:cxn>
                <a:cxn ang="0">
                  <a:pos x="966" y="371"/>
                </a:cxn>
                <a:cxn ang="0">
                  <a:pos x="1018" y="352"/>
                </a:cxn>
                <a:cxn ang="0">
                  <a:pos x="1070" y="362"/>
                </a:cxn>
                <a:cxn ang="0">
                  <a:pos x="1103" y="369"/>
                </a:cxn>
                <a:cxn ang="0">
                  <a:pos x="1134" y="378"/>
                </a:cxn>
                <a:cxn ang="0">
                  <a:pos x="1099" y="404"/>
                </a:cxn>
                <a:cxn ang="0">
                  <a:pos x="1054" y="421"/>
                </a:cxn>
                <a:cxn ang="0">
                  <a:pos x="1049" y="456"/>
                </a:cxn>
                <a:cxn ang="0">
                  <a:pos x="1035" y="468"/>
                </a:cxn>
                <a:cxn ang="0">
                  <a:pos x="1014" y="484"/>
                </a:cxn>
                <a:cxn ang="0">
                  <a:pos x="1002" y="496"/>
                </a:cxn>
                <a:cxn ang="0">
                  <a:pos x="973" y="527"/>
                </a:cxn>
                <a:cxn ang="0">
                  <a:pos x="926" y="520"/>
                </a:cxn>
                <a:cxn ang="0">
                  <a:pos x="877" y="548"/>
                </a:cxn>
                <a:cxn ang="0">
                  <a:pos x="853" y="553"/>
                </a:cxn>
                <a:cxn ang="0">
                  <a:pos x="747" y="626"/>
                </a:cxn>
                <a:cxn ang="0">
                  <a:pos x="643" y="711"/>
                </a:cxn>
                <a:cxn ang="0">
                  <a:pos x="617" y="678"/>
                </a:cxn>
                <a:cxn ang="0">
                  <a:pos x="579" y="695"/>
                </a:cxn>
                <a:cxn ang="0">
                  <a:pos x="577" y="659"/>
                </a:cxn>
                <a:cxn ang="0">
                  <a:pos x="562" y="638"/>
                </a:cxn>
                <a:cxn ang="0">
                  <a:pos x="522" y="633"/>
                </a:cxn>
                <a:cxn ang="0">
                  <a:pos x="482" y="636"/>
                </a:cxn>
                <a:cxn ang="0">
                  <a:pos x="489" y="600"/>
                </a:cxn>
                <a:cxn ang="0">
                  <a:pos x="468" y="565"/>
                </a:cxn>
                <a:cxn ang="0">
                  <a:pos x="456" y="543"/>
                </a:cxn>
                <a:cxn ang="0">
                  <a:pos x="451" y="515"/>
                </a:cxn>
                <a:cxn ang="0">
                  <a:pos x="444" y="477"/>
                </a:cxn>
                <a:cxn ang="0">
                  <a:pos x="433" y="442"/>
                </a:cxn>
                <a:cxn ang="0">
                  <a:pos x="397" y="409"/>
                </a:cxn>
                <a:cxn ang="0">
                  <a:pos x="340" y="413"/>
                </a:cxn>
                <a:cxn ang="0">
                  <a:pos x="274" y="395"/>
                </a:cxn>
                <a:cxn ang="0">
                  <a:pos x="175" y="371"/>
                </a:cxn>
                <a:cxn ang="0">
                  <a:pos x="90" y="371"/>
                </a:cxn>
                <a:cxn ang="0">
                  <a:pos x="1047" y="473"/>
                </a:cxn>
                <a:cxn ang="0">
                  <a:pos x="1040" y="475"/>
                </a:cxn>
                <a:cxn ang="0">
                  <a:pos x="983" y="541"/>
                </a:cxn>
                <a:cxn ang="0">
                  <a:pos x="997" y="527"/>
                </a:cxn>
                <a:cxn ang="0">
                  <a:pos x="962" y="529"/>
                </a:cxn>
                <a:cxn ang="0">
                  <a:pos x="1009" y="494"/>
                </a:cxn>
              </a:cxnLst>
              <a:rect l="0" t="0" r="r" b="b"/>
              <a:pathLst>
                <a:path w="1134" h="723">
                  <a:moveTo>
                    <a:pt x="0" y="371"/>
                  </a:moveTo>
                  <a:lnTo>
                    <a:pt x="0" y="369"/>
                  </a:lnTo>
                  <a:lnTo>
                    <a:pt x="0" y="369"/>
                  </a:lnTo>
                  <a:lnTo>
                    <a:pt x="0" y="369"/>
                  </a:lnTo>
                  <a:lnTo>
                    <a:pt x="0" y="366"/>
                  </a:lnTo>
                  <a:lnTo>
                    <a:pt x="3" y="362"/>
                  </a:lnTo>
                  <a:lnTo>
                    <a:pt x="5" y="359"/>
                  </a:lnTo>
                  <a:lnTo>
                    <a:pt x="7" y="359"/>
                  </a:lnTo>
                  <a:lnTo>
                    <a:pt x="12" y="357"/>
                  </a:lnTo>
                  <a:lnTo>
                    <a:pt x="12" y="357"/>
                  </a:lnTo>
                  <a:lnTo>
                    <a:pt x="14" y="354"/>
                  </a:lnTo>
                  <a:lnTo>
                    <a:pt x="19" y="352"/>
                  </a:lnTo>
                  <a:lnTo>
                    <a:pt x="19" y="352"/>
                  </a:lnTo>
                  <a:lnTo>
                    <a:pt x="21" y="350"/>
                  </a:lnTo>
                  <a:lnTo>
                    <a:pt x="29" y="350"/>
                  </a:lnTo>
                  <a:lnTo>
                    <a:pt x="31" y="347"/>
                  </a:lnTo>
                  <a:lnTo>
                    <a:pt x="31" y="347"/>
                  </a:lnTo>
                  <a:lnTo>
                    <a:pt x="33" y="343"/>
                  </a:lnTo>
                  <a:lnTo>
                    <a:pt x="38" y="340"/>
                  </a:lnTo>
                  <a:lnTo>
                    <a:pt x="38" y="338"/>
                  </a:lnTo>
                  <a:lnTo>
                    <a:pt x="45" y="333"/>
                  </a:lnTo>
                  <a:lnTo>
                    <a:pt x="47" y="333"/>
                  </a:lnTo>
                  <a:lnTo>
                    <a:pt x="52" y="331"/>
                  </a:lnTo>
                  <a:lnTo>
                    <a:pt x="57" y="328"/>
                  </a:lnTo>
                  <a:lnTo>
                    <a:pt x="59" y="326"/>
                  </a:lnTo>
                  <a:lnTo>
                    <a:pt x="62" y="326"/>
                  </a:lnTo>
                  <a:lnTo>
                    <a:pt x="64" y="324"/>
                  </a:lnTo>
                  <a:lnTo>
                    <a:pt x="66" y="321"/>
                  </a:lnTo>
                  <a:lnTo>
                    <a:pt x="71" y="321"/>
                  </a:lnTo>
                  <a:lnTo>
                    <a:pt x="73" y="319"/>
                  </a:lnTo>
                  <a:lnTo>
                    <a:pt x="76" y="319"/>
                  </a:lnTo>
                  <a:lnTo>
                    <a:pt x="78" y="317"/>
                  </a:lnTo>
                  <a:lnTo>
                    <a:pt x="78" y="317"/>
                  </a:lnTo>
                  <a:lnTo>
                    <a:pt x="81" y="317"/>
                  </a:lnTo>
                  <a:lnTo>
                    <a:pt x="83" y="314"/>
                  </a:lnTo>
                  <a:lnTo>
                    <a:pt x="83" y="312"/>
                  </a:lnTo>
                  <a:lnTo>
                    <a:pt x="90" y="307"/>
                  </a:lnTo>
                  <a:lnTo>
                    <a:pt x="90" y="305"/>
                  </a:lnTo>
                  <a:lnTo>
                    <a:pt x="90" y="305"/>
                  </a:lnTo>
                  <a:lnTo>
                    <a:pt x="92" y="302"/>
                  </a:lnTo>
                  <a:lnTo>
                    <a:pt x="97" y="298"/>
                  </a:lnTo>
                  <a:lnTo>
                    <a:pt x="99" y="286"/>
                  </a:lnTo>
                  <a:lnTo>
                    <a:pt x="102" y="284"/>
                  </a:lnTo>
                  <a:lnTo>
                    <a:pt x="104" y="279"/>
                  </a:lnTo>
                  <a:lnTo>
                    <a:pt x="107" y="279"/>
                  </a:lnTo>
                  <a:lnTo>
                    <a:pt x="107" y="276"/>
                  </a:lnTo>
                  <a:lnTo>
                    <a:pt x="109" y="276"/>
                  </a:lnTo>
                  <a:lnTo>
                    <a:pt x="111" y="274"/>
                  </a:lnTo>
                  <a:lnTo>
                    <a:pt x="116" y="269"/>
                  </a:lnTo>
                  <a:lnTo>
                    <a:pt x="118" y="267"/>
                  </a:lnTo>
                  <a:lnTo>
                    <a:pt x="118" y="265"/>
                  </a:lnTo>
                  <a:lnTo>
                    <a:pt x="121" y="260"/>
                  </a:lnTo>
                  <a:lnTo>
                    <a:pt x="123" y="258"/>
                  </a:lnTo>
                  <a:lnTo>
                    <a:pt x="128" y="255"/>
                  </a:lnTo>
                  <a:lnTo>
                    <a:pt x="128" y="253"/>
                  </a:lnTo>
                  <a:lnTo>
                    <a:pt x="130" y="253"/>
                  </a:lnTo>
                  <a:lnTo>
                    <a:pt x="133" y="246"/>
                  </a:lnTo>
                  <a:lnTo>
                    <a:pt x="133" y="246"/>
                  </a:lnTo>
                  <a:lnTo>
                    <a:pt x="133" y="243"/>
                  </a:lnTo>
                  <a:lnTo>
                    <a:pt x="133" y="239"/>
                  </a:lnTo>
                  <a:lnTo>
                    <a:pt x="133" y="236"/>
                  </a:lnTo>
                  <a:lnTo>
                    <a:pt x="128" y="234"/>
                  </a:lnTo>
                  <a:lnTo>
                    <a:pt x="128" y="232"/>
                  </a:lnTo>
                  <a:lnTo>
                    <a:pt x="128" y="229"/>
                  </a:lnTo>
                  <a:lnTo>
                    <a:pt x="130" y="225"/>
                  </a:lnTo>
                  <a:lnTo>
                    <a:pt x="133" y="225"/>
                  </a:lnTo>
                  <a:lnTo>
                    <a:pt x="133" y="225"/>
                  </a:lnTo>
                  <a:lnTo>
                    <a:pt x="137" y="225"/>
                  </a:lnTo>
                  <a:lnTo>
                    <a:pt x="140" y="225"/>
                  </a:lnTo>
                  <a:lnTo>
                    <a:pt x="144" y="225"/>
                  </a:lnTo>
                  <a:lnTo>
                    <a:pt x="144" y="222"/>
                  </a:lnTo>
                  <a:lnTo>
                    <a:pt x="147" y="220"/>
                  </a:lnTo>
                  <a:lnTo>
                    <a:pt x="149" y="217"/>
                  </a:lnTo>
                  <a:lnTo>
                    <a:pt x="149" y="215"/>
                  </a:lnTo>
                  <a:lnTo>
                    <a:pt x="151" y="213"/>
                  </a:lnTo>
                  <a:lnTo>
                    <a:pt x="151" y="208"/>
                  </a:lnTo>
                  <a:lnTo>
                    <a:pt x="156" y="206"/>
                  </a:lnTo>
                  <a:lnTo>
                    <a:pt x="158" y="203"/>
                  </a:lnTo>
                  <a:lnTo>
                    <a:pt x="158" y="203"/>
                  </a:lnTo>
                  <a:lnTo>
                    <a:pt x="158" y="203"/>
                  </a:lnTo>
                  <a:lnTo>
                    <a:pt x="158" y="201"/>
                  </a:lnTo>
                  <a:lnTo>
                    <a:pt x="158" y="199"/>
                  </a:lnTo>
                  <a:lnTo>
                    <a:pt x="158" y="194"/>
                  </a:lnTo>
                  <a:lnTo>
                    <a:pt x="158" y="194"/>
                  </a:lnTo>
                  <a:lnTo>
                    <a:pt x="158" y="187"/>
                  </a:lnTo>
                  <a:lnTo>
                    <a:pt x="156" y="184"/>
                  </a:lnTo>
                  <a:lnTo>
                    <a:pt x="156" y="184"/>
                  </a:lnTo>
                  <a:lnTo>
                    <a:pt x="156" y="182"/>
                  </a:lnTo>
                  <a:lnTo>
                    <a:pt x="156" y="177"/>
                  </a:lnTo>
                  <a:lnTo>
                    <a:pt x="156" y="177"/>
                  </a:lnTo>
                  <a:lnTo>
                    <a:pt x="156" y="175"/>
                  </a:lnTo>
                  <a:lnTo>
                    <a:pt x="161" y="175"/>
                  </a:lnTo>
                  <a:lnTo>
                    <a:pt x="163" y="175"/>
                  </a:lnTo>
                  <a:lnTo>
                    <a:pt x="163" y="175"/>
                  </a:lnTo>
                  <a:lnTo>
                    <a:pt x="166" y="173"/>
                  </a:lnTo>
                  <a:lnTo>
                    <a:pt x="168" y="173"/>
                  </a:lnTo>
                  <a:lnTo>
                    <a:pt x="168" y="168"/>
                  </a:lnTo>
                  <a:lnTo>
                    <a:pt x="168" y="165"/>
                  </a:lnTo>
                  <a:lnTo>
                    <a:pt x="170" y="163"/>
                  </a:lnTo>
                  <a:lnTo>
                    <a:pt x="173" y="161"/>
                  </a:lnTo>
                  <a:lnTo>
                    <a:pt x="175" y="156"/>
                  </a:lnTo>
                  <a:lnTo>
                    <a:pt x="177" y="154"/>
                  </a:lnTo>
                  <a:lnTo>
                    <a:pt x="182" y="154"/>
                  </a:lnTo>
                  <a:lnTo>
                    <a:pt x="182" y="154"/>
                  </a:lnTo>
                  <a:lnTo>
                    <a:pt x="187" y="151"/>
                  </a:lnTo>
                  <a:lnTo>
                    <a:pt x="189" y="149"/>
                  </a:lnTo>
                  <a:lnTo>
                    <a:pt x="189" y="144"/>
                  </a:lnTo>
                  <a:lnTo>
                    <a:pt x="187" y="142"/>
                  </a:lnTo>
                  <a:lnTo>
                    <a:pt x="187" y="139"/>
                  </a:lnTo>
                  <a:lnTo>
                    <a:pt x="187" y="135"/>
                  </a:lnTo>
                  <a:lnTo>
                    <a:pt x="187" y="130"/>
                  </a:lnTo>
                  <a:lnTo>
                    <a:pt x="187" y="130"/>
                  </a:lnTo>
                  <a:lnTo>
                    <a:pt x="187" y="130"/>
                  </a:lnTo>
                  <a:lnTo>
                    <a:pt x="187" y="125"/>
                  </a:lnTo>
                  <a:lnTo>
                    <a:pt x="187" y="123"/>
                  </a:lnTo>
                  <a:lnTo>
                    <a:pt x="192" y="113"/>
                  </a:lnTo>
                  <a:lnTo>
                    <a:pt x="192" y="111"/>
                  </a:lnTo>
                  <a:lnTo>
                    <a:pt x="194" y="111"/>
                  </a:lnTo>
                  <a:lnTo>
                    <a:pt x="194" y="111"/>
                  </a:lnTo>
                  <a:lnTo>
                    <a:pt x="194" y="109"/>
                  </a:lnTo>
                  <a:lnTo>
                    <a:pt x="194" y="109"/>
                  </a:lnTo>
                  <a:lnTo>
                    <a:pt x="201" y="104"/>
                  </a:lnTo>
                  <a:lnTo>
                    <a:pt x="203" y="102"/>
                  </a:lnTo>
                  <a:lnTo>
                    <a:pt x="203" y="99"/>
                  </a:lnTo>
                  <a:lnTo>
                    <a:pt x="208" y="92"/>
                  </a:lnTo>
                  <a:lnTo>
                    <a:pt x="210" y="92"/>
                  </a:lnTo>
                  <a:lnTo>
                    <a:pt x="213" y="88"/>
                  </a:lnTo>
                  <a:lnTo>
                    <a:pt x="215" y="88"/>
                  </a:lnTo>
                  <a:lnTo>
                    <a:pt x="215" y="88"/>
                  </a:lnTo>
                  <a:lnTo>
                    <a:pt x="220" y="78"/>
                  </a:lnTo>
                  <a:lnTo>
                    <a:pt x="222" y="78"/>
                  </a:lnTo>
                  <a:lnTo>
                    <a:pt x="222" y="76"/>
                  </a:lnTo>
                  <a:lnTo>
                    <a:pt x="222" y="73"/>
                  </a:lnTo>
                  <a:lnTo>
                    <a:pt x="225" y="73"/>
                  </a:lnTo>
                  <a:lnTo>
                    <a:pt x="227" y="71"/>
                  </a:lnTo>
                  <a:lnTo>
                    <a:pt x="229" y="71"/>
                  </a:lnTo>
                  <a:lnTo>
                    <a:pt x="236" y="69"/>
                  </a:lnTo>
                  <a:lnTo>
                    <a:pt x="241" y="69"/>
                  </a:lnTo>
                  <a:lnTo>
                    <a:pt x="246" y="69"/>
                  </a:lnTo>
                  <a:lnTo>
                    <a:pt x="248" y="66"/>
                  </a:lnTo>
                  <a:lnTo>
                    <a:pt x="248" y="66"/>
                  </a:lnTo>
                  <a:lnTo>
                    <a:pt x="251" y="66"/>
                  </a:lnTo>
                  <a:lnTo>
                    <a:pt x="253" y="64"/>
                  </a:lnTo>
                  <a:lnTo>
                    <a:pt x="255" y="64"/>
                  </a:lnTo>
                  <a:lnTo>
                    <a:pt x="258" y="59"/>
                  </a:lnTo>
                  <a:lnTo>
                    <a:pt x="260" y="59"/>
                  </a:lnTo>
                  <a:lnTo>
                    <a:pt x="260" y="52"/>
                  </a:lnTo>
                  <a:lnTo>
                    <a:pt x="265" y="47"/>
                  </a:lnTo>
                  <a:lnTo>
                    <a:pt x="267" y="40"/>
                  </a:lnTo>
                  <a:lnTo>
                    <a:pt x="267" y="38"/>
                  </a:lnTo>
                  <a:lnTo>
                    <a:pt x="272" y="33"/>
                  </a:lnTo>
                  <a:lnTo>
                    <a:pt x="272" y="31"/>
                  </a:lnTo>
                  <a:lnTo>
                    <a:pt x="274" y="31"/>
                  </a:lnTo>
                  <a:lnTo>
                    <a:pt x="274" y="31"/>
                  </a:lnTo>
                  <a:lnTo>
                    <a:pt x="277" y="31"/>
                  </a:lnTo>
                  <a:lnTo>
                    <a:pt x="279" y="28"/>
                  </a:lnTo>
                  <a:lnTo>
                    <a:pt x="279" y="26"/>
                  </a:lnTo>
                  <a:lnTo>
                    <a:pt x="279" y="26"/>
                  </a:lnTo>
                  <a:lnTo>
                    <a:pt x="281" y="26"/>
                  </a:lnTo>
                  <a:lnTo>
                    <a:pt x="284" y="26"/>
                  </a:lnTo>
                  <a:lnTo>
                    <a:pt x="286" y="24"/>
                  </a:lnTo>
                  <a:lnTo>
                    <a:pt x="286" y="24"/>
                  </a:lnTo>
                  <a:lnTo>
                    <a:pt x="291" y="21"/>
                  </a:lnTo>
                  <a:lnTo>
                    <a:pt x="293" y="21"/>
                  </a:lnTo>
                  <a:lnTo>
                    <a:pt x="293" y="19"/>
                  </a:lnTo>
                  <a:lnTo>
                    <a:pt x="296" y="19"/>
                  </a:lnTo>
                  <a:lnTo>
                    <a:pt x="303" y="19"/>
                  </a:lnTo>
                  <a:lnTo>
                    <a:pt x="307" y="17"/>
                  </a:lnTo>
                  <a:lnTo>
                    <a:pt x="307" y="17"/>
                  </a:lnTo>
                  <a:lnTo>
                    <a:pt x="310" y="14"/>
                  </a:lnTo>
                  <a:lnTo>
                    <a:pt x="312" y="14"/>
                  </a:lnTo>
                  <a:lnTo>
                    <a:pt x="314" y="12"/>
                  </a:lnTo>
                  <a:lnTo>
                    <a:pt x="314" y="10"/>
                  </a:lnTo>
                  <a:lnTo>
                    <a:pt x="317" y="10"/>
                  </a:lnTo>
                  <a:lnTo>
                    <a:pt x="319" y="5"/>
                  </a:lnTo>
                  <a:lnTo>
                    <a:pt x="321" y="2"/>
                  </a:lnTo>
                  <a:lnTo>
                    <a:pt x="321" y="2"/>
                  </a:lnTo>
                  <a:lnTo>
                    <a:pt x="324" y="2"/>
                  </a:lnTo>
                  <a:lnTo>
                    <a:pt x="326" y="2"/>
                  </a:lnTo>
                  <a:lnTo>
                    <a:pt x="329" y="0"/>
                  </a:lnTo>
                  <a:lnTo>
                    <a:pt x="331" y="0"/>
                  </a:lnTo>
                  <a:lnTo>
                    <a:pt x="333" y="0"/>
                  </a:lnTo>
                  <a:lnTo>
                    <a:pt x="333" y="0"/>
                  </a:lnTo>
                  <a:lnTo>
                    <a:pt x="336" y="0"/>
                  </a:lnTo>
                  <a:lnTo>
                    <a:pt x="338" y="0"/>
                  </a:lnTo>
                  <a:lnTo>
                    <a:pt x="340" y="2"/>
                  </a:lnTo>
                  <a:lnTo>
                    <a:pt x="347" y="7"/>
                  </a:lnTo>
                  <a:lnTo>
                    <a:pt x="350" y="10"/>
                  </a:lnTo>
                  <a:lnTo>
                    <a:pt x="350" y="10"/>
                  </a:lnTo>
                  <a:lnTo>
                    <a:pt x="352" y="10"/>
                  </a:lnTo>
                  <a:lnTo>
                    <a:pt x="352" y="12"/>
                  </a:lnTo>
                  <a:lnTo>
                    <a:pt x="355" y="12"/>
                  </a:lnTo>
                  <a:lnTo>
                    <a:pt x="357" y="10"/>
                  </a:lnTo>
                  <a:lnTo>
                    <a:pt x="362" y="12"/>
                  </a:lnTo>
                  <a:lnTo>
                    <a:pt x="366" y="10"/>
                  </a:lnTo>
                  <a:lnTo>
                    <a:pt x="369" y="10"/>
                  </a:lnTo>
                  <a:lnTo>
                    <a:pt x="371" y="12"/>
                  </a:lnTo>
                  <a:lnTo>
                    <a:pt x="373" y="12"/>
                  </a:lnTo>
                  <a:lnTo>
                    <a:pt x="373" y="12"/>
                  </a:lnTo>
                  <a:lnTo>
                    <a:pt x="376" y="12"/>
                  </a:lnTo>
                  <a:lnTo>
                    <a:pt x="381" y="12"/>
                  </a:lnTo>
                  <a:lnTo>
                    <a:pt x="381" y="12"/>
                  </a:lnTo>
                  <a:lnTo>
                    <a:pt x="383" y="12"/>
                  </a:lnTo>
                  <a:lnTo>
                    <a:pt x="385" y="12"/>
                  </a:lnTo>
                  <a:lnTo>
                    <a:pt x="388" y="17"/>
                  </a:lnTo>
                  <a:lnTo>
                    <a:pt x="388" y="17"/>
                  </a:lnTo>
                  <a:lnTo>
                    <a:pt x="390" y="17"/>
                  </a:lnTo>
                  <a:lnTo>
                    <a:pt x="392" y="19"/>
                  </a:lnTo>
                  <a:lnTo>
                    <a:pt x="399" y="17"/>
                  </a:lnTo>
                  <a:lnTo>
                    <a:pt x="407" y="19"/>
                  </a:lnTo>
                  <a:lnTo>
                    <a:pt x="407" y="21"/>
                  </a:lnTo>
                  <a:lnTo>
                    <a:pt x="411" y="21"/>
                  </a:lnTo>
                  <a:lnTo>
                    <a:pt x="414" y="21"/>
                  </a:lnTo>
                  <a:lnTo>
                    <a:pt x="416" y="19"/>
                  </a:lnTo>
                  <a:lnTo>
                    <a:pt x="421" y="19"/>
                  </a:lnTo>
                  <a:lnTo>
                    <a:pt x="421" y="19"/>
                  </a:lnTo>
                  <a:lnTo>
                    <a:pt x="425" y="19"/>
                  </a:lnTo>
                  <a:lnTo>
                    <a:pt x="425" y="19"/>
                  </a:lnTo>
                  <a:lnTo>
                    <a:pt x="430" y="19"/>
                  </a:lnTo>
                  <a:lnTo>
                    <a:pt x="440" y="19"/>
                  </a:lnTo>
                  <a:lnTo>
                    <a:pt x="442" y="19"/>
                  </a:lnTo>
                  <a:lnTo>
                    <a:pt x="442" y="19"/>
                  </a:lnTo>
                  <a:lnTo>
                    <a:pt x="444" y="17"/>
                  </a:lnTo>
                  <a:lnTo>
                    <a:pt x="447" y="17"/>
                  </a:lnTo>
                  <a:lnTo>
                    <a:pt x="449" y="17"/>
                  </a:lnTo>
                  <a:lnTo>
                    <a:pt x="451" y="14"/>
                  </a:lnTo>
                  <a:lnTo>
                    <a:pt x="454" y="17"/>
                  </a:lnTo>
                  <a:lnTo>
                    <a:pt x="456" y="17"/>
                  </a:lnTo>
                  <a:lnTo>
                    <a:pt x="459" y="21"/>
                  </a:lnTo>
                  <a:lnTo>
                    <a:pt x="459" y="21"/>
                  </a:lnTo>
                  <a:lnTo>
                    <a:pt x="463" y="24"/>
                  </a:lnTo>
                  <a:lnTo>
                    <a:pt x="466" y="24"/>
                  </a:lnTo>
                  <a:lnTo>
                    <a:pt x="475" y="26"/>
                  </a:lnTo>
                  <a:lnTo>
                    <a:pt x="477" y="24"/>
                  </a:lnTo>
                  <a:lnTo>
                    <a:pt x="480" y="24"/>
                  </a:lnTo>
                  <a:lnTo>
                    <a:pt x="484" y="21"/>
                  </a:lnTo>
                  <a:lnTo>
                    <a:pt x="487" y="24"/>
                  </a:lnTo>
                  <a:lnTo>
                    <a:pt x="489" y="24"/>
                  </a:lnTo>
                  <a:lnTo>
                    <a:pt x="489" y="24"/>
                  </a:lnTo>
                  <a:lnTo>
                    <a:pt x="489" y="26"/>
                  </a:lnTo>
                  <a:lnTo>
                    <a:pt x="489" y="28"/>
                  </a:lnTo>
                  <a:lnTo>
                    <a:pt x="487" y="28"/>
                  </a:lnTo>
                  <a:lnTo>
                    <a:pt x="484" y="28"/>
                  </a:lnTo>
                  <a:lnTo>
                    <a:pt x="484" y="31"/>
                  </a:lnTo>
                  <a:lnTo>
                    <a:pt x="482" y="38"/>
                  </a:lnTo>
                  <a:lnTo>
                    <a:pt x="482" y="40"/>
                  </a:lnTo>
                  <a:lnTo>
                    <a:pt x="482" y="40"/>
                  </a:lnTo>
                  <a:lnTo>
                    <a:pt x="482" y="43"/>
                  </a:lnTo>
                  <a:lnTo>
                    <a:pt x="482" y="50"/>
                  </a:lnTo>
                  <a:lnTo>
                    <a:pt x="487" y="57"/>
                  </a:lnTo>
                  <a:lnTo>
                    <a:pt x="487" y="59"/>
                  </a:lnTo>
                  <a:lnTo>
                    <a:pt x="487" y="62"/>
                  </a:lnTo>
                  <a:lnTo>
                    <a:pt x="492" y="66"/>
                  </a:lnTo>
                  <a:lnTo>
                    <a:pt x="492" y="66"/>
                  </a:lnTo>
                  <a:lnTo>
                    <a:pt x="496" y="69"/>
                  </a:lnTo>
                  <a:lnTo>
                    <a:pt x="499" y="69"/>
                  </a:lnTo>
                  <a:lnTo>
                    <a:pt x="499" y="69"/>
                  </a:lnTo>
                  <a:lnTo>
                    <a:pt x="499" y="69"/>
                  </a:lnTo>
                  <a:lnTo>
                    <a:pt x="503" y="64"/>
                  </a:lnTo>
                  <a:lnTo>
                    <a:pt x="506" y="62"/>
                  </a:lnTo>
                  <a:lnTo>
                    <a:pt x="508" y="54"/>
                  </a:lnTo>
                  <a:lnTo>
                    <a:pt x="513" y="47"/>
                  </a:lnTo>
                  <a:lnTo>
                    <a:pt x="513" y="47"/>
                  </a:lnTo>
                  <a:lnTo>
                    <a:pt x="518" y="47"/>
                  </a:lnTo>
                  <a:lnTo>
                    <a:pt x="518" y="47"/>
                  </a:lnTo>
                  <a:lnTo>
                    <a:pt x="522" y="50"/>
                  </a:lnTo>
                  <a:lnTo>
                    <a:pt x="522" y="50"/>
                  </a:lnTo>
                  <a:lnTo>
                    <a:pt x="525" y="54"/>
                  </a:lnTo>
                  <a:lnTo>
                    <a:pt x="525" y="62"/>
                  </a:lnTo>
                  <a:lnTo>
                    <a:pt x="525" y="64"/>
                  </a:lnTo>
                  <a:lnTo>
                    <a:pt x="525" y="78"/>
                  </a:lnTo>
                  <a:lnTo>
                    <a:pt x="525" y="80"/>
                  </a:lnTo>
                  <a:lnTo>
                    <a:pt x="534" y="85"/>
                  </a:lnTo>
                  <a:lnTo>
                    <a:pt x="534" y="85"/>
                  </a:lnTo>
                  <a:lnTo>
                    <a:pt x="536" y="85"/>
                  </a:lnTo>
                  <a:lnTo>
                    <a:pt x="536" y="80"/>
                  </a:lnTo>
                  <a:lnTo>
                    <a:pt x="536" y="80"/>
                  </a:lnTo>
                  <a:lnTo>
                    <a:pt x="536" y="78"/>
                  </a:lnTo>
                  <a:lnTo>
                    <a:pt x="536" y="78"/>
                  </a:lnTo>
                  <a:lnTo>
                    <a:pt x="536" y="73"/>
                  </a:lnTo>
                  <a:lnTo>
                    <a:pt x="536" y="69"/>
                  </a:lnTo>
                  <a:lnTo>
                    <a:pt x="534" y="66"/>
                  </a:lnTo>
                  <a:lnTo>
                    <a:pt x="534" y="66"/>
                  </a:lnTo>
                  <a:lnTo>
                    <a:pt x="534" y="62"/>
                  </a:lnTo>
                  <a:lnTo>
                    <a:pt x="536" y="59"/>
                  </a:lnTo>
                  <a:lnTo>
                    <a:pt x="539" y="57"/>
                  </a:lnTo>
                  <a:lnTo>
                    <a:pt x="539" y="57"/>
                  </a:lnTo>
                  <a:lnTo>
                    <a:pt x="539" y="57"/>
                  </a:lnTo>
                  <a:lnTo>
                    <a:pt x="539" y="54"/>
                  </a:lnTo>
                  <a:lnTo>
                    <a:pt x="539" y="52"/>
                  </a:lnTo>
                  <a:lnTo>
                    <a:pt x="541" y="50"/>
                  </a:lnTo>
                  <a:lnTo>
                    <a:pt x="544" y="50"/>
                  </a:lnTo>
                  <a:lnTo>
                    <a:pt x="544" y="50"/>
                  </a:lnTo>
                  <a:lnTo>
                    <a:pt x="548" y="50"/>
                  </a:lnTo>
                  <a:lnTo>
                    <a:pt x="553" y="47"/>
                  </a:lnTo>
                  <a:lnTo>
                    <a:pt x="555" y="47"/>
                  </a:lnTo>
                  <a:lnTo>
                    <a:pt x="555" y="47"/>
                  </a:lnTo>
                  <a:lnTo>
                    <a:pt x="560" y="50"/>
                  </a:lnTo>
                  <a:lnTo>
                    <a:pt x="562" y="50"/>
                  </a:lnTo>
                  <a:lnTo>
                    <a:pt x="562" y="50"/>
                  </a:lnTo>
                  <a:lnTo>
                    <a:pt x="565" y="50"/>
                  </a:lnTo>
                  <a:lnTo>
                    <a:pt x="570" y="50"/>
                  </a:lnTo>
                  <a:lnTo>
                    <a:pt x="572" y="45"/>
                  </a:lnTo>
                  <a:lnTo>
                    <a:pt x="574" y="45"/>
                  </a:lnTo>
                  <a:lnTo>
                    <a:pt x="577" y="45"/>
                  </a:lnTo>
                  <a:lnTo>
                    <a:pt x="579" y="45"/>
                  </a:lnTo>
                  <a:lnTo>
                    <a:pt x="581" y="45"/>
                  </a:lnTo>
                  <a:lnTo>
                    <a:pt x="586" y="45"/>
                  </a:lnTo>
                  <a:lnTo>
                    <a:pt x="591" y="43"/>
                  </a:lnTo>
                  <a:lnTo>
                    <a:pt x="591" y="43"/>
                  </a:lnTo>
                  <a:lnTo>
                    <a:pt x="596" y="43"/>
                  </a:lnTo>
                  <a:lnTo>
                    <a:pt x="600" y="43"/>
                  </a:lnTo>
                  <a:lnTo>
                    <a:pt x="600" y="43"/>
                  </a:lnTo>
                  <a:lnTo>
                    <a:pt x="603" y="43"/>
                  </a:lnTo>
                  <a:lnTo>
                    <a:pt x="603" y="43"/>
                  </a:lnTo>
                  <a:lnTo>
                    <a:pt x="605" y="43"/>
                  </a:lnTo>
                  <a:lnTo>
                    <a:pt x="607" y="43"/>
                  </a:lnTo>
                  <a:lnTo>
                    <a:pt x="610" y="43"/>
                  </a:lnTo>
                  <a:lnTo>
                    <a:pt x="612" y="45"/>
                  </a:lnTo>
                  <a:lnTo>
                    <a:pt x="612" y="47"/>
                  </a:lnTo>
                  <a:lnTo>
                    <a:pt x="614" y="47"/>
                  </a:lnTo>
                  <a:lnTo>
                    <a:pt x="614" y="47"/>
                  </a:lnTo>
                  <a:lnTo>
                    <a:pt x="617" y="47"/>
                  </a:lnTo>
                  <a:lnTo>
                    <a:pt x="619" y="45"/>
                  </a:lnTo>
                  <a:lnTo>
                    <a:pt x="619" y="45"/>
                  </a:lnTo>
                  <a:lnTo>
                    <a:pt x="619" y="43"/>
                  </a:lnTo>
                  <a:lnTo>
                    <a:pt x="619" y="43"/>
                  </a:lnTo>
                  <a:lnTo>
                    <a:pt x="617" y="38"/>
                  </a:lnTo>
                  <a:lnTo>
                    <a:pt x="617" y="38"/>
                  </a:lnTo>
                  <a:lnTo>
                    <a:pt x="617" y="33"/>
                  </a:lnTo>
                  <a:lnTo>
                    <a:pt x="617" y="33"/>
                  </a:lnTo>
                  <a:lnTo>
                    <a:pt x="617" y="31"/>
                  </a:lnTo>
                  <a:lnTo>
                    <a:pt x="619" y="31"/>
                  </a:lnTo>
                  <a:lnTo>
                    <a:pt x="619" y="33"/>
                  </a:lnTo>
                  <a:lnTo>
                    <a:pt x="621" y="33"/>
                  </a:lnTo>
                  <a:lnTo>
                    <a:pt x="624" y="38"/>
                  </a:lnTo>
                  <a:lnTo>
                    <a:pt x="626" y="40"/>
                  </a:lnTo>
                  <a:lnTo>
                    <a:pt x="626" y="40"/>
                  </a:lnTo>
                  <a:lnTo>
                    <a:pt x="626" y="40"/>
                  </a:lnTo>
                  <a:lnTo>
                    <a:pt x="629" y="40"/>
                  </a:lnTo>
                  <a:lnTo>
                    <a:pt x="629" y="43"/>
                  </a:lnTo>
                  <a:lnTo>
                    <a:pt x="631" y="45"/>
                  </a:lnTo>
                  <a:lnTo>
                    <a:pt x="633" y="47"/>
                  </a:lnTo>
                  <a:lnTo>
                    <a:pt x="636" y="47"/>
                  </a:lnTo>
                  <a:lnTo>
                    <a:pt x="638" y="47"/>
                  </a:lnTo>
                  <a:lnTo>
                    <a:pt x="643" y="45"/>
                  </a:lnTo>
                  <a:lnTo>
                    <a:pt x="643" y="43"/>
                  </a:lnTo>
                  <a:lnTo>
                    <a:pt x="645" y="43"/>
                  </a:lnTo>
                  <a:lnTo>
                    <a:pt x="647" y="40"/>
                  </a:lnTo>
                  <a:lnTo>
                    <a:pt x="647" y="40"/>
                  </a:lnTo>
                  <a:lnTo>
                    <a:pt x="647" y="38"/>
                  </a:lnTo>
                  <a:lnTo>
                    <a:pt x="647" y="33"/>
                  </a:lnTo>
                  <a:lnTo>
                    <a:pt x="650" y="33"/>
                  </a:lnTo>
                  <a:lnTo>
                    <a:pt x="650" y="33"/>
                  </a:lnTo>
                  <a:lnTo>
                    <a:pt x="655" y="36"/>
                  </a:lnTo>
                  <a:lnTo>
                    <a:pt x="655" y="40"/>
                  </a:lnTo>
                  <a:lnTo>
                    <a:pt x="657" y="43"/>
                  </a:lnTo>
                  <a:lnTo>
                    <a:pt x="659" y="43"/>
                  </a:lnTo>
                  <a:lnTo>
                    <a:pt x="662" y="43"/>
                  </a:lnTo>
                  <a:lnTo>
                    <a:pt x="664" y="40"/>
                  </a:lnTo>
                  <a:lnTo>
                    <a:pt x="664" y="40"/>
                  </a:lnTo>
                  <a:lnTo>
                    <a:pt x="664" y="38"/>
                  </a:lnTo>
                  <a:lnTo>
                    <a:pt x="664" y="36"/>
                  </a:lnTo>
                  <a:lnTo>
                    <a:pt x="664" y="33"/>
                  </a:lnTo>
                  <a:lnTo>
                    <a:pt x="664" y="33"/>
                  </a:lnTo>
                  <a:lnTo>
                    <a:pt x="664" y="33"/>
                  </a:lnTo>
                  <a:lnTo>
                    <a:pt x="664" y="33"/>
                  </a:lnTo>
                  <a:lnTo>
                    <a:pt x="664" y="31"/>
                  </a:lnTo>
                  <a:lnTo>
                    <a:pt x="664" y="31"/>
                  </a:lnTo>
                  <a:lnTo>
                    <a:pt x="664" y="31"/>
                  </a:lnTo>
                  <a:lnTo>
                    <a:pt x="664" y="28"/>
                  </a:lnTo>
                  <a:lnTo>
                    <a:pt x="666" y="26"/>
                  </a:lnTo>
                  <a:lnTo>
                    <a:pt x="666" y="26"/>
                  </a:lnTo>
                  <a:lnTo>
                    <a:pt x="669" y="28"/>
                  </a:lnTo>
                  <a:lnTo>
                    <a:pt x="673" y="26"/>
                  </a:lnTo>
                  <a:lnTo>
                    <a:pt x="678" y="26"/>
                  </a:lnTo>
                  <a:lnTo>
                    <a:pt x="681" y="26"/>
                  </a:lnTo>
                  <a:lnTo>
                    <a:pt x="681" y="26"/>
                  </a:lnTo>
                  <a:lnTo>
                    <a:pt x="683" y="24"/>
                  </a:lnTo>
                  <a:lnTo>
                    <a:pt x="685" y="24"/>
                  </a:lnTo>
                  <a:lnTo>
                    <a:pt x="690" y="28"/>
                  </a:lnTo>
                  <a:lnTo>
                    <a:pt x="690" y="28"/>
                  </a:lnTo>
                  <a:lnTo>
                    <a:pt x="690" y="31"/>
                  </a:lnTo>
                  <a:lnTo>
                    <a:pt x="690" y="31"/>
                  </a:lnTo>
                  <a:lnTo>
                    <a:pt x="692" y="33"/>
                  </a:lnTo>
                  <a:lnTo>
                    <a:pt x="692" y="33"/>
                  </a:lnTo>
                  <a:lnTo>
                    <a:pt x="695" y="33"/>
                  </a:lnTo>
                  <a:lnTo>
                    <a:pt x="697" y="33"/>
                  </a:lnTo>
                  <a:lnTo>
                    <a:pt x="699" y="31"/>
                  </a:lnTo>
                  <a:lnTo>
                    <a:pt x="699" y="28"/>
                  </a:lnTo>
                  <a:lnTo>
                    <a:pt x="702" y="28"/>
                  </a:lnTo>
                  <a:lnTo>
                    <a:pt x="704" y="28"/>
                  </a:lnTo>
                  <a:lnTo>
                    <a:pt x="704" y="26"/>
                  </a:lnTo>
                  <a:lnTo>
                    <a:pt x="707" y="26"/>
                  </a:lnTo>
                  <a:lnTo>
                    <a:pt x="709" y="26"/>
                  </a:lnTo>
                  <a:lnTo>
                    <a:pt x="711" y="24"/>
                  </a:lnTo>
                  <a:lnTo>
                    <a:pt x="714" y="24"/>
                  </a:lnTo>
                  <a:lnTo>
                    <a:pt x="714" y="24"/>
                  </a:lnTo>
                  <a:lnTo>
                    <a:pt x="716" y="21"/>
                  </a:lnTo>
                  <a:lnTo>
                    <a:pt x="716" y="24"/>
                  </a:lnTo>
                  <a:lnTo>
                    <a:pt x="718" y="26"/>
                  </a:lnTo>
                  <a:lnTo>
                    <a:pt x="718" y="28"/>
                  </a:lnTo>
                  <a:lnTo>
                    <a:pt x="721" y="28"/>
                  </a:lnTo>
                  <a:lnTo>
                    <a:pt x="721" y="31"/>
                  </a:lnTo>
                  <a:lnTo>
                    <a:pt x="721" y="31"/>
                  </a:lnTo>
                  <a:lnTo>
                    <a:pt x="718" y="31"/>
                  </a:lnTo>
                  <a:lnTo>
                    <a:pt x="718" y="33"/>
                  </a:lnTo>
                  <a:lnTo>
                    <a:pt x="718" y="33"/>
                  </a:lnTo>
                  <a:lnTo>
                    <a:pt x="721" y="36"/>
                  </a:lnTo>
                  <a:lnTo>
                    <a:pt x="723" y="38"/>
                  </a:lnTo>
                  <a:lnTo>
                    <a:pt x="723" y="38"/>
                  </a:lnTo>
                  <a:lnTo>
                    <a:pt x="728" y="38"/>
                  </a:lnTo>
                  <a:lnTo>
                    <a:pt x="728" y="40"/>
                  </a:lnTo>
                  <a:lnTo>
                    <a:pt x="730" y="40"/>
                  </a:lnTo>
                  <a:lnTo>
                    <a:pt x="733" y="43"/>
                  </a:lnTo>
                  <a:lnTo>
                    <a:pt x="735" y="43"/>
                  </a:lnTo>
                  <a:lnTo>
                    <a:pt x="737" y="47"/>
                  </a:lnTo>
                  <a:lnTo>
                    <a:pt x="740" y="47"/>
                  </a:lnTo>
                  <a:lnTo>
                    <a:pt x="740" y="47"/>
                  </a:lnTo>
                  <a:lnTo>
                    <a:pt x="742" y="50"/>
                  </a:lnTo>
                  <a:lnTo>
                    <a:pt x="742" y="52"/>
                  </a:lnTo>
                  <a:lnTo>
                    <a:pt x="742" y="52"/>
                  </a:lnTo>
                  <a:lnTo>
                    <a:pt x="744" y="54"/>
                  </a:lnTo>
                  <a:lnTo>
                    <a:pt x="744" y="57"/>
                  </a:lnTo>
                  <a:lnTo>
                    <a:pt x="744" y="57"/>
                  </a:lnTo>
                  <a:lnTo>
                    <a:pt x="744" y="62"/>
                  </a:lnTo>
                  <a:lnTo>
                    <a:pt x="742" y="62"/>
                  </a:lnTo>
                  <a:lnTo>
                    <a:pt x="740" y="64"/>
                  </a:lnTo>
                  <a:lnTo>
                    <a:pt x="740" y="64"/>
                  </a:lnTo>
                  <a:lnTo>
                    <a:pt x="740" y="66"/>
                  </a:lnTo>
                  <a:lnTo>
                    <a:pt x="740" y="69"/>
                  </a:lnTo>
                  <a:lnTo>
                    <a:pt x="737" y="69"/>
                  </a:lnTo>
                  <a:lnTo>
                    <a:pt x="737" y="71"/>
                  </a:lnTo>
                  <a:lnTo>
                    <a:pt x="737" y="71"/>
                  </a:lnTo>
                  <a:lnTo>
                    <a:pt x="737" y="71"/>
                  </a:lnTo>
                  <a:lnTo>
                    <a:pt x="737" y="71"/>
                  </a:lnTo>
                  <a:lnTo>
                    <a:pt x="737" y="73"/>
                  </a:lnTo>
                  <a:lnTo>
                    <a:pt x="737" y="76"/>
                  </a:lnTo>
                  <a:lnTo>
                    <a:pt x="737" y="76"/>
                  </a:lnTo>
                  <a:lnTo>
                    <a:pt x="737" y="78"/>
                  </a:lnTo>
                  <a:lnTo>
                    <a:pt x="737" y="78"/>
                  </a:lnTo>
                  <a:lnTo>
                    <a:pt x="737" y="78"/>
                  </a:lnTo>
                  <a:lnTo>
                    <a:pt x="737" y="80"/>
                  </a:lnTo>
                  <a:lnTo>
                    <a:pt x="737" y="80"/>
                  </a:lnTo>
                  <a:lnTo>
                    <a:pt x="737" y="80"/>
                  </a:lnTo>
                  <a:lnTo>
                    <a:pt x="737" y="80"/>
                  </a:lnTo>
                  <a:lnTo>
                    <a:pt x="737" y="83"/>
                  </a:lnTo>
                  <a:lnTo>
                    <a:pt x="737" y="83"/>
                  </a:lnTo>
                  <a:lnTo>
                    <a:pt x="737" y="83"/>
                  </a:lnTo>
                  <a:lnTo>
                    <a:pt x="737" y="85"/>
                  </a:lnTo>
                  <a:lnTo>
                    <a:pt x="737" y="85"/>
                  </a:lnTo>
                  <a:lnTo>
                    <a:pt x="737" y="85"/>
                  </a:lnTo>
                  <a:lnTo>
                    <a:pt x="737" y="85"/>
                  </a:lnTo>
                  <a:lnTo>
                    <a:pt x="737" y="88"/>
                  </a:lnTo>
                  <a:lnTo>
                    <a:pt x="740" y="88"/>
                  </a:lnTo>
                  <a:lnTo>
                    <a:pt x="742" y="88"/>
                  </a:lnTo>
                  <a:lnTo>
                    <a:pt x="742" y="90"/>
                  </a:lnTo>
                  <a:lnTo>
                    <a:pt x="744" y="92"/>
                  </a:lnTo>
                  <a:lnTo>
                    <a:pt x="747" y="95"/>
                  </a:lnTo>
                  <a:lnTo>
                    <a:pt x="749" y="95"/>
                  </a:lnTo>
                  <a:lnTo>
                    <a:pt x="751" y="95"/>
                  </a:lnTo>
                  <a:lnTo>
                    <a:pt x="754" y="95"/>
                  </a:lnTo>
                  <a:lnTo>
                    <a:pt x="756" y="97"/>
                  </a:lnTo>
                  <a:lnTo>
                    <a:pt x="756" y="97"/>
                  </a:lnTo>
                  <a:lnTo>
                    <a:pt x="756" y="99"/>
                  </a:lnTo>
                  <a:lnTo>
                    <a:pt x="756" y="102"/>
                  </a:lnTo>
                  <a:lnTo>
                    <a:pt x="756" y="102"/>
                  </a:lnTo>
                  <a:lnTo>
                    <a:pt x="759" y="104"/>
                  </a:lnTo>
                  <a:lnTo>
                    <a:pt x="759" y="104"/>
                  </a:lnTo>
                  <a:lnTo>
                    <a:pt x="759" y="106"/>
                  </a:lnTo>
                  <a:lnTo>
                    <a:pt x="759" y="106"/>
                  </a:lnTo>
                  <a:lnTo>
                    <a:pt x="759" y="106"/>
                  </a:lnTo>
                  <a:lnTo>
                    <a:pt x="761" y="109"/>
                  </a:lnTo>
                  <a:lnTo>
                    <a:pt x="761" y="109"/>
                  </a:lnTo>
                  <a:lnTo>
                    <a:pt x="761" y="111"/>
                  </a:lnTo>
                  <a:lnTo>
                    <a:pt x="763" y="111"/>
                  </a:lnTo>
                  <a:lnTo>
                    <a:pt x="763" y="113"/>
                  </a:lnTo>
                  <a:lnTo>
                    <a:pt x="763" y="113"/>
                  </a:lnTo>
                  <a:lnTo>
                    <a:pt x="761" y="116"/>
                  </a:lnTo>
                  <a:lnTo>
                    <a:pt x="761" y="116"/>
                  </a:lnTo>
                  <a:lnTo>
                    <a:pt x="761" y="118"/>
                  </a:lnTo>
                  <a:lnTo>
                    <a:pt x="761" y="121"/>
                  </a:lnTo>
                  <a:lnTo>
                    <a:pt x="761" y="121"/>
                  </a:lnTo>
                  <a:lnTo>
                    <a:pt x="756" y="121"/>
                  </a:lnTo>
                  <a:lnTo>
                    <a:pt x="754" y="121"/>
                  </a:lnTo>
                  <a:lnTo>
                    <a:pt x="754" y="121"/>
                  </a:lnTo>
                  <a:lnTo>
                    <a:pt x="754" y="121"/>
                  </a:lnTo>
                  <a:lnTo>
                    <a:pt x="751" y="123"/>
                  </a:lnTo>
                  <a:lnTo>
                    <a:pt x="751" y="125"/>
                  </a:lnTo>
                  <a:lnTo>
                    <a:pt x="751" y="125"/>
                  </a:lnTo>
                  <a:lnTo>
                    <a:pt x="751" y="128"/>
                  </a:lnTo>
                  <a:lnTo>
                    <a:pt x="749" y="130"/>
                  </a:lnTo>
                  <a:lnTo>
                    <a:pt x="749" y="130"/>
                  </a:lnTo>
                  <a:lnTo>
                    <a:pt x="747" y="132"/>
                  </a:lnTo>
                  <a:lnTo>
                    <a:pt x="747" y="132"/>
                  </a:lnTo>
                  <a:lnTo>
                    <a:pt x="747" y="135"/>
                  </a:lnTo>
                  <a:lnTo>
                    <a:pt x="747" y="139"/>
                  </a:lnTo>
                  <a:lnTo>
                    <a:pt x="744" y="144"/>
                  </a:lnTo>
                  <a:lnTo>
                    <a:pt x="747" y="147"/>
                  </a:lnTo>
                  <a:lnTo>
                    <a:pt x="747" y="149"/>
                  </a:lnTo>
                  <a:lnTo>
                    <a:pt x="751" y="149"/>
                  </a:lnTo>
                  <a:lnTo>
                    <a:pt x="751" y="151"/>
                  </a:lnTo>
                  <a:lnTo>
                    <a:pt x="751" y="151"/>
                  </a:lnTo>
                  <a:lnTo>
                    <a:pt x="754" y="151"/>
                  </a:lnTo>
                  <a:lnTo>
                    <a:pt x="754" y="154"/>
                  </a:lnTo>
                  <a:lnTo>
                    <a:pt x="756" y="154"/>
                  </a:lnTo>
                  <a:lnTo>
                    <a:pt x="756" y="156"/>
                  </a:lnTo>
                  <a:lnTo>
                    <a:pt x="756" y="158"/>
                  </a:lnTo>
                  <a:lnTo>
                    <a:pt x="756" y="161"/>
                  </a:lnTo>
                  <a:lnTo>
                    <a:pt x="754" y="161"/>
                  </a:lnTo>
                  <a:lnTo>
                    <a:pt x="756" y="163"/>
                  </a:lnTo>
                  <a:lnTo>
                    <a:pt x="756" y="165"/>
                  </a:lnTo>
                  <a:lnTo>
                    <a:pt x="756" y="168"/>
                  </a:lnTo>
                  <a:lnTo>
                    <a:pt x="756" y="170"/>
                  </a:lnTo>
                  <a:lnTo>
                    <a:pt x="756" y="170"/>
                  </a:lnTo>
                  <a:lnTo>
                    <a:pt x="759" y="170"/>
                  </a:lnTo>
                  <a:lnTo>
                    <a:pt x="761" y="173"/>
                  </a:lnTo>
                  <a:lnTo>
                    <a:pt x="761" y="173"/>
                  </a:lnTo>
                  <a:lnTo>
                    <a:pt x="759" y="173"/>
                  </a:lnTo>
                  <a:lnTo>
                    <a:pt x="759" y="175"/>
                  </a:lnTo>
                  <a:lnTo>
                    <a:pt x="759" y="175"/>
                  </a:lnTo>
                  <a:lnTo>
                    <a:pt x="756" y="175"/>
                  </a:lnTo>
                  <a:lnTo>
                    <a:pt x="761" y="177"/>
                  </a:lnTo>
                  <a:lnTo>
                    <a:pt x="759" y="180"/>
                  </a:lnTo>
                  <a:lnTo>
                    <a:pt x="761" y="182"/>
                  </a:lnTo>
                  <a:lnTo>
                    <a:pt x="761" y="182"/>
                  </a:lnTo>
                  <a:lnTo>
                    <a:pt x="761" y="184"/>
                  </a:lnTo>
                  <a:lnTo>
                    <a:pt x="763" y="187"/>
                  </a:lnTo>
                  <a:lnTo>
                    <a:pt x="763" y="187"/>
                  </a:lnTo>
                  <a:lnTo>
                    <a:pt x="763" y="187"/>
                  </a:lnTo>
                  <a:lnTo>
                    <a:pt x="766" y="187"/>
                  </a:lnTo>
                  <a:lnTo>
                    <a:pt x="766" y="187"/>
                  </a:lnTo>
                  <a:lnTo>
                    <a:pt x="766" y="187"/>
                  </a:lnTo>
                  <a:lnTo>
                    <a:pt x="766" y="187"/>
                  </a:lnTo>
                  <a:lnTo>
                    <a:pt x="766" y="189"/>
                  </a:lnTo>
                  <a:lnTo>
                    <a:pt x="766" y="189"/>
                  </a:lnTo>
                  <a:lnTo>
                    <a:pt x="766" y="189"/>
                  </a:lnTo>
                  <a:lnTo>
                    <a:pt x="768" y="191"/>
                  </a:lnTo>
                  <a:lnTo>
                    <a:pt x="768" y="191"/>
                  </a:lnTo>
                  <a:lnTo>
                    <a:pt x="768" y="191"/>
                  </a:lnTo>
                  <a:lnTo>
                    <a:pt x="770" y="194"/>
                  </a:lnTo>
                  <a:lnTo>
                    <a:pt x="770" y="196"/>
                  </a:lnTo>
                  <a:lnTo>
                    <a:pt x="770" y="196"/>
                  </a:lnTo>
                  <a:lnTo>
                    <a:pt x="770" y="199"/>
                  </a:lnTo>
                  <a:lnTo>
                    <a:pt x="770" y="199"/>
                  </a:lnTo>
                  <a:lnTo>
                    <a:pt x="770" y="199"/>
                  </a:lnTo>
                  <a:lnTo>
                    <a:pt x="773" y="201"/>
                  </a:lnTo>
                  <a:lnTo>
                    <a:pt x="773" y="201"/>
                  </a:lnTo>
                  <a:lnTo>
                    <a:pt x="773" y="203"/>
                  </a:lnTo>
                  <a:lnTo>
                    <a:pt x="775" y="203"/>
                  </a:lnTo>
                  <a:lnTo>
                    <a:pt x="775" y="206"/>
                  </a:lnTo>
                  <a:lnTo>
                    <a:pt x="775" y="206"/>
                  </a:lnTo>
                  <a:lnTo>
                    <a:pt x="773" y="206"/>
                  </a:lnTo>
                  <a:lnTo>
                    <a:pt x="775" y="208"/>
                  </a:lnTo>
                  <a:lnTo>
                    <a:pt x="773" y="210"/>
                  </a:lnTo>
                  <a:lnTo>
                    <a:pt x="773" y="210"/>
                  </a:lnTo>
                  <a:lnTo>
                    <a:pt x="773" y="213"/>
                  </a:lnTo>
                  <a:lnTo>
                    <a:pt x="773" y="213"/>
                  </a:lnTo>
                  <a:lnTo>
                    <a:pt x="773" y="213"/>
                  </a:lnTo>
                  <a:lnTo>
                    <a:pt x="773" y="213"/>
                  </a:lnTo>
                  <a:lnTo>
                    <a:pt x="775" y="213"/>
                  </a:lnTo>
                  <a:lnTo>
                    <a:pt x="775" y="215"/>
                  </a:lnTo>
                  <a:lnTo>
                    <a:pt x="775" y="213"/>
                  </a:lnTo>
                  <a:lnTo>
                    <a:pt x="775" y="215"/>
                  </a:lnTo>
                  <a:lnTo>
                    <a:pt x="777" y="213"/>
                  </a:lnTo>
                  <a:lnTo>
                    <a:pt x="780" y="213"/>
                  </a:lnTo>
                  <a:lnTo>
                    <a:pt x="780" y="213"/>
                  </a:lnTo>
                  <a:lnTo>
                    <a:pt x="780" y="215"/>
                  </a:lnTo>
                  <a:lnTo>
                    <a:pt x="782" y="213"/>
                  </a:lnTo>
                  <a:lnTo>
                    <a:pt x="782" y="215"/>
                  </a:lnTo>
                  <a:lnTo>
                    <a:pt x="784" y="213"/>
                  </a:lnTo>
                  <a:lnTo>
                    <a:pt x="784" y="215"/>
                  </a:lnTo>
                  <a:lnTo>
                    <a:pt x="784" y="213"/>
                  </a:lnTo>
                  <a:lnTo>
                    <a:pt x="787" y="213"/>
                  </a:lnTo>
                  <a:lnTo>
                    <a:pt x="787" y="213"/>
                  </a:lnTo>
                  <a:lnTo>
                    <a:pt x="789" y="213"/>
                  </a:lnTo>
                  <a:lnTo>
                    <a:pt x="789" y="213"/>
                  </a:lnTo>
                  <a:lnTo>
                    <a:pt x="792" y="210"/>
                  </a:lnTo>
                  <a:lnTo>
                    <a:pt x="792" y="210"/>
                  </a:lnTo>
                  <a:lnTo>
                    <a:pt x="792" y="210"/>
                  </a:lnTo>
                  <a:lnTo>
                    <a:pt x="792" y="208"/>
                  </a:lnTo>
                  <a:lnTo>
                    <a:pt x="794" y="208"/>
                  </a:lnTo>
                  <a:lnTo>
                    <a:pt x="794" y="208"/>
                  </a:lnTo>
                  <a:lnTo>
                    <a:pt x="794" y="208"/>
                  </a:lnTo>
                  <a:lnTo>
                    <a:pt x="796" y="206"/>
                  </a:lnTo>
                  <a:lnTo>
                    <a:pt x="799" y="206"/>
                  </a:lnTo>
                  <a:lnTo>
                    <a:pt x="801" y="208"/>
                  </a:lnTo>
                  <a:lnTo>
                    <a:pt x="801" y="206"/>
                  </a:lnTo>
                  <a:lnTo>
                    <a:pt x="803" y="206"/>
                  </a:lnTo>
                  <a:lnTo>
                    <a:pt x="803" y="206"/>
                  </a:lnTo>
                  <a:lnTo>
                    <a:pt x="806" y="206"/>
                  </a:lnTo>
                  <a:lnTo>
                    <a:pt x="803" y="208"/>
                  </a:lnTo>
                  <a:lnTo>
                    <a:pt x="806" y="208"/>
                  </a:lnTo>
                  <a:lnTo>
                    <a:pt x="808" y="210"/>
                  </a:lnTo>
                  <a:lnTo>
                    <a:pt x="810" y="210"/>
                  </a:lnTo>
                  <a:lnTo>
                    <a:pt x="810" y="208"/>
                  </a:lnTo>
                  <a:lnTo>
                    <a:pt x="810" y="210"/>
                  </a:lnTo>
                  <a:lnTo>
                    <a:pt x="810" y="213"/>
                  </a:lnTo>
                  <a:lnTo>
                    <a:pt x="813" y="208"/>
                  </a:lnTo>
                  <a:lnTo>
                    <a:pt x="813" y="208"/>
                  </a:lnTo>
                  <a:lnTo>
                    <a:pt x="815" y="208"/>
                  </a:lnTo>
                  <a:lnTo>
                    <a:pt x="815" y="208"/>
                  </a:lnTo>
                  <a:lnTo>
                    <a:pt x="818" y="206"/>
                  </a:lnTo>
                  <a:lnTo>
                    <a:pt x="818" y="206"/>
                  </a:lnTo>
                  <a:lnTo>
                    <a:pt x="820" y="206"/>
                  </a:lnTo>
                  <a:lnTo>
                    <a:pt x="820" y="208"/>
                  </a:lnTo>
                  <a:lnTo>
                    <a:pt x="820" y="208"/>
                  </a:lnTo>
                  <a:lnTo>
                    <a:pt x="820" y="208"/>
                  </a:lnTo>
                  <a:lnTo>
                    <a:pt x="820" y="210"/>
                  </a:lnTo>
                  <a:lnTo>
                    <a:pt x="820" y="210"/>
                  </a:lnTo>
                  <a:lnTo>
                    <a:pt x="820" y="213"/>
                  </a:lnTo>
                  <a:lnTo>
                    <a:pt x="822" y="213"/>
                  </a:lnTo>
                  <a:lnTo>
                    <a:pt x="822" y="213"/>
                  </a:lnTo>
                  <a:lnTo>
                    <a:pt x="822" y="215"/>
                  </a:lnTo>
                  <a:lnTo>
                    <a:pt x="822" y="215"/>
                  </a:lnTo>
                  <a:lnTo>
                    <a:pt x="822" y="215"/>
                  </a:lnTo>
                  <a:lnTo>
                    <a:pt x="822" y="215"/>
                  </a:lnTo>
                  <a:lnTo>
                    <a:pt x="825" y="217"/>
                  </a:lnTo>
                  <a:lnTo>
                    <a:pt x="825" y="215"/>
                  </a:lnTo>
                  <a:lnTo>
                    <a:pt x="829" y="215"/>
                  </a:lnTo>
                  <a:lnTo>
                    <a:pt x="829" y="215"/>
                  </a:lnTo>
                  <a:lnTo>
                    <a:pt x="829" y="215"/>
                  </a:lnTo>
                  <a:lnTo>
                    <a:pt x="832" y="215"/>
                  </a:lnTo>
                  <a:lnTo>
                    <a:pt x="834" y="217"/>
                  </a:lnTo>
                  <a:lnTo>
                    <a:pt x="834" y="217"/>
                  </a:lnTo>
                  <a:lnTo>
                    <a:pt x="836" y="217"/>
                  </a:lnTo>
                  <a:lnTo>
                    <a:pt x="836" y="217"/>
                  </a:lnTo>
                  <a:lnTo>
                    <a:pt x="836" y="217"/>
                  </a:lnTo>
                  <a:lnTo>
                    <a:pt x="836" y="220"/>
                  </a:lnTo>
                  <a:lnTo>
                    <a:pt x="836" y="222"/>
                  </a:lnTo>
                  <a:lnTo>
                    <a:pt x="836" y="222"/>
                  </a:lnTo>
                  <a:lnTo>
                    <a:pt x="836" y="225"/>
                  </a:lnTo>
                  <a:lnTo>
                    <a:pt x="836" y="225"/>
                  </a:lnTo>
                  <a:lnTo>
                    <a:pt x="834" y="227"/>
                  </a:lnTo>
                  <a:lnTo>
                    <a:pt x="836" y="227"/>
                  </a:lnTo>
                  <a:lnTo>
                    <a:pt x="836" y="229"/>
                  </a:lnTo>
                  <a:lnTo>
                    <a:pt x="839" y="232"/>
                  </a:lnTo>
                  <a:lnTo>
                    <a:pt x="839" y="232"/>
                  </a:lnTo>
                  <a:lnTo>
                    <a:pt x="836" y="232"/>
                  </a:lnTo>
                  <a:lnTo>
                    <a:pt x="836" y="232"/>
                  </a:lnTo>
                  <a:lnTo>
                    <a:pt x="836" y="234"/>
                  </a:lnTo>
                  <a:lnTo>
                    <a:pt x="836" y="234"/>
                  </a:lnTo>
                  <a:lnTo>
                    <a:pt x="836" y="236"/>
                  </a:lnTo>
                  <a:lnTo>
                    <a:pt x="834" y="236"/>
                  </a:lnTo>
                  <a:lnTo>
                    <a:pt x="836" y="236"/>
                  </a:lnTo>
                  <a:lnTo>
                    <a:pt x="836" y="239"/>
                  </a:lnTo>
                  <a:lnTo>
                    <a:pt x="834" y="239"/>
                  </a:lnTo>
                  <a:lnTo>
                    <a:pt x="834" y="241"/>
                  </a:lnTo>
                  <a:lnTo>
                    <a:pt x="832" y="241"/>
                  </a:lnTo>
                  <a:lnTo>
                    <a:pt x="832" y="241"/>
                  </a:lnTo>
                  <a:lnTo>
                    <a:pt x="832" y="243"/>
                  </a:lnTo>
                  <a:lnTo>
                    <a:pt x="832" y="243"/>
                  </a:lnTo>
                  <a:lnTo>
                    <a:pt x="829" y="243"/>
                  </a:lnTo>
                  <a:lnTo>
                    <a:pt x="829" y="246"/>
                  </a:lnTo>
                  <a:lnTo>
                    <a:pt x="827" y="248"/>
                  </a:lnTo>
                  <a:lnTo>
                    <a:pt x="822" y="246"/>
                  </a:lnTo>
                  <a:lnTo>
                    <a:pt x="822" y="248"/>
                  </a:lnTo>
                  <a:lnTo>
                    <a:pt x="822" y="251"/>
                  </a:lnTo>
                  <a:lnTo>
                    <a:pt x="822" y="251"/>
                  </a:lnTo>
                  <a:lnTo>
                    <a:pt x="822" y="253"/>
                  </a:lnTo>
                  <a:lnTo>
                    <a:pt x="822" y="253"/>
                  </a:lnTo>
                  <a:lnTo>
                    <a:pt x="822" y="255"/>
                  </a:lnTo>
                  <a:lnTo>
                    <a:pt x="822" y="255"/>
                  </a:lnTo>
                  <a:lnTo>
                    <a:pt x="822" y="258"/>
                  </a:lnTo>
                  <a:lnTo>
                    <a:pt x="822" y="260"/>
                  </a:lnTo>
                  <a:lnTo>
                    <a:pt x="820" y="260"/>
                  </a:lnTo>
                  <a:lnTo>
                    <a:pt x="820" y="260"/>
                  </a:lnTo>
                  <a:lnTo>
                    <a:pt x="818" y="260"/>
                  </a:lnTo>
                  <a:lnTo>
                    <a:pt x="820" y="262"/>
                  </a:lnTo>
                  <a:lnTo>
                    <a:pt x="818" y="265"/>
                  </a:lnTo>
                  <a:lnTo>
                    <a:pt x="818" y="265"/>
                  </a:lnTo>
                  <a:lnTo>
                    <a:pt x="815" y="267"/>
                  </a:lnTo>
                  <a:lnTo>
                    <a:pt x="813" y="267"/>
                  </a:lnTo>
                  <a:lnTo>
                    <a:pt x="815" y="269"/>
                  </a:lnTo>
                  <a:lnTo>
                    <a:pt x="815" y="269"/>
                  </a:lnTo>
                  <a:lnTo>
                    <a:pt x="818" y="269"/>
                  </a:lnTo>
                  <a:lnTo>
                    <a:pt x="818" y="272"/>
                  </a:lnTo>
                  <a:lnTo>
                    <a:pt x="818" y="272"/>
                  </a:lnTo>
                  <a:lnTo>
                    <a:pt x="820" y="274"/>
                  </a:lnTo>
                  <a:lnTo>
                    <a:pt x="818" y="276"/>
                  </a:lnTo>
                  <a:lnTo>
                    <a:pt x="818" y="276"/>
                  </a:lnTo>
                  <a:lnTo>
                    <a:pt x="818" y="276"/>
                  </a:lnTo>
                  <a:lnTo>
                    <a:pt x="815" y="276"/>
                  </a:lnTo>
                  <a:lnTo>
                    <a:pt x="818" y="279"/>
                  </a:lnTo>
                  <a:lnTo>
                    <a:pt x="818" y="281"/>
                  </a:lnTo>
                  <a:lnTo>
                    <a:pt x="818" y="281"/>
                  </a:lnTo>
                  <a:lnTo>
                    <a:pt x="818" y="284"/>
                  </a:lnTo>
                  <a:lnTo>
                    <a:pt x="820" y="286"/>
                  </a:lnTo>
                  <a:lnTo>
                    <a:pt x="820" y="286"/>
                  </a:lnTo>
                  <a:lnTo>
                    <a:pt x="822" y="286"/>
                  </a:lnTo>
                  <a:lnTo>
                    <a:pt x="822" y="288"/>
                  </a:lnTo>
                  <a:lnTo>
                    <a:pt x="822" y="288"/>
                  </a:lnTo>
                  <a:lnTo>
                    <a:pt x="822" y="291"/>
                  </a:lnTo>
                  <a:lnTo>
                    <a:pt x="822" y="291"/>
                  </a:lnTo>
                  <a:lnTo>
                    <a:pt x="822" y="291"/>
                  </a:lnTo>
                  <a:lnTo>
                    <a:pt x="822" y="291"/>
                  </a:lnTo>
                  <a:lnTo>
                    <a:pt x="820" y="291"/>
                  </a:lnTo>
                  <a:lnTo>
                    <a:pt x="820" y="291"/>
                  </a:lnTo>
                  <a:lnTo>
                    <a:pt x="818" y="291"/>
                  </a:lnTo>
                  <a:lnTo>
                    <a:pt x="818" y="291"/>
                  </a:lnTo>
                  <a:lnTo>
                    <a:pt x="818" y="293"/>
                  </a:lnTo>
                  <a:lnTo>
                    <a:pt x="815" y="291"/>
                  </a:lnTo>
                  <a:lnTo>
                    <a:pt x="815" y="293"/>
                  </a:lnTo>
                  <a:lnTo>
                    <a:pt x="815" y="293"/>
                  </a:lnTo>
                  <a:lnTo>
                    <a:pt x="813" y="295"/>
                  </a:lnTo>
                  <a:lnTo>
                    <a:pt x="815" y="295"/>
                  </a:lnTo>
                  <a:lnTo>
                    <a:pt x="818" y="298"/>
                  </a:lnTo>
                  <a:lnTo>
                    <a:pt x="818" y="298"/>
                  </a:lnTo>
                  <a:lnTo>
                    <a:pt x="815" y="298"/>
                  </a:lnTo>
                  <a:lnTo>
                    <a:pt x="813" y="298"/>
                  </a:lnTo>
                  <a:lnTo>
                    <a:pt x="810" y="300"/>
                  </a:lnTo>
                  <a:lnTo>
                    <a:pt x="810" y="298"/>
                  </a:lnTo>
                  <a:lnTo>
                    <a:pt x="810" y="298"/>
                  </a:lnTo>
                  <a:lnTo>
                    <a:pt x="810" y="300"/>
                  </a:lnTo>
                  <a:lnTo>
                    <a:pt x="810" y="300"/>
                  </a:lnTo>
                  <a:lnTo>
                    <a:pt x="810" y="300"/>
                  </a:lnTo>
                  <a:lnTo>
                    <a:pt x="810" y="300"/>
                  </a:lnTo>
                  <a:lnTo>
                    <a:pt x="813" y="300"/>
                  </a:lnTo>
                  <a:lnTo>
                    <a:pt x="813" y="300"/>
                  </a:lnTo>
                  <a:lnTo>
                    <a:pt x="813" y="300"/>
                  </a:lnTo>
                  <a:lnTo>
                    <a:pt x="815" y="300"/>
                  </a:lnTo>
                  <a:lnTo>
                    <a:pt x="818" y="302"/>
                  </a:lnTo>
                  <a:lnTo>
                    <a:pt x="820" y="300"/>
                  </a:lnTo>
                  <a:lnTo>
                    <a:pt x="820" y="302"/>
                  </a:lnTo>
                  <a:lnTo>
                    <a:pt x="822" y="305"/>
                  </a:lnTo>
                  <a:lnTo>
                    <a:pt x="822" y="307"/>
                  </a:lnTo>
                  <a:lnTo>
                    <a:pt x="825" y="307"/>
                  </a:lnTo>
                  <a:lnTo>
                    <a:pt x="825" y="307"/>
                  </a:lnTo>
                  <a:lnTo>
                    <a:pt x="822" y="310"/>
                  </a:lnTo>
                  <a:lnTo>
                    <a:pt x="820" y="310"/>
                  </a:lnTo>
                  <a:lnTo>
                    <a:pt x="820" y="312"/>
                  </a:lnTo>
                  <a:lnTo>
                    <a:pt x="818" y="312"/>
                  </a:lnTo>
                  <a:lnTo>
                    <a:pt x="818" y="312"/>
                  </a:lnTo>
                  <a:lnTo>
                    <a:pt x="815" y="312"/>
                  </a:lnTo>
                  <a:lnTo>
                    <a:pt x="818" y="314"/>
                  </a:lnTo>
                  <a:lnTo>
                    <a:pt x="815" y="317"/>
                  </a:lnTo>
                  <a:lnTo>
                    <a:pt x="815" y="319"/>
                  </a:lnTo>
                  <a:lnTo>
                    <a:pt x="813" y="319"/>
                  </a:lnTo>
                  <a:lnTo>
                    <a:pt x="813" y="321"/>
                  </a:lnTo>
                  <a:lnTo>
                    <a:pt x="813" y="321"/>
                  </a:lnTo>
                  <a:lnTo>
                    <a:pt x="813" y="324"/>
                  </a:lnTo>
                  <a:lnTo>
                    <a:pt x="810" y="324"/>
                  </a:lnTo>
                  <a:lnTo>
                    <a:pt x="810" y="324"/>
                  </a:lnTo>
                  <a:lnTo>
                    <a:pt x="813" y="326"/>
                  </a:lnTo>
                  <a:lnTo>
                    <a:pt x="810" y="326"/>
                  </a:lnTo>
                  <a:lnTo>
                    <a:pt x="813" y="328"/>
                  </a:lnTo>
                  <a:lnTo>
                    <a:pt x="810" y="328"/>
                  </a:lnTo>
                  <a:lnTo>
                    <a:pt x="810" y="328"/>
                  </a:lnTo>
                  <a:lnTo>
                    <a:pt x="810" y="331"/>
                  </a:lnTo>
                  <a:lnTo>
                    <a:pt x="810" y="331"/>
                  </a:lnTo>
                  <a:lnTo>
                    <a:pt x="810" y="331"/>
                  </a:lnTo>
                  <a:lnTo>
                    <a:pt x="813" y="331"/>
                  </a:lnTo>
                  <a:lnTo>
                    <a:pt x="813" y="333"/>
                  </a:lnTo>
                  <a:lnTo>
                    <a:pt x="813" y="333"/>
                  </a:lnTo>
                  <a:lnTo>
                    <a:pt x="813" y="333"/>
                  </a:lnTo>
                  <a:lnTo>
                    <a:pt x="813" y="336"/>
                  </a:lnTo>
                  <a:lnTo>
                    <a:pt x="813" y="336"/>
                  </a:lnTo>
                  <a:lnTo>
                    <a:pt x="813" y="336"/>
                  </a:lnTo>
                  <a:lnTo>
                    <a:pt x="815" y="336"/>
                  </a:lnTo>
                  <a:lnTo>
                    <a:pt x="815" y="338"/>
                  </a:lnTo>
                  <a:lnTo>
                    <a:pt x="818" y="338"/>
                  </a:lnTo>
                  <a:lnTo>
                    <a:pt x="818" y="338"/>
                  </a:lnTo>
                  <a:lnTo>
                    <a:pt x="818" y="340"/>
                  </a:lnTo>
                  <a:lnTo>
                    <a:pt x="818" y="343"/>
                  </a:lnTo>
                  <a:lnTo>
                    <a:pt x="818" y="343"/>
                  </a:lnTo>
                  <a:lnTo>
                    <a:pt x="820" y="345"/>
                  </a:lnTo>
                  <a:lnTo>
                    <a:pt x="820" y="345"/>
                  </a:lnTo>
                  <a:lnTo>
                    <a:pt x="820" y="345"/>
                  </a:lnTo>
                  <a:lnTo>
                    <a:pt x="820" y="345"/>
                  </a:lnTo>
                  <a:lnTo>
                    <a:pt x="822" y="347"/>
                  </a:lnTo>
                  <a:lnTo>
                    <a:pt x="822" y="345"/>
                  </a:lnTo>
                  <a:lnTo>
                    <a:pt x="825" y="347"/>
                  </a:lnTo>
                  <a:lnTo>
                    <a:pt x="827" y="347"/>
                  </a:lnTo>
                  <a:lnTo>
                    <a:pt x="827" y="347"/>
                  </a:lnTo>
                  <a:lnTo>
                    <a:pt x="829" y="347"/>
                  </a:lnTo>
                  <a:lnTo>
                    <a:pt x="829" y="350"/>
                  </a:lnTo>
                  <a:lnTo>
                    <a:pt x="829" y="347"/>
                  </a:lnTo>
                  <a:lnTo>
                    <a:pt x="832" y="347"/>
                  </a:lnTo>
                  <a:lnTo>
                    <a:pt x="832" y="350"/>
                  </a:lnTo>
                  <a:lnTo>
                    <a:pt x="832" y="350"/>
                  </a:lnTo>
                  <a:lnTo>
                    <a:pt x="832" y="350"/>
                  </a:lnTo>
                  <a:lnTo>
                    <a:pt x="832" y="350"/>
                  </a:lnTo>
                  <a:lnTo>
                    <a:pt x="834" y="352"/>
                  </a:lnTo>
                  <a:lnTo>
                    <a:pt x="834" y="352"/>
                  </a:lnTo>
                  <a:lnTo>
                    <a:pt x="834" y="354"/>
                  </a:lnTo>
                  <a:lnTo>
                    <a:pt x="836" y="354"/>
                  </a:lnTo>
                  <a:lnTo>
                    <a:pt x="836" y="357"/>
                  </a:lnTo>
                  <a:lnTo>
                    <a:pt x="839" y="357"/>
                  </a:lnTo>
                  <a:lnTo>
                    <a:pt x="839" y="357"/>
                  </a:lnTo>
                  <a:lnTo>
                    <a:pt x="844" y="357"/>
                  </a:lnTo>
                  <a:lnTo>
                    <a:pt x="844" y="357"/>
                  </a:lnTo>
                  <a:lnTo>
                    <a:pt x="844" y="359"/>
                  </a:lnTo>
                  <a:lnTo>
                    <a:pt x="846" y="359"/>
                  </a:lnTo>
                  <a:lnTo>
                    <a:pt x="846" y="359"/>
                  </a:lnTo>
                  <a:lnTo>
                    <a:pt x="848" y="362"/>
                  </a:lnTo>
                  <a:lnTo>
                    <a:pt x="848" y="362"/>
                  </a:lnTo>
                  <a:lnTo>
                    <a:pt x="848" y="359"/>
                  </a:lnTo>
                  <a:lnTo>
                    <a:pt x="848" y="362"/>
                  </a:lnTo>
                  <a:lnTo>
                    <a:pt x="846" y="364"/>
                  </a:lnTo>
                  <a:lnTo>
                    <a:pt x="846" y="366"/>
                  </a:lnTo>
                  <a:lnTo>
                    <a:pt x="848" y="366"/>
                  </a:lnTo>
                  <a:lnTo>
                    <a:pt x="848" y="369"/>
                  </a:lnTo>
                  <a:lnTo>
                    <a:pt x="851" y="371"/>
                  </a:lnTo>
                  <a:lnTo>
                    <a:pt x="848" y="371"/>
                  </a:lnTo>
                  <a:lnTo>
                    <a:pt x="848" y="371"/>
                  </a:lnTo>
                  <a:lnTo>
                    <a:pt x="848" y="373"/>
                  </a:lnTo>
                  <a:lnTo>
                    <a:pt x="851" y="373"/>
                  </a:lnTo>
                  <a:lnTo>
                    <a:pt x="851" y="373"/>
                  </a:lnTo>
                  <a:lnTo>
                    <a:pt x="853" y="373"/>
                  </a:lnTo>
                  <a:lnTo>
                    <a:pt x="853" y="376"/>
                  </a:lnTo>
                  <a:lnTo>
                    <a:pt x="851" y="378"/>
                  </a:lnTo>
                  <a:lnTo>
                    <a:pt x="848" y="378"/>
                  </a:lnTo>
                  <a:lnTo>
                    <a:pt x="851" y="376"/>
                  </a:lnTo>
                  <a:lnTo>
                    <a:pt x="848" y="376"/>
                  </a:lnTo>
                  <a:lnTo>
                    <a:pt x="848" y="376"/>
                  </a:lnTo>
                  <a:lnTo>
                    <a:pt x="846" y="376"/>
                  </a:lnTo>
                  <a:lnTo>
                    <a:pt x="846" y="376"/>
                  </a:lnTo>
                  <a:lnTo>
                    <a:pt x="844" y="378"/>
                  </a:lnTo>
                  <a:lnTo>
                    <a:pt x="844" y="378"/>
                  </a:lnTo>
                  <a:lnTo>
                    <a:pt x="841" y="378"/>
                  </a:lnTo>
                  <a:lnTo>
                    <a:pt x="841" y="378"/>
                  </a:lnTo>
                  <a:lnTo>
                    <a:pt x="841" y="378"/>
                  </a:lnTo>
                  <a:lnTo>
                    <a:pt x="841" y="380"/>
                  </a:lnTo>
                  <a:lnTo>
                    <a:pt x="841" y="380"/>
                  </a:lnTo>
                  <a:lnTo>
                    <a:pt x="841" y="380"/>
                  </a:lnTo>
                  <a:lnTo>
                    <a:pt x="844" y="380"/>
                  </a:lnTo>
                  <a:lnTo>
                    <a:pt x="844" y="383"/>
                  </a:lnTo>
                  <a:lnTo>
                    <a:pt x="846" y="383"/>
                  </a:lnTo>
                  <a:lnTo>
                    <a:pt x="846" y="385"/>
                  </a:lnTo>
                  <a:lnTo>
                    <a:pt x="848" y="385"/>
                  </a:lnTo>
                  <a:lnTo>
                    <a:pt x="848" y="385"/>
                  </a:lnTo>
                  <a:lnTo>
                    <a:pt x="851" y="388"/>
                  </a:lnTo>
                  <a:lnTo>
                    <a:pt x="853" y="388"/>
                  </a:lnTo>
                  <a:lnTo>
                    <a:pt x="853" y="385"/>
                  </a:lnTo>
                  <a:lnTo>
                    <a:pt x="853" y="388"/>
                  </a:lnTo>
                  <a:lnTo>
                    <a:pt x="853" y="388"/>
                  </a:lnTo>
                  <a:lnTo>
                    <a:pt x="855" y="390"/>
                  </a:lnTo>
                  <a:lnTo>
                    <a:pt x="855" y="388"/>
                  </a:lnTo>
                  <a:lnTo>
                    <a:pt x="858" y="388"/>
                  </a:lnTo>
                  <a:lnTo>
                    <a:pt x="858" y="390"/>
                  </a:lnTo>
                  <a:lnTo>
                    <a:pt x="858" y="390"/>
                  </a:lnTo>
                  <a:lnTo>
                    <a:pt x="858" y="390"/>
                  </a:lnTo>
                  <a:lnTo>
                    <a:pt x="858" y="390"/>
                  </a:lnTo>
                  <a:lnTo>
                    <a:pt x="858" y="392"/>
                  </a:lnTo>
                  <a:lnTo>
                    <a:pt x="855" y="392"/>
                  </a:lnTo>
                  <a:lnTo>
                    <a:pt x="853" y="397"/>
                  </a:lnTo>
                  <a:lnTo>
                    <a:pt x="853" y="397"/>
                  </a:lnTo>
                  <a:lnTo>
                    <a:pt x="855" y="399"/>
                  </a:lnTo>
                  <a:lnTo>
                    <a:pt x="853" y="399"/>
                  </a:lnTo>
                  <a:lnTo>
                    <a:pt x="855" y="402"/>
                  </a:lnTo>
                  <a:lnTo>
                    <a:pt x="853" y="402"/>
                  </a:lnTo>
                  <a:lnTo>
                    <a:pt x="853" y="402"/>
                  </a:lnTo>
                  <a:lnTo>
                    <a:pt x="853" y="402"/>
                  </a:lnTo>
                  <a:lnTo>
                    <a:pt x="853" y="404"/>
                  </a:lnTo>
                  <a:lnTo>
                    <a:pt x="855" y="404"/>
                  </a:lnTo>
                  <a:lnTo>
                    <a:pt x="855" y="406"/>
                  </a:lnTo>
                  <a:lnTo>
                    <a:pt x="858" y="406"/>
                  </a:lnTo>
                  <a:lnTo>
                    <a:pt x="858" y="406"/>
                  </a:lnTo>
                  <a:lnTo>
                    <a:pt x="862" y="406"/>
                  </a:lnTo>
                  <a:lnTo>
                    <a:pt x="865" y="406"/>
                  </a:lnTo>
                  <a:lnTo>
                    <a:pt x="865" y="404"/>
                  </a:lnTo>
                  <a:lnTo>
                    <a:pt x="867" y="404"/>
                  </a:lnTo>
                  <a:lnTo>
                    <a:pt x="867" y="404"/>
                  </a:lnTo>
                  <a:lnTo>
                    <a:pt x="867" y="406"/>
                  </a:lnTo>
                  <a:lnTo>
                    <a:pt x="870" y="406"/>
                  </a:lnTo>
                  <a:lnTo>
                    <a:pt x="872" y="406"/>
                  </a:lnTo>
                  <a:lnTo>
                    <a:pt x="872" y="404"/>
                  </a:lnTo>
                  <a:lnTo>
                    <a:pt x="877" y="402"/>
                  </a:lnTo>
                  <a:lnTo>
                    <a:pt x="877" y="402"/>
                  </a:lnTo>
                  <a:lnTo>
                    <a:pt x="877" y="402"/>
                  </a:lnTo>
                  <a:lnTo>
                    <a:pt x="881" y="402"/>
                  </a:lnTo>
                  <a:lnTo>
                    <a:pt x="884" y="402"/>
                  </a:lnTo>
                  <a:lnTo>
                    <a:pt x="884" y="402"/>
                  </a:lnTo>
                  <a:lnTo>
                    <a:pt x="884" y="404"/>
                  </a:lnTo>
                  <a:lnTo>
                    <a:pt x="884" y="406"/>
                  </a:lnTo>
                  <a:lnTo>
                    <a:pt x="884" y="409"/>
                  </a:lnTo>
                  <a:lnTo>
                    <a:pt x="881" y="409"/>
                  </a:lnTo>
                  <a:lnTo>
                    <a:pt x="884" y="409"/>
                  </a:lnTo>
                  <a:lnTo>
                    <a:pt x="886" y="409"/>
                  </a:lnTo>
                  <a:lnTo>
                    <a:pt x="886" y="409"/>
                  </a:lnTo>
                  <a:lnTo>
                    <a:pt x="888" y="406"/>
                  </a:lnTo>
                  <a:lnTo>
                    <a:pt x="891" y="406"/>
                  </a:lnTo>
                  <a:lnTo>
                    <a:pt x="896" y="406"/>
                  </a:lnTo>
                  <a:lnTo>
                    <a:pt x="898" y="404"/>
                  </a:lnTo>
                  <a:lnTo>
                    <a:pt x="900" y="406"/>
                  </a:lnTo>
                  <a:lnTo>
                    <a:pt x="900" y="404"/>
                  </a:lnTo>
                  <a:lnTo>
                    <a:pt x="903" y="404"/>
                  </a:lnTo>
                  <a:lnTo>
                    <a:pt x="903" y="402"/>
                  </a:lnTo>
                  <a:lnTo>
                    <a:pt x="905" y="402"/>
                  </a:lnTo>
                  <a:lnTo>
                    <a:pt x="905" y="402"/>
                  </a:lnTo>
                  <a:lnTo>
                    <a:pt x="907" y="399"/>
                  </a:lnTo>
                  <a:lnTo>
                    <a:pt x="907" y="399"/>
                  </a:lnTo>
                  <a:lnTo>
                    <a:pt x="910" y="399"/>
                  </a:lnTo>
                  <a:lnTo>
                    <a:pt x="912" y="397"/>
                  </a:lnTo>
                  <a:lnTo>
                    <a:pt x="912" y="397"/>
                  </a:lnTo>
                  <a:lnTo>
                    <a:pt x="912" y="397"/>
                  </a:lnTo>
                  <a:lnTo>
                    <a:pt x="914" y="397"/>
                  </a:lnTo>
                  <a:lnTo>
                    <a:pt x="912" y="397"/>
                  </a:lnTo>
                  <a:lnTo>
                    <a:pt x="912" y="399"/>
                  </a:lnTo>
                  <a:lnTo>
                    <a:pt x="914" y="399"/>
                  </a:lnTo>
                  <a:lnTo>
                    <a:pt x="914" y="399"/>
                  </a:lnTo>
                  <a:lnTo>
                    <a:pt x="914" y="402"/>
                  </a:lnTo>
                  <a:lnTo>
                    <a:pt x="917" y="402"/>
                  </a:lnTo>
                  <a:lnTo>
                    <a:pt x="917" y="402"/>
                  </a:lnTo>
                  <a:lnTo>
                    <a:pt x="917" y="404"/>
                  </a:lnTo>
                  <a:lnTo>
                    <a:pt x="917" y="404"/>
                  </a:lnTo>
                  <a:lnTo>
                    <a:pt x="919" y="402"/>
                  </a:lnTo>
                  <a:lnTo>
                    <a:pt x="919" y="402"/>
                  </a:lnTo>
                  <a:lnTo>
                    <a:pt x="919" y="402"/>
                  </a:lnTo>
                  <a:lnTo>
                    <a:pt x="919" y="399"/>
                  </a:lnTo>
                  <a:lnTo>
                    <a:pt x="919" y="399"/>
                  </a:lnTo>
                  <a:lnTo>
                    <a:pt x="922" y="399"/>
                  </a:lnTo>
                  <a:lnTo>
                    <a:pt x="922" y="399"/>
                  </a:lnTo>
                  <a:lnTo>
                    <a:pt x="924" y="399"/>
                  </a:lnTo>
                  <a:lnTo>
                    <a:pt x="924" y="397"/>
                  </a:lnTo>
                  <a:lnTo>
                    <a:pt x="926" y="399"/>
                  </a:lnTo>
                  <a:lnTo>
                    <a:pt x="926" y="397"/>
                  </a:lnTo>
                  <a:lnTo>
                    <a:pt x="926" y="399"/>
                  </a:lnTo>
                  <a:lnTo>
                    <a:pt x="926" y="399"/>
                  </a:lnTo>
                  <a:lnTo>
                    <a:pt x="929" y="402"/>
                  </a:lnTo>
                  <a:lnTo>
                    <a:pt x="929" y="402"/>
                  </a:lnTo>
                  <a:lnTo>
                    <a:pt x="931" y="399"/>
                  </a:lnTo>
                  <a:lnTo>
                    <a:pt x="931" y="399"/>
                  </a:lnTo>
                  <a:lnTo>
                    <a:pt x="931" y="399"/>
                  </a:lnTo>
                  <a:lnTo>
                    <a:pt x="931" y="395"/>
                  </a:lnTo>
                  <a:lnTo>
                    <a:pt x="931" y="395"/>
                  </a:lnTo>
                  <a:lnTo>
                    <a:pt x="933" y="392"/>
                  </a:lnTo>
                  <a:lnTo>
                    <a:pt x="933" y="392"/>
                  </a:lnTo>
                  <a:lnTo>
                    <a:pt x="936" y="395"/>
                  </a:lnTo>
                  <a:lnTo>
                    <a:pt x="936" y="395"/>
                  </a:lnTo>
                  <a:lnTo>
                    <a:pt x="936" y="397"/>
                  </a:lnTo>
                  <a:lnTo>
                    <a:pt x="938" y="397"/>
                  </a:lnTo>
                  <a:lnTo>
                    <a:pt x="938" y="395"/>
                  </a:lnTo>
                  <a:lnTo>
                    <a:pt x="938" y="395"/>
                  </a:lnTo>
                  <a:lnTo>
                    <a:pt x="936" y="395"/>
                  </a:lnTo>
                  <a:lnTo>
                    <a:pt x="936" y="392"/>
                  </a:lnTo>
                  <a:lnTo>
                    <a:pt x="936" y="392"/>
                  </a:lnTo>
                  <a:lnTo>
                    <a:pt x="936" y="390"/>
                  </a:lnTo>
                  <a:lnTo>
                    <a:pt x="938" y="390"/>
                  </a:lnTo>
                  <a:lnTo>
                    <a:pt x="938" y="390"/>
                  </a:lnTo>
                  <a:lnTo>
                    <a:pt x="938" y="388"/>
                  </a:lnTo>
                  <a:lnTo>
                    <a:pt x="938" y="388"/>
                  </a:lnTo>
                  <a:lnTo>
                    <a:pt x="938" y="388"/>
                  </a:lnTo>
                  <a:lnTo>
                    <a:pt x="936" y="383"/>
                  </a:lnTo>
                  <a:lnTo>
                    <a:pt x="936" y="383"/>
                  </a:lnTo>
                  <a:lnTo>
                    <a:pt x="936" y="383"/>
                  </a:lnTo>
                  <a:lnTo>
                    <a:pt x="933" y="383"/>
                  </a:lnTo>
                  <a:lnTo>
                    <a:pt x="931" y="383"/>
                  </a:lnTo>
                  <a:lnTo>
                    <a:pt x="929" y="385"/>
                  </a:lnTo>
                  <a:lnTo>
                    <a:pt x="926" y="385"/>
                  </a:lnTo>
                  <a:lnTo>
                    <a:pt x="926" y="385"/>
                  </a:lnTo>
                  <a:lnTo>
                    <a:pt x="924" y="383"/>
                  </a:lnTo>
                  <a:lnTo>
                    <a:pt x="926" y="380"/>
                  </a:lnTo>
                  <a:lnTo>
                    <a:pt x="929" y="380"/>
                  </a:lnTo>
                  <a:lnTo>
                    <a:pt x="929" y="378"/>
                  </a:lnTo>
                  <a:lnTo>
                    <a:pt x="931" y="378"/>
                  </a:lnTo>
                  <a:lnTo>
                    <a:pt x="931" y="378"/>
                  </a:lnTo>
                  <a:lnTo>
                    <a:pt x="933" y="378"/>
                  </a:lnTo>
                  <a:lnTo>
                    <a:pt x="933" y="376"/>
                  </a:lnTo>
                  <a:lnTo>
                    <a:pt x="933" y="376"/>
                  </a:lnTo>
                  <a:lnTo>
                    <a:pt x="936" y="376"/>
                  </a:lnTo>
                  <a:lnTo>
                    <a:pt x="938" y="376"/>
                  </a:lnTo>
                  <a:lnTo>
                    <a:pt x="938" y="376"/>
                  </a:lnTo>
                  <a:lnTo>
                    <a:pt x="940" y="373"/>
                  </a:lnTo>
                  <a:lnTo>
                    <a:pt x="940" y="373"/>
                  </a:lnTo>
                  <a:lnTo>
                    <a:pt x="940" y="373"/>
                  </a:lnTo>
                  <a:lnTo>
                    <a:pt x="938" y="373"/>
                  </a:lnTo>
                  <a:lnTo>
                    <a:pt x="938" y="371"/>
                  </a:lnTo>
                  <a:lnTo>
                    <a:pt x="936" y="371"/>
                  </a:lnTo>
                  <a:lnTo>
                    <a:pt x="936" y="369"/>
                  </a:lnTo>
                  <a:lnTo>
                    <a:pt x="936" y="369"/>
                  </a:lnTo>
                  <a:lnTo>
                    <a:pt x="936" y="369"/>
                  </a:lnTo>
                  <a:lnTo>
                    <a:pt x="936" y="366"/>
                  </a:lnTo>
                  <a:lnTo>
                    <a:pt x="936" y="366"/>
                  </a:lnTo>
                  <a:lnTo>
                    <a:pt x="938" y="364"/>
                  </a:lnTo>
                  <a:lnTo>
                    <a:pt x="940" y="366"/>
                  </a:lnTo>
                  <a:lnTo>
                    <a:pt x="943" y="364"/>
                  </a:lnTo>
                  <a:lnTo>
                    <a:pt x="945" y="364"/>
                  </a:lnTo>
                  <a:lnTo>
                    <a:pt x="945" y="366"/>
                  </a:lnTo>
                  <a:lnTo>
                    <a:pt x="945" y="369"/>
                  </a:lnTo>
                  <a:lnTo>
                    <a:pt x="945" y="369"/>
                  </a:lnTo>
                  <a:lnTo>
                    <a:pt x="943" y="369"/>
                  </a:lnTo>
                  <a:lnTo>
                    <a:pt x="945" y="369"/>
                  </a:lnTo>
                  <a:lnTo>
                    <a:pt x="943" y="371"/>
                  </a:lnTo>
                  <a:lnTo>
                    <a:pt x="943" y="371"/>
                  </a:lnTo>
                  <a:lnTo>
                    <a:pt x="940" y="373"/>
                  </a:lnTo>
                  <a:lnTo>
                    <a:pt x="943" y="373"/>
                  </a:lnTo>
                  <a:lnTo>
                    <a:pt x="945" y="373"/>
                  </a:lnTo>
                  <a:lnTo>
                    <a:pt x="945" y="373"/>
                  </a:lnTo>
                  <a:lnTo>
                    <a:pt x="950" y="373"/>
                  </a:lnTo>
                  <a:lnTo>
                    <a:pt x="952" y="371"/>
                  </a:lnTo>
                  <a:lnTo>
                    <a:pt x="955" y="371"/>
                  </a:lnTo>
                  <a:lnTo>
                    <a:pt x="955" y="369"/>
                  </a:lnTo>
                  <a:lnTo>
                    <a:pt x="955" y="369"/>
                  </a:lnTo>
                  <a:lnTo>
                    <a:pt x="955" y="369"/>
                  </a:lnTo>
                  <a:lnTo>
                    <a:pt x="955" y="369"/>
                  </a:lnTo>
                  <a:lnTo>
                    <a:pt x="957" y="369"/>
                  </a:lnTo>
                  <a:lnTo>
                    <a:pt x="957" y="371"/>
                  </a:lnTo>
                  <a:lnTo>
                    <a:pt x="955" y="373"/>
                  </a:lnTo>
                  <a:lnTo>
                    <a:pt x="955" y="373"/>
                  </a:lnTo>
                  <a:lnTo>
                    <a:pt x="955" y="373"/>
                  </a:lnTo>
                  <a:lnTo>
                    <a:pt x="955" y="376"/>
                  </a:lnTo>
                  <a:lnTo>
                    <a:pt x="959" y="373"/>
                  </a:lnTo>
                  <a:lnTo>
                    <a:pt x="959" y="373"/>
                  </a:lnTo>
                  <a:lnTo>
                    <a:pt x="959" y="373"/>
                  </a:lnTo>
                  <a:lnTo>
                    <a:pt x="962" y="373"/>
                  </a:lnTo>
                  <a:lnTo>
                    <a:pt x="964" y="371"/>
                  </a:lnTo>
                  <a:lnTo>
                    <a:pt x="966" y="371"/>
                  </a:lnTo>
                  <a:lnTo>
                    <a:pt x="969" y="369"/>
                  </a:lnTo>
                  <a:lnTo>
                    <a:pt x="966" y="366"/>
                  </a:lnTo>
                  <a:lnTo>
                    <a:pt x="969" y="366"/>
                  </a:lnTo>
                  <a:lnTo>
                    <a:pt x="971" y="369"/>
                  </a:lnTo>
                  <a:lnTo>
                    <a:pt x="971" y="369"/>
                  </a:lnTo>
                  <a:lnTo>
                    <a:pt x="973" y="369"/>
                  </a:lnTo>
                  <a:lnTo>
                    <a:pt x="973" y="371"/>
                  </a:lnTo>
                  <a:lnTo>
                    <a:pt x="976" y="371"/>
                  </a:lnTo>
                  <a:lnTo>
                    <a:pt x="976" y="371"/>
                  </a:lnTo>
                  <a:lnTo>
                    <a:pt x="976" y="371"/>
                  </a:lnTo>
                  <a:lnTo>
                    <a:pt x="976" y="373"/>
                  </a:lnTo>
                  <a:lnTo>
                    <a:pt x="978" y="373"/>
                  </a:lnTo>
                  <a:lnTo>
                    <a:pt x="978" y="373"/>
                  </a:lnTo>
                  <a:lnTo>
                    <a:pt x="981" y="373"/>
                  </a:lnTo>
                  <a:lnTo>
                    <a:pt x="983" y="373"/>
                  </a:lnTo>
                  <a:lnTo>
                    <a:pt x="983" y="371"/>
                  </a:lnTo>
                  <a:lnTo>
                    <a:pt x="985" y="371"/>
                  </a:lnTo>
                  <a:lnTo>
                    <a:pt x="985" y="371"/>
                  </a:lnTo>
                  <a:lnTo>
                    <a:pt x="990" y="369"/>
                  </a:lnTo>
                  <a:lnTo>
                    <a:pt x="992" y="371"/>
                  </a:lnTo>
                  <a:lnTo>
                    <a:pt x="995" y="369"/>
                  </a:lnTo>
                  <a:lnTo>
                    <a:pt x="995" y="369"/>
                  </a:lnTo>
                  <a:lnTo>
                    <a:pt x="995" y="369"/>
                  </a:lnTo>
                  <a:lnTo>
                    <a:pt x="995" y="366"/>
                  </a:lnTo>
                  <a:lnTo>
                    <a:pt x="995" y="366"/>
                  </a:lnTo>
                  <a:lnTo>
                    <a:pt x="999" y="364"/>
                  </a:lnTo>
                  <a:lnTo>
                    <a:pt x="999" y="364"/>
                  </a:lnTo>
                  <a:lnTo>
                    <a:pt x="1002" y="362"/>
                  </a:lnTo>
                  <a:lnTo>
                    <a:pt x="1002" y="362"/>
                  </a:lnTo>
                  <a:lnTo>
                    <a:pt x="1007" y="362"/>
                  </a:lnTo>
                  <a:lnTo>
                    <a:pt x="1009" y="359"/>
                  </a:lnTo>
                  <a:lnTo>
                    <a:pt x="1007" y="359"/>
                  </a:lnTo>
                  <a:lnTo>
                    <a:pt x="1007" y="359"/>
                  </a:lnTo>
                  <a:lnTo>
                    <a:pt x="1009" y="357"/>
                  </a:lnTo>
                  <a:lnTo>
                    <a:pt x="1009" y="354"/>
                  </a:lnTo>
                  <a:lnTo>
                    <a:pt x="1011" y="354"/>
                  </a:lnTo>
                  <a:lnTo>
                    <a:pt x="1011" y="354"/>
                  </a:lnTo>
                  <a:lnTo>
                    <a:pt x="1014" y="354"/>
                  </a:lnTo>
                  <a:lnTo>
                    <a:pt x="1014" y="354"/>
                  </a:lnTo>
                  <a:lnTo>
                    <a:pt x="1016" y="352"/>
                  </a:lnTo>
                  <a:lnTo>
                    <a:pt x="1016" y="352"/>
                  </a:lnTo>
                  <a:lnTo>
                    <a:pt x="1018" y="352"/>
                  </a:lnTo>
                  <a:lnTo>
                    <a:pt x="1021" y="352"/>
                  </a:lnTo>
                  <a:lnTo>
                    <a:pt x="1023" y="350"/>
                  </a:lnTo>
                  <a:lnTo>
                    <a:pt x="1025" y="350"/>
                  </a:lnTo>
                  <a:lnTo>
                    <a:pt x="1025" y="350"/>
                  </a:lnTo>
                  <a:lnTo>
                    <a:pt x="1028" y="350"/>
                  </a:lnTo>
                  <a:lnTo>
                    <a:pt x="1028" y="350"/>
                  </a:lnTo>
                  <a:lnTo>
                    <a:pt x="1030" y="350"/>
                  </a:lnTo>
                  <a:lnTo>
                    <a:pt x="1033" y="352"/>
                  </a:lnTo>
                  <a:lnTo>
                    <a:pt x="1033" y="350"/>
                  </a:lnTo>
                  <a:lnTo>
                    <a:pt x="1037" y="350"/>
                  </a:lnTo>
                  <a:lnTo>
                    <a:pt x="1040" y="350"/>
                  </a:lnTo>
                  <a:lnTo>
                    <a:pt x="1042" y="350"/>
                  </a:lnTo>
                  <a:lnTo>
                    <a:pt x="1042" y="345"/>
                  </a:lnTo>
                  <a:lnTo>
                    <a:pt x="1044" y="345"/>
                  </a:lnTo>
                  <a:lnTo>
                    <a:pt x="1044" y="345"/>
                  </a:lnTo>
                  <a:lnTo>
                    <a:pt x="1047" y="345"/>
                  </a:lnTo>
                  <a:lnTo>
                    <a:pt x="1047" y="345"/>
                  </a:lnTo>
                  <a:lnTo>
                    <a:pt x="1049" y="345"/>
                  </a:lnTo>
                  <a:lnTo>
                    <a:pt x="1049" y="345"/>
                  </a:lnTo>
                  <a:lnTo>
                    <a:pt x="1051" y="345"/>
                  </a:lnTo>
                  <a:lnTo>
                    <a:pt x="1051" y="343"/>
                  </a:lnTo>
                  <a:lnTo>
                    <a:pt x="1051" y="343"/>
                  </a:lnTo>
                  <a:lnTo>
                    <a:pt x="1056" y="343"/>
                  </a:lnTo>
                  <a:lnTo>
                    <a:pt x="1059" y="343"/>
                  </a:lnTo>
                  <a:lnTo>
                    <a:pt x="1059" y="343"/>
                  </a:lnTo>
                  <a:lnTo>
                    <a:pt x="1061" y="345"/>
                  </a:lnTo>
                  <a:lnTo>
                    <a:pt x="1063" y="347"/>
                  </a:lnTo>
                  <a:lnTo>
                    <a:pt x="1063" y="350"/>
                  </a:lnTo>
                  <a:lnTo>
                    <a:pt x="1063" y="352"/>
                  </a:lnTo>
                  <a:lnTo>
                    <a:pt x="1063" y="352"/>
                  </a:lnTo>
                  <a:lnTo>
                    <a:pt x="1063" y="354"/>
                  </a:lnTo>
                  <a:lnTo>
                    <a:pt x="1066" y="354"/>
                  </a:lnTo>
                  <a:lnTo>
                    <a:pt x="1066" y="354"/>
                  </a:lnTo>
                  <a:lnTo>
                    <a:pt x="1066" y="357"/>
                  </a:lnTo>
                  <a:lnTo>
                    <a:pt x="1066" y="357"/>
                  </a:lnTo>
                  <a:lnTo>
                    <a:pt x="1068" y="357"/>
                  </a:lnTo>
                  <a:lnTo>
                    <a:pt x="1068" y="357"/>
                  </a:lnTo>
                  <a:lnTo>
                    <a:pt x="1068" y="359"/>
                  </a:lnTo>
                  <a:lnTo>
                    <a:pt x="1070" y="359"/>
                  </a:lnTo>
                  <a:lnTo>
                    <a:pt x="1068" y="362"/>
                  </a:lnTo>
                  <a:lnTo>
                    <a:pt x="1068" y="362"/>
                  </a:lnTo>
                  <a:lnTo>
                    <a:pt x="1070" y="362"/>
                  </a:lnTo>
                  <a:lnTo>
                    <a:pt x="1073" y="362"/>
                  </a:lnTo>
                  <a:lnTo>
                    <a:pt x="1073" y="362"/>
                  </a:lnTo>
                  <a:lnTo>
                    <a:pt x="1075" y="362"/>
                  </a:lnTo>
                  <a:lnTo>
                    <a:pt x="1073" y="364"/>
                  </a:lnTo>
                  <a:lnTo>
                    <a:pt x="1073" y="366"/>
                  </a:lnTo>
                  <a:lnTo>
                    <a:pt x="1073" y="369"/>
                  </a:lnTo>
                  <a:lnTo>
                    <a:pt x="1075" y="369"/>
                  </a:lnTo>
                  <a:lnTo>
                    <a:pt x="1075" y="369"/>
                  </a:lnTo>
                  <a:lnTo>
                    <a:pt x="1075" y="369"/>
                  </a:lnTo>
                  <a:lnTo>
                    <a:pt x="1077" y="371"/>
                  </a:lnTo>
                  <a:lnTo>
                    <a:pt x="1077" y="369"/>
                  </a:lnTo>
                  <a:lnTo>
                    <a:pt x="1077" y="369"/>
                  </a:lnTo>
                  <a:lnTo>
                    <a:pt x="1080" y="369"/>
                  </a:lnTo>
                  <a:lnTo>
                    <a:pt x="1080" y="371"/>
                  </a:lnTo>
                  <a:lnTo>
                    <a:pt x="1080" y="371"/>
                  </a:lnTo>
                  <a:lnTo>
                    <a:pt x="1082" y="369"/>
                  </a:lnTo>
                  <a:lnTo>
                    <a:pt x="1085" y="369"/>
                  </a:lnTo>
                  <a:lnTo>
                    <a:pt x="1085" y="369"/>
                  </a:lnTo>
                  <a:lnTo>
                    <a:pt x="1087" y="371"/>
                  </a:lnTo>
                  <a:lnTo>
                    <a:pt x="1087" y="371"/>
                  </a:lnTo>
                  <a:lnTo>
                    <a:pt x="1089" y="371"/>
                  </a:lnTo>
                  <a:lnTo>
                    <a:pt x="1087" y="371"/>
                  </a:lnTo>
                  <a:lnTo>
                    <a:pt x="1087" y="373"/>
                  </a:lnTo>
                  <a:lnTo>
                    <a:pt x="1087" y="373"/>
                  </a:lnTo>
                  <a:lnTo>
                    <a:pt x="1087" y="371"/>
                  </a:lnTo>
                  <a:lnTo>
                    <a:pt x="1087" y="371"/>
                  </a:lnTo>
                  <a:lnTo>
                    <a:pt x="1089" y="371"/>
                  </a:lnTo>
                  <a:lnTo>
                    <a:pt x="1092" y="373"/>
                  </a:lnTo>
                  <a:lnTo>
                    <a:pt x="1092" y="373"/>
                  </a:lnTo>
                  <a:lnTo>
                    <a:pt x="1094" y="369"/>
                  </a:lnTo>
                  <a:lnTo>
                    <a:pt x="1094" y="369"/>
                  </a:lnTo>
                  <a:lnTo>
                    <a:pt x="1094" y="369"/>
                  </a:lnTo>
                  <a:lnTo>
                    <a:pt x="1094" y="369"/>
                  </a:lnTo>
                  <a:lnTo>
                    <a:pt x="1096" y="371"/>
                  </a:lnTo>
                  <a:lnTo>
                    <a:pt x="1096" y="369"/>
                  </a:lnTo>
                  <a:lnTo>
                    <a:pt x="1099" y="369"/>
                  </a:lnTo>
                  <a:lnTo>
                    <a:pt x="1099" y="369"/>
                  </a:lnTo>
                  <a:lnTo>
                    <a:pt x="1101" y="369"/>
                  </a:lnTo>
                  <a:lnTo>
                    <a:pt x="1103" y="369"/>
                  </a:lnTo>
                  <a:lnTo>
                    <a:pt x="1103" y="369"/>
                  </a:lnTo>
                  <a:lnTo>
                    <a:pt x="1103" y="369"/>
                  </a:lnTo>
                  <a:lnTo>
                    <a:pt x="1103" y="369"/>
                  </a:lnTo>
                  <a:lnTo>
                    <a:pt x="1103" y="366"/>
                  </a:lnTo>
                  <a:lnTo>
                    <a:pt x="1103" y="366"/>
                  </a:lnTo>
                  <a:lnTo>
                    <a:pt x="1106" y="364"/>
                  </a:lnTo>
                  <a:lnTo>
                    <a:pt x="1106" y="364"/>
                  </a:lnTo>
                  <a:lnTo>
                    <a:pt x="1106" y="364"/>
                  </a:lnTo>
                  <a:lnTo>
                    <a:pt x="1108" y="364"/>
                  </a:lnTo>
                  <a:lnTo>
                    <a:pt x="1108" y="364"/>
                  </a:lnTo>
                  <a:lnTo>
                    <a:pt x="1110" y="364"/>
                  </a:lnTo>
                  <a:lnTo>
                    <a:pt x="1108" y="366"/>
                  </a:lnTo>
                  <a:lnTo>
                    <a:pt x="1110" y="366"/>
                  </a:lnTo>
                  <a:lnTo>
                    <a:pt x="1110" y="369"/>
                  </a:lnTo>
                  <a:lnTo>
                    <a:pt x="1110" y="369"/>
                  </a:lnTo>
                  <a:lnTo>
                    <a:pt x="1110" y="369"/>
                  </a:lnTo>
                  <a:lnTo>
                    <a:pt x="1110" y="369"/>
                  </a:lnTo>
                  <a:lnTo>
                    <a:pt x="1110" y="366"/>
                  </a:lnTo>
                  <a:lnTo>
                    <a:pt x="1110" y="369"/>
                  </a:lnTo>
                  <a:lnTo>
                    <a:pt x="1110" y="366"/>
                  </a:lnTo>
                  <a:lnTo>
                    <a:pt x="1110" y="366"/>
                  </a:lnTo>
                  <a:lnTo>
                    <a:pt x="1113" y="366"/>
                  </a:lnTo>
                  <a:lnTo>
                    <a:pt x="1113" y="366"/>
                  </a:lnTo>
                  <a:lnTo>
                    <a:pt x="1115" y="369"/>
                  </a:lnTo>
                  <a:lnTo>
                    <a:pt x="1115" y="366"/>
                  </a:lnTo>
                  <a:lnTo>
                    <a:pt x="1115" y="369"/>
                  </a:lnTo>
                  <a:lnTo>
                    <a:pt x="1118" y="369"/>
                  </a:lnTo>
                  <a:lnTo>
                    <a:pt x="1118" y="369"/>
                  </a:lnTo>
                  <a:lnTo>
                    <a:pt x="1120" y="369"/>
                  </a:lnTo>
                  <a:lnTo>
                    <a:pt x="1120" y="369"/>
                  </a:lnTo>
                  <a:lnTo>
                    <a:pt x="1120" y="369"/>
                  </a:lnTo>
                  <a:lnTo>
                    <a:pt x="1122" y="369"/>
                  </a:lnTo>
                  <a:lnTo>
                    <a:pt x="1125" y="369"/>
                  </a:lnTo>
                  <a:lnTo>
                    <a:pt x="1125" y="369"/>
                  </a:lnTo>
                  <a:lnTo>
                    <a:pt x="1127" y="369"/>
                  </a:lnTo>
                  <a:lnTo>
                    <a:pt x="1127" y="371"/>
                  </a:lnTo>
                  <a:lnTo>
                    <a:pt x="1129" y="369"/>
                  </a:lnTo>
                  <a:lnTo>
                    <a:pt x="1129" y="369"/>
                  </a:lnTo>
                  <a:lnTo>
                    <a:pt x="1129" y="371"/>
                  </a:lnTo>
                  <a:lnTo>
                    <a:pt x="1129" y="371"/>
                  </a:lnTo>
                  <a:lnTo>
                    <a:pt x="1132" y="371"/>
                  </a:lnTo>
                  <a:lnTo>
                    <a:pt x="1132" y="373"/>
                  </a:lnTo>
                  <a:lnTo>
                    <a:pt x="1132" y="373"/>
                  </a:lnTo>
                  <a:lnTo>
                    <a:pt x="1132" y="376"/>
                  </a:lnTo>
                  <a:lnTo>
                    <a:pt x="1134" y="378"/>
                  </a:lnTo>
                  <a:lnTo>
                    <a:pt x="1134" y="378"/>
                  </a:lnTo>
                  <a:lnTo>
                    <a:pt x="1134" y="378"/>
                  </a:lnTo>
                  <a:lnTo>
                    <a:pt x="1134" y="380"/>
                  </a:lnTo>
                  <a:lnTo>
                    <a:pt x="1132" y="380"/>
                  </a:lnTo>
                  <a:lnTo>
                    <a:pt x="1132" y="380"/>
                  </a:lnTo>
                  <a:lnTo>
                    <a:pt x="1132" y="383"/>
                  </a:lnTo>
                  <a:lnTo>
                    <a:pt x="1129" y="383"/>
                  </a:lnTo>
                  <a:lnTo>
                    <a:pt x="1129" y="383"/>
                  </a:lnTo>
                  <a:lnTo>
                    <a:pt x="1129" y="383"/>
                  </a:lnTo>
                  <a:lnTo>
                    <a:pt x="1129" y="383"/>
                  </a:lnTo>
                  <a:lnTo>
                    <a:pt x="1129" y="385"/>
                  </a:lnTo>
                  <a:lnTo>
                    <a:pt x="1127" y="385"/>
                  </a:lnTo>
                  <a:lnTo>
                    <a:pt x="1125" y="388"/>
                  </a:lnTo>
                  <a:lnTo>
                    <a:pt x="1125" y="388"/>
                  </a:lnTo>
                  <a:lnTo>
                    <a:pt x="1122" y="388"/>
                  </a:lnTo>
                  <a:lnTo>
                    <a:pt x="1122" y="390"/>
                  </a:lnTo>
                  <a:lnTo>
                    <a:pt x="1122" y="390"/>
                  </a:lnTo>
                  <a:lnTo>
                    <a:pt x="1122" y="392"/>
                  </a:lnTo>
                  <a:lnTo>
                    <a:pt x="1122" y="392"/>
                  </a:lnTo>
                  <a:lnTo>
                    <a:pt x="1125" y="392"/>
                  </a:lnTo>
                  <a:lnTo>
                    <a:pt x="1125" y="392"/>
                  </a:lnTo>
                  <a:lnTo>
                    <a:pt x="1125" y="395"/>
                  </a:lnTo>
                  <a:lnTo>
                    <a:pt x="1122" y="395"/>
                  </a:lnTo>
                  <a:lnTo>
                    <a:pt x="1120" y="397"/>
                  </a:lnTo>
                  <a:lnTo>
                    <a:pt x="1120" y="399"/>
                  </a:lnTo>
                  <a:lnTo>
                    <a:pt x="1120" y="397"/>
                  </a:lnTo>
                  <a:lnTo>
                    <a:pt x="1118" y="397"/>
                  </a:lnTo>
                  <a:lnTo>
                    <a:pt x="1115" y="399"/>
                  </a:lnTo>
                  <a:lnTo>
                    <a:pt x="1115" y="399"/>
                  </a:lnTo>
                  <a:lnTo>
                    <a:pt x="1113" y="399"/>
                  </a:lnTo>
                  <a:lnTo>
                    <a:pt x="1115" y="399"/>
                  </a:lnTo>
                  <a:lnTo>
                    <a:pt x="1113" y="399"/>
                  </a:lnTo>
                  <a:lnTo>
                    <a:pt x="1108" y="402"/>
                  </a:lnTo>
                  <a:lnTo>
                    <a:pt x="1106" y="402"/>
                  </a:lnTo>
                  <a:lnTo>
                    <a:pt x="1106" y="402"/>
                  </a:lnTo>
                  <a:lnTo>
                    <a:pt x="1103" y="402"/>
                  </a:lnTo>
                  <a:lnTo>
                    <a:pt x="1103" y="399"/>
                  </a:lnTo>
                  <a:lnTo>
                    <a:pt x="1103" y="399"/>
                  </a:lnTo>
                  <a:lnTo>
                    <a:pt x="1101" y="399"/>
                  </a:lnTo>
                  <a:lnTo>
                    <a:pt x="1101" y="402"/>
                  </a:lnTo>
                  <a:lnTo>
                    <a:pt x="1101" y="402"/>
                  </a:lnTo>
                  <a:lnTo>
                    <a:pt x="1099" y="404"/>
                  </a:lnTo>
                  <a:lnTo>
                    <a:pt x="1099" y="404"/>
                  </a:lnTo>
                  <a:lnTo>
                    <a:pt x="1096" y="404"/>
                  </a:lnTo>
                  <a:lnTo>
                    <a:pt x="1096" y="404"/>
                  </a:lnTo>
                  <a:lnTo>
                    <a:pt x="1094" y="404"/>
                  </a:lnTo>
                  <a:lnTo>
                    <a:pt x="1094" y="402"/>
                  </a:lnTo>
                  <a:lnTo>
                    <a:pt x="1094" y="402"/>
                  </a:lnTo>
                  <a:lnTo>
                    <a:pt x="1094" y="402"/>
                  </a:lnTo>
                  <a:lnTo>
                    <a:pt x="1094" y="399"/>
                  </a:lnTo>
                  <a:lnTo>
                    <a:pt x="1092" y="399"/>
                  </a:lnTo>
                  <a:lnTo>
                    <a:pt x="1092" y="399"/>
                  </a:lnTo>
                  <a:lnTo>
                    <a:pt x="1089" y="402"/>
                  </a:lnTo>
                  <a:lnTo>
                    <a:pt x="1087" y="402"/>
                  </a:lnTo>
                  <a:lnTo>
                    <a:pt x="1087" y="404"/>
                  </a:lnTo>
                  <a:lnTo>
                    <a:pt x="1085" y="406"/>
                  </a:lnTo>
                  <a:lnTo>
                    <a:pt x="1082" y="404"/>
                  </a:lnTo>
                  <a:lnTo>
                    <a:pt x="1080" y="406"/>
                  </a:lnTo>
                  <a:lnTo>
                    <a:pt x="1077" y="406"/>
                  </a:lnTo>
                  <a:lnTo>
                    <a:pt x="1075" y="406"/>
                  </a:lnTo>
                  <a:lnTo>
                    <a:pt x="1075" y="409"/>
                  </a:lnTo>
                  <a:lnTo>
                    <a:pt x="1075" y="409"/>
                  </a:lnTo>
                  <a:lnTo>
                    <a:pt x="1070" y="411"/>
                  </a:lnTo>
                  <a:lnTo>
                    <a:pt x="1070" y="409"/>
                  </a:lnTo>
                  <a:lnTo>
                    <a:pt x="1068" y="411"/>
                  </a:lnTo>
                  <a:lnTo>
                    <a:pt x="1068" y="411"/>
                  </a:lnTo>
                  <a:lnTo>
                    <a:pt x="1066" y="411"/>
                  </a:lnTo>
                  <a:lnTo>
                    <a:pt x="1066" y="411"/>
                  </a:lnTo>
                  <a:lnTo>
                    <a:pt x="1066" y="411"/>
                  </a:lnTo>
                  <a:lnTo>
                    <a:pt x="1063" y="411"/>
                  </a:lnTo>
                  <a:lnTo>
                    <a:pt x="1061" y="413"/>
                  </a:lnTo>
                  <a:lnTo>
                    <a:pt x="1059" y="416"/>
                  </a:lnTo>
                  <a:lnTo>
                    <a:pt x="1061" y="416"/>
                  </a:lnTo>
                  <a:lnTo>
                    <a:pt x="1059" y="416"/>
                  </a:lnTo>
                  <a:lnTo>
                    <a:pt x="1059" y="418"/>
                  </a:lnTo>
                  <a:lnTo>
                    <a:pt x="1059" y="418"/>
                  </a:lnTo>
                  <a:lnTo>
                    <a:pt x="1059" y="418"/>
                  </a:lnTo>
                  <a:lnTo>
                    <a:pt x="1056" y="418"/>
                  </a:lnTo>
                  <a:lnTo>
                    <a:pt x="1056" y="418"/>
                  </a:lnTo>
                  <a:lnTo>
                    <a:pt x="1054" y="418"/>
                  </a:lnTo>
                  <a:lnTo>
                    <a:pt x="1054" y="418"/>
                  </a:lnTo>
                  <a:lnTo>
                    <a:pt x="1054" y="418"/>
                  </a:lnTo>
                  <a:lnTo>
                    <a:pt x="1054" y="421"/>
                  </a:lnTo>
                  <a:lnTo>
                    <a:pt x="1054" y="421"/>
                  </a:lnTo>
                  <a:lnTo>
                    <a:pt x="1054" y="423"/>
                  </a:lnTo>
                  <a:lnTo>
                    <a:pt x="1054" y="423"/>
                  </a:lnTo>
                  <a:lnTo>
                    <a:pt x="1054" y="423"/>
                  </a:lnTo>
                  <a:lnTo>
                    <a:pt x="1054" y="425"/>
                  </a:lnTo>
                  <a:lnTo>
                    <a:pt x="1054" y="425"/>
                  </a:lnTo>
                  <a:lnTo>
                    <a:pt x="1051" y="428"/>
                  </a:lnTo>
                  <a:lnTo>
                    <a:pt x="1051" y="428"/>
                  </a:lnTo>
                  <a:lnTo>
                    <a:pt x="1051" y="428"/>
                  </a:lnTo>
                  <a:lnTo>
                    <a:pt x="1051" y="430"/>
                  </a:lnTo>
                  <a:lnTo>
                    <a:pt x="1051" y="430"/>
                  </a:lnTo>
                  <a:lnTo>
                    <a:pt x="1051" y="432"/>
                  </a:lnTo>
                  <a:lnTo>
                    <a:pt x="1051" y="432"/>
                  </a:lnTo>
                  <a:lnTo>
                    <a:pt x="1051" y="432"/>
                  </a:lnTo>
                  <a:lnTo>
                    <a:pt x="1051" y="432"/>
                  </a:lnTo>
                  <a:lnTo>
                    <a:pt x="1051" y="432"/>
                  </a:lnTo>
                  <a:lnTo>
                    <a:pt x="1051" y="435"/>
                  </a:lnTo>
                  <a:lnTo>
                    <a:pt x="1051" y="435"/>
                  </a:lnTo>
                  <a:lnTo>
                    <a:pt x="1051" y="435"/>
                  </a:lnTo>
                  <a:lnTo>
                    <a:pt x="1051" y="437"/>
                  </a:lnTo>
                  <a:lnTo>
                    <a:pt x="1051" y="437"/>
                  </a:lnTo>
                  <a:lnTo>
                    <a:pt x="1051" y="437"/>
                  </a:lnTo>
                  <a:lnTo>
                    <a:pt x="1049" y="439"/>
                  </a:lnTo>
                  <a:lnTo>
                    <a:pt x="1051" y="442"/>
                  </a:lnTo>
                  <a:lnTo>
                    <a:pt x="1049" y="442"/>
                  </a:lnTo>
                  <a:lnTo>
                    <a:pt x="1049" y="442"/>
                  </a:lnTo>
                  <a:lnTo>
                    <a:pt x="1047" y="442"/>
                  </a:lnTo>
                  <a:lnTo>
                    <a:pt x="1047" y="442"/>
                  </a:lnTo>
                  <a:lnTo>
                    <a:pt x="1047" y="444"/>
                  </a:lnTo>
                  <a:lnTo>
                    <a:pt x="1047" y="444"/>
                  </a:lnTo>
                  <a:lnTo>
                    <a:pt x="1044" y="444"/>
                  </a:lnTo>
                  <a:lnTo>
                    <a:pt x="1044" y="444"/>
                  </a:lnTo>
                  <a:lnTo>
                    <a:pt x="1044" y="447"/>
                  </a:lnTo>
                  <a:lnTo>
                    <a:pt x="1042" y="447"/>
                  </a:lnTo>
                  <a:lnTo>
                    <a:pt x="1042" y="449"/>
                  </a:lnTo>
                  <a:lnTo>
                    <a:pt x="1042" y="449"/>
                  </a:lnTo>
                  <a:lnTo>
                    <a:pt x="1042" y="451"/>
                  </a:lnTo>
                  <a:lnTo>
                    <a:pt x="1044" y="451"/>
                  </a:lnTo>
                  <a:lnTo>
                    <a:pt x="1044" y="454"/>
                  </a:lnTo>
                  <a:lnTo>
                    <a:pt x="1047" y="454"/>
                  </a:lnTo>
                  <a:lnTo>
                    <a:pt x="1049" y="454"/>
                  </a:lnTo>
                  <a:lnTo>
                    <a:pt x="1049" y="454"/>
                  </a:lnTo>
                  <a:lnTo>
                    <a:pt x="1049" y="456"/>
                  </a:lnTo>
                  <a:lnTo>
                    <a:pt x="1049" y="456"/>
                  </a:lnTo>
                  <a:lnTo>
                    <a:pt x="1051" y="456"/>
                  </a:lnTo>
                  <a:lnTo>
                    <a:pt x="1049" y="458"/>
                  </a:lnTo>
                  <a:lnTo>
                    <a:pt x="1051" y="456"/>
                  </a:lnTo>
                  <a:lnTo>
                    <a:pt x="1051" y="458"/>
                  </a:lnTo>
                  <a:lnTo>
                    <a:pt x="1056" y="458"/>
                  </a:lnTo>
                  <a:lnTo>
                    <a:pt x="1056" y="461"/>
                  </a:lnTo>
                  <a:lnTo>
                    <a:pt x="1056" y="461"/>
                  </a:lnTo>
                  <a:lnTo>
                    <a:pt x="1056" y="463"/>
                  </a:lnTo>
                  <a:lnTo>
                    <a:pt x="1056" y="463"/>
                  </a:lnTo>
                  <a:lnTo>
                    <a:pt x="1056" y="463"/>
                  </a:lnTo>
                  <a:lnTo>
                    <a:pt x="1059" y="465"/>
                  </a:lnTo>
                  <a:lnTo>
                    <a:pt x="1061" y="465"/>
                  </a:lnTo>
                  <a:lnTo>
                    <a:pt x="1061" y="465"/>
                  </a:lnTo>
                  <a:lnTo>
                    <a:pt x="1061" y="468"/>
                  </a:lnTo>
                  <a:lnTo>
                    <a:pt x="1063" y="468"/>
                  </a:lnTo>
                  <a:lnTo>
                    <a:pt x="1061" y="468"/>
                  </a:lnTo>
                  <a:lnTo>
                    <a:pt x="1061" y="468"/>
                  </a:lnTo>
                  <a:lnTo>
                    <a:pt x="1056" y="470"/>
                  </a:lnTo>
                  <a:lnTo>
                    <a:pt x="1056" y="468"/>
                  </a:lnTo>
                  <a:lnTo>
                    <a:pt x="1054" y="468"/>
                  </a:lnTo>
                  <a:lnTo>
                    <a:pt x="1054" y="468"/>
                  </a:lnTo>
                  <a:lnTo>
                    <a:pt x="1054" y="470"/>
                  </a:lnTo>
                  <a:lnTo>
                    <a:pt x="1051" y="470"/>
                  </a:lnTo>
                  <a:lnTo>
                    <a:pt x="1051" y="470"/>
                  </a:lnTo>
                  <a:lnTo>
                    <a:pt x="1049" y="470"/>
                  </a:lnTo>
                  <a:lnTo>
                    <a:pt x="1049" y="470"/>
                  </a:lnTo>
                  <a:lnTo>
                    <a:pt x="1047" y="470"/>
                  </a:lnTo>
                  <a:lnTo>
                    <a:pt x="1049" y="470"/>
                  </a:lnTo>
                  <a:lnTo>
                    <a:pt x="1049" y="468"/>
                  </a:lnTo>
                  <a:lnTo>
                    <a:pt x="1047" y="468"/>
                  </a:lnTo>
                  <a:lnTo>
                    <a:pt x="1044" y="468"/>
                  </a:lnTo>
                  <a:lnTo>
                    <a:pt x="1042" y="470"/>
                  </a:lnTo>
                  <a:lnTo>
                    <a:pt x="1042" y="468"/>
                  </a:lnTo>
                  <a:lnTo>
                    <a:pt x="1042" y="465"/>
                  </a:lnTo>
                  <a:lnTo>
                    <a:pt x="1042" y="465"/>
                  </a:lnTo>
                  <a:lnTo>
                    <a:pt x="1042" y="463"/>
                  </a:lnTo>
                  <a:lnTo>
                    <a:pt x="1040" y="463"/>
                  </a:lnTo>
                  <a:lnTo>
                    <a:pt x="1040" y="465"/>
                  </a:lnTo>
                  <a:lnTo>
                    <a:pt x="1037" y="465"/>
                  </a:lnTo>
                  <a:lnTo>
                    <a:pt x="1035" y="465"/>
                  </a:lnTo>
                  <a:lnTo>
                    <a:pt x="1035" y="468"/>
                  </a:lnTo>
                  <a:lnTo>
                    <a:pt x="1035" y="470"/>
                  </a:lnTo>
                  <a:lnTo>
                    <a:pt x="1033" y="470"/>
                  </a:lnTo>
                  <a:lnTo>
                    <a:pt x="1033" y="470"/>
                  </a:lnTo>
                  <a:lnTo>
                    <a:pt x="1033" y="470"/>
                  </a:lnTo>
                  <a:lnTo>
                    <a:pt x="1033" y="473"/>
                  </a:lnTo>
                  <a:lnTo>
                    <a:pt x="1030" y="473"/>
                  </a:lnTo>
                  <a:lnTo>
                    <a:pt x="1030" y="473"/>
                  </a:lnTo>
                  <a:lnTo>
                    <a:pt x="1030" y="473"/>
                  </a:lnTo>
                  <a:lnTo>
                    <a:pt x="1028" y="473"/>
                  </a:lnTo>
                  <a:lnTo>
                    <a:pt x="1028" y="475"/>
                  </a:lnTo>
                  <a:lnTo>
                    <a:pt x="1023" y="475"/>
                  </a:lnTo>
                  <a:lnTo>
                    <a:pt x="1023" y="475"/>
                  </a:lnTo>
                  <a:lnTo>
                    <a:pt x="1023" y="475"/>
                  </a:lnTo>
                  <a:lnTo>
                    <a:pt x="1021" y="475"/>
                  </a:lnTo>
                  <a:lnTo>
                    <a:pt x="1021" y="475"/>
                  </a:lnTo>
                  <a:lnTo>
                    <a:pt x="1021" y="475"/>
                  </a:lnTo>
                  <a:lnTo>
                    <a:pt x="1021" y="475"/>
                  </a:lnTo>
                  <a:lnTo>
                    <a:pt x="1021" y="475"/>
                  </a:lnTo>
                  <a:lnTo>
                    <a:pt x="1021" y="477"/>
                  </a:lnTo>
                  <a:lnTo>
                    <a:pt x="1021" y="480"/>
                  </a:lnTo>
                  <a:lnTo>
                    <a:pt x="1021" y="480"/>
                  </a:lnTo>
                  <a:lnTo>
                    <a:pt x="1021" y="480"/>
                  </a:lnTo>
                  <a:lnTo>
                    <a:pt x="1023" y="480"/>
                  </a:lnTo>
                  <a:lnTo>
                    <a:pt x="1023" y="480"/>
                  </a:lnTo>
                  <a:lnTo>
                    <a:pt x="1023" y="480"/>
                  </a:lnTo>
                  <a:lnTo>
                    <a:pt x="1025" y="480"/>
                  </a:lnTo>
                  <a:lnTo>
                    <a:pt x="1023" y="480"/>
                  </a:lnTo>
                  <a:lnTo>
                    <a:pt x="1023" y="480"/>
                  </a:lnTo>
                  <a:lnTo>
                    <a:pt x="1021" y="482"/>
                  </a:lnTo>
                  <a:lnTo>
                    <a:pt x="1021" y="482"/>
                  </a:lnTo>
                  <a:lnTo>
                    <a:pt x="1021" y="482"/>
                  </a:lnTo>
                  <a:lnTo>
                    <a:pt x="1018" y="484"/>
                  </a:lnTo>
                  <a:lnTo>
                    <a:pt x="1018" y="484"/>
                  </a:lnTo>
                  <a:lnTo>
                    <a:pt x="1021" y="484"/>
                  </a:lnTo>
                  <a:lnTo>
                    <a:pt x="1018" y="487"/>
                  </a:lnTo>
                  <a:lnTo>
                    <a:pt x="1018" y="489"/>
                  </a:lnTo>
                  <a:lnTo>
                    <a:pt x="1018" y="487"/>
                  </a:lnTo>
                  <a:lnTo>
                    <a:pt x="1018" y="484"/>
                  </a:lnTo>
                  <a:lnTo>
                    <a:pt x="1016" y="484"/>
                  </a:lnTo>
                  <a:lnTo>
                    <a:pt x="1014" y="484"/>
                  </a:lnTo>
                  <a:lnTo>
                    <a:pt x="1016" y="484"/>
                  </a:lnTo>
                  <a:lnTo>
                    <a:pt x="1014" y="484"/>
                  </a:lnTo>
                  <a:lnTo>
                    <a:pt x="1014" y="484"/>
                  </a:lnTo>
                  <a:lnTo>
                    <a:pt x="1011" y="484"/>
                  </a:lnTo>
                  <a:lnTo>
                    <a:pt x="1014" y="487"/>
                  </a:lnTo>
                  <a:lnTo>
                    <a:pt x="1014" y="487"/>
                  </a:lnTo>
                  <a:lnTo>
                    <a:pt x="1014" y="487"/>
                  </a:lnTo>
                  <a:lnTo>
                    <a:pt x="1014" y="489"/>
                  </a:lnTo>
                  <a:lnTo>
                    <a:pt x="1014" y="489"/>
                  </a:lnTo>
                  <a:lnTo>
                    <a:pt x="1014" y="489"/>
                  </a:lnTo>
                  <a:lnTo>
                    <a:pt x="1014" y="489"/>
                  </a:lnTo>
                  <a:lnTo>
                    <a:pt x="1014" y="487"/>
                  </a:lnTo>
                  <a:lnTo>
                    <a:pt x="1011" y="487"/>
                  </a:lnTo>
                  <a:lnTo>
                    <a:pt x="1011" y="487"/>
                  </a:lnTo>
                  <a:lnTo>
                    <a:pt x="1011" y="484"/>
                  </a:lnTo>
                  <a:lnTo>
                    <a:pt x="1009" y="484"/>
                  </a:lnTo>
                  <a:lnTo>
                    <a:pt x="1009" y="484"/>
                  </a:lnTo>
                  <a:lnTo>
                    <a:pt x="1009" y="484"/>
                  </a:lnTo>
                  <a:lnTo>
                    <a:pt x="1007" y="484"/>
                  </a:lnTo>
                  <a:lnTo>
                    <a:pt x="1007" y="484"/>
                  </a:lnTo>
                  <a:lnTo>
                    <a:pt x="1007" y="484"/>
                  </a:lnTo>
                  <a:lnTo>
                    <a:pt x="1007" y="487"/>
                  </a:lnTo>
                  <a:lnTo>
                    <a:pt x="1009" y="487"/>
                  </a:lnTo>
                  <a:lnTo>
                    <a:pt x="1007" y="489"/>
                  </a:lnTo>
                  <a:lnTo>
                    <a:pt x="1009" y="489"/>
                  </a:lnTo>
                  <a:lnTo>
                    <a:pt x="1009" y="491"/>
                  </a:lnTo>
                  <a:lnTo>
                    <a:pt x="1007" y="491"/>
                  </a:lnTo>
                  <a:lnTo>
                    <a:pt x="1007" y="491"/>
                  </a:lnTo>
                  <a:lnTo>
                    <a:pt x="1004" y="491"/>
                  </a:lnTo>
                  <a:lnTo>
                    <a:pt x="1004" y="491"/>
                  </a:lnTo>
                  <a:lnTo>
                    <a:pt x="1004" y="489"/>
                  </a:lnTo>
                  <a:lnTo>
                    <a:pt x="1004" y="489"/>
                  </a:lnTo>
                  <a:lnTo>
                    <a:pt x="1004" y="489"/>
                  </a:lnTo>
                  <a:lnTo>
                    <a:pt x="1002" y="489"/>
                  </a:lnTo>
                  <a:lnTo>
                    <a:pt x="999" y="491"/>
                  </a:lnTo>
                  <a:lnTo>
                    <a:pt x="999" y="491"/>
                  </a:lnTo>
                  <a:lnTo>
                    <a:pt x="1002" y="491"/>
                  </a:lnTo>
                  <a:lnTo>
                    <a:pt x="1002" y="491"/>
                  </a:lnTo>
                  <a:lnTo>
                    <a:pt x="1002" y="491"/>
                  </a:lnTo>
                  <a:lnTo>
                    <a:pt x="1002" y="494"/>
                  </a:lnTo>
                  <a:lnTo>
                    <a:pt x="1002" y="494"/>
                  </a:lnTo>
                  <a:lnTo>
                    <a:pt x="1002" y="494"/>
                  </a:lnTo>
                  <a:lnTo>
                    <a:pt x="1002" y="494"/>
                  </a:lnTo>
                  <a:lnTo>
                    <a:pt x="1002" y="496"/>
                  </a:lnTo>
                  <a:lnTo>
                    <a:pt x="1002" y="496"/>
                  </a:lnTo>
                  <a:lnTo>
                    <a:pt x="997" y="496"/>
                  </a:lnTo>
                  <a:lnTo>
                    <a:pt x="997" y="499"/>
                  </a:lnTo>
                  <a:lnTo>
                    <a:pt x="995" y="499"/>
                  </a:lnTo>
                  <a:lnTo>
                    <a:pt x="997" y="499"/>
                  </a:lnTo>
                  <a:lnTo>
                    <a:pt x="995" y="496"/>
                  </a:lnTo>
                  <a:lnTo>
                    <a:pt x="995" y="499"/>
                  </a:lnTo>
                  <a:lnTo>
                    <a:pt x="995" y="496"/>
                  </a:lnTo>
                  <a:lnTo>
                    <a:pt x="992" y="496"/>
                  </a:lnTo>
                  <a:lnTo>
                    <a:pt x="992" y="496"/>
                  </a:lnTo>
                  <a:lnTo>
                    <a:pt x="992" y="496"/>
                  </a:lnTo>
                  <a:lnTo>
                    <a:pt x="992" y="494"/>
                  </a:lnTo>
                  <a:lnTo>
                    <a:pt x="992" y="494"/>
                  </a:lnTo>
                  <a:lnTo>
                    <a:pt x="990" y="494"/>
                  </a:lnTo>
                  <a:lnTo>
                    <a:pt x="988" y="496"/>
                  </a:lnTo>
                  <a:lnTo>
                    <a:pt x="985" y="499"/>
                  </a:lnTo>
                  <a:lnTo>
                    <a:pt x="983" y="501"/>
                  </a:lnTo>
                  <a:lnTo>
                    <a:pt x="983" y="501"/>
                  </a:lnTo>
                  <a:lnTo>
                    <a:pt x="981" y="503"/>
                  </a:lnTo>
                  <a:lnTo>
                    <a:pt x="981" y="501"/>
                  </a:lnTo>
                  <a:lnTo>
                    <a:pt x="978" y="503"/>
                  </a:lnTo>
                  <a:lnTo>
                    <a:pt x="978" y="503"/>
                  </a:lnTo>
                  <a:lnTo>
                    <a:pt x="978" y="501"/>
                  </a:lnTo>
                  <a:lnTo>
                    <a:pt x="976" y="501"/>
                  </a:lnTo>
                  <a:lnTo>
                    <a:pt x="976" y="503"/>
                  </a:lnTo>
                  <a:lnTo>
                    <a:pt x="973" y="506"/>
                  </a:lnTo>
                  <a:lnTo>
                    <a:pt x="973" y="510"/>
                  </a:lnTo>
                  <a:lnTo>
                    <a:pt x="973" y="513"/>
                  </a:lnTo>
                  <a:lnTo>
                    <a:pt x="976" y="515"/>
                  </a:lnTo>
                  <a:lnTo>
                    <a:pt x="976" y="515"/>
                  </a:lnTo>
                  <a:lnTo>
                    <a:pt x="978" y="515"/>
                  </a:lnTo>
                  <a:lnTo>
                    <a:pt x="978" y="517"/>
                  </a:lnTo>
                  <a:lnTo>
                    <a:pt x="976" y="517"/>
                  </a:lnTo>
                  <a:lnTo>
                    <a:pt x="978" y="522"/>
                  </a:lnTo>
                  <a:lnTo>
                    <a:pt x="978" y="525"/>
                  </a:lnTo>
                  <a:lnTo>
                    <a:pt x="978" y="527"/>
                  </a:lnTo>
                  <a:lnTo>
                    <a:pt x="976" y="525"/>
                  </a:lnTo>
                  <a:lnTo>
                    <a:pt x="976" y="527"/>
                  </a:lnTo>
                  <a:lnTo>
                    <a:pt x="976" y="527"/>
                  </a:lnTo>
                  <a:lnTo>
                    <a:pt x="976" y="527"/>
                  </a:lnTo>
                  <a:lnTo>
                    <a:pt x="973" y="529"/>
                  </a:lnTo>
                  <a:lnTo>
                    <a:pt x="973" y="527"/>
                  </a:lnTo>
                  <a:lnTo>
                    <a:pt x="971" y="529"/>
                  </a:lnTo>
                  <a:lnTo>
                    <a:pt x="971" y="527"/>
                  </a:lnTo>
                  <a:lnTo>
                    <a:pt x="969" y="527"/>
                  </a:lnTo>
                  <a:lnTo>
                    <a:pt x="966" y="529"/>
                  </a:lnTo>
                  <a:lnTo>
                    <a:pt x="966" y="529"/>
                  </a:lnTo>
                  <a:lnTo>
                    <a:pt x="966" y="529"/>
                  </a:lnTo>
                  <a:lnTo>
                    <a:pt x="964" y="529"/>
                  </a:lnTo>
                  <a:lnTo>
                    <a:pt x="964" y="529"/>
                  </a:lnTo>
                  <a:lnTo>
                    <a:pt x="964" y="529"/>
                  </a:lnTo>
                  <a:lnTo>
                    <a:pt x="964" y="529"/>
                  </a:lnTo>
                  <a:lnTo>
                    <a:pt x="959" y="529"/>
                  </a:lnTo>
                  <a:lnTo>
                    <a:pt x="959" y="527"/>
                  </a:lnTo>
                  <a:lnTo>
                    <a:pt x="959" y="527"/>
                  </a:lnTo>
                  <a:lnTo>
                    <a:pt x="957" y="527"/>
                  </a:lnTo>
                  <a:lnTo>
                    <a:pt x="957" y="525"/>
                  </a:lnTo>
                  <a:lnTo>
                    <a:pt x="957" y="525"/>
                  </a:lnTo>
                  <a:lnTo>
                    <a:pt x="955" y="525"/>
                  </a:lnTo>
                  <a:lnTo>
                    <a:pt x="952" y="525"/>
                  </a:lnTo>
                  <a:lnTo>
                    <a:pt x="950" y="525"/>
                  </a:lnTo>
                  <a:lnTo>
                    <a:pt x="950" y="525"/>
                  </a:lnTo>
                  <a:lnTo>
                    <a:pt x="947" y="525"/>
                  </a:lnTo>
                  <a:lnTo>
                    <a:pt x="950" y="522"/>
                  </a:lnTo>
                  <a:lnTo>
                    <a:pt x="947" y="522"/>
                  </a:lnTo>
                  <a:lnTo>
                    <a:pt x="947" y="522"/>
                  </a:lnTo>
                  <a:lnTo>
                    <a:pt x="947" y="522"/>
                  </a:lnTo>
                  <a:lnTo>
                    <a:pt x="945" y="522"/>
                  </a:lnTo>
                  <a:lnTo>
                    <a:pt x="945" y="522"/>
                  </a:lnTo>
                  <a:lnTo>
                    <a:pt x="945" y="522"/>
                  </a:lnTo>
                  <a:lnTo>
                    <a:pt x="943" y="522"/>
                  </a:lnTo>
                  <a:lnTo>
                    <a:pt x="940" y="522"/>
                  </a:lnTo>
                  <a:lnTo>
                    <a:pt x="940" y="522"/>
                  </a:lnTo>
                  <a:lnTo>
                    <a:pt x="940" y="520"/>
                  </a:lnTo>
                  <a:lnTo>
                    <a:pt x="938" y="520"/>
                  </a:lnTo>
                  <a:lnTo>
                    <a:pt x="938" y="520"/>
                  </a:lnTo>
                  <a:lnTo>
                    <a:pt x="938" y="520"/>
                  </a:lnTo>
                  <a:lnTo>
                    <a:pt x="936" y="520"/>
                  </a:lnTo>
                  <a:lnTo>
                    <a:pt x="931" y="520"/>
                  </a:lnTo>
                  <a:lnTo>
                    <a:pt x="931" y="520"/>
                  </a:lnTo>
                  <a:lnTo>
                    <a:pt x="931" y="520"/>
                  </a:lnTo>
                  <a:lnTo>
                    <a:pt x="926" y="520"/>
                  </a:lnTo>
                  <a:lnTo>
                    <a:pt x="926" y="520"/>
                  </a:lnTo>
                  <a:lnTo>
                    <a:pt x="926" y="520"/>
                  </a:lnTo>
                  <a:lnTo>
                    <a:pt x="922" y="520"/>
                  </a:lnTo>
                  <a:lnTo>
                    <a:pt x="914" y="520"/>
                  </a:lnTo>
                  <a:lnTo>
                    <a:pt x="905" y="522"/>
                  </a:lnTo>
                  <a:lnTo>
                    <a:pt x="903" y="525"/>
                  </a:lnTo>
                  <a:lnTo>
                    <a:pt x="903" y="525"/>
                  </a:lnTo>
                  <a:lnTo>
                    <a:pt x="900" y="525"/>
                  </a:lnTo>
                  <a:lnTo>
                    <a:pt x="898" y="527"/>
                  </a:lnTo>
                  <a:lnTo>
                    <a:pt x="896" y="527"/>
                  </a:lnTo>
                  <a:lnTo>
                    <a:pt x="896" y="527"/>
                  </a:lnTo>
                  <a:lnTo>
                    <a:pt x="896" y="529"/>
                  </a:lnTo>
                  <a:lnTo>
                    <a:pt x="896" y="529"/>
                  </a:lnTo>
                  <a:lnTo>
                    <a:pt x="896" y="527"/>
                  </a:lnTo>
                  <a:lnTo>
                    <a:pt x="896" y="527"/>
                  </a:lnTo>
                  <a:lnTo>
                    <a:pt x="893" y="527"/>
                  </a:lnTo>
                  <a:lnTo>
                    <a:pt x="891" y="527"/>
                  </a:lnTo>
                  <a:lnTo>
                    <a:pt x="886" y="529"/>
                  </a:lnTo>
                  <a:lnTo>
                    <a:pt x="884" y="529"/>
                  </a:lnTo>
                  <a:lnTo>
                    <a:pt x="884" y="532"/>
                  </a:lnTo>
                  <a:lnTo>
                    <a:pt x="884" y="532"/>
                  </a:lnTo>
                  <a:lnTo>
                    <a:pt x="884" y="534"/>
                  </a:lnTo>
                  <a:lnTo>
                    <a:pt x="886" y="532"/>
                  </a:lnTo>
                  <a:lnTo>
                    <a:pt x="884" y="534"/>
                  </a:lnTo>
                  <a:lnTo>
                    <a:pt x="884" y="534"/>
                  </a:lnTo>
                  <a:lnTo>
                    <a:pt x="884" y="536"/>
                  </a:lnTo>
                  <a:lnTo>
                    <a:pt x="881" y="536"/>
                  </a:lnTo>
                  <a:lnTo>
                    <a:pt x="881" y="539"/>
                  </a:lnTo>
                  <a:lnTo>
                    <a:pt x="884" y="539"/>
                  </a:lnTo>
                  <a:lnTo>
                    <a:pt x="881" y="539"/>
                  </a:lnTo>
                  <a:lnTo>
                    <a:pt x="881" y="539"/>
                  </a:lnTo>
                  <a:lnTo>
                    <a:pt x="879" y="541"/>
                  </a:lnTo>
                  <a:lnTo>
                    <a:pt x="879" y="543"/>
                  </a:lnTo>
                  <a:lnTo>
                    <a:pt x="879" y="543"/>
                  </a:lnTo>
                  <a:lnTo>
                    <a:pt x="881" y="543"/>
                  </a:lnTo>
                  <a:lnTo>
                    <a:pt x="881" y="543"/>
                  </a:lnTo>
                  <a:lnTo>
                    <a:pt x="881" y="543"/>
                  </a:lnTo>
                  <a:lnTo>
                    <a:pt x="881" y="543"/>
                  </a:lnTo>
                  <a:lnTo>
                    <a:pt x="879" y="546"/>
                  </a:lnTo>
                  <a:lnTo>
                    <a:pt x="877" y="546"/>
                  </a:lnTo>
                  <a:lnTo>
                    <a:pt x="877" y="548"/>
                  </a:lnTo>
                  <a:lnTo>
                    <a:pt x="877" y="548"/>
                  </a:lnTo>
                  <a:lnTo>
                    <a:pt x="879" y="548"/>
                  </a:lnTo>
                  <a:lnTo>
                    <a:pt x="877" y="548"/>
                  </a:lnTo>
                  <a:lnTo>
                    <a:pt x="877" y="550"/>
                  </a:lnTo>
                  <a:lnTo>
                    <a:pt x="877" y="550"/>
                  </a:lnTo>
                  <a:lnTo>
                    <a:pt x="874" y="550"/>
                  </a:lnTo>
                  <a:lnTo>
                    <a:pt x="877" y="548"/>
                  </a:lnTo>
                  <a:lnTo>
                    <a:pt x="874" y="548"/>
                  </a:lnTo>
                  <a:lnTo>
                    <a:pt x="870" y="548"/>
                  </a:lnTo>
                  <a:lnTo>
                    <a:pt x="867" y="550"/>
                  </a:lnTo>
                  <a:lnTo>
                    <a:pt x="867" y="553"/>
                  </a:lnTo>
                  <a:lnTo>
                    <a:pt x="867" y="553"/>
                  </a:lnTo>
                  <a:lnTo>
                    <a:pt x="867" y="553"/>
                  </a:lnTo>
                  <a:lnTo>
                    <a:pt x="867" y="553"/>
                  </a:lnTo>
                  <a:lnTo>
                    <a:pt x="865" y="553"/>
                  </a:lnTo>
                  <a:lnTo>
                    <a:pt x="865" y="555"/>
                  </a:lnTo>
                  <a:lnTo>
                    <a:pt x="865" y="558"/>
                  </a:lnTo>
                  <a:lnTo>
                    <a:pt x="865" y="555"/>
                  </a:lnTo>
                  <a:lnTo>
                    <a:pt x="865" y="555"/>
                  </a:lnTo>
                  <a:lnTo>
                    <a:pt x="865" y="553"/>
                  </a:lnTo>
                  <a:lnTo>
                    <a:pt x="865" y="553"/>
                  </a:lnTo>
                  <a:lnTo>
                    <a:pt x="862" y="553"/>
                  </a:lnTo>
                  <a:lnTo>
                    <a:pt x="862" y="555"/>
                  </a:lnTo>
                  <a:lnTo>
                    <a:pt x="862" y="553"/>
                  </a:lnTo>
                  <a:lnTo>
                    <a:pt x="862" y="553"/>
                  </a:lnTo>
                  <a:lnTo>
                    <a:pt x="860" y="553"/>
                  </a:lnTo>
                  <a:lnTo>
                    <a:pt x="860" y="550"/>
                  </a:lnTo>
                  <a:lnTo>
                    <a:pt x="862" y="550"/>
                  </a:lnTo>
                  <a:lnTo>
                    <a:pt x="862" y="548"/>
                  </a:lnTo>
                  <a:lnTo>
                    <a:pt x="860" y="548"/>
                  </a:lnTo>
                  <a:lnTo>
                    <a:pt x="858" y="546"/>
                  </a:lnTo>
                  <a:lnTo>
                    <a:pt x="855" y="546"/>
                  </a:lnTo>
                  <a:lnTo>
                    <a:pt x="855" y="546"/>
                  </a:lnTo>
                  <a:lnTo>
                    <a:pt x="855" y="548"/>
                  </a:lnTo>
                  <a:lnTo>
                    <a:pt x="855" y="548"/>
                  </a:lnTo>
                  <a:lnTo>
                    <a:pt x="853" y="546"/>
                  </a:lnTo>
                  <a:lnTo>
                    <a:pt x="853" y="546"/>
                  </a:lnTo>
                  <a:lnTo>
                    <a:pt x="853" y="548"/>
                  </a:lnTo>
                  <a:lnTo>
                    <a:pt x="853" y="548"/>
                  </a:lnTo>
                  <a:lnTo>
                    <a:pt x="853" y="548"/>
                  </a:lnTo>
                  <a:lnTo>
                    <a:pt x="853" y="550"/>
                  </a:lnTo>
                  <a:lnTo>
                    <a:pt x="853" y="550"/>
                  </a:lnTo>
                  <a:lnTo>
                    <a:pt x="853" y="550"/>
                  </a:lnTo>
                  <a:lnTo>
                    <a:pt x="853" y="553"/>
                  </a:lnTo>
                  <a:lnTo>
                    <a:pt x="853" y="553"/>
                  </a:lnTo>
                  <a:lnTo>
                    <a:pt x="853" y="553"/>
                  </a:lnTo>
                  <a:lnTo>
                    <a:pt x="853" y="553"/>
                  </a:lnTo>
                  <a:lnTo>
                    <a:pt x="851" y="555"/>
                  </a:lnTo>
                  <a:lnTo>
                    <a:pt x="851" y="555"/>
                  </a:lnTo>
                  <a:lnTo>
                    <a:pt x="851" y="553"/>
                  </a:lnTo>
                  <a:lnTo>
                    <a:pt x="848" y="553"/>
                  </a:lnTo>
                  <a:lnTo>
                    <a:pt x="844" y="553"/>
                  </a:lnTo>
                  <a:lnTo>
                    <a:pt x="839" y="555"/>
                  </a:lnTo>
                  <a:lnTo>
                    <a:pt x="825" y="562"/>
                  </a:lnTo>
                  <a:lnTo>
                    <a:pt x="810" y="569"/>
                  </a:lnTo>
                  <a:lnTo>
                    <a:pt x="801" y="574"/>
                  </a:lnTo>
                  <a:lnTo>
                    <a:pt x="799" y="576"/>
                  </a:lnTo>
                  <a:lnTo>
                    <a:pt x="796" y="576"/>
                  </a:lnTo>
                  <a:lnTo>
                    <a:pt x="789" y="584"/>
                  </a:lnTo>
                  <a:lnTo>
                    <a:pt x="782" y="586"/>
                  </a:lnTo>
                  <a:lnTo>
                    <a:pt x="775" y="593"/>
                  </a:lnTo>
                  <a:lnTo>
                    <a:pt x="775" y="595"/>
                  </a:lnTo>
                  <a:lnTo>
                    <a:pt x="775" y="598"/>
                  </a:lnTo>
                  <a:lnTo>
                    <a:pt x="773" y="598"/>
                  </a:lnTo>
                  <a:lnTo>
                    <a:pt x="773" y="600"/>
                  </a:lnTo>
                  <a:lnTo>
                    <a:pt x="773" y="600"/>
                  </a:lnTo>
                  <a:lnTo>
                    <a:pt x="773" y="602"/>
                  </a:lnTo>
                  <a:lnTo>
                    <a:pt x="773" y="602"/>
                  </a:lnTo>
                  <a:lnTo>
                    <a:pt x="775" y="602"/>
                  </a:lnTo>
                  <a:lnTo>
                    <a:pt x="773" y="602"/>
                  </a:lnTo>
                  <a:lnTo>
                    <a:pt x="775" y="605"/>
                  </a:lnTo>
                  <a:lnTo>
                    <a:pt x="773" y="605"/>
                  </a:lnTo>
                  <a:lnTo>
                    <a:pt x="773" y="605"/>
                  </a:lnTo>
                  <a:lnTo>
                    <a:pt x="773" y="605"/>
                  </a:lnTo>
                  <a:lnTo>
                    <a:pt x="773" y="605"/>
                  </a:lnTo>
                  <a:lnTo>
                    <a:pt x="773" y="607"/>
                  </a:lnTo>
                  <a:lnTo>
                    <a:pt x="770" y="607"/>
                  </a:lnTo>
                  <a:lnTo>
                    <a:pt x="768" y="607"/>
                  </a:lnTo>
                  <a:lnTo>
                    <a:pt x="766" y="610"/>
                  </a:lnTo>
                  <a:lnTo>
                    <a:pt x="763" y="610"/>
                  </a:lnTo>
                  <a:lnTo>
                    <a:pt x="756" y="614"/>
                  </a:lnTo>
                  <a:lnTo>
                    <a:pt x="751" y="619"/>
                  </a:lnTo>
                  <a:lnTo>
                    <a:pt x="751" y="619"/>
                  </a:lnTo>
                  <a:lnTo>
                    <a:pt x="751" y="621"/>
                  </a:lnTo>
                  <a:lnTo>
                    <a:pt x="749" y="621"/>
                  </a:lnTo>
                  <a:lnTo>
                    <a:pt x="747" y="624"/>
                  </a:lnTo>
                  <a:lnTo>
                    <a:pt x="747" y="626"/>
                  </a:lnTo>
                  <a:lnTo>
                    <a:pt x="742" y="626"/>
                  </a:lnTo>
                  <a:lnTo>
                    <a:pt x="725" y="638"/>
                  </a:lnTo>
                  <a:lnTo>
                    <a:pt x="723" y="638"/>
                  </a:lnTo>
                  <a:lnTo>
                    <a:pt x="723" y="638"/>
                  </a:lnTo>
                  <a:lnTo>
                    <a:pt x="718" y="640"/>
                  </a:lnTo>
                  <a:lnTo>
                    <a:pt x="718" y="643"/>
                  </a:lnTo>
                  <a:lnTo>
                    <a:pt x="711" y="645"/>
                  </a:lnTo>
                  <a:lnTo>
                    <a:pt x="707" y="647"/>
                  </a:lnTo>
                  <a:lnTo>
                    <a:pt x="697" y="654"/>
                  </a:lnTo>
                  <a:lnTo>
                    <a:pt x="692" y="657"/>
                  </a:lnTo>
                  <a:lnTo>
                    <a:pt x="676" y="669"/>
                  </a:lnTo>
                  <a:lnTo>
                    <a:pt x="669" y="678"/>
                  </a:lnTo>
                  <a:lnTo>
                    <a:pt x="664" y="683"/>
                  </a:lnTo>
                  <a:lnTo>
                    <a:pt x="662" y="685"/>
                  </a:lnTo>
                  <a:lnTo>
                    <a:pt x="662" y="690"/>
                  </a:lnTo>
                  <a:lnTo>
                    <a:pt x="659" y="690"/>
                  </a:lnTo>
                  <a:lnTo>
                    <a:pt x="659" y="690"/>
                  </a:lnTo>
                  <a:lnTo>
                    <a:pt x="659" y="692"/>
                  </a:lnTo>
                  <a:lnTo>
                    <a:pt x="662" y="692"/>
                  </a:lnTo>
                  <a:lnTo>
                    <a:pt x="662" y="695"/>
                  </a:lnTo>
                  <a:lnTo>
                    <a:pt x="662" y="695"/>
                  </a:lnTo>
                  <a:lnTo>
                    <a:pt x="659" y="697"/>
                  </a:lnTo>
                  <a:lnTo>
                    <a:pt x="659" y="702"/>
                  </a:lnTo>
                  <a:lnTo>
                    <a:pt x="659" y="702"/>
                  </a:lnTo>
                  <a:lnTo>
                    <a:pt x="659" y="702"/>
                  </a:lnTo>
                  <a:lnTo>
                    <a:pt x="659" y="702"/>
                  </a:lnTo>
                  <a:lnTo>
                    <a:pt x="659" y="704"/>
                  </a:lnTo>
                  <a:lnTo>
                    <a:pt x="659" y="702"/>
                  </a:lnTo>
                  <a:lnTo>
                    <a:pt x="659" y="702"/>
                  </a:lnTo>
                  <a:lnTo>
                    <a:pt x="657" y="702"/>
                  </a:lnTo>
                  <a:lnTo>
                    <a:pt x="655" y="704"/>
                  </a:lnTo>
                  <a:lnTo>
                    <a:pt x="652" y="709"/>
                  </a:lnTo>
                  <a:lnTo>
                    <a:pt x="645" y="713"/>
                  </a:lnTo>
                  <a:lnTo>
                    <a:pt x="636" y="723"/>
                  </a:lnTo>
                  <a:lnTo>
                    <a:pt x="636" y="723"/>
                  </a:lnTo>
                  <a:lnTo>
                    <a:pt x="636" y="721"/>
                  </a:lnTo>
                  <a:lnTo>
                    <a:pt x="636" y="718"/>
                  </a:lnTo>
                  <a:lnTo>
                    <a:pt x="645" y="711"/>
                  </a:lnTo>
                  <a:lnTo>
                    <a:pt x="643" y="711"/>
                  </a:lnTo>
                  <a:lnTo>
                    <a:pt x="645" y="711"/>
                  </a:lnTo>
                  <a:lnTo>
                    <a:pt x="643" y="711"/>
                  </a:lnTo>
                  <a:lnTo>
                    <a:pt x="643" y="711"/>
                  </a:lnTo>
                  <a:lnTo>
                    <a:pt x="643" y="711"/>
                  </a:lnTo>
                  <a:lnTo>
                    <a:pt x="640" y="711"/>
                  </a:lnTo>
                  <a:lnTo>
                    <a:pt x="640" y="711"/>
                  </a:lnTo>
                  <a:lnTo>
                    <a:pt x="640" y="711"/>
                  </a:lnTo>
                  <a:lnTo>
                    <a:pt x="640" y="713"/>
                  </a:lnTo>
                  <a:lnTo>
                    <a:pt x="638" y="713"/>
                  </a:lnTo>
                  <a:lnTo>
                    <a:pt x="638" y="713"/>
                  </a:lnTo>
                  <a:lnTo>
                    <a:pt x="636" y="713"/>
                  </a:lnTo>
                  <a:lnTo>
                    <a:pt x="636" y="713"/>
                  </a:lnTo>
                  <a:lnTo>
                    <a:pt x="633" y="713"/>
                  </a:lnTo>
                  <a:lnTo>
                    <a:pt x="629" y="711"/>
                  </a:lnTo>
                  <a:lnTo>
                    <a:pt x="629" y="711"/>
                  </a:lnTo>
                  <a:lnTo>
                    <a:pt x="626" y="709"/>
                  </a:lnTo>
                  <a:lnTo>
                    <a:pt x="626" y="709"/>
                  </a:lnTo>
                  <a:lnTo>
                    <a:pt x="624" y="709"/>
                  </a:lnTo>
                  <a:lnTo>
                    <a:pt x="624" y="706"/>
                  </a:lnTo>
                  <a:lnTo>
                    <a:pt x="626" y="704"/>
                  </a:lnTo>
                  <a:lnTo>
                    <a:pt x="626" y="704"/>
                  </a:lnTo>
                  <a:lnTo>
                    <a:pt x="626" y="702"/>
                  </a:lnTo>
                  <a:lnTo>
                    <a:pt x="626" y="702"/>
                  </a:lnTo>
                  <a:lnTo>
                    <a:pt x="629" y="702"/>
                  </a:lnTo>
                  <a:lnTo>
                    <a:pt x="626" y="699"/>
                  </a:lnTo>
                  <a:lnTo>
                    <a:pt x="624" y="699"/>
                  </a:lnTo>
                  <a:lnTo>
                    <a:pt x="624" y="699"/>
                  </a:lnTo>
                  <a:lnTo>
                    <a:pt x="624" y="697"/>
                  </a:lnTo>
                  <a:lnTo>
                    <a:pt x="624" y="695"/>
                  </a:lnTo>
                  <a:lnTo>
                    <a:pt x="621" y="692"/>
                  </a:lnTo>
                  <a:lnTo>
                    <a:pt x="621" y="692"/>
                  </a:lnTo>
                  <a:lnTo>
                    <a:pt x="619" y="692"/>
                  </a:lnTo>
                  <a:lnTo>
                    <a:pt x="621" y="690"/>
                  </a:lnTo>
                  <a:lnTo>
                    <a:pt x="619" y="688"/>
                  </a:lnTo>
                  <a:lnTo>
                    <a:pt x="621" y="685"/>
                  </a:lnTo>
                  <a:lnTo>
                    <a:pt x="621" y="685"/>
                  </a:lnTo>
                  <a:lnTo>
                    <a:pt x="619" y="685"/>
                  </a:lnTo>
                  <a:lnTo>
                    <a:pt x="619" y="685"/>
                  </a:lnTo>
                  <a:lnTo>
                    <a:pt x="619" y="683"/>
                  </a:lnTo>
                  <a:lnTo>
                    <a:pt x="619" y="683"/>
                  </a:lnTo>
                  <a:lnTo>
                    <a:pt x="619" y="683"/>
                  </a:lnTo>
                  <a:lnTo>
                    <a:pt x="619" y="683"/>
                  </a:lnTo>
                  <a:lnTo>
                    <a:pt x="617" y="680"/>
                  </a:lnTo>
                  <a:lnTo>
                    <a:pt x="617" y="680"/>
                  </a:lnTo>
                  <a:lnTo>
                    <a:pt x="617" y="678"/>
                  </a:lnTo>
                  <a:lnTo>
                    <a:pt x="614" y="678"/>
                  </a:lnTo>
                  <a:lnTo>
                    <a:pt x="614" y="680"/>
                  </a:lnTo>
                  <a:lnTo>
                    <a:pt x="614" y="680"/>
                  </a:lnTo>
                  <a:lnTo>
                    <a:pt x="614" y="680"/>
                  </a:lnTo>
                  <a:lnTo>
                    <a:pt x="614" y="680"/>
                  </a:lnTo>
                  <a:lnTo>
                    <a:pt x="614" y="683"/>
                  </a:lnTo>
                  <a:lnTo>
                    <a:pt x="614" y="683"/>
                  </a:lnTo>
                  <a:lnTo>
                    <a:pt x="612" y="683"/>
                  </a:lnTo>
                  <a:lnTo>
                    <a:pt x="612" y="685"/>
                  </a:lnTo>
                  <a:lnTo>
                    <a:pt x="612" y="685"/>
                  </a:lnTo>
                  <a:lnTo>
                    <a:pt x="612" y="685"/>
                  </a:lnTo>
                  <a:lnTo>
                    <a:pt x="610" y="685"/>
                  </a:lnTo>
                  <a:lnTo>
                    <a:pt x="610" y="685"/>
                  </a:lnTo>
                  <a:lnTo>
                    <a:pt x="610" y="685"/>
                  </a:lnTo>
                  <a:lnTo>
                    <a:pt x="607" y="688"/>
                  </a:lnTo>
                  <a:lnTo>
                    <a:pt x="607" y="690"/>
                  </a:lnTo>
                  <a:lnTo>
                    <a:pt x="605" y="690"/>
                  </a:lnTo>
                  <a:lnTo>
                    <a:pt x="605" y="690"/>
                  </a:lnTo>
                  <a:lnTo>
                    <a:pt x="607" y="690"/>
                  </a:lnTo>
                  <a:lnTo>
                    <a:pt x="607" y="685"/>
                  </a:lnTo>
                  <a:lnTo>
                    <a:pt x="605" y="685"/>
                  </a:lnTo>
                  <a:lnTo>
                    <a:pt x="605" y="688"/>
                  </a:lnTo>
                  <a:lnTo>
                    <a:pt x="605" y="685"/>
                  </a:lnTo>
                  <a:lnTo>
                    <a:pt x="603" y="685"/>
                  </a:lnTo>
                  <a:lnTo>
                    <a:pt x="603" y="685"/>
                  </a:lnTo>
                  <a:lnTo>
                    <a:pt x="603" y="685"/>
                  </a:lnTo>
                  <a:lnTo>
                    <a:pt x="600" y="683"/>
                  </a:lnTo>
                  <a:lnTo>
                    <a:pt x="600" y="683"/>
                  </a:lnTo>
                  <a:lnTo>
                    <a:pt x="600" y="680"/>
                  </a:lnTo>
                  <a:lnTo>
                    <a:pt x="598" y="680"/>
                  </a:lnTo>
                  <a:lnTo>
                    <a:pt x="596" y="678"/>
                  </a:lnTo>
                  <a:lnTo>
                    <a:pt x="596" y="680"/>
                  </a:lnTo>
                  <a:lnTo>
                    <a:pt x="593" y="680"/>
                  </a:lnTo>
                  <a:lnTo>
                    <a:pt x="588" y="683"/>
                  </a:lnTo>
                  <a:lnTo>
                    <a:pt x="586" y="688"/>
                  </a:lnTo>
                  <a:lnTo>
                    <a:pt x="586" y="690"/>
                  </a:lnTo>
                  <a:lnTo>
                    <a:pt x="586" y="690"/>
                  </a:lnTo>
                  <a:lnTo>
                    <a:pt x="584" y="690"/>
                  </a:lnTo>
                  <a:lnTo>
                    <a:pt x="581" y="692"/>
                  </a:lnTo>
                  <a:lnTo>
                    <a:pt x="581" y="692"/>
                  </a:lnTo>
                  <a:lnTo>
                    <a:pt x="581" y="695"/>
                  </a:lnTo>
                  <a:lnTo>
                    <a:pt x="579" y="695"/>
                  </a:lnTo>
                  <a:lnTo>
                    <a:pt x="579" y="692"/>
                  </a:lnTo>
                  <a:lnTo>
                    <a:pt x="577" y="692"/>
                  </a:lnTo>
                  <a:lnTo>
                    <a:pt x="577" y="692"/>
                  </a:lnTo>
                  <a:lnTo>
                    <a:pt x="577" y="690"/>
                  </a:lnTo>
                  <a:lnTo>
                    <a:pt x="577" y="690"/>
                  </a:lnTo>
                  <a:lnTo>
                    <a:pt x="577" y="688"/>
                  </a:lnTo>
                  <a:lnTo>
                    <a:pt x="574" y="688"/>
                  </a:lnTo>
                  <a:lnTo>
                    <a:pt x="574" y="685"/>
                  </a:lnTo>
                  <a:lnTo>
                    <a:pt x="572" y="685"/>
                  </a:lnTo>
                  <a:lnTo>
                    <a:pt x="572" y="685"/>
                  </a:lnTo>
                  <a:lnTo>
                    <a:pt x="572" y="685"/>
                  </a:lnTo>
                  <a:lnTo>
                    <a:pt x="572" y="683"/>
                  </a:lnTo>
                  <a:lnTo>
                    <a:pt x="572" y="683"/>
                  </a:lnTo>
                  <a:lnTo>
                    <a:pt x="572" y="683"/>
                  </a:lnTo>
                  <a:lnTo>
                    <a:pt x="572" y="680"/>
                  </a:lnTo>
                  <a:lnTo>
                    <a:pt x="572" y="680"/>
                  </a:lnTo>
                  <a:lnTo>
                    <a:pt x="572" y="680"/>
                  </a:lnTo>
                  <a:lnTo>
                    <a:pt x="574" y="678"/>
                  </a:lnTo>
                  <a:lnTo>
                    <a:pt x="577" y="678"/>
                  </a:lnTo>
                  <a:lnTo>
                    <a:pt x="577" y="676"/>
                  </a:lnTo>
                  <a:lnTo>
                    <a:pt x="577" y="676"/>
                  </a:lnTo>
                  <a:lnTo>
                    <a:pt x="577" y="676"/>
                  </a:lnTo>
                  <a:lnTo>
                    <a:pt x="577" y="673"/>
                  </a:lnTo>
                  <a:lnTo>
                    <a:pt x="577" y="673"/>
                  </a:lnTo>
                  <a:lnTo>
                    <a:pt x="577" y="673"/>
                  </a:lnTo>
                  <a:lnTo>
                    <a:pt x="577" y="671"/>
                  </a:lnTo>
                  <a:lnTo>
                    <a:pt x="577" y="671"/>
                  </a:lnTo>
                  <a:lnTo>
                    <a:pt x="577" y="669"/>
                  </a:lnTo>
                  <a:lnTo>
                    <a:pt x="577" y="669"/>
                  </a:lnTo>
                  <a:lnTo>
                    <a:pt x="577" y="669"/>
                  </a:lnTo>
                  <a:lnTo>
                    <a:pt x="577" y="669"/>
                  </a:lnTo>
                  <a:lnTo>
                    <a:pt x="577" y="666"/>
                  </a:lnTo>
                  <a:lnTo>
                    <a:pt x="577" y="666"/>
                  </a:lnTo>
                  <a:lnTo>
                    <a:pt x="577" y="666"/>
                  </a:lnTo>
                  <a:lnTo>
                    <a:pt x="579" y="666"/>
                  </a:lnTo>
                  <a:lnTo>
                    <a:pt x="579" y="664"/>
                  </a:lnTo>
                  <a:lnTo>
                    <a:pt x="579" y="664"/>
                  </a:lnTo>
                  <a:lnTo>
                    <a:pt x="577" y="664"/>
                  </a:lnTo>
                  <a:lnTo>
                    <a:pt x="577" y="664"/>
                  </a:lnTo>
                  <a:lnTo>
                    <a:pt x="577" y="662"/>
                  </a:lnTo>
                  <a:lnTo>
                    <a:pt x="577" y="659"/>
                  </a:lnTo>
                  <a:lnTo>
                    <a:pt x="577" y="659"/>
                  </a:lnTo>
                  <a:lnTo>
                    <a:pt x="577" y="657"/>
                  </a:lnTo>
                  <a:lnTo>
                    <a:pt x="577" y="657"/>
                  </a:lnTo>
                  <a:lnTo>
                    <a:pt x="579" y="654"/>
                  </a:lnTo>
                  <a:lnTo>
                    <a:pt x="581" y="654"/>
                  </a:lnTo>
                  <a:lnTo>
                    <a:pt x="581" y="652"/>
                  </a:lnTo>
                  <a:lnTo>
                    <a:pt x="581" y="650"/>
                  </a:lnTo>
                  <a:lnTo>
                    <a:pt x="584" y="650"/>
                  </a:lnTo>
                  <a:lnTo>
                    <a:pt x="584" y="650"/>
                  </a:lnTo>
                  <a:lnTo>
                    <a:pt x="584" y="647"/>
                  </a:lnTo>
                  <a:lnTo>
                    <a:pt x="584" y="647"/>
                  </a:lnTo>
                  <a:lnTo>
                    <a:pt x="584" y="647"/>
                  </a:lnTo>
                  <a:lnTo>
                    <a:pt x="584" y="647"/>
                  </a:lnTo>
                  <a:lnTo>
                    <a:pt x="581" y="647"/>
                  </a:lnTo>
                  <a:lnTo>
                    <a:pt x="581" y="647"/>
                  </a:lnTo>
                  <a:lnTo>
                    <a:pt x="581" y="647"/>
                  </a:lnTo>
                  <a:lnTo>
                    <a:pt x="579" y="645"/>
                  </a:lnTo>
                  <a:lnTo>
                    <a:pt x="579" y="645"/>
                  </a:lnTo>
                  <a:lnTo>
                    <a:pt x="579" y="645"/>
                  </a:lnTo>
                  <a:lnTo>
                    <a:pt x="579" y="645"/>
                  </a:lnTo>
                  <a:lnTo>
                    <a:pt x="579" y="645"/>
                  </a:lnTo>
                  <a:lnTo>
                    <a:pt x="577" y="645"/>
                  </a:lnTo>
                  <a:lnTo>
                    <a:pt x="577" y="643"/>
                  </a:lnTo>
                  <a:lnTo>
                    <a:pt x="577" y="640"/>
                  </a:lnTo>
                  <a:lnTo>
                    <a:pt x="574" y="640"/>
                  </a:lnTo>
                  <a:lnTo>
                    <a:pt x="574" y="638"/>
                  </a:lnTo>
                  <a:lnTo>
                    <a:pt x="572" y="640"/>
                  </a:lnTo>
                  <a:lnTo>
                    <a:pt x="572" y="638"/>
                  </a:lnTo>
                  <a:lnTo>
                    <a:pt x="572" y="638"/>
                  </a:lnTo>
                  <a:lnTo>
                    <a:pt x="570" y="638"/>
                  </a:lnTo>
                  <a:lnTo>
                    <a:pt x="570" y="638"/>
                  </a:lnTo>
                  <a:lnTo>
                    <a:pt x="567" y="640"/>
                  </a:lnTo>
                  <a:lnTo>
                    <a:pt x="565" y="640"/>
                  </a:lnTo>
                  <a:lnTo>
                    <a:pt x="565" y="640"/>
                  </a:lnTo>
                  <a:lnTo>
                    <a:pt x="565" y="640"/>
                  </a:lnTo>
                  <a:lnTo>
                    <a:pt x="562" y="643"/>
                  </a:lnTo>
                  <a:lnTo>
                    <a:pt x="562" y="643"/>
                  </a:lnTo>
                  <a:lnTo>
                    <a:pt x="562" y="643"/>
                  </a:lnTo>
                  <a:lnTo>
                    <a:pt x="562" y="640"/>
                  </a:lnTo>
                  <a:lnTo>
                    <a:pt x="562" y="640"/>
                  </a:lnTo>
                  <a:lnTo>
                    <a:pt x="562" y="640"/>
                  </a:lnTo>
                  <a:lnTo>
                    <a:pt x="562" y="640"/>
                  </a:lnTo>
                  <a:lnTo>
                    <a:pt x="562" y="638"/>
                  </a:lnTo>
                  <a:lnTo>
                    <a:pt x="560" y="638"/>
                  </a:lnTo>
                  <a:lnTo>
                    <a:pt x="560" y="638"/>
                  </a:lnTo>
                  <a:lnTo>
                    <a:pt x="560" y="640"/>
                  </a:lnTo>
                  <a:lnTo>
                    <a:pt x="560" y="640"/>
                  </a:lnTo>
                  <a:lnTo>
                    <a:pt x="560" y="640"/>
                  </a:lnTo>
                  <a:lnTo>
                    <a:pt x="558" y="640"/>
                  </a:lnTo>
                  <a:lnTo>
                    <a:pt x="555" y="640"/>
                  </a:lnTo>
                  <a:lnTo>
                    <a:pt x="553" y="640"/>
                  </a:lnTo>
                  <a:lnTo>
                    <a:pt x="553" y="640"/>
                  </a:lnTo>
                  <a:lnTo>
                    <a:pt x="553" y="640"/>
                  </a:lnTo>
                  <a:lnTo>
                    <a:pt x="551" y="640"/>
                  </a:lnTo>
                  <a:lnTo>
                    <a:pt x="551" y="640"/>
                  </a:lnTo>
                  <a:lnTo>
                    <a:pt x="548" y="643"/>
                  </a:lnTo>
                  <a:lnTo>
                    <a:pt x="548" y="640"/>
                  </a:lnTo>
                  <a:lnTo>
                    <a:pt x="546" y="638"/>
                  </a:lnTo>
                  <a:lnTo>
                    <a:pt x="544" y="638"/>
                  </a:lnTo>
                  <a:lnTo>
                    <a:pt x="544" y="638"/>
                  </a:lnTo>
                  <a:lnTo>
                    <a:pt x="544" y="636"/>
                  </a:lnTo>
                  <a:lnTo>
                    <a:pt x="541" y="638"/>
                  </a:lnTo>
                  <a:lnTo>
                    <a:pt x="539" y="636"/>
                  </a:lnTo>
                  <a:lnTo>
                    <a:pt x="539" y="638"/>
                  </a:lnTo>
                  <a:lnTo>
                    <a:pt x="541" y="638"/>
                  </a:lnTo>
                  <a:lnTo>
                    <a:pt x="539" y="638"/>
                  </a:lnTo>
                  <a:lnTo>
                    <a:pt x="536" y="638"/>
                  </a:lnTo>
                  <a:lnTo>
                    <a:pt x="534" y="638"/>
                  </a:lnTo>
                  <a:lnTo>
                    <a:pt x="532" y="638"/>
                  </a:lnTo>
                  <a:lnTo>
                    <a:pt x="532" y="640"/>
                  </a:lnTo>
                  <a:lnTo>
                    <a:pt x="532" y="640"/>
                  </a:lnTo>
                  <a:lnTo>
                    <a:pt x="532" y="638"/>
                  </a:lnTo>
                  <a:lnTo>
                    <a:pt x="529" y="638"/>
                  </a:lnTo>
                  <a:lnTo>
                    <a:pt x="527" y="638"/>
                  </a:lnTo>
                  <a:lnTo>
                    <a:pt x="527" y="640"/>
                  </a:lnTo>
                  <a:lnTo>
                    <a:pt x="525" y="638"/>
                  </a:lnTo>
                  <a:lnTo>
                    <a:pt x="525" y="638"/>
                  </a:lnTo>
                  <a:lnTo>
                    <a:pt x="525" y="638"/>
                  </a:lnTo>
                  <a:lnTo>
                    <a:pt x="522" y="638"/>
                  </a:lnTo>
                  <a:lnTo>
                    <a:pt x="522" y="636"/>
                  </a:lnTo>
                  <a:lnTo>
                    <a:pt x="522" y="636"/>
                  </a:lnTo>
                  <a:lnTo>
                    <a:pt x="520" y="638"/>
                  </a:lnTo>
                  <a:lnTo>
                    <a:pt x="520" y="636"/>
                  </a:lnTo>
                  <a:lnTo>
                    <a:pt x="522" y="636"/>
                  </a:lnTo>
                  <a:lnTo>
                    <a:pt x="522" y="633"/>
                  </a:lnTo>
                  <a:lnTo>
                    <a:pt x="520" y="633"/>
                  </a:lnTo>
                  <a:lnTo>
                    <a:pt x="518" y="636"/>
                  </a:lnTo>
                  <a:lnTo>
                    <a:pt x="518" y="633"/>
                  </a:lnTo>
                  <a:lnTo>
                    <a:pt x="515" y="633"/>
                  </a:lnTo>
                  <a:lnTo>
                    <a:pt x="515" y="636"/>
                  </a:lnTo>
                  <a:lnTo>
                    <a:pt x="515" y="636"/>
                  </a:lnTo>
                  <a:lnTo>
                    <a:pt x="518" y="636"/>
                  </a:lnTo>
                  <a:lnTo>
                    <a:pt x="515" y="636"/>
                  </a:lnTo>
                  <a:lnTo>
                    <a:pt x="515" y="636"/>
                  </a:lnTo>
                  <a:lnTo>
                    <a:pt x="515" y="638"/>
                  </a:lnTo>
                  <a:lnTo>
                    <a:pt x="515" y="638"/>
                  </a:lnTo>
                  <a:lnTo>
                    <a:pt x="515" y="640"/>
                  </a:lnTo>
                  <a:lnTo>
                    <a:pt x="513" y="640"/>
                  </a:lnTo>
                  <a:lnTo>
                    <a:pt x="513" y="640"/>
                  </a:lnTo>
                  <a:lnTo>
                    <a:pt x="513" y="640"/>
                  </a:lnTo>
                  <a:lnTo>
                    <a:pt x="510" y="638"/>
                  </a:lnTo>
                  <a:lnTo>
                    <a:pt x="510" y="638"/>
                  </a:lnTo>
                  <a:lnTo>
                    <a:pt x="510" y="640"/>
                  </a:lnTo>
                  <a:lnTo>
                    <a:pt x="508" y="640"/>
                  </a:lnTo>
                  <a:lnTo>
                    <a:pt x="508" y="638"/>
                  </a:lnTo>
                  <a:lnTo>
                    <a:pt x="508" y="638"/>
                  </a:lnTo>
                  <a:lnTo>
                    <a:pt x="506" y="640"/>
                  </a:lnTo>
                  <a:lnTo>
                    <a:pt x="506" y="640"/>
                  </a:lnTo>
                  <a:lnTo>
                    <a:pt x="503" y="638"/>
                  </a:lnTo>
                  <a:lnTo>
                    <a:pt x="501" y="638"/>
                  </a:lnTo>
                  <a:lnTo>
                    <a:pt x="499" y="638"/>
                  </a:lnTo>
                  <a:lnTo>
                    <a:pt x="499" y="638"/>
                  </a:lnTo>
                  <a:lnTo>
                    <a:pt x="496" y="638"/>
                  </a:lnTo>
                  <a:lnTo>
                    <a:pt x="496" y="640"/>
                  </a:lnTo>
                  <a:lnTo>
                    <a:pt x="496" y="640"/>
                  </a:lnTo>
                  <a:lnTo>
                    <a:pt x="494" y="640"/>
                  </a:lnTo>
                  <a:lnTo>
                    <a:pt x="494" y="643"/>
                  </a:lnTo>
                  <a:lnTo>
                    <a:pt x="492" y="643"/>
                  </a:lnTo>
                  <a:lnTo>
                    <a:pt x="489" y="643"/>
                  </a:lnTo>
                  <a:lnTo>
                    <a:pt x="489" y="640"/>
                  </a:lnTo>
                  <a:lnTo>
                    <a:pt x="487" y="640"/>
                  </a:lnTo>
                  <a:lnTo>
                    <a:pt x="487" y="640"/>
                  </a:lnTo>
                  <a:lnTo>
                    <a:pt x="484" y="638"/>
                  </a:lnTo>
                  <a:lnTo>
                    <a:pt x="482" y="638"/>
                  </a:lnTo>
                  <a:lnTo>
                    <a:pt x="482" y="638"/>
                  </a:lnTo>
                  <a:lnTo>
                    <a:pt x="482" y="638"/>
                  </a:lnTo>
                  <a:lnTo>
                    <a:pt x="482" y="636"/>
                  </a:lnTo>
                  <a:lnTo>
                    <a:pt x="482" y="636"/>
                  </a:lnTo>
                  <a:lnTo>
                    <a:pt x="482" y="636"/>
                  </a:lnTo>
                  <a:lnTo>
                    <a:pt x="482" y="636"/>
                  </a:lnTo>
                  <a:lnTo>
                    <a:pt x="480" y="636"/>
                  </a:lnTo>
                  <a:lnTo>
                    <a:pt x="482" y="631"/>
                  </a:lnTo>
                  <a:lnTo>
                    <a:pt x="480" y="631"/>
                  </a:lnTo>
                  <a:lnTo>
                    <a:pt x="480" y="631"/>
                  </a:lnTo>
                  <a:lnTo>
                    <a:pt x="482" y="628"/>
                  </a:lnTo>
                  <a:lnTo>
                    <a:pt x="482" y="628"/>
                  </a:lnTo>
                  <a:lnTo>
                    <a:pt x="480" y="628"/>
                  </a:lnTo>
                  <a:lnTo>
                    <a:pt x="482" y="628"/>
                  </a:lnTo>
                  <a:lnTo>
                    <a:pt x="482" y="626"/>
                  </a:lnTo>
                  <a:lnTo>
                    <a:pt x="480" y="626"/>
                  </a:lnTo>
                  <a:lnTo>
                    <a:pt x="480" y="624"/>
                  </a:lnTo>
                  <a:lnTo>
                    <a:pt x="480" y="624"/>
                  </a:lnTo>
                  <a:lnTo>
                    <a:pt x="482" y="624"/>
                  </a:lnTo>
                  <a:lnTo>
                    <a:pt x="482" y="621"/>
                  </a:lnTo>
                  <a:lnTo>
                    <a:pt x="484" y="624"/>
                  </a:lnTo>
                  <a:lnTo>
                    <a:pt x="484" y="621"/>
                  </a:lnTo>
                  <a:lnTo>
                    <a:pt x="484" y="621"/>
                  </a:lnTo>
                  <a:lnTo>
                    <a:pt x="484" y="619"/>
                  </a:lnTo>
                  <a:lnTo>
                    <a:pt x="484" y="619"/>
                  </a:lnTo>
                  <a:lnTo>
                    <a:pt x="484" y="617"/>
                  </a:lnTo>
                  <a:lnTo>
                    <a:pt x="484" y="617"/>
                  </a:lnTo>
                  <a:lnTo>
                    <a:pt x="487" y="617"/>
                  </a:lnTo>
                  <a:lnTo>
                    <a:pt x="487" y="614"/>
                  </a:lnTo>
                  <a:lnTo>
                    <a:pt x="487" y="612"/>
                  </a:lnTo>
                  <a:lnTo>
                    <a:pt x="489" y="612"/>
                  </a:lnTo>
                  <a:lnTo>
                    <a:pt x="489" y="612"/>
                  </a:lnTo>
                  <a:lnTo>
                    <a:pt x="489" y="612"/>
                  </a:lnTo>
                  <a:lnTo>
                    <a:pt x="489" y="610"/>
                  </a:lnTo>
                  <a:lnTo>
                    <a:pt x="489" y="610"/>
                  </a:lnTo>
                  <a:lnTo>
                    <a:pt x="489" y="610"/>
                  </a:lnTo>
                  <a:lnTo>
                    <a:pt x="489" y="607"/>
                  </a:lnTo>
                  <a:lnTo>
                    <a:pt x="489" y="607"/>
                  </a:lnTo>
                  <a:lnTo>
                    <a:pt x="492" y="605"/>
                  </a:lnTo>
                  <a:lnTo>
                    <a:pt x="492" y="602"/>
                  </a:lnTo>
                  <a:lnTo>
                    <a:pt x="489" y="602"/>
                  </a:lnTo>
                  <a:lnTo>
                    <a:pt x="489" y="605"/>
                  </a:lnTo>
                  <a:lnTo>
                    <a:pt x="489" y="605"/>
                  </a:lnTo>
                  <a:lnTo>
                    <a:pt x="489" y="602"/>
                  </a:lnTo>
                  <a:lnTo>
                    <a:pt x="489" y="600"/>
                  </a:lnTo>
                  <a:lnTo>
                    <a:pt x="492" y="598"/>
                  </a:lnTo>
                  <a:lnTo>
                    <a:pt x="494" y="598"/>
                  </a:lnTo>
                  <a:lnTo>
                    <a:pt x="496" y="595"/>
                  </a:lnTo>
                  <a:lnTo>
                    <a:pt x="494" y="595"/>
                  </a:lnTo>
                  <a:lnTo>
                    <a:pt x="494" y="595"/>
                  </a:lnTo>
                  <a:lnTo>
                    <a:pt x="492" y="593"/>
                  </a:lnTo>
                  <a:lnTo>
                    <a:pt x="489" y="593"/>
                  </a:lnTo>
                  <a:lnTo>
                    <a:pt x="489" y="593"/>
                  </a:lnTo>
                  <a:lnTo>
                    <a:pt x="489" y="593"/>
                  </a:lnTo>
                  <a:lnTo>
                    <a:pt x="487" y="591"/>
                  </a:lnTo>
                  <a:lnTo>
                    <a:pt x="487" y="591"/>
                  </a:lnTo>
                  <a:lnTo>
                    <a:pt x="484" y="591"/>
                  </a:lnTo>
                  <a:lnTo>
                    <a:pt x="484" y="591"/>
                  </a:lnTo>
                  <a:lnTo>
                    <a:pt x="484" y="591"/>
                  </a:lnTo>
                  <a:lnTo>
                    <a:pt x="484" y="588"/>
                  </a:lnTo>
                  <a:lnTo>
                    <a:pt x="484" y="588"/>
                  </a:lnTo>
                  <a:lnTo>
                    <a:pt x="482" y="586"/>
                  </a:lnTo>
                  <a:lnTo>
                    <a:pt x="484" y="586"/>
                  </a:lnTo>
                  <a:lnTo>
                    <a:pt x="482" y="584"/>
                  </a:lnTo>
                  <a:lnTo>
                    <a:pt x="482" y="584"/>
                  </a:lnTo>
                  <a:lnTo>
                    <a:pt x="482" y="584"/>
                  </a:lnTo>
                  <a:lnTo>
                    <a:pt x="482" y="584"/>
                  </a:lnTo>
                  <a:lnTo>
                    <a:pt x="480" y="584"/>
                  </a:lnTo>
                  <a:lnTo>
                    <a:pt x="480" y="581"/>
                  </a:lnTo>
                  <a:lnTo>
                    <a:pt x="477" y="579"/>
                  </a:lnTo>
                  <a:lnTo>
                    <a:pt x="475" y="579"/>
                  </a:lnTo>
                  <a:lnTo>
                    <a:pt x="477" y="576"/>
                  </a:lnTo>
                  <a:lnTo>
                    <a:pt x="477" y="576"/>
                  </a:lnTo>
                  <a:lnTo>
                    <a:pt x="477" y="574"/>
                  </a:lnTo>
                  <a:lnTo>
                    <a:pt x="477" y="572"/>
                  </a:lnTo>
                  <a:lnTo>
                    <a:pt x="480" y="572"/>
                  </a:lnTo>
                  <a:lnTo>
                    <a:pt x="477" y="569"/>
                  </a:lnTo>
                  <a:lnTo>
                    <a:pt x="477" y="569"/>
                  </a:lnTo>
                  <a:lnTo>
                    <a:pt x="477" y="569"/>
                  </a:lnTo>
                  <a:lnTo>
                    <a:pt x="475" y="567"/>
                  </a:lnTo>
                  <a:lnTo>
                    <a:pt x="475" y="567"/>
                  </a:lnTo>
                  <a:lnTo>
                    <a:pt x="473" y="565"/>
                  </a:lnTo>
                  <a:lnTo>
                    <a:pt x="473" y="567"/>
                  </a:lnTo>
                  <a:lnTo>
                    <a:pt x="473" y="565"/>
                  </a:lnTo>
                  <a:lnTo>
                    <a:pt x="470" y="567"/>
                  </a:lnTo>
                  <a:lnTo>
                    <a:pt x="470" y="565"/>
                  </a:lnTo>
                  <a:lnTo>
                    <a:pt x="468" y="565"/>
                  </a:lnTo>
                  <a:lnTo>
                    <a:pt x="470" y="565"/>
                  </a:lnTo>
                  <a:lnTo>
                    <a:pt x="468" y="565"/>
                  </a:lnTo>
                  <a:lnTo>
                    <a:pt x="470" y="562"/>
                  </a:lnTo>
                  <a:lnTo>
                    <a:pt x="468" y="562"/>
                  </a:lnTo>
                  <a:lnTo>
                    <a:pt x="466" y="562"/>
                  </a:lnTo>
                  <a:lnTo>
                    <a:pt x="466" y="562"/>
                  </a:lnTo>
                  <a:lnTo>
                    <a:pt x="466" y="560"/>
                  </a:lnTo>
                  <a:lnTo>
                    <a:pt x="466" y="560"/>
                  </a:lnTo>
                  <a:lnTo>
                    <a:pt x="466" y="560"/>
                  </a:lnTo>
                  <a:lnTo>
                    <a:pt x="466" y="558"/>
                  </a:lnTo>
                  <a:lnTo>
                    <a:pt x="463" y="558"/>
                  </a:lnTo>
                  <a:lnTo>
                    <a:pt x="463" y="558"/>
                  </a:lnTo>
                  <a:lnTo>
                    <a:pt x="461" y="555"/>
                  </a:lnTo>
                  <a:lnTo>
                    <a:pt x="461" y="555"/>
                  </a:lnTo>
                  <a:lnTo>
                    <a:pt x="461" y="555"/>
                  </a:lnTo>
                  <a:lnTo>
                    <a:pt x="461" y="553"/>
                  </a:lnTo>
                  <a:lnTo>
                    <a:pt x="461" y="553"/>
                  </a:lnTo>
                  <a:lnTo>
                    <a:pt x="459" y="553"/>
                  </a:lnTo>
                  <a:lnTo>
                    <a:pt x="459" y="553"/>
                  </a:lnTo>
                  <a:lnTo>
                    <a:pt x="459" y="553"/>
                  </a:lnTo>
                  <a:lnTo>
                    <a:pt x="459" y="553"/>
                  </a:lnTo>
                  <a:lnTo>
                    <a:pt x="459" y="553"/>
                  </a:lnTo>
                  <a:lnTo>
                    <a:pt x="461" y="553"/>
                  </a:lnTo>
                  <a:lnTo>
                    <a:pt x="459" y="553"/>
                  </a:lnTo>
                  <a:lnTo>
                    <a:pt x="459" y="550"/>
                  </a:lnTo>
                  <a:lnTo>
                    <a:pt x="459" y="550"/>
                  </a:lnTo>
                  <a:lnTo>
                    <a:pt x="459" y="550"/>
                  </a:lnTo>
                  <a:lnTo>
                    <a:pt x="459" y="548"/>
                  </a:lnTo>
                  <a:lnTo>
                    <a:pt x="459" y="548"/>
                  </a:lnTo>
                  <a:lnTo>
                    <a:pt x="459" y="548"/>
                  </a:lnTo>
                  <a:lnTo>
                    <a:pt x="456" y="546"/>
                  </a:lnTo>
                  <a:lnTo>
                    <a:pt x="456" y="546"/>
                  </a:lnTo>
                  <a:lnTo>
                    <a:pt x="456" y="546"/>
                  </a:lnTo>
                  <a:lnTo>
                    <a:pt x="459" y="546"/>
                  </a:lnTo>
                  <a:lnTo>
                    <a:pt x="459" y="546"/>
                  </a:lnTo>
                  <a:lnTo>
                    <a:pt x="456" y="546"/>
                  </a:lnTo>
                  <a:lnTo>
                    <a:pt x="456" y="543"/>
                  </a:lnTo>
                  <a:lnTo>
                    <a:pt x="456" y="543"/>
                  </a:lnTo>
                  <a:lnTo>
                    <a:pt x="454" y="543"/>
                  </a:lnTo>
                  <a:lnTo>
                    <a:pt x="454" y="543"/>
                  </a:lnTo>
                  <a:lnTo>
                    <a:pt x="456" y="543"/>
                  </a:lnTo>
                  <a:lnTo>
                    <a:pt x="456" y="543"/>
                  </a:lnTo>
                  <a:lnTo>
                    <a:pt x="456" y="541"/>
                  </a:lnTo>
                  <a:lnTo>
                    <a:pt x="456" y="541"/>
                  </a:lnTo>
                  <a:lnTo>
                    <a:pt x="454" y="541"/>
                  </a:lnTo>
                  <a:lnTo>
                    <a:pt x="454" y="539"/>
                  </a:lnTo>
                  <a:lnTo>
                    <a:pt x="454" y="541"/>
                  </a:lnTo>
                  <a:lnTo>
                    <a:pt x="454" y="541"/>
                  </a:lnTo>
                  <a:lnTo>
                    <a:pt x="451" y="541"/>
                  </a:lnTo>
                  <a:lnTo>
                    <a:pt x="451" y="541"/>
                  </a:lnTo>
                  <a:lnTo>
                    <a:pt x="451" y="539"/>
                  </a:lnTo>
                  <a:lnTo>
                    <a:pt x="449" y="539"/>
                  </a:lnTo>
                  <a:lnTo>
                    <a:pt x="449" y="539"/>
                  </a:lnTo>
                  <a:lnTo>
                    <a:pt x="449" y="536"/>
                  </a:lnTo>
                  <a:lnTo>
                    <a:pt x="449" y="534"/>
                  </a:lnTo>
                  <a:lnTo>
                    <a:pt x="447" y="536"/>
                  </a:lnTo>
                  <a:lnTo>
                    <a:pt x="444" y="534"/>
                  </a:lnTo>
                  <a:lnTo>
                    <a:pt x="444" y="534"/>
                  </a:lnTo>
                  <a:lnTo>
                    <a:pt x="444" y="532"/>
                  </a:lnTo>
                  <a:lnTo>
                    <a:pt x="444" y="532"/>
                  </a:lnTo>
                  <a:lnTo>
                    <a:pt x="444" y="532"/>
                  </a:lnTo>
                  <a:lnTo>
                    <a:pt x="444" y="529"/>
                  </a:lnTo>
                  <a:lnTo>
                    <a:pt x="444" y="529"/>
                  </a:lnTo>
                  <a:lnTo>
                    <a:pt x="444" y="529"/>
                  </a:lnTo>
                  <a:lnTo>
                    <a:pt x="447" y="529"/>
                  </a:lnTo>
                  <a:lnTo>
                    <a:pt x="444" y="529"/>
                  </a:lnTo>
                  <a:lnTo>
                    <a:pt x="444" y="529"/>
                  </a:lnTo>
                  <a:lnTo>
                    <a:pt x="447" y="529"/>
                  </a:lnTo>
                  <a:lnTo>
                    <a:pt x="449" y="527"/>
                  </a:lnTo>
                  <a:lnTo>
                    <a:pt x="449" y="527"/>
                  </a:lnTo>
                  <a:lnTo>
                    <a:pt x="449" y="527"/>
                  </a:lnTo>
                  <a:lnTo>
                    <a:pt x="449" y="525"/>
                  </a:lnTo>
                  <a:lnTo>
                    <a:pt x="449" y="525"/>
                  </a:lnTo>
                  <a:lnTo>
                    <a:pt x="449" y="522"/>
                  </a:lnTo>
                  <a:lnTo>
                    <a:pt x="449" y="520"/>
                  </a:lnTo>
                  <a:lnTo>
                    <a:pt x="449" y="520"/>
                  </a:lnTo>
                  <a:lnTo>
                    <a:pt x="449" y="520"/>
                  </a:lnTo>
                  <a:lnTo>
                    <a:pt x="449" y="517"/>
                  </a:lnTo>
                  <a:lnTo>
                    <a:pt x="449" y="517"/>
                  </a:lnTo>
                  <a:lnTo>
                    <a:pt x="449" y="517"/>
                  </a:lnTo>
                  <a:lnTo>
                    <a:pt x="449" y="515"/>
                  </a:lnTo>
                  <a:lnTo>
                    <a:pt x="451" y="517"/>
                  </a:lnTo>
                  <a:lnTo>
                    <a:pt x="451" y="517"/>
                  </a:lnTo>
                  <a:lnTo>
                    <a:pt x="451" y="515"/>
                  </a:lnTo>
                  <a:lnTo>
                    <a:pt x="451" y="513"/>
                  </a:lnTo>
                  <a:lnTo>
                    <a:pt x="451" y="513"/>
                  </a:lnTo>
                  <a:lnTo>
                    <a:pt x="451" y="510"/>
                  </a:lnTo>
                  <a:lnTo>
                    <a:pt x="451" y="510"/>
                  </a:lnTo>
                  <a:lnTo>
                    <a:pt x="449" y="510"/>
                  </a:lnTo>
                  <a:lnTo>
                    <a:pt x="449" y="510"/>
                  </a:lnTo>
                  <a:lnTo>
                    <a:pt x="449" y="510"/>
                  </a:lnTo>
                  <a:lnTo>
                    <a:pt x="449" y="508"/>
                  </a:lnTo>
                  <a:lnTo>
                    <a:pt x="447" y="508"/>
                  </a:lnTo>
                  <a:lnTo>
                    <a:pt x="447" y="508"/>
                  </a:lnTo>
                  <a:lnTo>
                    <a:pt x="447" y="508"/>
                  </a:lnTo>
                  <a:lnTo>
                    <a:pt x="447" y="508"/>
                  </a:lnTo>
                  <a:lnTo>
                    <a:pt x="447" y="506"/>
                  </a:lnTo>
                  <a:lnTo>
                    <a:pt x="444" y="506"/>
                  </a:lnTo>
                  <a:lnTo>
                    <a:pt x="444" y="503"/>
                  </a:lnTo>
                  <a:lnTo>
                    <a:pt x="442" y="503"/>
                  </a:lnTo>
                  <a:lnTo>
                    <a:pt x="444" y="503"/>
                  </a:lnTo>
                  <a:lnTo>
                    <a:pt x="444" y="501"/>
                  </a:lnTo>
                  <a:lnTo>
                    <a:pt x="442" y="501"/>
                  </a:lnTo>
                  <a:lnTo>
                    <a:pt x="442" y="501"/>
                  </a:lnTo>
                  <a:lnTo>
                    <a:pt x="442" y="501"/>
                  </a:lnTo>
                  <a:lnTo>
                    <a:pt x="442" y="499"/>
                  </a:lnTo>
                  <a:lnTo>
                    <a:pt x="442" y="499"/>
                  </a:lnTo>
                  <a:lnTo>
                    <a:pt x="444" y="496"/>
                  </a:lnTo>
                  <a:lnTo>
                    <a:pt x="444" y="494"/>
                  </a:lnTo>
                  <a:lnTo>
                    <a:pt x="444" y="494"/>
                  </a:lnTo>
                  <a:lnTo>
                    <a:pt x="444" y="491"/>
                  </a:lnTo>
                  <a:lnTo>
                    <a:pt x="444" y="491"/>
                  </a:lnTo>
                  <a:lnTo>
                    <a:pt x="444" y="489"/>
                  </a:lnTo>
                  <a:lnTo>
                    <a:pt x="442" y="489"/>
                  </a:lnTo>
                  <a:lnTo>
                    <a:pt x="442" y="487"/>
                  </a:lnTo>
                  <a:lnTo>
                    <a:pt x="442" y="487"/>
                  </a:lnTo>
                  <a:lnTo>
                    <a:pt x="442" y="487"/>
                  </a:lnTo>
                  <a:lnTo>
                    <a:pt x="442" y="484"/>
                  </a:lnTo>
                  <a:lnTo>
                    <a:pt x="442" y="484"/>
                  </a:lnTo>
                  <a:lnTo>
                    <a:pt x="442" y="482"/>
                  </a:lnTo>
                  <a:lnTo>
                    <a:pt x="444" y="482"/>
                  </a:lnTo>
                  <a:lnTo>
                    <a:pt x="444" y="482"/>
                  </a:lnTo>
                  <a:lnTo>
                    <a:pt x="444" y="482"/>
                  </a:lnTo>
                  <a:lnTo>
                    <a:pt x="444" y="480"/>
                  </a:lnTo>
                  <a:lnTo>
                    <a:pt x="444" y="480"/>
                  </a:lnTo>
                  <a:lnTo>
                    <a:pt x="444" y="477"/>
                  </a:lnTo>
                  <a:lnTo>
                    <a:pt x="447" y="477"/>
                  </a:lnTo>
                  <a:lnTo>
                    <a:pt x="447" y="477"/>
                  </a:lnTo>
                  <a:lnTo>
                    <a:pt x="449" y="477"/>
                  </a:lnTo>
                  <a:lnTo>
                    <a:pt x="449" y="477"/>
                  </a:lnTo>
                  <a:lnTo>
                    <a:pt x="449" y="477"/>
                  </a:lnTo>
                  <a:lnTo>
                    <a:pt x="449" y="475"/>
                  </a:lnTo>
                  <a:lnTo>
                    <a:pt x="447" y="475"/>
                  </a:lnTo>
                  <a:lnTo>
                    <a:pt x="447" y="475"/>
                  </a:lnTo>
                  <a:lnTo>
                    <a:pt x="447" y="475"/>
                  </a:lnTo>
                  <a:lnTo>
                    <a:pt x="444" y="473"/>
                  </a:lnTo>
                  <a:lnTo>
                    <a:pt x="444" y="473"/>
                  </a:lnTo>
                  <a:lnTo>
                    <a:pt x="444" y="473"/>
                  </a:lnTo>
                  <a:lnTo>
                    <a:pt x="444" y="473"/>
                  </a:lnTo>
                  <a:lnTo>
                    <a:pt x="444" y="473"/>
                  </a:lnTo>
                  <a:lnTo>
                    <a:pt x="442" y="473"/>
                  </a:lnTo>
                  <a:lnTo>
                    <a:pt x="442" y="473"/>
                  </a:lnTo>
                  <a:lnTo>
                    <a:pt x="442" y="470"/>
                  </a:lnTo>
                  <a:lnTo>
                    <a:pt x="444" y="470"/>
                  </a:lnTo>
                  <a:lnTo>
                    <a:pt x="444" y="470"/>
                  </a:lnTo>
                  <a:lnTo>
                    <a:pt x="447" y="470"/>
                  </a:lnTo>
                  <a:lnTo>
                    <a:pt x="444" y="470"/>
                  </a:lnTo>
                  <a:lnTo>
                    <a:pt x="444" y="468"/>
                  </a:lnTo>
                  <a:lnTo>
                    <a:pt x="442" y="465"/>
                  </a:lnTo>
                  <a:lnTo>
                    <a:pt x="440" y="465"/>
                  </a:lnTo>
                  <a:lnTo>
                    <a:pt x="440" y="465"/>
                  </a:lnTo>
                  <a:lnTo>
                    <a:pt x="440" y="463"/>
                  </a:lnTo>
                  <a:lnTo>
                    <a:pt x="442" y="465"/>
                  </a:lnTo>
                  <a:lnTo>
                    <a:pt x="442" y="463"/>
                  </a:lnTo>
                  <a:lnTo>
                    <a:pt x="442" y="461"/>
                  </a:lnTo>
                  <a:lnTo>
                    <a:pt x="442" y="461"/>
                  </a:lnTo>
                  <a:lnTo>
                    <a:pt x="442" y="456"/>
                  </a:lnTo>
                  <a:lnTo>
                    <a:pt x="440" y="454"/>
                  </a:lnTo>
                  <a:lnTo>
                    <a:pt x="440" y="454"/>
                  </a:lnTo>
                  <a:lnTo>
                    <a:pt x="440" y="451"/>
                  </a:lnTo>
                  <a:lnTo>
                    <a:pt x="440" y="451"/>
                  </a:lnTo>
                  <a:lnTo>
                    <a:pt x="437" y="451"/>
                  </a:lnTo>
                  <a:lnTo>
                    <a:pt x="437" y="449"/>
                  </a:lnTo>
                  <a:lnTo>
                    <a:pt x="437" y="447"/>
                  </a:lnTo>
                  <a:lnTo>
                    <a:pt x="435" y="444"/>
                  </a:lnTo>
                  <a:lnTo>
                    <a:pt x="435" y="442"/>
                  </a:lnTo>
                  <a:lnTo>
                    <a:pt x="435" y="442"/>
                  </a:lnTo>
                  <a:lnTo>
                    <a:pt x="433" y="442"/>
                  </a:lnTo>
                  <a:lnTo>
                    <a:pt x="433" y="442"/>
                  </a:lnTo>
                  <a:lnTo>
                    <a:pt x="433" y="439"/>
                  </a:lnTo>
                  <a:lnTo>
                    <a:pt x="430" y="442"/>
                  </a:lnTo>
                  <a:lnTo>
                    <a:pt x="430" y="439"/>
                  </a:lnTo>
                  <a:lnTo>
                    <a:pt x="428" y="437"/>
                  </a:lnTo>
                  <a:lnTo>
                    <a:pt x="428" y="437"/>
                  </a:lnTo>
                  <a:lnTo>
                    <a:pt x="430" y="435"/>
                  </a:lnTo>
                  <a:lnTo>
                    <a:pt x="428" y="435"/>
                  </a:lnTo>
                  <a:lnTo>
                    <a:pt x="428" y="432"/>
                  </a:lnTo>
                  <a:lnTo>
                    <a:pt x="425" y="432"/>
                  </a:lnTo>
                  <a:lnTo>
                    <a:pt x="423" y="435"/>
                  </a:lnTo>
                  <a:lnTo>
                    <a:pt x="423" y="432"/>
                  </a:lnTo>
                  <a:lnTo>
                    <a:pt x="421" y="432"/>
                  </a:lnTo>
                  <a:lnTo>
                    <a:pt x="421" y="432"/>
                  </a:lnTo>
                  <a:lnTo>
                    <a:pt x="418" y="432"/>
                  </a:lnTo>
                  <a:lnTo>
                    <a:pt x="418" y="432"/>
                  </a:lnTo>
                  <a:lnTo>
                    <a:pt x="418" y="430"/>
                  </a:lnTo>
                  <a:lnTo>
                    <a:pt x="416" y="430"/>
                  </a:lnTo>
                  <a:lnTo>
                    <a:pt x="416" y="430"/>
                  </a:lnTo>
                  <a:lnTo>
                    <a:pt x="416" y="428"/>
                  </a:lnTo>
                  <a:lnTo>
                    <a:pt x="414" y="430"/>
                  </a:lnTo>
                  <a:lnTo>
                    <a:pt x="411" y="430"/>
                  </a:lnTo>
                  <a:lnTo>
                    <a:pt x="411" y="428"/>
                  </a:lnTo>
                  <a:lnTo>
                    <a:pt x="409" y="428"/>
                  </a:lnTo>
                  <a:lnTo>
                    <a:pt x="409" y="428"/>
                  </a:lnTo>
                  <a:lnTo>
                    <a:pt x="407" y="428"/>
                  </a:lnTo>
                  <a:lnTo>
                    <a:pt x="404" y="428"/>
                  </a:lnTo>
                  <a:lnTo>
                    <a:pt x="404" y="425"/>
                  </a:lnTo>
                  <a:lnTo>
                    <a:pt x="404" y="423"/>
                  </a:lnTo>
                  <a:lnTo>
                    <a:pt x="407" y="421"/>
                  </a:lnTo>
                  <a:lnTo>
                    <a:pt x="407" y="421"/>
                  </a:lnTo>
                  <a:lnTo>
                    <a:pt x="407" y="421"/>
                  </a:lnTo>
                  <a:lnTo>
                    <a:pt x="407" y="421"/>
                  </a:lnTo>
                  <a:lnTo>
                    <a:pt x="404" y="418"/>
                  </a:lnTo>
                  <a:lnTo>
                    <a:pt x="402" y="418"/>
                  </a:lnTo>
                  <a:lnTo>
                    <a:pt x="399" y="418"/>
                  </a:lnTo>
                  <a:lnTo>
                    <a:pt x="397" y="416"/>
                  </a:lnTo>
                  <a:lnTo>
                    <a:pt x="397" y="413"/>
                  </a:lnTo>
                  <a:lnTo>
                    <a:pt x="397" y="413"/>
                  </a:lnTo>
                  <a:lnTo>
                    <a:pt x="399" y="411"/>
                  </a:lnTo>
                  <a:lnTo>
                    <a:pt x="397" y="409"/>
                  </a:lnTo>
                  <a:lnTo>
                    <a:pt x="397" y="409"/>
                  </a:lnTo>
                  <a:lnTo>
                    <a:pt x="395" y="406"/>
                  </a:lnTo>
                  <a:lnTo>
                    <a:pt x="395" y="406"/>
                  </a:lnTo>
                  <a:lnTo>
                    <a:pt x="395" y="409"/>
                  </a:lnTo>
                  <a:lnTo>
                    <a:pt x="395" y="409"/>
                  </a:lnTo>
                  <a:lnTo>
                    <a:pt x="395" y="411"/>
                  </a:lnTo>
                  <a:lnTo>
                    <a:pt x="395" y="411"/>
                  </a:lnTo>
                  <a:lnTo>
                    <a:pt x="392" y="411"/>
                  </a:lnTo>
                  <a:lnTo>
                    <a:pt x="392" y="409"/>
                  </a:lnTo>
                  <a:lnTo>
                    <a:pt x="390" y="409"/>
                  </a:lnTo>
                  <a:lnTo>
                    <a:pt x="388" y="406"/>
                  </a:lnTo>
                  <a:lnTo>
                    <a:pt x="388" y="409"/>
                  </a:lnTo>
                  <a:lnTo>
                    <a:pt x="385" y="411"/>
                  </a:lnTo>
                  <a:lnTo>
                    <a:pt x="383" y="409"/>
                  </a:lnTo>
                  <a:lnTo>
                    <a:pt x="381" y="409"/>
                  </a:lnTo>
                  <a:lnTo>
                    <a:pt x="381" y="411"/>
                  </a:lnTo>
                  <a:lnTo>
                    <a:pt x="378" y="411"/>
                  </a:lnTo>
                  <a:lnTo>
                    <a:pt x="378" y="411"/>
                  </a:lnTo>
                  <a:lnTo>
                    <a:pt x="376" y="411"/>
                  </a:lnTo>
                  <a:lnTo>
                    <a:pt x="373" y="413"/>
                  </a:lnTo>
                  <a:lnTo>
                    <a:pt x="371" y="413"/>
                  </a:lnTo>
                  <a:lnTo>
                    <a:pt x="369" y="413"/>
                  </a:lnTo>
                  <a:lnTo>
                    <a:pt x="366" y="413"/>
                  </a:lnTo>
                  <a:lnTo>
                    <a:pt x="364" y="413"/>
                  </a:lnTo>
                  <a:lnTo>
                    <a:pt x="364" y="413"/>
                  </a:lnTo>
                  <a:lnTo>
                    <a:pt x="364" y="413"/>
                  </a:lnTo>
                  <a:lnTo>
                    <a:pt x="362" y="411"/>
                  </a:lnTo>
                  <a:lnTo>
                    <a:pt x="359" y="411"/>
                  </a:lnTo>
                  <a:lnTo>
                    <a:pt x="357" y="411"/>
                  </a:lnTo>
                  <a:lnTo>
                    <a:pt x="357" y="411"/>
                  </a:lnTo>
                  <a:lnTo>
                    <a:pt x="355" y="413"/>
                  </a:lnTo>
                  <a:lnTo>
                    <a:pt x="352" y="413"/>
                  </a:lnTo>
                  <a:lnTo>
                    <a:pt x="350" y="413"/>
                  </a:lnTo>
                  <a:lnTo>
                    <a:pt x="350" y="411"/>
                  </a:lnTo>
                  <a:lnTo>
                    <a:pt x="347" y="409"/>
                  </a:lnTo>
                  <a:lnTo>
                    <a:pt x="347" y="409"/>
                  </a:lnTo>
                  <a:lnTo>
                    <a:pt x="345" y="406"/>
                  </a:lnTo>
                  <a:lnTo>
                    <a:pt x="343" y="409"/>
                  </a:lnTo>
                  <a:lnTo>
                    <a:pt x="343" y="409"/>
                  </a:lnTo>
                  <a:lnTo>
                    <a:pt x="340" y="409"/>
                  </a:lnTo>
                  <a:lnTo>
                    <a:pt x="340" y="411"/>
                  </a:lnTo>
                  <a:lnTo>
                    <a:pt x="340" y="411"/>
                  </a:lnTo>
                  <a:lnTo>
                    <a:pt x="340" y="413"/>
                  </a:lnTo>
                  <a:lnTo>
                    <a:pt x="338" y="411"/>
                  </a:lnTo>
                  <a:lnTo>
                    <a:pt x="336" y="413"/>
                  </a:lnTo>
                  <a:lnTo>
                    <a:pt x="333" y="411"/>
                  </a:lnTo>
                  <a:lnTo>
                    <a:pt x="331" y="411"/>
                  </a:lnTo>
                  <a:lnTo>
                    <a:pt x="331" y="413"/>
                  </a:lnTo>
                  <a:lnTo>
                    <a:pt x="329" y="411"/>
                  </a:lnTo>
                  <a:lnTo>
                    <a:pt x="329" y="411"/>
                  </a:lnTo>
                  <a:lnTo>
                    <a:pt x="326" y="409"/>
                  </a:lnTo>
                  <a:lnTo>
                    <a:pt x="326" y="409"/>
                  </a:lnTo>
                  <a:lnTo>
                    <a:pt x="324" y="409"/>
                  </a:lnTo>
                  <a:lnTo>
                    <a:pt x="321" y="406"/>
                  </a:lnTo>
                  <a:lnTo>
                    <a:pt x="319" y="409"/>
                  </a:lnTo>
                  <a:lnTo>
                    <a:pt x="317" y="409"/>
                  </a:lnTo>
                  <a:lnTo>
                    <a:pt x="314" y="409"/>
                  </a:lnTo>
                  <a:lnTo>
                    <a:pt x="312" y="409"/>
                  </a:lnTo>
                  <a:lnTo>
                    <a:pt x="312" y="406"/>
                  </a:lnTo>
                  <a:lnTo>
                    <a:pt x="310" y="406"/>
                  </a:lnTo>
                  <a:lnTo>
                    <a:pt x="310" y="406"/>
                  </a:lnTo>
                  <a:lnTo>
                    <a:pt x="307" y="406"/>
                  </a:lnTo>
                  <a:lnTo>
                    <a:pt x="307" y="409"/>
                  </a:lnTo>
                  <a:lnTo>
                    <a:pt x="305" y="413"/>
                  </a:lnTo>
                  <a:lnTo>
                    <a:pt x="303" y="416"/>
                  </a:lnTo>
                  <a:lnTo>
                    <a:pt x="300" y="416"/>
                  </a:lnTo>
                  <a:lnTo>
                    <a:pt x="300" y="416"/>
                  </a:lnTo>
                  <a:lnTo>
                    <a:pt x="298" y="413"/>
                  </a:lnTo>
                  <a:lnTo>
                    <a:pt x="298" y="413"/>
                  </a:lnTo>
                  <a:lnTo>
                    <a:pt x="296" y="413"/>
                  </a:lnTo>
                  <a:lnTo>
                    <a:pt x="293" y="413"/>
                  </a:lnTo>
                  <a:lnTo>
                    <a:pt x="293" y="411"/>
                  </a:lnTo>
                  <a:lnTo>
                    <a:pt x="293" y="406"/>
                  </a:lnTo>
                  <a:lnTo>
                    <a:pt x="293" y="406"/>
                  </a:lnTo>
                  <a:lnTo>
                    <a:pt x="293" y="406"/>
                  </a:lnTo>
                  <a:lnTo>
                    <a:pt x="291" y="404"/>
                  </a:lnTo>
                  <a:lnTo>
                    <a:pt x="288" y="402"/>
                  </a:lnTo>
                  <a:lnTo>
                    <a:pt x="288" y="402"/>
                  </a:lnTo>
                  <a:lnTo>
                    <a:pt x="286" y="397"/>
                  </a:lnTo>
                  <a:lnTo>
                    <a:pt x="281" y="395"/>
                  </a:lnTo>
                  <a:lnTo>
                    <a:pt x="281" y="392"/>
                  </a:lnTo>
                  <a:lnTo>
                    <a:pt x="277" y="392"/>
                  </a:lnTo>
                  <a:lnTo>
                    <a:pt x="277" y="392"/>
                  </a:lnTo>
                  <a:lnTo>
                    <a:pt x="274" y="395"/>
                  </a:lnTo>
                  <a:lnTo>
                    <a:pt x="274" y="395"/>
                  </a:lnTo>
                  <a:lnTo>
                    <a:pt x="272" y="392"/>
                  </a:lnTo>
                  <a:lnTo>
                    <a:pt x="270" y="392"/>
                  </a:lnTo>
                  <a:lnTo>
                    <a:pt x="267" y="392"/>
                  </a:lnTo>
                  <a:lnTo>
                    <a:pt x="267" y="392"/>
                  </a:lnTo>
                  <a:lnTo>
                    <a:pt x="260" y="390"/>
                  </a:lnTo>
                  <a:lnTo>
                    <a:pt x="253" y="390"/>
                  </a:lnTo>
                  <a:lnTo>
                    <a:pt x="248" y="388"/>
                  </a:lnTo>
                  <a:lnTo>
                    <a:pt x="246" y="385"/>
                  </a:lnTo>
                  <a:lnTo>
                    <a:pt x="244" y="385"/>
                  </a:lnTo>
                  <a:lnTo>
                    <a:pt x="241" y="383"/>
                  </a:lnTo>
                  <a:lnTo>
                    <a:pt x="239" y="383"/>
                  </a:lnTo>
                  <a:lnTo>
                    <a:pt x="236" y="383"/>
                  </a:lnTo>
                  <a:lnTo>
                    <a:pt x="236" y="378"/>
                  </a:lnTo>
                  <a:lnTo>
                    <a:pt x="236" y="378"/>
                  </a:lnTo>
                  <a:lnTo>
                    <a:pt x="234" y="378"/>
                  </a:lnTo>
                  <a:lnTo>
                    <a:pt x="232" y="376"/>
                  </a:lnTo>
                  <a:lnTo>
                    <a:pt x="229" y="378"/>
                  </a:lnTo>
                  <a:lnTo>
                    <a:pt x="229" y="378"/>
                  </a:lnTo>
                  <a:lnTo>
                    <a:pt x="225" y="376"/>
                  </a:lnTo>
                  <a:lnTo>
                    <a:pt x="222" y="376"/>
                  </a:lnTo>
                  <a:lnTo>
                    <a:pt x="220" y="376"/>
                  </a:lnTo>
                  <a:lnTo>
                    <a:pt x="218" y="376"/>
                  </a:lnTo>
                  <a:lnTo>
                    <a:pt x="215" y="376"/>
                  </a:lnTo>
                  <a:lnTo>
                    <a:pt x="213" y="373"/>
                  </a:lnTo>
                  <a:lnTo>
                    <a:pt x="210" y="373"/>
                  </a:lnTo>
                  <a:lnTo>
                    <a:pt x="208" y="378"/>
                  </a:lnTo>
                  <a:lnTo>
                    <a:pt x="206" y="378"/>
                  </a:lnTo>
                  <a:lnTo>
                    <a:pt x="203" y="380"/>
                  </a:lnTo>
                  <a:lnTo>
                    <a:pt x="201" y="380"/>
                  </a:lnTo>
                  <a:lnTo>
                    <a:pt x="201" y="378"/>
                  </a:lnTo>
                  <a:lnTo>
                    <a:pt x="196" y="380"/>
                  </a:lnTo>
                  <a:lnTo>
                    <a:pt x="196" y="380"/>
                  </a:lnTo>
                  <a:lnTo>
                    <a:pt x="194" y="380"/>
                  </a:lnTo>
                  <a:lnTo>
                    <a:pt x="192" y="378"/>
                  </a:lnTo>
                  <a:lnTo>
                    <a:pt x="189" y="376"/>
                  </a:lnTo>
                  <a:lnTo>
                    <a:pt x="187" y="376"/>
                  </a:lnTo>
                  <a:lnTo>
                    <a:pt x="182" y="376"/>
                  </a:lnTo>
                  <a:lnTo>
                    <a:pt x="182" y="376"/>
                  </a:lnTo>
                  <a:lnTo>
                    <a:pt x="177" y="378"/>
                  </a:lnTo>
                  <a:lnTo>
                    <a:pt x="175" y="378"/>
                  </a:lnTo>
                  <a:lnTo>
                    <a:pt x="175" y="376"/>
                  </a:lnTo>
                  <a:lnTo>
                    <a:pt x="175" y="371"/>
                  </a:lnTo>
                  <a:lnTo>
                    <a:pt x="175" y="371"/>
                  </a:lnTo>
                  <a:lnTo>
                    <a:pt x="173" y="371"/>
                  </a:lnTo>
                  <a:lnTo>
                    <a:pt x="173" y="371"/>
                  </a:lnTo>
                  <a:lnTo>
                    <a:pt x="170" y="371"/>
                  </a:lnTo>
                  <a:lnTo>
                    <a:pt x="168" y="369"/>
                  </a:lnTo>
                  <a:lnTo>
                    <a:pt x="158" y="371"/>
                  </a:lnTo>
                  <a:lnTo>
                    <a:pt x="158" y="371"/>
                  </a:lnTo>
                  <a:lnTo>
                    <a:pt x="156" y="371"/>
                  </a:lnTo>
                  <a:lnTo>
                    <a:pt x="154" y="369"/>
                  </a:lnTo>
                  <a:lnTo>
                    <a:pt x="154" y="369"/>
                  </a:lnTo>
                  <a:lnTo>
                    <a:pt x="154" y="369"/>
                  </a:lnTo>
                  <a:lnTo>
                    <a:pt x="147" y="364"/>
                  </a:lnTo>
                  <a:lnTo>
                    <a:pt x="144" y="364"/>
                  </a:lnTo>
                  <a:lnTo>
                    <a:pt x="140" y="362"/>
                  </a:lnTo>
                  <a:lnTo>
                    <a:pt x="137" y="359"/>
                  </a:lnTo>
                  <a:lnTo>
                    <a:pt x="137" y="359"/>
                  </a:lnTo>
                  <a:lnTo>
                    <a:pt x="133" y="359"/>
                  </a:lnTo>
                  <a:lnTo>
                    <a:pt x="128" y="357"/>
                  </a:lnTo>
                  <a:lnTo>
                    <a:pt x="128" y="357"/>
                  </a:lnTo>
                  <a:lnTo>
                    <a:pt x="125" y="357"/>
                  </a:lnTo>
                  <a:lnTo>
                    <a:pt x="123" y="357"/>
                  </a:lnTo>
                  <a:lnTo>
                    <a:pt x="123" y="359"/>
                  </a:lnTo>
                  <a:lnTo>
                    <a:pt x="121" y="362"/>
                  </a:lnTo>
                  <a:lnTo>
                    <a:pt x="121" y="364"/>
                  </a:lnTo>
                  <a:lnTo>
                    <a:pt x="121" y="364"/>
                  </a:lnTo>
                  <a:lnTo>
                    <a:pt x="121" y="369"/>
                  </a:lnTo>
                  <a:lnTo>
                    <a:pt x="121" y="369"/>
                  </a:lnTo>
                  <a:lnTo>
                    <a:pt x="121" y="373"/>
                  </a:lnTo>
                  <a:lnTo>
                    <a:pt x="118" y="373"/>
                  </a:lnTo>
                  <a:lnTo>
                    <a:pt x="116" y="376"/>
                  </a:lnTo>
                  <a:lnTo>
                    <a:pt x="111" y="378"/>
                  </a:lnTo>
                  <a:lnTo>
                    <a:pt x="111" y="378"/>
                  </a:lnTo>
                  <a:lnTo>
                    <a:pt x="111" y="376"/>
                  </a:lnTo>
                  <a:lnTo>
                    <a:pt x="111" y="373"/>
                  </a:lnTo>
                  <a:lnTo>
                    <a:pt x="109" y="371"/>
                  </a:lnTo>
                  <a:lnTo>
                    <a:pt x="109" y="369"/>
                  </a:lnTo>
                  <a:lnTo>
                    <a:pt x="104" y="371"/>
                  </a:lnTo>
                  <a:lnTo>
                    <a:pt x="104" y="371"/>
                  </a:lnTo>
                  <a:lnTo>
                    <a:pt x="102" y="373"/>
                  </a:lnTo>
                  <a:lnTo>
                    <a:pt x="99" y="371"/>
                  </a:lnTo>
                  <a:lnTo>
                    <a:pt x="92" y="371"/>
                  </a:lnTo>
                  <a:lnTo>
                    <a:pt x="90" y="371"/>
                  </a:lnTo>
                  <a:lnTo>
                    <a:pt x="88" y="369"/>
                  </a:lnTo>
                  <a:lnTo>
                    <a:pt x="85" y="369"/>
                  </a:lnTo>
                  <a:lnTo>
                    <a:pt x="85" y="369"/>
                  </a:lnTo>
                  <a:lnTo>
                    <a:pt x="83" y="369"/>
                  </a:lnTo>
                  <a:lnTo>
                    <a:pt x="83" y="369"/>
                  </a:lnTo>
                  <a:lnTo>
                    <a:pt x="83" y="369"/>
                  </a:lnTo>
                  <a:lnTo>
                    <a:pt x="78" y="371"/>
                  </a:lnTo>
                  <a:lnTo>
                    <a:pt x="76" y="371"/>
                  </a:lnTo>
                  <a:lnTo>
                    <a:pt x="73" y="371"/>
                  </a:lnTo>
                  <a:lnTo>
                    <a:pt x="73" y="369"/>
                  </a:lnTo>
                  <a:lnTo>
                    <a:pt x="71" y="369"/>
                  </a:lnTo>
                  <a:lnTo>
                    <a:pt x="69" y="366"/>
                  </a:lnTo>
                  <a:lnTo>
                    <a:pt x="66" y="364"/>
                  </a:lnTo>
                  <a:lnTo>
                    <a:pt x="66" y="364"/>
                  </a:lnTo>
                  <a:lnTo>
                    <a:pt x="64" y="364"/>
                  </a:lnTo>
                  <a:lnTo>
                    <a:pt x="57" y="369"/>
                  </a:lnTo>
                  <a:lnTo>
                    <a:pt x="50" y="371"/>
                  </a:lnTo>
                  <a:lnTo>
                    <a:pt x="47" y="371"/>
                  </a:lnTo>
                  <a:lnTo>
                    <a:pt x="45" y="369"/>
                  </a:lnTo>
                  <a:lnTo>
                    <a:pt x="40" y="369"/>
                  </a:lnTo>
                  <a:lnTo>
                    <a:pt x="40" y="369"/>
                  </a:lnTo>
                  <a:lnTo>
                    <a:pt x="40" y="369"/>
                  </a:lnTo>
                  <a:lnTo>
                    <a:pt x="38" y="369"/>
                  </a:lnTo>
                  <a:lnTo>
                    <a:pt x="33" y="369"/>
                  </a:lnTo>
                  <a:lnTo>
                    <a:pt x="31" y="369"/>
                  </a:lnTo>
                  <a:lnTo>
                    <a:pt x="26" y="364"/>
                  </a:lnTo>
                  <a:lnTo>
                    <a:pt x="21" y="364"/>
                  </a:lnTo>
                  <a:lnTo>
                    <a:pt x="17" y="364"/>
                  </a:lnTo>
                  <a:lnTo>
                    <a:pt x="17" y="364"/>
                  </a:lnTo>
                  <a:lnTo>
                    <a:pt x="14" y="366"/>
                  </a:lnTo>
                  <a:lnTo>
                    <a:pt x="12" y="366"/>
                  </a:lnTo>
                  <a:lnTo>
                    <a:pt x="12" y="369"/>
                  </a:lnTo>
                  <a:lnTo>
                    <a:pt x="10" y="369"/>
                  </a:lnTo>
                  <a:lnTo>
                    <a:pt x="10" y="371"/>
                  </a:lnTo>
                  <a:lnTo>
                    <a:pt x="7" y="371"/>
                  </a:lnTo>
                  <a:lnTo>
                    <a:pt x="3" y="373"/>
                  </a:lnTo>
                  <a:lnTo>
                    <a:pt x="3" y="376"/>
                  </a:lnTo>
                  <a:lnTo>
                    <a:pt x="0" y="373"/>
                  </a:lnTo>
                  <a:lnTo>
                    <a:pt x="0" y="371"/>
                  </a:lnTo>
                  <a:close/>
                  <a:moveTo>
                    <a:pt x="1047" y="473"/>
                  </a:moveTo>
                  <a:lnTo>
                    <a:pt x="1047" y="473"/>
                  </a:lnTo>
                  <a:lnTo>
                    <a:pt x="1047" y="473"/>
                  </a:lnTo>
                  <a:lnTo>
                    <a:pt x="1047" y="473"/>
                  </a:lnTo>
                  <a:lnTo>
                    <a:pt x="1047" y="473"/>
                  </a:lnTo>
                  <a:lnTo>
                    <a:pt x="1047" y="473"/>
                  </a:lnTo>
                  <a:lnTo>
                    <a:pt x="1047" y="473"/>
                  </a:lnTo>
                  <a:close/>
                  <a:moveTo>
                    <a:pt x="1025" y="517"/>
                  </a:moveTo>
                  <a:lnTo>
                    <a:pt x="1025" y="517"/>
                  </a:lnTo>
                  <a:lnTo>
                    <a:pt x="1025" y="517"/>
                  </a:lnTo>
                  <a:lnTo>
                    <a:pt x="1025" y="517"/>
                  </a:lnTo>
                  <a:lnTo>
                    <a:pt x="1028" y="517"/>
                  </a:lnTo>
                  <a:lnTo>
                    <a:pt x="1025" y="517"/>
                  </a:lnTo>
                  <a:lnTo>
                    <a:pt x="1028" y="517"/>
                  </a:lnTo>
                  <a:lnTo>
                    <a:pt x="1028" y="520"/>
                  </a:lnTo>
                  <a:lnTo>
                    <a:pt x="1025" y="520"/>
                  </a:lnTo>
                  <a:lnTo>
                    <a:pt x="1025" y="520"/>
                  </a:lnTo>
                  <a:lnTo>
                    <a:pt x="1025" y="517"/>
                  </a:lnTo>
                  <a:lnTo>
                    <a:pt x="1025" y="517"/>
                  </a:lnTo>
                  <a:close/>
                  <a:moveTo>
                    <a:pt x="898" y="529"/>
                  </a:moveTo>
                  <a:lnTo>
                    <a:pt x="898" y="527"/>
                  </a:lnTo>
                  <a:lnTo>
                    <a:pt x="898" y="529"/>
                  </a:lnTo>
                  <a:close/>
                  <a:moveTo>
                    <a:pt x="1002" y="489"/>
                  </a:moveTo>
                  <a:lnTo>
                    <a:pt x="1002" y="489"/>
                  </a:lnTo>
                  <a:lnTo>
                    <a:pt x="1002" y="489"/>
                  </a:lnTo>
                  <a:close/>
                  <a:moveTo>
                    <a:pt x="1023" y="489"/>
                  </a:moveTo>
                  <a:lnTo>
                    <a:pt x="1023" y="489"/>
                  </a:lnTo>
                  <a:lnTo>
                    <a:pt x="1023" y="487"/>
                  </a:lnTo>
                  <a:lnTo>
                    <a:pt x="1023" y="489"/>
                  </a:lnTo>
                  <a:lnTo>
                    <a:pt x="1023" y="489"/>
                  </a:lnTo>
                  <a:lnTo>
                    <a:pt x="1023" y="489"/>
                  </a:lnTo>
                  <a:close/>
                  <a:moveTo>
                    <a:pt x="1040" y="465"/>
                  </a:moveTo>
                  <a:lnTo>
                    <a:pt x="1040" y="465"/>
                  </a:lnTo>
                  <a:lnTo>
                    <a:pt x="1040" y="465"/>
                  </a:lnTo>
                  <a:close/>
                  <a:moveTo>
                    <a:pt x="988" y="496"/>
                  </a:moveTo>
                  <a:lnTo>
                    <a:pt x="988" y="496"/>
                  </a:lnTo>
                  <a:lnTo>
                    <a:pt x="988" y="496"/>
                  </a:lnTo>
                  <a:close/>
                  <a:moveTo>
                    <a:pt x="990" y="541"/>
                  </a:moveTo>
                  <a:lnTo>
                    <a:pt x="990" y="539"/>
                  </a:lnTo>
                  <a:lnTo>
                    <a:pt x="990" y="541"/>
                  </a:lnTo>
                  <a:close/>
                  <a:moveTo>
                    <a:pt x="1040" y="475"/>
                  </a:moveTo>
                  <a:lnTo>
                    <a:pt x="1040" y="475"/>
                  </a:lnTo>
                  <a:lnTo>
                    <a:pt x="1040" y="475"/>
                  </a:lnTo>
                  <a:lnTo>
                    <a:pt x="1040" y="475"/>
                  </a:lnTo>
                  <a:lnTo>
                    <a:pt x="1040" y="475"/>
                  </a:lnTo>
                  <a:close/>
                  <a:moveTo>
                    <a:pt x="988" y="541"/>
                  </a:moveTo>
                  <a:lnTo>
                    <a:pt x="988" y="539"/>
                  </a:lnTo>
                  <a:lnTo>
                    <a:pt x="988" y="541"/>
                  </a:lnTo>
                  <a:close/>
                  <a:moveTo>
                    <a:pt x="992" y="532"/>
                  </a:moveTo>
                  <a:lnTo>
                    <a:pt x="992" y="532"/>
                  </a:lnTo>
                  <a:lnTo>
                    <a:pt x="992" y="534"/>
                  </a:lnTo>
                  <a:lnTo>
                    <a:pt x="992" y="534"/>
                  </a:lnTo>
                  <a:lnTo>
                    <a:pt x="992" y="534"/>
                  </a:lnTo>
                  <a:lnTo>
                    <a:pt x="995" y="534"/>
                  </a:lnTo>
                  <a:lnTo>
                    <a:pt x="992" y="536"/>
                  </a:lnTo>
                  <a:lnTo>
                    <a:pt x="995" y="536"/>
                  </a:lnTo>
                  <a:lnTo>
                    <a:pt x="995" y="536"/>
                  </a:lnTo>
                  <a:lnTo>
                    <a:pt x="997" y="539"/>
                  </a:lnTo>
                  <a:lnTo>
                    <a:pt x="997" y="536"/>
                  </a:lnTo>
                  <a:lnTo>
                    <a:pt x="997" y="536"/>
                  </a:lnTo>
                  <a:lnTo>
                    <a:pt x="999" y="536"/>
                  </a:lnTo>
                  <a:lnTo>
                    <a:pt x="999" y="539"/>
                  </a:lnTo>
                  <a:lnTo>
                    <a:pt x="999" y="539"/>
                  </a:lnTo>
                  <a:lnTo>
                    <a:pt x="997" y="539"/>
                  </a:lnTo>
                  <a:lnTo>
                    <a:pt x="997" y="539"/>
                  </a:lnTo>
                  <a:lnTo>
                    <a:pt x="997" y="541"/>
                  </a:lnTo>
                  <a:lnTo>
                    <a:pt x="997" y="541"/>
                  </a:lnTo>
                  <a:lnTo>
                    <a:pt x="997" y="543"/>
                  </a:lnTo>
                  <a:lnTo>
                    <a:pt x="997" y="543"/>
                  </a:lnTo>
                  <a:lnTo>
                    <a:pt x="999" y="543"/>
                  </a:lnTo>
                  <a:lnTo>
                    <a:pt x="997" y="543"/>
                  </a:lnTo>
                  <a:lnTo>
                    <a:pt x="997" y="546"/>
                  </a:lnTo>
                  <a:lnTo>
                    <a:pt x="997" y="546"/>
                  </a:lnTo>
                  <a:lnTo>
                    <a:pt x="995" y="546"/>
                  </a:lnTo>
                  <a:lnTo>
                    <a:pt x="992" y="543"/>
                  </a:lnTo>
                  <a:lnTo>
                    <a:pt x="992" y="541"/>
                  </a:lnTo>
                  <a:lnTo>
                    <a:pt x="992" y="539"/>
                  </a:lnTo>
                  <a:lnTo>
                    <a:pt x="990" y="539"/>
                  </a:lnTo>
                  <a:lnTo>
                    <a:pt x="990" y="539"/>
                  </a:lnTo>
                  <a:lnTo>
                    <a:pt x="988" y="539"/>
                  </a:lnTo>
                  <a:lnTo>
                    <a:pt x="988" y="539"/>
                  </a:lnTo>
                  <a:lnTo>
                    <a:pt x="988" y="539"/>
                  </a:lnTo>
                  <a:lnTo>
                    <a:pt x="985" y="539"/>
                  </a:lnTo>
                  <a:lnTo>
                    <a:pt x="985" y="539"/>
                  </a:lnTo>
                  <a:lnTo>
                    <a:pt x="985" y="541"/>
                  </a:lnTo>
                  <a:lnTo>
                    <a:pt x="983" y="539"/>
                  </a:lnTo>
                  <a:lnTo>
                    <a:pt x="983" y="541"/>
                  </a:lnTo>
                  <a:lnTo>
                    <a:pt x="978" y="543"/>
                  </a:lnTo>
                  <a:lnTo>
                    <a:pt x="976" y="543"/>
                  </a:lnTo>
                  <a:lnTo>
                    <a:pt x="973" y="543"/>
                  </a:lnTo>
                  <a:lnTo>
                    <a:pt x="971" y="543"/>
                  </a:lnTo>
                  <a:lnTo>
                    <a:pt x="969" y="539"/>
                  </a:lnTo>
                  <a:lnTo>
                    <a:pt x="969" y="536"/>
                  </a:lnTo>
                  <a:lnTo>
                    <a:pt x="969" y="536"/>
                  </a:lnTo>
                  <a:lnTo>
                    <a:pt x="971" y="536"/>
                  </a:lnTo>
                  <a:lnTo>
                    <a:pt x="973" y="534"/>
                  </a:lnTo>
                  <a:lnTo>
                    <a:pt x="973" y="534"/>
                  </a:lnTo>
                  <a:lnTo>
                    <a:pt x="973" y="534"/>
                  </a:lnTo>
                  <a:lnTo>
                    <a:pt x="976" y="532"/>
                  </a:lnTo>
                  <a:lnTo>
                    <a:pt x="976" y="532"/>
                  </a:lnTo>
                  <a:lnTo>
                    <a:pt x="976" y="532"/>
                  </a:lnTo>
                  <a:lnTo>
                    <a:pt x="976" y="532"/>
                  </a:lnTo>
                  <a:lnTo>
                    <a:pt x="981" y="527"/>
                  </a:lnTo>
                  <a:lnTo>
                    <a:pt x="983" y="527"/>
                  </a:lnTo>
                  <a:lnTo>
                    <a:pt x="983" y="522"/>
                  </a:lnTo>
                  <a:lnTo>
                    <a:pt x="983" y="522"/>
                  </a:lnTo>
                  <a:lnTo>
                    <a:pt x="983" y="522"/>
                  </a:lnTo>
                  <a:lnTo>
                    <a:pt x="983" y="520"/>
                  </a:lnTo>
                  <a:lnTo>
                    <a:pt x="983" y="520"/>
                  </a:lnTo>
                  <a:lnTo>
                    <a:pt x="983" y="520"/>
                  </a:lnTo>
                  <a:lnTo>
                    <a:pt x="985" y="517"/>
                  </a:lnTo>
                  <a:lnTo>
                    <a:pt x="985" y="515"/>
                  </a:lnTo>
                  <a:lnTo>
                    <a:pt x="985" y="513"/>
                  </a:lnTo>
                  <a:lnTo>
                    <a:pt x="988" y="515"/>
                  </a:lnTo>
                  <a:lnTo>
                    <a:pt x="988" y="515"/>
                  </a:lnTo>
                  <a:lnTo>
                    <a:pt x="992" y="515"/>
                  </a:lnTo>
                  <a:lnTo>
                    <a:pt x="992" y="517"/>
                  </a:lnTo>
                  <a:lnTo>
                    <a:pt x="992" y="517"/>
                  </a:lnTo>
                  <a:lnTo>
                    <a:pt x="995" y="517"/>
                  </a:lnTo>
                  <a:lnTo>
                    <a:pt x="995" y="517"/>
                  </a:lnTo>
                  <a:lnTo>
                    <a:pt x="995" y="517"/>
                  </a:lnTo>
                  <a:lnTo>
                    <a:pt x="995" y="520"/>
                  </a:lnTo>
                  <a:lnTo>
                    <a:pt x="997" y="520"/>
                  </a:lnTo>
                  <a:lnTo>
                    <a:pt x="997" y="520"/>
                  </a:lnTo>
                  <a:lnTo>
                    <a:pt x="997" y="522"/>
                  </a:lnTo>
                  <a:lnTo>
                    <a:pt x="999" y="522"/>
                  </a:lnTo>
                  <a:lnTo>
                    <a:pt x="997" y="522"/>
                  </a:lnTo>
                  <a:lnTo>
                    <a:pt x="997" y="525"/>
                  </a:lnTo>
                  <a:lnTo>
                    <a:pt x="997" y="527"/>
                  </a:lnTo>
                  <a:lnTo>
                    <a:pt x="997" y="527"/>
                  </a:lnTo>
                  <a:lnTo>
                    <a:pt x="997" y="527"/>
                  </a:lnTo>
                  <a:lnTo>
                    <a:pt x="997" y="527"/>
                  </a:lnTo>
                  <a:lnTo>
                    <a:pt x="997" y="529"/>
                  </a:lnTo>
                  <a:lnTo>
                    <a:pt x="997" y="529"/>
                  </a:lnTo>
                  <a:lnTo>
                    <a:pt x="997" y="529"/>
                  </a:lnTo>
                  <a:lnTo>
                    <a:pt x="997" y="529"/>
                  </a:lnTo>
                  <a:lnTo>
                    <a:pt x="999" y="529"/>
                  </a:lnTo>
                  <a:lnTo>
                    <a:pt x="997" y="529"/>
                  </a:lnTo>
                  <a:lnTo>
                    <a:pt x="995" y="529"/>
                  </a:lnTo>
                  <a:lnTo>
                    <a:pt x="995" y="529"/>
                  </a:lnTo>
                  <a:lnTo>
                    <a:pt x="992" y="532"/>
                  </a:lnTo>
                  <a:lnTo>
                    <a:pt x="992" y="532"/>
                  </a:lnTo>
                  <a:lnTo>
                    <a:pt x="992" y="532"/>
                  </a:lnTo>
                  <a:close/>
                  <a:moveTo>
                    <a:pt x="1023" y="491"/>
                  </a:moveTo>
                  <a:lnTo>
                    <a:pt x="1025" y="491"/>
                  </a:lnTo>
                  <a:lnTo>
                    <a:pt x="1023" y="491"/>
                  </a:lnTo>
                  <a:close/>
                  <a:moveTo>
                    <a:pt x="999" y="527"/>
                  </a:moveTo>
                  <a:lnTo>
                    <a:pt x="999" y="527"/>
                  </a:lnTo>
                  <a:lnTo>
                    <a:pt x="999" y="527"/>
                  </a:lnTo>
                  <a:lnTo>
                    <a:pt x="999" y="527"/>
                  </a:lnTo>
                  <a:close/>
                  <a:moveTo>
                    <a:pt x="777" y="600"/>
                  </a:moveTo>
                  <a:lnTo>
                    <a:pt x="777" y="600"/>
                  </a:lnTo>
                  <a:lnTo>
                    <a:pt x="777" y="600"/>
                  </a:lnTo>
                  <a:close/>
                  <a:moveTo>
                    <a:pt x="1040" y="470"/>
                  </a:moveTo>
                  <a:lnTo>
                    <a:pt x="1042" y="470"/>
                  </a:lnTo>
                  <a:lnTo>
                    <a:pt x="1040" y="470"/>
                  </a:lnTo>
                  <a:lnTo>
                    <a:pt x="1040" y="470"/>
                  </a:lnTo>
                  <a:lnTo>
                    <a:pt x="1040" y="470"/>
                  </a:lnTo>
                  <a:lnTo>
                    <a:pt x="1040" y="470"/>
                  </a:lnTo>
                  <a:close/>
                  <a:moveTo>
                    <a:pt x="1035" y="470"/>
                  </a:moveTo>
                  <a:lnTo>
                    <a:pt x="1035" y="470"/>
                  </a:lnTo>
                  <a:lnTo>
                    <a:pt x="1035" y="470"/>
                  </a:lnTo>
                  <a:lnTo>
                    <a:pt x="1035" y="470"/>
                  </a:lnTo>
                  <a:lnTo>
                    <a:pt x="1035" y="470"/>
                  </a:lnTo>
                  <a:close/>
                  <a:moveTo>
                    <a:pt x="938" y="525"/>
                  </a:moveTo>
                  <a:lnTo>
                    <a:pt x="938" y="525"/>
                  </a:lnTo>
                  <a:lnTo>
                    <a:pt x="938" y="525"/>
                  </a:lnTo>
                  <a:close/>
                  <a:moveTo>
                    <a:pt x="962" y="532"/>
                  </a:moveTo>
                  <a:lnTo>
                    <a:pt x="962" y="532"/>
                  </a:lnTo>
                  <a:lnTo>
                    <a:pt x="962" y="532"/>
                  </a:lnTo>
                  <a:lnTo>
                    <a:pt x="962" y="529"/>
                  </a:lnTo>
                  <a:lnTo>
                    <a:pt x="962" y="532"/>
                  </a:lnTo>
                  <a:lnTo>
                    <a:pt x="962" y="532"/>
                  </a:lnTo>
                  <a:lnTo>
                    <a:pt x="962" y="532"/>
                  </a:lnTo>
                  <a:close/>
                  <a:moveTo>
                    <a:pt x="784" y="600"/>
                  </a:moveTo>
                  <a:lnTo>
                    <a:pt x="787" y="600"/>
                  </a:lnTo>
                  <a:lnTo>
                    <a:pt x="787" y="600"/>
                  </a:lnTo>
                  <a:lnTo>
                    <a:pt x="784" y="600"/>
                  </a:lnTo>
                  <a:lnTo>
                    <a:pt x="784" y="600"/>
                  </a:lnTo>
                  <a:close/>
                  <a:moveTo>
                    <a:pt x="787" y="602"/>
                  </a:moveTo>
                  <a:lnTo>
                    <a:pt x="787" y="602"/>
                  </a:lnTo>
                  <a:lnTo>
                    <a:pt x="787" y="602"/>
                  </a:lnTo>
                  <a:lnTo>
                    <a:pt x="787" y="602"/>
                  </a:lnTo>
                  <a:lnTo>
                    <a:pt x="787" y="602"/>
                  </a:lnTo>
                  <a:close/>
                  <a:moveTo>
                    <a:pt x="1047" y="475"/>
                  </a:moveTo>
                  <a:lnTo>
                    <a:pt x="1047" y="475"/>
                  </a:lnTo>
                  <a:lnTo>
                    <a:pt x="1047" y="475"/>
                  </a:lnTo>
                  <a:lnTo>
                    <a:pt x="1047" y="475"/>
                  </a:lnTo>
                  <a:lnTo>
                    <a:pt x="1047" y="475"/>
                  </a:lnTo>
                  <a:lnTo>
                    <a:pt x="1047" y="475"/>
                  </a:lnTo>
                  <a:lnTo>
                    <a:pt x="1047" y="475"/>
                  </a:lnTo>
                  <a:lnTo>
                    <a:pt x="1047" y="475"/>
                  </a:lnTo>
                  <a:close/>
                  <a:moveTo>
                    <a:pt x="936" y="525"/>
                  </a:moveTo>
                  <a:lnTo>
                    <a:pt x="936" y="525"/>
                  </a:lnTo>
                  <a:lnTo>
                    <a:pt x="938" y="525"/>
                  </a:lnTo>
                  <a:lnTo>
                    <a:pt x="938" y="525"/>
                  </a:lnTo>
                  <a:lnTo>
                    <a:pt x="936" y="525"/>
                  </a:lnTo>
                  <a:close/>
                  <a:moveTo>
                    <a:pt x="990" y="499"/>
                  </a:moveTo>
                  <a:lnTo>
                    <a:pt x="992" y="499"/>
                  </a:lnTo>
                  <a:lnTo>
                    <a:pt x="992" y="499"/>
                  </a:lnTo>
                  <a:lnTo>
                    <a:pt x="992" y="499"/>
                  </a:lnTo>
                  <a:lnTo>
                    <a:pt x="990" y="499"/>
                  </a:lnTo>
                  <a:close/>
                  <a:moveTo>
                    <a:pt x="929" y="534"/>
                  </a:moveTo>
                  <a:lnTo>
                    <a:pt x="929" y="532"/>
                  </a:lnTo>
                  <a:lnTo>
                    <a:pt x="929" y="532"/>
                  </a:lnTo>
                  <a:lnTo>
                    <a:pt x="931" y="532"/>
                  </a:lnTo>
                  <a:lnTo>
                    <a:pt x="929" y="534"/>
                  </a:lnTo>
                  <a:lnTo>
                    <a:pt x="929" y="534"/>
                  </a:lnTo>
                  <a:lnTo>
                    <a:pt x="929" y="534"/>
                  </a:lnTo>
                  <a:lnTo>
                    <a:pt x="929" y="534"/>
                  </a:lnTo>
                  <a:close/>
                  <a:moveTo>
                    <a:pt x="1009" y="494"/>
                  </a:moveTo>
                  <a:lnTo>
                    <a:pt x="1009" y="494"/>
                  </a:lnTo>
                  <a:lnTo>
                    <a:pt x="1009" y="494"/>
                  </a:lnTo>
                  <a:lnTo>
                    <a:pt x="1009" y="494"/>
                  </a:lnTo>
                  <a:lnTo>
                    <a:pt x="1009" y="494"/>
                  </a:lnTo>
                  <a:lnTo>
                    <a:pt x="1009" y="494"/>
                  </a:lnTo>
                  <a:lnTo>
                    <a:pt x="1009" y="494"/>
                  </a:lnTo>
                  <a:close/>
                  <a:moveTo>
                    <a:pt x="1009" y="525"/>
                  </a:moveTo>
                  <a:lnTo>
                    <a:pt x="1009" y="525"/>
                  </a:lnTo>
                  <a:lnTo>
                    <a:pt x="1011" y="525"/>
                  </a:lnTo>
                  <a:lnTo>
                    <a:pt x="1011" y="525"/>
                  </a:lnTo>
                  <a:lnTo>
                    <a:pt x="1014" y="527"/>
                  </a:lnTo>
                  <a:lnTo>
                    <a:pt x="1014" y="527"/>
                  </a:lnTo>
                  <a:lnTo>
                    <a:pt x="1011" y="527"/>
                  </a:lnTo>
                  <a:lnTo>
                    <a:pt x="1009" y="527"/>
                  </a:lnTo>
                  <a:lnTo>
                    <a:pt x="1009" y="527"/>
                  </a:lnTo>
                  <a:lnTo>
                    <a:pt x="1009" y="525"/>
                  </a:lnTo>
                  <a:close/>
                  <a:moveTo>
                    <a:pt x="1021" y="489"/>
                  </a:moveTo>
                  <a:lnTo>
                    <a:pt x="1021" y="489"/>
                  </a:lnTo>
                  <a:lnTo>
                    <a:pt x="1023" y="489"/>
                  </a:lnTo>
                  <a:lnTo>
                    <a:pt x="1023" y="491"/>
                  </a:lnTo>
                  <a:lnTo>
                    <a:pt x="1021" y="491"/>
                  </a:lnTo>
                  <a:lnTo>
                    <a:pt x="1018" y="494"/>
                  </a:lnTo>
                  <a:lnTo>
                    <a:pt x="1018" y="491"/>
                  </a:lnTo>
                  <a:lnTo>
                    <a:pt x="1018" y="491"/>
                  </a:lnTo>
                  <a:lnTo>
                    <a:pt x="1018" y="491"/>
                  </a:lnTo>
                  <a:lnTo>
                    <a:pt x="1018" y="489"/>
                  </a:lnTo>
                  <a:lnTo>
                    <a:pt x="1018" y="489"/>
                  </a:lnTo>
                  <a:lnTo>
                    <a:pt x="1018" y="489"/>
                  </a:lnTo>
                  <a:lnTo>
                    <a:pt x="1018" y="491"/>
                  </a:lnTo>
                  <a:lnTo>
                    <a:pt x="1021" y="491"/>
                  </a:lnTo>
                  <a:lnTo>
                    <a:pt x="1021" y="489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 cap="flat">
              <a:solidFill>
                <a:schemeClr val="bg2">
                  <a:lumMod val="7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>
                <a:solidFill>
                  <a:srgbClr val="000000"/>
                </a:solidFill>
              </a:endParaRPr>
            </a:p>
          </p:txBody>
        </p:sp>
        <p:sp>
          <p:nvSpPr>
            <p:cNvPr id="13" name="Freeform 18"/>
            <p:cNvSpPr>
              <a:spLocks noEditPoints="1"/>
            </p:cNvSpPr>
            <p:nvPr/>
          </p:nvSpPr>
          <p:spPr bwMode="gray">
            <a:xfrm>
              <a:off x="3485852" y="4883366"/>
              <a:ext cx="224636" cy="391295"/>
            </a:xfrm>
            <a:custGeom>
              <a:avLst/>
              <a:gdLst/>
              <a:ahLst/>
              <a:cxnLst>
                <a:cxn ang="0">
                  <a:pos x="2" y="366"/>
                </a:cxn>
                <a:cxn ang="0">
                  <a:pos x="2" y="357"/>
                </a:cxn>
                <a:cxn ang="0">
                  <a:pos x="9" y="340"/>
                </a:cxn>
                <a:cxn ang="0">
                  <a:pos x="4" y="319"/>
                </a:cxn>
                <a:cxn ang="0">
                  <a:pos x="14" y="302"/>
                </a:cxn>
                <a:cxn ang="0">
                  <a:pos x="66" y="291"/>
                </a:cxn>
                <a:cxn ang="0">
                  <a:pos x="71" y="272"/>
                </a:cxn>
                <a:cxn ang="0">
                  <a:pos x="89" y="255"/>
                </a:cxn>
                <a:cxn ang="0">
                  <a:pos x="89" y="239"/>
                </a:cxn>
                <a:cxn ang="0">
                  <a:pos x="99" y="224"/>
                </a:cxn>
                <a:cxn ang="0">
                  <a:pos x="108" y="210"/>
                </a:cxn>
                <a:cxn ang="0">
                  <a:pos x="120" y="194"/>
                </a:cxn>
                <a:cxn ang="0">
                  <a:pos x="120" y="184"/>
                </a:cxn>
                <a:cxn ang="0">
                  <a:pos x="120" y="170"/>
                </a:cxn>
                <a:cxn ang="0">
                  <a:pos x="113" y="161"/>
                </a:cxn>
                <a:cxn ang="0">
                  <a:pos x="104" y="151"/>
                </a:cxn>
                <a:cxn ang="0">
                  <a:pos x="104" y="142"/>
                </a:cxn>
                <a:cxn ang="0">
                  <a:pos x="92" y="130"/>
                </a:cxn>
                <a:cxn ang="0">
                  <a:pos x="80" y="125"/>
                </a:cxn>
                <a:cxn ang="0">
                  <a:pos x="99" y="123"/>
                </a:cxn>
                <a:cxn ang="0">
                  <a:pos x="120" y="116"/>
                </a:cxn>
                <a:cxn ang="0">
                  <a:pos x="104" y="99"/>
                </a:cxn>
                <a:cxn ang="0">
                  <a:pos x="108" y="73"/>
                </a:cxn>
                <a:cxn ang="0">
                  <a:pos x="92" y="62"/>
                </a:cxn>
                <a:cxn ang="0">
                  <a:pos x="99" y="40"/>
                </a:cxn>
                <a:cxn ang="0">
                  <a:pos x="113" y="33"/>
                </a:cxn>
                <a:cxn ang="0">
                  <a:pos x="123" y="28"/>
                </a:cxn>
                <a:cxn ang="0">
                  <a:pos x="139" y="28"/>
                </a:cxn>
                <a:cxn ang="0">
                  <a:pos x="137" y="10"/>
                </a:cxn>
                <a:cxn ang="0">
                  <a:pos x="146" y="14"/>
                </a:cxn>
                <a:cxn ang="0">
                  <a:pos x="160" y="7"/>
                </a:cxn>
                <a:cxn ang="0">
                  <a:pos x="184" y="5"/>
                </a:cxn>
                <a:cxn ang="0">
                  <a:pos x="203" y="10"/>
                </a:cxn>
                <a:cxn ang="0">
                  <a:pos x="274" y="76"/>
                </a:cxn>
                <a:cxn ang="0">
                  <a:pos x="276" y="184"/>
                </a:cxn>
                <a:cxn ang="0">
                  <a:pos x="231" y="250"/>
                </a:cxn>
                <a:cxn ang="0">
                  <a:pos x="222" y="272"/>
                </a:cxn>
                <a:cxn ang="0">
                  <a:pos x="212" y="302"/>
                </a:cxn>
                <a:cxn ang="0">
                  <a:pos x="200" y="314"/>
                </a:cxn>
                <a:cxn ang="0">
                  <a:pos x="203" y="319"/>
                </a:cxn>
                <a:cxn ang="0">
                  <a:pos x="191" y="343"/>
                </a:cxn>
                <a:cxn ang="0">
                  <a:pos x="179" y="359"/>
                </a:cxn>
                <a:cxn ang="0">
                  <a:pos x="174" y="364"/>
                </a:cxn>
                <a:cxn ang="0">
                  <a:pos x="170" y="373"/>
                </a:cxn>
                <a:cxn ang="0">
                  <a:pos x="158" y="383"/>
                </a:cxn>
                <a:cxn ang="0">
                  <a:pos x="151" y="383"/>
                </a:cxn>
                <a:cxn ang="0">
                  <a:pos x="146" y="385"/>
                </a:cxn>
                <a:cxn ang="0">
                  <a:pos x="134" y="406"/>
                </a:cxn>
                <a:cxn ang="0">
                  <a:pos x="115" y="447"/>
                </a:cxn>
                <a:cxn ang="0">
                  <a:pos x="106" y="439"/>
                </a:cxn>
                <a:cxn ang="0">
                  <a:pos x="87" y="437"/>
                </a:cxn>
                <a:cxn ang="0">
                  <a:pos x="82" y="435"/>
                </a:cxn>
                <a:cxn ang="0">
                  <a:pos x="68" y="435"/>
                </a:cxn>
                <a:cxn ang="0">
                  <a:pos x="56" y="435"/>
                </a:cxn>
                <a:cxn ang="0">
                  <a:pos x="40" y="430"/>
                </a:cxn>
                <a:cxn ang="0">
                  <a:pos x="26" y="423"/>
                </a:cxn>
                <a:cxn ang="0">
                  <a:pos x="19" y="416"/>
                </a:cxn>
                <a:cxn ang="0">
                  <a:pos x="19" y="406"/>
                </a:cxn>
                <a:cxn ang="0">
                  <a:pos x="21" y="390"/>
                </a:cxn>
                <a:cxn ang="0">
                  <a:pos x="9" y="380"/>
                </a:cxn>
                <a:cxn ang="0">
                  <a:pos x="191" y="345"/>
                </a:cxn>
                <a:cxn ang="0">
                  <a:pos x="167" y="364"/>
                </a:cxn>
                <a:cxn ang="0">
                  <a:pos x="200" y="326"/>
                </a:cxn>
              </a:cxnLst>
              <a:rect l="0" t="0" r="r" b="b"/>
              <a:pathLst>
                <a:path w="278" h="447">
                  <a:moveTo>
                    <a:pt x="0" y="376"/>
                  </a:moveTo>
                  <a:lnTo>
                    <a:pt x="0" y="376"/>
                  </a:lnTo>
                  <a:lnTo>
                    <a:pt x="0" y="373"/>
                  </a:lnTo>
                  <a:lnTo>
                    <a:pt x="0" y="373"/>
                  </a:lnTo>
                  <a:lnTo>
                    <a:pt x="2" y="373"/>
                  </a:lnTo>
                  <a:lnTo>
                    <a:pt x="2" y="373"/>
                  </a:lnTo>
                  <a:lnTo>
                    <a:pt x="2" y="373"/>
                  </a:lnTo>
                  <a:lnTo>
                    <a:pt x="2" y="371"/>
                  </a:lnTo>
                  <a:lnTo>
                    <a:pt x="0" y="371"/>
                  </a:lnTo>
                  <a:lnTo>
                    <a:pt x="2" y="371"/>
                  </a:lnTo>
                  <a:lnTo>
                    <a:pt x="2" y="369"/>
                  </a:lnTo>
                  <a:lnTo>
                    <a:pt x="2" y="369"/>
                  </a:lnTo>
                  <a:lnTo>
                    <a:pt x="2" y="369"/>
                  </a:lnTo>
                  <a:lnTo>
                    <a:pt x="2" y="366"/>
                  </a:lnTo>
                  <a:lnTo>
                    <a:pt x="2" y="366"/>
                  </a:lnTo>
                  <a:lnTo>
                    <a:pt x="4" y="364"/>
                  </a:lnTo>
                  <a:lnTo>
                    <a:pt x="4" y="364"/>
                  </a:lnTo>
                  <a:lnTo>
                    <a:pt x="7" y="361"/>
                  </a:lnTo>
                  <a:lnTo>
                    <a:pt x="7" y="361"/>
                  </a:lnTo>
                  <a:lnTo>
                    <a:pt x="7" y="361"/>
                  </a:lnTo>
                  <a:lnTo>
                    <a:pt x="7" y="361"/>
                  </a:lnTo>
                  <a:lnTo>
                    <a:pt x="9" y="359"/>
                  </a:lnTo>
                  <a:lnTo>
                    <a:pt x="7" y="359"/>
                  </a:lnTo>
                  <a:lnTo>
                    <a:pt x="7" y="359"/>
                  </a:lnTo>
                  <a:lnTo>
                    <a:pt x="7" y="359"/>
                  </a:lnTo>
                  <a:lnTo>
                    <a:pt x="7" y="357"/>
                  </a:lnTo>
                  <a:lnTo>
                    <a:pt x="7" y="357"/>
                  </a:lnTo>
                  <a:lnTo>
                    <a:pt x="2" y="357"/>
                  </a:lnTo>
                  <a:lnTo>
                    <a:pt x="2" y="357"/>
                  </a:lnTo>
                  <a:lnTo>
                    <a:pt x="2" y="354"/>
                  </a:lnTo>
                  <a:lnTo>
                    <a:pt x="2" y="354"/>
                  </a:lnTo>
                  <a:lnTo>
                    <a:pt x="4" y="354"/>
                  </a:lnTo>
                  <a:lnTo>
                    <a:pt x="4" y="352"/>
                  </a:lnTo>
                  <a:lnTo>
                    <a:pt x="7" y="350"/>
                  </a:lnTo>
                  <a:lnTo>
                    <a:pt x="7" y="350"/>
                  </a:lnTo>
                  <a:lnTo>
                    <a:pt x="7" y="347"/>
                  </a:lnTo>
                  <a:lnTo>
                    <a:pt x="9" y="347"/>
                  </a:lnTo>
                  <a:lnTo>
                    <a:pt x="9" y="347"/>
                  </a:lnTo>
                  <a:lnTo>
                    <a:pt x="9" y="345"/>
                  </a:lnTo>
                  <a:lnTo>
                    <a:pt x="7" y="343"/>
                  </a:lnTo>
                  <a:lnTo>
                    <a:pt x="9" y="343"/>
                  </a:lnTo>
                  <a:lnTo>
                    <a:pt x="9" y="340"/>
                  </a:lnTo>
                  <a:lnTo>
                    <a:pt x="9" y="338"/>
                  </a:lnTo>
                  <a:lnTo>
                    <a:pt x="9" y="333"/>
                  </a:lnTo>
                  <a:lnTo>
                    <a:pt x="9" y="333"/>
                  </a:lnTo>
                  <a:lnTo>
                    <a:pt x="9" y="331"/>
                  </a:lnTo>
                  <a:lnTo>
                    <a:pt x="4" y="328"/>
                  </a:lnTo>
                  <a:lnTo>
                    <a:pt x="2" y="326"/>
                  </a:lnTo>
                  <a:lnTo>
                    <a:pt x="2" y="324"/>
                  </a:lnTo>
                  <a:lnTo>
                    <a:pt x="2" y="324"/>
                  </a:lnTo>
                  <a:lnTo>
                    <a:pt x="2" y="321"/>
                  </a:lnTo>
                  <a:lnTo>
                    <a:pt x="2" y="321"/>
                  </a:lnTo>
                  <a:lnTo>
                    <a:pt x="4" y="319"/>
                  </a:lnTo>
                  <a:lnTo>
                    <a:pt x="2" y="319"/>
                  </a:lnTo>
                  <a:lnTo>
                    <a:pt x="4" y="319"/>
                  </a:lnTo>
                  <a:lnTo>
                    <a:pt x="4" y="319"/>
                  </a:lnTo>
                  <a:lnTo>
                    <a:pt x="7" y="317"/>
                  </a:lnTo>
                  <a:lnTo>
                    <a:pt x="7" y="317"/>
                  </a:lnTo>
                  <a:lnTo>
                    <a:pt x="9" y="317"/>
                  </a:lnTo>
                  <a:lnTo>
                    <a:pt x="9" y="314"/>
                  </a:lnTo>
                  <a:lnTo>
                    <a:pt x="9" y="314"/>
                  </a:lnTo>
                  <a:lnTo>
                    <a:pt x="11" y="314"/>
                  </a:lnTo>
                  <a:lnTo>
                    <a:pt x="11" y="314"/>
                  </a:lnTo>
                  <a:lnTo>
                    <a:pt x="11" y="312"/>
                  </a:lnTo>
                  <a:lnTo>
                    <a:pt x="11" y="310"/>
                  </a:lnTo>
                  <a:lnTo>
                    <a:pt x="14" y="310"/>
                  </a:lnTo>
                  <a:lnTo>
                    <a:pt x="14" y="305"/>
                  </a:lnTo>
                  <a:lnTo>
                    <a:pt x="14" y="305"/>
                  </a:lnTo>
                  <a:lnTo>
                    <a:pt x="14" y="305"/>
                  </a:lnTo>
                  <a:lnTo>
                    <a:pt x="14" y="302"/>
                  </a:lnTo>
                  <a:lnTo>
                    <a:pt x="26" y="302"/>
                  </a:lnTo>
                  <a:lnTo>
                    <a:pt x="54" y="302"/>
                  </a:lnTo>
                  <a:lnTo>
                    <a:pt x="59" y="302"/>
                  </a:lnTo>
                  <a:lnTo>
                    <a:pt x="59" y="302"/>
                  </a:lnTo>
                  <a:lnTo>
                    <a:pt x="59" y="300"/>
                  </a:lnTo>
                  <a:lnTo>
                    <a:pt x="59" y="302"/>
                  </a:lnTo>
                  <a:lnTo>
                    <a:pt x="63" y="300"/>
                  </a:lnTo>
                  <a:lnTo>
                    <a:pt x="63" y="298"/>
                  </a:lnTo>
                  <a:lnTo>
                    <a:pt x="63" y="298"/>
                  </a:lnTo>
                  <a:lnTo>
                    <a:pt x="63" y="295"/>
                  </a:lnTo>
                  <a:lnTo>
                    <a:pt x="66" y="295"/>
                  </a:lnTo>
                  <a:lnTo>
                    <a:pt x="66" y="293"/>
                  </a:lnTo>
                  <a:lnTo>
                    <a:pt x="66" y="293"/>
                  </a:lnTo>
                  <a:lnTo>
                    <a:pt x="66" y="291"/>
                  </a:lnTo>
                  <a:lnTo>
                    <a:pt x="66" y="291"/>
                  </a:lnTo>
                  <a:lnTo>
                    <a:pt x="66" y="288"/>
                  </a:lnTo>
                  <a:lnTo>
                    <a:pt x="66" y="288"/>
                  </a:lnTo>
                  <a:lnTo>
                    <a:pt x="68" y="286"/>
                  </a:lnTo>
                  <a:lnTo>
                    <a:pt x="68" y="284"/>
                  </a:lnTo>
                  <a:lnTo>
                    <a:pt x="68" y="284"/>
                  </a:lnTo>
                  <a:lnTo>
                    <a:pt x="68" y="281"/>
                  </a:lnTo>
                  <a:lnTo>
                    <a:pt x="71" y="281"/>
                  </a:lnTo>
                  <a:lnTo>
                    <a:pt x="71" y="279"/>
                  </a:lnTo>
                  <a:lnTo>
                    <a:pt x="73" y="276"/>
                  </a:lnTo>
                  <a:lnTo>
                    <a:pt x="71" y="276"/>
                  </a:lnTo>
                  <a:lnTo>
                    <a:pt x="71" y="274"/>
                  </a:lnTo>
                  <a:lnTo>
                    <a:pt x="71" y="272"/>
                  </a:lnTo>
                  <a:lnTo>
                    <a:pt x="71" y="272"/>
                  </a:lnTo>
                  <a:lnTo>
                    <a:pt x="73" y="269"/>
                  </a:lnTo>
                  <a:lnTo>
                    <a:pt x="73" y="267"/>
                  </a:lnTo>
                  <a:lnTo>
                    <a:pt x="75" y="267"/>
                  </a:lnTo>
                  <a:lnTo>
                    <a:pt x="78" y="267"/>
                  </a:lnTo>
                  <a:lnTo>
                    <a:pt x="78" y="267"/>
                  </a:lnTo>
                  <a:lnTo>
                    <a:pt x="80" y="267"/>
                  </a:lnTo>
                  <a:lnTo>
                    <a:pt x="82" y="265"/>
                  </a:lnTo>
                  <a:lnTo>
                    <a:pt x="82" y="262"/>
                  </a:lnTo>
                  <a:lnTo>
                    <a:pt x="85" y="262"/>
                  </a:lnTo>
                  <a:lnTo>
                    <a:pt x="85" y="262"/>
                  </a:lnTo>
                  <a:lnTo>
                    <a:pt x="87" y="262"/>
                  </a:lnTo>
                  <a:lnTo>
                    <a:pt x="87" y="260"/>
                  </a:lnTo>
                  <a:lnTo>
                    <a:pt x="87" y="255"/>
                  </a:lnTo>
                  <a:lnTo>
                    <a:pt x="89" y="255"/>
                  </a:lnTo>
                  <a:lnTo>
                    <a:pt x="89" y="255"/>
                  </a:lnTo>
                  <a:lnTo>
                    <a:pt x="87" y="253"/>
                  </a:lnTo>
                  <a:lnTo>
                    <a:pt x="89" y="253"/>
                  </a:lnTo>
                  <a:lnTo>
                    <a:pt x="89" y="250"/>
                  </a:lnTo>
                  <a:lnTo>
                    <a:pt x="89" y="248"/>
                  </a:lnTo>
                  <a:lnTo>
                    <a:pt x="89" y="248"/>
                  </a:lnTo>
                  <a:lnTo>
                    <a:pt x="89" y="248"/>
                  </a:lnTo>
                  <a:lnTo>
                    <a:pt x="89" y="248"/>
                  </a:lnTo>
                  <a:lnTo>
                    <a:pt x="89" y="246"/>
                  </a:lnTo>
                  <a:lnTo>
                    <a:pt x="87" y="243"/>
                  </a:lnTo>
                  <a:lnTo>
                    <a:pt x="87" y="243"/>
                  </a:lnTo>
                  <a:lnTo>
                    <a:pt x="89" y="241"/>
                  </a:lnTo>
                  <a:lnTo>
                    <a:pt x="87" y="241"/>
                  </a:lnTo>
                  <a:lnTo>
                    <a:pt x="89" y="239"/>
                  </a:lnTo>
                  <a:lnTo>
                    <a:pt x="89" y="239"/>
                  </a:lnTo>
                  <a:lnTo>
                    <a:pt x="89" y="236"/>
                  </a:lnTo>
                  <a:lnTo>
                    <a:pt x="89" y="236"/>
                  </a:lnTo>
                  <a:lnTo>
                    <a:pt x="89" y="234"/>
                  </a:lnTo>
                  <a:lnTo>
                    <a:pt x="89" y="232"/>
                  </a:lnTo>
                  <a:lnTo>
                    <a:pt x="89" y="232"/>
                  </a:lnTo>
                  <a:lnTo>
                    <a:pt x="92" y="232"/>
                  </a:lnTo>
                  <a:lnTo>
                    <a:pt x="94" y="232"/>
                  </a:lnTo>
                  <a:lnTo>
                    <a:pt x="94" y="229"/>
                  </a:lnTo>
                  <a:lnTo>
                    <a:pt x="94" y="229"/>
                  </a:lnTo>
                  <a:lnTo>
                    <a:pt x="97" y="229"/>
                  </a:lnTo>
                  <a:lnTo>
                    <a:pt x="97" y="227"/>
                  </a:lnTo>
                  <a:lnTo>
                    <a:pt x="99" y="224"/>
                  </a:lnTo>
                  <a:lnTo>
                    <a:pt x="99" y="224"/>
                  </a:lnTo>
                  <a:lnTo>
                    <a:pt x="99" y="222"/>
                  </a:lnTo>
                  <a:lnTo>
                    <a:pt x="101" y="222"/>
                  </a:lnTo>
                  <a:lnTo>
                    <a:pt x="101" y="222"/>
                  </a:lnTo>
                  <a:lnTo>
                    <a:pt x="101" y="222"/>
                  </a:lnTo>
                  <a:lnTo>
                    <a:pt x="104" y="222"/>
                  </a:lnTo>
                  <a:lnTo>
                    <a:pt x="104" y="220"/>
                  </a:lnTo>
                  <a:lnTo>
                    <a:pt x="106" y="220"/>
                  </a:lnTo>
                  <a:lnTo>
                    <a:pt x="106" y="217"/>
                  </a:lnTo>
                  <a:lnTo>
                    <a:pt x="106" y="217"/>
                  </a:lnTo>
                  <a:lnTo>
                    <a:pt x="104" y="215"/>
                  </a:lnTo>
                  <a:lnTo>
                    <a:pt x="106" y="213"/>
                  </a:lnTo>
                  <a:lnTo>
                    <a:pt x="104" y="210"/>
                  </a:lnTo>
                  <a:lnTo>
                    <a:pt x="104" y="208"/>
                  </a:lnTo>
                  <a:lnTo>
                    <a:pt x="108" y="210"/>
                  </a:lnTo>
                  <a:lnTo>
                    <a:pt x="111" y="210"/>
                  </a:lnTo>
                  <a:lnTo>
                    <a:pt x="113" y="210"/>
                  </a:lnTo>
                  <a:lnTo>
                    <a:pt x="113" y="210"/>
                  </a:lnTo>
                  <a:lnTo>
                    <a:pt x="118" y="206"/>
                  </a:lnTo>
                  <a:lnTo>
                    <a:pt x="118" y="206"/>
                  </a:lnTo>
                  <a:lnTo>
                    <a:pt x="118" y="206"/>
                  </a:lnTo>
                  <a:lnTo>
                    <a:pt x="115" y="203"/>
                  </a:lnTo>
                  <a:lnTo>
                    <a:pt x="115" y="203"/>
                  </a:lnTo>
                  <a:lnTo>
                    <a:pt x="115" y="201"/>
                  </a:lnTo>
                  <a:lnTo>
                    <a:pt x="115" y="201"/>
                  </a:lnTo>
                  <a:lnTo>
                    <a:pt x="115" y="199"/>
                  </a:lnTo>
                  <a:lnTo>
                    <a:pt x="115" y="199"/>
                  </a:lnTo>
                  <a:lnTo>
                    <a:pt x="115" y="196"/>
                  </a:lnTo>
                  <a:lnTo>
                    <a:pt x="120" y="194"/>
                  </a:lnTo>
                  <a:lnTo>
                    <a:pt x="120" y="194"/>
                  </a:lnTo>
                  <a:lnTo>
                    <a:pt x="120" y="194"/>
                  </a:lnTo>
                  <a:lnTo>
                    <a:pt x="118" y="191"/>
                  </a:lnTo>
                  <a:lnTo>
                    <a:pt x="118" y="189"/>
                  </a:lnTo>
                  <a:lnTo>
                    <a:pt x="120" y="187"/>
                  </a:lnTo>
                  <a:lnTo>
                    <a:pt x="120" y="187"/>
                  </a:lnTo>
                  <a:lnTo>
                    <a:pt x="120" y="187"/>
                  </a:lnTo>
                  <a:lnTo>
                    <a:pt x="123" y="187"/>
                  </a:lnTo>
                  <a:lnTo>
                    <a:pt x="123" y="184"/>
                  </a:lnTo>
                  <a:lnTo>
                    <a:pt x="123" y="184"/>
                  </a:lnTo>
                  <a:lnTo>
                    <a:pt x="120" y="184"/>
                  </a:lnTo>
                  <a:lnTo>
                    <a:pt x="120" y="184"/>
                  </a:lnTo>
                  <a:lnTo>
                    <a:pt x="120" y="184"/>
                  </a:lnTo>
                  <a:lnTo>
                    <a:pt x="120" y="184"/>
                  </a:lnTo>
                  <a:lnTo>
                    <a:pt x="120" y="182"/>
                  </a:lnTo>
                  <a:lnTo>
                    <a:pt x="118" y="182"/>
                  </a:lnTo>
                  <a:lnTo>
                    <a:pt x="118" y="182"/>
                  </a:lnTo>
                  <a:lnTo>
                    <a:pt x="120" y="180"/>
                  </a:lnTo>
                  <a:lnTo>
                    <a:pt x="120" y="180"/>
                  </a:lnTo>
                  <a:lnTo>
                    <a:pt x="120" y="177"/>
                  </a:lnTo>
                  <a:lnTo>
                    <a:pt x="120" y="177"/>
                  </a:lnTo>
                  <a:lnTo>
                    <a:pt x="118" y="177"/>
                  </a:lnTo>
                  <a:lnTo>
                    <a:pt x="120" y="177"/>
                  </a:lnTo>
                  <a:lnTo>
                    <a:pt x="118" y="175"/>
                  </a:lnTo>
                  <a:lnTo>
                    <a:pt x="118" y="175"/>
                  </a:lnTo>
                  <a:lnTo>
                    <a:pt x="120" y="175"/>
                  </a:lnTo>
                  <a:lnTo>
                    <a:pt x="120" y="173"/>
                  </a:lnTo>
                  <a:lnTo>
                    <a:pt x="120" y="170"/>
                  </a:lnTo>
                  <a:lnTo>
                    <a:pt x="120" y="170"/>
                  </a:lnTo>
                  <a:lnTo>
                    <a:pt x="120" y="170"/>
                  </a:lnTo>
                  <a:lnTo>
                    <a:pt x="120" y="170"/>
                  </a:lnTo>
                  <a:lnTo>
                    <a:pt x="120" y="168"/>
                  </a:lnTo>
                  <a:lnTo>
                    <a:pt x="118" y="168"/>
                  </a:lnTo>
                  <a:lnTo>
                    <a:pt x="118" y="168"/>
                  </a:lnTo>
                  <a:lnTo>
                    <a:pt x="118" y="165"/>
                  </a:lnTo>
                  <a:lnTo>
                    <a:pt x="118" y="165"/>
                  </a:lnTo>
                  <a:lnTo>
                    <a:pt x="118" y="163"/>
                  </a:lnTo>
                  <a:lnTo>
                    <a:pt x="115" y="163"/>
                  </a:lnTo>
                  <a:lnTo>
                    <a:pt x="115" y="161"/>
                  </a:lnTo>
                  <a:lnTo>
                    <a:pt x="115" y="161"/>
                  </a:lnTo>
                  <a:lnTo>
                    <a:pt x="113" y="161"/>
                  </a:lnTo>
                  <a:lnTo>
                    <a:pt x="113" y="161"/>
                  </a:lnTo>
                  <a:lnTo>
                    <a:pt x="113" y="158"/>
                  </a:lnTo>
                  <a:lnTo>
                    <a:pt x="113" y="158"/>
                  </a:lnTo>
                  <a:lnTo>
                    <a:pt x="111" y="158"/>
                  </a:lnTo>
                  <a:lnTo>
                    <a:pt x="111" y="158"/>
                  </a:lnTo>
                  <a:lnTo>
                    <a:pt x="111" y="158"/>
                  </a:lnTo>
                  <a:lnTo>
                    <a:pt x="111" y="156"/>
                  </a:lnTo>
                  <a:lnTo>
                    <a:pt x="108" y="156"/>
                  </a:lnTo>
                  <a:lnTo>
                    <a:pt x="108" y="154"/>
                  </a:lnTo>
                  <a:lnTo>
                    <a:pt x="108" y="154"/>
                  </a:lnTo>
                  <a:lnTo>
                    <a:pt x="108" y="156"/>
                  </a:lnTo>
                  <a:lnTo>
                    <a:pt x="106" y="154"/>
                  </a:lnTo>
                  <a:lnTo>
                    <a:pt x="104" y="154"/>
                  </a:lnTo>
                  <a:lnTo>
                    <a:pt x="104" y="151"/>
                  </a:lnTo>
                  <a:lnTo>
                    <a:pt x="104" y="151"/>
                  </a:lnTo>
                  <a:lnTo>
                    <a:pt x="101" y="151"/>
                  </a:lnTo>
                  <a:lnTo>
                    <a:pt x="104" y="149"/>
                  </a:lnTo>
                  <a:lnTo>
                    <a:pt x="101" y="149"/>
                  </a:lnTo>
                  <a:lnTo>
                    <a:pt x="101" y="147"/>
                  </a:lnTo>
                  <a:lnTo>
                    <a:pt x="101" y="144"/>
                  </a:lnTo>
                  <a:lnTo>
                    <a:pt x="104" y="144"/>
                  </a:lnTo>
                  <a:lnTo>
                    <a:pt x="108" y="142"/>
                  </a:lnTo>
                  <a:lnTo>
                    <a:pt x="108" y="142"/>
                  </a:lnTo>
                  <a:lnTo>
                    <a:pt x="108" y="142"/>
                  </a:lnTo>
                  <a:lnTo>
                    <a:pt x="108" y="142"/>
                  </a:lnTo>
                  <a:lnTo>
                    <a:pt x="108" y="142"/>
                  </a:lnTo>
                  <a:lnTo>
                    <a:pt x="106" y="142"/>
                  </a:lnTo>
                  <a:lnTo>
                    <a:pt x="106" y="142"/>
                  </a:lnTo>
                  <a:lnTo>
                    <a:pt x="104" y="142"/>
                  </a:lnTo>
                  <a:lnTo>
                    <a:pt x="104" y="142"/>
                  </a:lnTo>
                  <a:lnTo>
                    <a:pt x="104" y="139"/>
                  </a:lnTo>
                  <a:lnTo>
                    <a:pt x="104" y="139"/>
                  </a:lnTo>
                  <a:lnTo>
                    <a:pt x="101" y="139"/>
                  </a:lnTo>
                  <a:lnTo>
                    <a:pt x="101" y="137"/>
                  </a:lnTo>
                  <a:lnTo>
                    <a:pt x="101" y="137"/>
                  </a:lnTo>
                  <a:lnTo>
                    <a:pt x="101" y="137"/>
                  </a:lnTo>
                  <a:lnTo>
                    <a:pt x="99" y="135"/>
                  </a:lnTo>
                  <a:lnTo>
                    <a:pt x="97" y="135"/>
                  </a:lnTo>
                  <a:lnTo>
                    <a:pt x="97" y="135"/>
                  </a:lnTo>
                  <a:lnTo>
                    <a:pt x="97" y="132"/>
                  </a:lnTo>
                  <a:lnTo>
                    <a:pt x="94" y="132"/>
                  </a:lnTo>
                  <a:lnTo>
                    <a:pt x="94" y="130"/>
                  </a:lnTo>
                  <a:lnTo>
                    <a:pt x="92" y="130"/>
                  </a:lnTo>
                  <a:lnTo>
                    <a:pt x="92" y="130"/>
                  </a:lnTo>
                  <a:lnTo>
                    <a:pt x="92" y="130"/>
                  </a:lnTo>
                  <a:lnTo>
                    <a:pt x="92" y="130"/>
                  </a:lnTo>
                  <a:lnTo>
                    <a:pt x="89" y="128"/>
                  </a:lnTo>
                  <a:lnTo>
                    <a:pt x="89" y="125"/>
                  </a:lnTo>
                  <a:lnTo>
                    <a:pt x="87" y="128"/>
                  </a:lnTo>
                  <a:lnTo>
                    <a:pt x="85" y="128"/>
                  </a:lnTo>
                  <a:lnTo>
                    <a:pt x="85" y="125"/>
                  </a:lnTo>
                  <a:lnTo>
                    <a:pt x="85" y="128"/>
                  </a:lnTo>
                  <a:lnTo>
                    <a:pt x="85" y="128"/>
                  </a:lnTo>
                  <a:lnTo>
                    <a:pt x="82" y="130"/>
                  </a:lnTo>
                  <a:lnTo>
                    <a:pt x="82" y="125"/>
                  </a:lnTo>
                  <a:lnTo>
                    <a:pt x="80" y="125"/>
                  </a:lnTo>
                  <a:lnTo>
                    <a:pt x="80" y="125"/>
                  </a:lnTo>
                  <a:lnTo>
                    <a:pt x="80" y="125"/>
                  </a:lnTo>
                  <a:lnTo>
                    <a:pt x="80" y="125"/>
                  </a:lnTo>
                  <a:lnTo>
                    <a:pt x="80" y="123"/>
                  </a:lnTo>
                  <a:lnTo>
                    <a:pt x="80" y="121"/>
                  </a:lnTo>
                  <a:lnTo>
                    <a:pt x="82" y="118"/>
                  </a:lnTo>
                  <a:lnTo>
                    <a:pt x="89" y="118"/>
                  </a:lnTo>
                  <a:lnTo>
                    <a:pt x="89" y="118"/>
                  </a:lnTo>
                  <a:lnTo>
                    <a:pt x="92" y="118"/>
                  </a:lnTo>
                  <a:lnTo>
                    <a:pt x="94" y="118"/>
                  </a:lnTo>
                  <a:lnTo>
                    <a:pt x="94" y="121"/>
                  </a:lnTo>
                  <a:lnTo>
                    <a:pt x="94" y="121"/>
                  </a:lnTo>
                  <a:lnTo>
                    <a:pt x="94" y="121"/>
                  </a:lnTo>
                  <a:lnTo>
                    <a:pt x="97" y="123"/>
                  </a:lnTo>
                  <a:lnTo>
                    <a:pt x="99" y="123"/>
                  </a:lnTo>
                  <a:lnTo>
                    <a:pt x="101" y="123"/>
                  </a:lnTo>
                  <a:lnTo>
                    <a:pt x="104" y="123"/>
                  </a:lnTo>
                  <a:lnTo>
                    <a:pt x="108" y="123"/>
                  </a:lnTo>
                  <a:lnTo>
                    <a:pt x="115" y="123"/>
                  </a:lnTo>
                  <a:lnTo>
                    <a:pt x="118" y="123"/>
                  </a:lnTo>
                  <a:lnTo>
                    <a:pt x="118" y="123"/>
                  </a:lnTo>
                  <a:lnTo>
                    <a:pt x="118" y="123"/>
                  </a:lnTo>
                  <a:lnTo>
                    <a:pt x="120" y="123"/>
                  </a:lnTo>
                  <a:lnTo>
                    <a:pt x="120" y="121"/>
                  </a:lnTo>
                  <a:lnTo>
                    <a:pt x="120" y="121"/>
                  </a:lnTo>
                  <a:lnTo>
                    <a:pt x="120" y="121"/>
                  </a:lnTo>
                  <a:lnTo>
                    <a:pt x="120" y="118"/>
                  </a:lnTo>
                  <a:lnTo>
                    <a:pt x="120" y="118"/>
                  </a:lnTo>
                  <a:lnTo>
                    <a:pt x="120" y="116"/>
                  </a:lnTo>
                  <a:lnTo>
                    <a:pt x="118" y="116"/>
                  </a:lnTo>
                  <a:lnTo>
                    <a:pt x="118" y="111"/>
                  </a:lnTo>
                  <a:lnTo>
                    <a:pt x="118" y="109"/>
                  </a:lnTo>
                  <a:lnTo>
                    <a:pt x="118" y="104"/>
                  </a:lnTo>
                  <a:lnTo>
                    <a:pt x="118" y="104"/>
                  </a:lnTo>
                  <a:lnTo>
                    <a:pt x="113" y="102"/>
                  </a:lnTo>
                  <a:lnTo>
                    <a:pt x="111" y="102"/>
                  </a:lnTo>
                  <a:lnTo>
                    <a:pt x="111" y="102"/>
                  </a:lnTo>
                  <a:lnTo>
                    <a:pt x="108" y="99"/>
                  </a:lnTo>
                  <a:lnTo>
                    <a:pt x="106" y="99"/>
                  </a:lnTo>
                  <a:lnTo>
                    <a:pt x="108" y="99"/>
                  </a:lnTo>
                  <a:lnTo>
                    <a:pt x="106" y="99"/>
                  </a:lnTo>
                  <a:lnTo>
                    <a:pt x="106" y="97"/>
                  </a:lnTo>
                  <a:lnTo>
                    <a:pt x="104" y="99"/>
                  </a:lnTo>
                  <a:lnTo>
                    <a:pt x="106" y="97"/>
                  </a:lnTo>
                  <a:lnTo>
                    <a:pt x="104" y="97"/>
                  </a:lnTo>
                  <a:lnTo>
                    <a:pt x="104" y="97"/>
                  </a:lnTo>
                  <a:lnTo>
                    <a:pt x="104" y="97"/>
                  </a:lnTo>
                  <a:lnTo>
                    <a:pt x="106" y="95"/>
                  </a:lnTo>
                  <a:lnTo>
                    <a:pt x="106" y="95"/>
                  </a:lnTo>
                  <a:lnTo>
                    <a:pt x="106" y="95"/>
                  </a:lnTo>
                  <a:lnTo>
                    <a:pt x="106" y="92"/>
                  </a:lnTo>
                  <a:lnTo>
                    <a:pt x="106" y="85"/>
                  </a:lnTo>
                  <a:lnTo>
                    <a:pt x="108" y="85"/>
                  </a:lnTo>
                  <a:lnTo>
                    <a:pt x="108" y="83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8" y="73"/>
                  </a:lnTo>
                  <a:lnTo>
                    <a:pt x="108" y="73"/>
                  </a:lnTo>
                  <a:lnTo>
                    <a:pt x="104" y="73"/>
                  </a:lnTo>
                  <a:lnTo>
                    <a:pt x="99" y="73"/>
                  </a:lnTo>
                  <a:lnTo>
                    <a:pt x="89" y="71"/>
                  </a:lnTo>
                  <a:lnTo>
                    <a:pt x="87" y="71"/>
                  </a:lnTo>
                  <a:lnTo>
                    <a:pt x="89" y="69"/>
                  </a:lnTo>
                  <a:lnTo>
                    <a:pt x="92" y="69"/>
                  </a:lnTo>
                  <a:lnTo>
                    <a:pt x="92" y="66"/>
                  </a:lnTo>
                  <a:lnTo>
                    <a:pt x="89" y="66"/>
                  </a:lnTo>
                  <a:lnTo>
                    <a:pt x="89" y="66"/>
                  </a:lnTo>
                  <a:lnTo>
                    <a:pt x="89" y="64"/>
                  </a:lnTo>
                  <a:lnTo>
                    <a:pt x="92" y="64"/>
                  </a:lnTo>
                  <a:lnTo>
                    <a:pt x="92" y="62"/>
                  </a:lnTo>
                  <a:lnTo>
                    <a:pt x="92" y="62"/>
                  </a:lnTo>
                  <a:lnTo>
                    <a:pt x="92" y="59"/>
                  </a:lnTo>
                  <a:lnTo>
                    <a:pt x="92" y="57"/>
                  </a:lnTo>
                  <a:lnTo>
                    <a:pt x="92" y="54"/>
                  </a:lnTo>
                  <a:lnTo>
                    <a:pt x="92" y="52"/>
                  </a:lnTo>
                  <a:lnTo>
                    <a:pt x="94" y="50"/>
                  </a:lnTo>
                  <a:lnTo>
                    <a:pt x="99" y="47"/>
                  </a:lnTo>
                  <a:lnTo>
                    <a:pt x="99" y="47"/>
                  </a:lnTo>
                  <a:lnTo>
                    <a:pt x="99" y="45"/>
                  </a:lnTo>
                  <a:lnTo>
                    <a:pt x="99" y="45"/>
                  </a:lnTo>
                  <a:lnTo>
                    <a:pt x="99" y="45"/>
                  </a:lnTo>
                  <a:lnTo>
                    <a:pt x="99" y="43"/>
                  </a:lnTo>
                  <a:lnTo>
                    <a:pt x="99" y="43"/>
                  </a:lnTo>
                  <a:lnTo>
                    <a:pt x="99" y="43"/>
                  </a:lnTo>
                  <a:lnTo>
                    <a:pt x="99" y="40"/>
                  </a:lnTo>
                  <a:lnTo>
                    <a:pt x="99" y="40"/>
                  </a:lnTo>
                  <a:lnTo>
                    <a:pt x="101" y="38"/>
                  </a:lnTo>
                  <a:lnTo>
                    <a:pt x="104" y="38"/>
                  </a:lnTo>
                  <a:lnTo>
                    <a:pt x="104" y="38"/>
                  </a:lnTo>
                  <a:lnTo>
                    <a:pt x="104" y="36"/>
                  </a:lnTo>
                  <a:lnTo>
                    <a:pt x="106" y="36"/>
                  </a:lnTo>
                  <a:lnTo>
                    <a:pt x="106" y="38"/>
                  </a:lnTo>
                  <a:lnTo>
                    <a:pt x="106" y="38"/>
                  </a:lnTo>
                  <a:lnTo>
                    <a:pt x="108" y="33"/>
                  </a:lnTo>
                  <a:lnTo>
                    <a:pt x="108" y="33"/>
                  </a:lnTo>
                  <a:lnTo>
                    <a:pt x="108" y="36"/>
                  </a:lnTo>
                  <a:lnTo>
                    <a:pt x="111" y="36"/>
                  </a:lnTo>
                  <a:lnTo>
                    <a:pt x="113" y="33"/>
                  </a:lnTo>
                  <a:lnTo>
                    <a:pt x="113" y="33"/>
                  </a:lnTo>
                  <a:lnTo>
                    <a:pt x="115" y="33"/>
                  </a:lnTo>
                  <a:lnTo>
                    <a:pt x="115" y="33"/>
                  </a:lnTo>
                  <a:lnTo>
                    <a:pt x="118" y="33"/>
                  </a:lnTo>
                  <a:lnTo>
                    <a:pt x="118" y="33"/>
                  </a:lnTo>
                  <a:lnTo>
                    <a:pt x="118" y="33"/>
                  </a:lnTo>
                  <a:lnTo>
                    <a:pt x="118" y="31"/>
                  </a:lnTo>
                  <a:lnTo>
                    <a:pt x="118" y="31"/>
                  </a:lnTo>
                  <a:lnTo>
                    <a:pt x="118" y="31"/>
                  </a:lnTo>
                  <a:lnTo>
                    <a:pt x="120" y="31"/>
                  </a:lnTo>
                  <a:lnTo>
                    <a:pt x="120" y="31"/>
                  </a:lnTo>
                  <a:lnTo>
                    <a:pt x="123" y="28"/>
                  </a:lnTo>
                  <a:lnTo>
                    <a:pt x="123" y="28"/>
                  </a:lnTo>
                  <a:lnTo>
                    <a:pt x="123" y="28"/>
                  </a:lnTo>
                  <a:lnTo>
                    <a:pt x="123" y="28"/>
                  </a:lnTo>
                  <a:lnTo>
                    <a:pt x="125" y="28"/>
                  </a:lnTo>
                  <a:lnTo>
                    <a:pt x="125" y="31"/>
                  </a:lnTo>
                  <a:lnTo>
                    <a:pt x="127" y="31"/>
                  </a:lnTo>
                  <a:lnTo>
                    <a:pt x="127" y="31"/>
                  </a:lnTo>
                  <a:lnTo>
                    <a:pt x="127" y="33"/>
                  </a:lnTo>
                  <a:lnTo>
                    <a:pt x="130" y="33"/>
                  </a:lnTo>
                  <a:lnTo>
                    <a:pt x="130" y="33"/>
                  </a:lnTo>
                  <a:lnTo>
                    <a:pt x="130" y="33"/>
                  </a:lnTo>
                  <a:lnTo>
                    <a:pt x="132" y="33"/>
                  </a:lnTo>
                  <a:lnTo>
                    <a:pt x="132" y="33"/>
                  </a:lnTo>
                  <a:lnTo>
                    <a:pt x="137" y="33"/>
                  </a:lnTo>
                  <a:lnTo>
                    <a:pt x="137" y="36"/>
                  </a:lnTo>
                  <a:lnTo>
                    <a:pt x="139" y="33"/>
                  </a:lnTo>
                  <a:lnTo>
                    <a:pt x="139" y="28"/>
                  </a:lnTo>
                  <a:lnTo>
                    <a:pt x="123" y="12"/>
                  </a:lnTo>
                  <a:lnTo>
                    <a:pt x="123" y="12"/>
                  </a:lnTo>
                  <a:lnTo>
                    <a:pt x="125" y="12"/>
                  </a:lnTo>
                  <a:lnTo>
                    <a:pt x="125" y="10"/>
                  </a:lnTo>
                  <a:lnTo>
                    <a:pt x="127" y="12"/>
                  </a:lnTo>
                  <a:lnTo>
                    <a:pt x="127" y="12"/>
                  </a:lnTo>
                  <a:lnTo>
                    <a:pt x="127" y="12"/>
                  </a:lnTo>
                  <a:lnTo>
                    <a:pt x="130" y="12"/>
                  </a:lnTo>
                  <a:lnTo>
                    <a:pt x="132" y="10"/>
                  </a:lnTo>
                  <a:lnTo>
                    <a:pt x="132" y="10"/>
                  </a:lnTo>
                  <a:lnTo>
                    <a:pt x="132" y="10"/>
                  </a:lnTo>
                  <a:lnTo>
                    <a:pt x="134" y="10"/>
                  </a:lnTo>
                  <a:lnTo>
                    <a:pt x="134" y="7"/>
                  </a:lnTo>
                  <a:lnTo>
                    <a:pt x="137" y="10"/>
                  </a:lnTo>
                  <a:lnTo>
                    <a:pt x="137" y="10"/>
                  </a:lnTo>
                  <a:lnTo>
                    <a:pt x="137" y="10"/>
                  </a:lnTo>
                  <a:lnTo>
                    <a:pt x="137" y="12"/>
                  </a:lnTo>
                  <a:lnTo>
                    <a:pt x="139" y="12"/>
                  </a:lnTo>
                  <a:lnTo>
                    <a:pt x="139" y="12"/>
                  </a:lnTo>
                  <a:lnTo>
                    <a:pt x="139" y="12"/>
                  </a:lnTo>
                  <a:lnTo>
                    <a:pt x="139" y="12"/>
                  </a:lnTo>
                  <a:lnTo>
                    <a:pt x="139" y="14"/>
                  </a:lnTo>
                  <a:lnTo>
                    <a:pt x="139" y="14"/>
                  </a:lnTo>
                  <a:lnTo>
                    <a:pt x="141" y="14"/>
                  </a:lnTo>
                  <a:lnTo>
                    <a:pt x="141" y="14"/>
                  </a:lnTo>
                  <a:lnTo>
                    <a:pt x="144" y="14"/>
                  </a:lnTo>
                  <a:lnTo>
                    <a:pt x="146" y="14"/>
                  </a:lnTo>
                  <a:lnTo>
                    <a:pt x="146" y="14"/>
                  </a:lnTo>
                  <a:lnTo>
                    <a:pt x="146" y="17"/>
                  </a:lnTo>
                  <a:lnTo>
                    <a:pt x="148" y="17"/>
                  </a:lnTo>
                  <a:lnTo>
                    <a:pt x="151" y="14"/>
                  </a:lnTo>
                  <a:lnTo>
                    <a:pt x="151" y="17"/>
                  </a:lnTo>
                  <a:lnTo>
                    <a:pt x="151" y="14"/>
                  </a:lnTo>
                  <a:lnTo>
                    <a:pt x="153" y="17"/>
                  </a:lnTo>
                  <a:lnTo>
                    <a:pt x="156" y="14"/>
                  </a:lnTo>
                  <a:lnTo>
                    <a:pt x="156" y="14"/>
                  </a:lnTo>
                  <a:lnTo>
                    <a:pt x="158" y="12"/>
                  </a:lnTo>
                  <a:lnTo>
                    <a:pt x="158" y="12"/>
                  </a:lnTo>
                  <a:lnTo>
                    <a:pt x="160" y="10"/>
                  </a:lnTo>
                  <a:lnTo>
                    <a:pt x="158" y="10"/>
                  </a:lnTo>
                  <a:lnTo>
                    <a:pt x="160" y="7"/>
                  </a:lnTo>
                  <a:lnTo>
                    <a:pt x="160" y="7"/>
                  </a:lnTo>
                  <a:lnTo>
                    <a:pt x="160" y="5"/>
                  </a:lnTo>
                  <a:lnTo>
                    <a:pt x="160" y="5"/>
                  </a:lnTo>
                  <a:lnTo>
                    <a:pt x="163" y="5"/>
                  </a:lnTo>
                  <a:lnTo>
                    <a:pt x="163" y="2"/>
                  </a:lnTo>
                  <a:lnTo>
                    <a:pt x="165" y="2"/>
                  </a:lnTo>
                  <a:lnTo>
                    <a:pt x="167" y="2"/>
                  </a:lnTo>
                  <a:lnTo>
                    <a:pt x="172" y="0"/>
                  </a:lnTo>
                  <a:lnTo>
                    <a:pt x="172" y="0"/>
                  </a:lnTo>
                  <a:lnTo>
                    <a:pt x="174" y="2"/>
                  </a:lnTo>
                  <a:lnTo>
                    <a:pt x="177" y="2"/>
                  </a:lnTo>
                  <a:lnTo>
                    <a:pt x="179" y="5"/>
                  </a:lnTo>
                  <a:lnTo>
                    <a:pt x="179" y="2"/>
                  </a:lnTo>
                  <a:lnTo>
                    <a:pt x="184" y="5"/>
                  </a:lnTo>
                  <a:lnTo>
                    <a:pt x="184" y="5"/>
                  </a:lnTo>
                  <a:lnTo>
                    <a:pt x="189" y="5"/>
                  </a:lnTo>
                  <a:lnTo>
                    <a:pt x="189" y="5"/>
                  </a:lnTo>
                  <a:lnTo>
                    <a:pt x="191" y="5"/>
                  </a:lnTo>
                  <a:lnTo>
                    <a:pt x="191" y="5"/>
                  </a:lnTo>
                  <a:lnTo>
                    <a:pt x="193" y="5"/>
                  </a:lnTo>
                  <a:lnTo>
                    <a:pt x="193" y="5"/>
                  </a:lnTo>
                  <a:lnTo>
                    <a:pt x="196" y="5"/>
                  </a:lnTo>
                  <a:lnTo>
                    <a:pt x="196" y="5"/>
                  </a:lnTo>
                  <a:lnTo>
                    <a:pt x="198" y="5"/>
                  </a:lnTo>
                  <a:lnTo>
                    <a:pt x="198" y="7"/>
                  </a:lnTo>
                  <a:lnTo>
                    <a:pt x="200" y="7"/>
                  </a:lnTo>
                  <a:lnTo>
                    <a:pt x="200" y="7"/>
                  </a:lnTo>
                  <a:lnTo>
                    <a:pt x="203" y="10"/>
                  </a:lnTo>
                  <a:lnTo>
                    <a:pt x="203" y="10"/>
                  </a:lnTo>
                  <a:lnTo>
                    <a:pt x="205" y="10"/>
                  </a:lnTo>
                  <a:lnTo>
                    <a:pt x="210" y="12"/>
                  </a:lnTo>
                  <a:lnTo>
                    <a:pt x="229" y="24"/>
                  </a:lnTo>
                  <a:lnTo>
                    <a:pt x="243" y="33"/>
                  </a:lnTo>
                  <a:lnTo>
                    <a:pt x="248" y="38"/>
                  </a:lnTo>
                  <a:lnTo>
                    <a:pt x="248" y="38"/>
                  </a:lnTo>
                  <a:lnTo>
                    <a:pt x="276" y="57"/>
                  </a:lnTo>
                  <a:lnTo>
                    <a:pt x="278" y="57"/>
                  </a:lnTo>
                  <a:lnTo>
                    <a:pt x="278" y="57"/>
                  </a:lnTo>
                  <a:lnTo>
                    <a:pt x="278" y="59"/>
                  </a:lnTo>
                  <a:lnTo>
                    <a:pt x="278" y="59"/>
                  </a:lnTo>
                  <a:lnTo>
                    <a:pt x="276" y="69"/>
                  </a:lnTo>
                  <a:lnTo>
                    <a:pt x="276" y="69"/>
                  </a:lnTo>
                  <a:lnTo>
                    <a:pt x="274" y="76"/>
                  </a:lnTo>
                  <a:lnTo>
                    <a:pt x="271" y="80"/>
                  </a:lnTo>
                  <a:lnTo>
                    <a:pt x="271" y="85"/>
                  </a:lnTo>
                  <a:lnTo>
                    <a:pt x="271" y="87"/>
                  </a:lnTo>
                  <a:lnTo>
                    <a:pt x="271" y="92"/>
                  </a:lnTo>
                  <a:lnTo>
                    <a:pt x="274" y="92"/>
                  </a:lnTo>
                  <a:lnTo>
                    <a:pt x="271" y="97"/>
                  </a:lnTo>
                  <a:lnTo>
                    <a:pt x="269" y="106"/>
                  </a:lnTo>
                  <a:lnTo>
                    <a:pt x="269" y="116"/>
                  </a:lnTo>
                  <a:lnTo>
                    <a:pt x="269" y="123"/>
                  </a:lnTo>
                  <a:lnTo>
                    <a:pt x="271" y="139"/>
                  </a:lnTo>
                  <a:lnTo>
                    <a:pt x="274" y="158"/>
                  </a:lnTo>
                  <a:lnTo>
                    <a:pt x="274" y="168"/>
                  </a:lnTo>
                  <a:lnTo>
                    <a:pt x="276" y="177"/>
                  </a:lnTo>
                  <a:lnTo>
                    <a:pt x="276" y="184"/>
                  </a:lnTo>
                  <a:lnTo>
                    <a:pt x="276" y="194"/>
                  </a:lnTo>
                  <a:lnTo>
                    <a:pt x="271" y="206"/>
                  </a:lnTo>
                  <a:lnTo>
                    <a:pt x="267" y="217"/>
                  </a:lnTo>
                  <a:lnTo>
                    <a:pt x="262" y="227"/>
                  </a:lnTo>
                  <a:lnTo>
                    <a:pt x="262" y="229"/>
                  </a:lnTo>
                  <a:lnTo>
                    <a:pt x="260" y="232"/>
                  </a:lnTo>
                  <a:lnTo>
                    <a:pt x="260" y="232"/>
                  </a:lnTo>
                  <a:lnTo>
                    <a:pt x="257" y="232"/>
                  </a:lnTo>
                  <a:lnTo>
                    <a:pt x="252" y="232"/>
                  </a:lnTo>
                  <a:lnTo>
                    <a:pt x="248" y="234"/>
                  </a:lnTo>
                  <a:lnTo>
                    <a:pt x="245" y="236"/>
                  </a:lnTo>
                  <a:lnTo>
                    <a:pt x="241" y="241"/>
                  </a:lnTo>
                  <a:lnTo>
                    <a:pt x="234" y="248"/>
                  </a:lnTo>
                  <a:lnTo>
                    <a:pt x="231" y="250"/>
                  </a:lnTo>
                  <a:lnTo>
                    <a:pt x="231" y="253"/>
                  </a:lnTo>
                  <a:lnTo>
                    <a:pt x="231" y="253"/>
                  </a:lnTo>
                  <a:lnTo>
                    <a:pt x="229" y="258"/>
                  </a:lnTo>
                  <a:lnTo>
                    <a:pt x="229" y="260"/>
                  </a:lnTo>
                  <a:lnTo>
                    <a:pt x="226" y="260"/>
                  </a:lnTo>
                  <a:lnTo>
                    <a:pt x="226" y="262"/>
                  </a:lnTo>
                  <a:lnTo>
                    <a:pt x="226" y="262"/>
                  </a:lnTo>
                  <a:lnTo>
                    <a:pt x="224" y="262"/>
                  </a:lnTo>
                  <a:lnTo>
                    <a:pt x="224" y="265"/>
                  </a:lnTo>
                  <a:lnTo>
                    <a:pt x="222" y="267"/>
                  </a:lnTo>
                  <a:lnTo>
                    <a:pt x="222" y="267"/>
                  </a:lnTo>
                  <a:lnTo>
                    <a:pt x="219" y="269"/>
                  </a:lnTo>
                  <a:lnTo>
                    <a:pt x="219" y="269"/>
                  </a:lnTo>
                  <a:lnTo>
                    <a:pt x="222" y="272"/>
                  </a:lnTo>
                  <a:lnTo>
                    <a:pt x="219" y="272"/>
                  </a:lnTo>
                  <a:lnTo>
                    <a:pt x="219" y="274"/>
                  </a:lnTo>
                  <a:lnTo>
                    <a:pt x="219" y="274"/>
                  </a:lnTo>
                  <a:lnTo>
                    <a:pt x="219" y="276"/>
                  </a:lnTo>
                  <a:lnTo>
                    <a:pt x="219" y="276"/>
                  </a:lnTo>
                  <a:lnTo>
                    <a:pt x="217" y="281"/>
                  </a:lnTo>
                  <a:lnTo>
                    <a:pt x="215" y="281"/>
                  </a:lnTo>
                  <a:lnTo>
                    <a:pt x="212" y="284"/>
                  </a:lnTo>
                  <a:lnTo>
                    <a:pt x="215" y="286"/>
                  </a:lnTo>
                  <a:lnTo>
                    <a:pt x="215" y="291"/>
                  </a:lnTo>
                  <a:lnTo>
                    <a:pt x="215" y="295"/>
                  </a:lnTo>
                  <a:lnTo>
                    <a:pt x="215" y="298"/>
                  </a:lnTo>
                  <a:lnTo>
                    <a:pt x="212" y="300"/>
                  </a:lnTo>
                  <a:lnTo>
                    <a:pt x="212" y="302"/>
                  </a:lnTo>
                  <a:lnTo>
                    <a:pt x="212" y="305"/>
                  </a:lnTo>
                  <a:lnTo>
                    <a:pt x="210" y="307"/>
                  </a:lnTo>
                  <a:lnTo>
                    <a:pt x="208" y="310"/>
                  </a:lnTo>
                  <a:lnTo>
                    <a:pt x="208" y="312"/>
                  </a:lnTo>
                  <a:lnTo>
                    <a:pt x="208" y="314"/>
                  </a:lnTo>
                  <a:lnTo>
                    <a:pt x="205" y="314"/>
                  </a:lnTo>
                  <a:lnTo>
                    <a:pt x="205" y="314"/>
                  </a:lnTo>
                  <a:lnTo>
                    <a:pt x="205" y="312"/>
                  </a:lnTo>
                  <a:lnTo>
                    <a:pt x="205" y="310"/>
                  </a:lnTo>
                  <a:lnTo>
                    <a:pt x="203" y="310"/>
                  </a:lnTo>
                  <a:lnTo>
                    <a:pt x="200" y="312"/>
                  </a:lnTo>
                  <a:lnTo>
                    <a:pt x="200" y="314"/>
                  </a:lnTo>
                  <a:lnTo>
                    <a:pt x="200" y="314"/>
                  </a:lnTo>
                  <a:lnTo>
                    <a:pt x="200" y="314"/>
                  </a:lnTo>
                  <a:lnTo>
                    <a:pt x="203" y="314"/>
                  </a:lnTo>
                  <a:lnTo>
                    <a:pt x="203" y="317"/>
                  </a:lnTo>
                  <a:lnTo>
                    <a:pt x="200" y="317"/>
                  </a:lnTo>
                  <a:lnTo>
                    <a:pt x="200" y="317"/>
                  </a:lnTo>
                  <a:lnTo>
                    <a:pt x="203" y="317"/>
                  </a:lnTo>
                  <a:lnTo>
                    <a:pt x="203" y="317"/>
                  </a:lnTo>
                  <a:lnTo>
                    <a:pt x="200" y="317"/>
                  </a:lnTo>
                  <a:lnTo>
                    <a:pt x="200" y="317"/>
                  </a:lnTo>
                  <a:lnTo>
                    <a:pt x="200" y="319"/>
                  </a:lnTo>
                  <a:lnTo>
                    <a:pt x="203" y="317"/>
                  </a:lnTo>
                  <a:lnTo>
                    <a:pt x="203" y="317"/>
                  </a:lnTo>
                  <a:lnTo>
                    <a:pt x="203" y="317"/>
                  </a:lnTo>
                  <a:lnTo>
                    <a:pt x="203" y="319"/>
                  </a:lnTo>
                  <a:lnTo>
                    <a:pt x="203" y="319"/>
                  </a:lnTo>
                  <a:lnTo>
                    <a:pt x="203" y="319"/>
                  </a:lnTo>
                  <a:lnTo>
                    <a:pt x="203" y="319"/>
                  </a:lnTo>
                  <a:lnTo>
                    <a:pt x="203" y="319"/>
                  </a:lnTo>
                  <a:lnTo>
                    <a:pt x="203" y="319"/>
                  </a:lnTo>
                  <a:lnTo>
                    <a:pt x="203" y="319"/>
                  </a:lnTo>
                  <a:lnTo>
                    <a:pt x="200" y="321"/>
                  </a:lnTo>
                  <a:lnTo>
                    <a:pt x="200" y="324"/>
                  </a:lnTo>
                  <a:lnTo>
                    <a:pt x="198" y="326"/>
                  </a:lnTo>
                  <a:lnTo>
                    <a:pt x="196" y="331"/>
                  </a:lnTo>
                  <a:lnTo>
                    <a:pt x="196" y="331"/>
                  </a:lnTo>
                  <a:lnTo>
                    <a:pt x="193" y="338"/>
                  </a:lnTo>
                  <a:lnTo>
                    <a:pt x="191" y="343"/>
                  </a:lnTo>
                  <a:lnTo>
                    <a:pt x="191" y="343"/>
                  </a:lnTo>
                  <a:lnTo>
                    <a:pt x="191" y="343"/>
                  </a:lnTo>
                  <a:lnTo>
                    <a:pt x="191" y="345"/>
                  </a:lnTo>
                  <a:lnTo>
                    <a:pt x="186" y="352"/>
                  </a:lnTo>
                  <a:lnTo>
                    <a:pt x="186" y="354"/>
                  </a:lnTo>
                  <a:lnTo>
                    <a:pt x="184" y="357"/>
                  </a:lnTo>
                  <a:lnTo>
                    <a:pt x="184" y="359"/>
                  </a:lnTo>
                  <a:lnTo>
                    <a:pt x="184" y="359"/>
                  </a:lnTo>
                  <a:lnTo>
                    <a:pt x="184" y="359"/>
                  </a:lnTo>
                  <a:lnTo>
                    <a:pt x="182" y="359"/>
                  </a:lnTo>
                  <a:lnTo>
                    <a:pt x="182" y="359"/>
                  </a:lnTo>
                  <a:lnTo>
                    <a:pt x="182" y="359"/>
                  </a:lnTo>
                  <a:lnTo>
                    <a:pt x="182" y="359"/>
                  </a:lnTo>
                  <a:lnTo>
                    <a:pt x="182" y="359"/>
                  </a:lnTo>
                  <a:lnTo>
                    <a:pt x="179" y="357"/>
                  </a:lnTo>
                  <a:lnTo>
                    <a:pt x="179" y="359"/>
                  </a:lnTo>
                  <a:lnTo>
                    <a:pt x="177" y="359"/>
                  </a:lnTo>
                  <a:lnTo>
                    <a:pt x="179" y="359"/>
                  </a:lnTo>
                  <a:lnTo>
                    <a:pt x="177" y="359"/>
                  </a:lnTo>
                  <a:lnTo>
                    <a:pt x="177" y="361"/>
                  </a:lnTo>
                  <a:lnTo>
                    <a:pt x="177" y="361"/>
                  </a:lnTo>
                  <a:lnTo>
                    <a:pt x="179" y="361"/>
                  </a:lnTo>
                  <a:lnTo>
                    <a:pt x="177" y="361"/>
                  </a:lnTo>
                  <a:lnTo>
                    <a:pt x="177" y="361"/>
                  </a:lnTo>
                  <a:lnTo>
                    <a:pt x="177" y="361"/>
                  </a:lnTo>
                  <a:lnTo>
                    <a:pt x="177" y="361"/>
                  </a:lnTo>
                  <a:lnTo>
                    <a:pt x="174" y="361"/>
                  </a:lnTo>
                  <a:lnTo>
                    <a:pt x="174" y="361"/>
                  </a:lnTo>
                  <a:lnTo>
                    <a:pt x="174" y="361"/>
                  </a:lnTo>
                  <a:lnTo>
                    <a:pt x="174" y="364"/>
                  </a:lnTo>
                  <a:lnTo>
                    <a:pt x="174" y="361"/>
                  </a:lnTo>
                  <a:lnTo>
                    <a:pt x="174" y="364"/>
                  </a:lnTo>
                  <a:lnTo>
                    <a:pt x="174" y="364"/>
                  </a:lnTo>
                  <a:lnTo>
                    <a:pt x="174" y="364"/>
                  </a:lnTo>
                  <a:lnTo>
                    <a:pt x="174" y="364"/>
                  </a:lnTo>
                  <a:lnTo>
                    <a:pt x="174" y="364"/>
                  </a:lnTo>
                  <a:lnTo>
                    <a:pt x="172" y="366"/>
                  </a:lnTo>
                  <a:lnTo>
                    <a:pt x="172" y="371"/>
                  </a:lnTo>
                  <a:lnTo>
                    <a:pt x="172" y="371"/>
                  </a:lnTo>
                  <a:lnTo>
                    <a:pt x="172" y="371"/>
                  </a:lnTo>
                  <a:lnTo>
                    <a:pt x="172" y="371"/>
                  </a:lnTo>
                  <a:lnTo>
                    <a:pt x="170" y="371"/>
                  </a:lnTo>
                  <a:lnTo>
                    <a:pt x="170" y="373"/>
                  </a:lnTo>
                  <a:lnTo>
                    <a:pt x="170" y="373"/>
                  </a:lnTo>
                  <a:lnTo>
                    <a:pt x="167" y="373"/>
                  </a:lnTo>
                  <a:lnTo>
                    <a:pt x="165" y="376"/>
                  </a:lnTo>
                  <a:lnTo>
                    <a:pt x="165" y="378"/>
                  </a:lnTo>
                  <a:lnTo>
                    <a:pt x="165" y="378"/>
                  </a:lnTo>
                  <a:lnTo>
                    <a:pt x="163" y="380"/>
                  </a:lnTo>
                  <a:lnTo>
                    <a:pt x="165" y="380"/>
                  </a:lnTo>
                  <a:lnTo>
                    <a:pt x="163" y="380"/>
                  </a:lnTo>
                  <a:lnTo>
                    <a:pt x="163" y="380"/>
                  </a:lnTo>
                  <a:lnTo>
                    <a:pt x="160" y="380"/>
                  </a:lnTo>
                  <a:lnTo>
                    <a:pt x="158" y="385"/>
                  </a:lnTo>
                  <a:lnTo>
                    <a:pt x="158" y="385"/>
                  </a:lnTo>
                  <a:lnTo>
                    <a:pt x="158" y="385"/>
                  </a:lnTo>
                  <a:lnTo>
                    <a:pt x="158" y="385"/>
                  </a:lnTo>
                  <a:lnTo>
                    <a:pt x="158" y="383"/>
                  </a:lnTo>
                  <a:lnTo>
                    <a:pt x="158" y="383"/>
                  </a:lnTo>
                  <a:lnTo>
                    <a:pt x="158" y="383"/>
                  </a:lnTo>
                  <a:lnTo>
                    <a:pt x="156" y="380"/>
                  </a:lnTo>
                  <a:lnTo>
                    <a:pt x="156" y="378"/>
                  </a:lnTo>
                  <a:lnTo>
                    <a:pt x="156" y="378"/>
                  </a:lnTo>
                  <a:lnTo>
                    <a:pt x="156" y="378"/>
                  </a:lnTo>
                  <a:lnTo>
                    <a:pt x="156" y="378"/>
                  </a:lnTo>
                  <a:lnTo>
                    <a:pt x="156" y="380"/>
                  </a:lnTo>
                  <a:lnTo>
                    <a:pt x="153" y="380"/>
                  </a:lnTo>
                  <a:lnTo>
                    <a:pt x="156" y="380"/>
                  </a:lnTo>
                  <a:lnTo>
                    <a:pt x="153" y="383"/>
                  </a:lnTo>
                  <a:lnTo>
                    <a:pt x="151" y="383"/>
                  </a:lnTo>
                  <a:lnTo>
                    <a:pt x="151" y="383"/>
                  </a:lnTo>
                  <a:lnTo>
                    <a:pt x="151" y="383"/>
                  </a:lnTo>
                  <a:lnTo>
                    <a:pt x="151" y="383"/>
                  </a:lnTo>
                  <a:lnTo>
                    <a:pt x="151" y="383"/>
                  </a:lnTo>
                  <a:lnTo>
                    <a:pt x="148" y="385"/>
                  </a:lnTo>
                  <a:lnTo>
                    <a:pt x="148" y="385"/>
                  </a:lnTo>
                  <a:lnTo>
                    <a:pt x="146" y="385"/>
                  </a:lnTo>
                  <a:lnTo>
                    <a:pt x="146" y="385"/>
                  </a:lnTo>
                  <a:lnTo>
                    <a:pt x="146" y="385"/>
                  </a:lnTo>
                  <a:lnTo>
                    <a:pt x="146" y="385"/>
                  </a:lnTo>
                  <a:lnTo>
                    <a:pt x="146" y="385"/>
                  </a:lnTo>
                  <a:lnTo>
                    <a:pt x="146" y="385"/>
                  </a:lnTo>
                  <a:lnTo>
                    <a:pt x="146" y="385"/>
                  </a:lnTo>
                  <a:lnTo>
                    <a:pt x="146" y="387"/>
                  </a:lnTo>
                  <a:lnTo>
                    <a:pt x="146" y="387"/>
                  </a:lnTo>
                  <a:lnTo>
                    <a:pt x="146" y="385"/>
                  </a:lnTo>
                  <a:lnTo>
                    <a:pt x="146" y="385"/>
                  </a:lnTo>
                  <a:lnTo>
                    <a:pt x="144" y="387"/>
                  </a:lnTo>
                  <a:lnTo>
                    <a:pt x="141" y="387"/>
                  </a:lnTo>
                  <a:lnTo>
                    <a:pt x="141" y="390"/>
                  </a:lnTo>
                  <a:lnTo>
                    <a:pt x="141" y="390"/>
                  </a:lnTo>
                  <a:lnTo>
                    <a:pt x="141" y="390"/>
                  </a:lnTo>
                  <a:lnTo>
                    <a:pt x="141" y="392"/>
                  </a:lnTo>
                  <a:lnTo>
                    <a:pt x="139" y="392"/>
                  </a:lnTo>
                  <a:lnTo>
                    <a:pt x="139" y="395"/>
                  </a:lnTo>
                  <a:lnTo>
                    <a:pt x="137" y="397"/>
                  </a:lnTo>
                  <a:lnTo>
                    <a:pt x="137" y="399"/>
                  </a:lnTo>
                  <a:lnTo>
                    <a:pt x="137" y="399"/>
                  </a:lnTo>
                  <a:lnTo>
                    <a:pt x="134" y="402"/>
                  </a:lnTo>
                  <a:lnTo>
                    <a:pt x="134" y="406"/>
                  </a:lnTo>
                  <a:lnTo>
                    <a:pt x="137" y="406"/>
                  </a:lnTo>
                  <a:lnTo>
                    <a:pt x="134" y="406"/>
                  </a:lnTo>
                  <a:lnTo>
                    <a:pt x="134" y="409"/>
                  </a:lnTo>
                  <a:lnTo>
                    <a:pt x="134" y="411"/>
                  </a:lnTo>
                  <a:lnTo>
                    <a:pt x="132" y="411"/>
                  </a:lnTo>
                  <a:lnTo>
                    <a:pt x="130" y="423"/>
                  </a:lnTo>
                  <a:lnTo>
                    <a:pt x="125" y="425"/>
                  </a:lnTo>
                  <a:lnTo>
                    <a:pt x="125" y="428"/>
                  </a:lnTo>
                  <a:lnTo>
                    <a:pt x="123" y="428"/>
                  </a:lnTo>
                  <a:lnTo>
                    <a:pt x="120" y="432"/>
                  </a:lnTo>
                  <a:lnTo>
                    <a:pt x="118" y="437"/>
                  </a:lnTo>
                  <a:lnTo>
                    <a:pt x="115" y="439"/>
                  </a:lnTo>
                  <a:lnTo>
                    <a:pt x="115" y="444"/>
                  </a:lnTo>
                  <a:lnTo>
                    <a:pt x="115" y="447"/>
                  </a:lnTo>
                  <a:lnTo>
                    <a:pt x="115" y="447"/>
                  </a:lnTo>
                  <a:lnTo>
                    <a:pt x="115" y="444"/>
                  </a:lnTo>
                  <a:lnTo>
                    <a:pt x="113" y="444"/>
                  </a:lnTo>
                  <a:lnTo>
                    <a:pt x="113" y="444"/>
                  </a:lnTo>
                  <a:lnTo>
                    <a:pt x="113" y="444"/>
                  </a:lnTo>
                  <a:lnTo>
                    <a:pt x="113" y="444"/>
                  </a:lnTo>
                  <a:lnTo>
                    <a:pt x="113" y="444"/>
                  </a:lnTo>
                  <a:lnTo>
                    <a:pt x="111" y="444"/>
                  </a:lnTo>
                  <a:lnTo>
                    <a:pt x="111" y="444"/>
                  </a:lnTo>
                  <a:lnTo>
                    <a:pt x="111" y="442"/>
                  </a:lnTo>
                  <a:lnTo>
                    <a:pt x="111" y="439"/>
                  </a:lnTo>
                  <a:lnTo>
                    <a:pt x="108" y="439"/>
                  </a:lnTo>
                  <a:lnTo>
                    <a:pt x="108" y="439"/>
                  </a:lnTo>
                  <a:lnTo>
                    <a:pt x="106" y="439"/>
                  </a:lnTo>
                  <a:lnTo>
                    <a:pt x="104" y="437"/>
                  </a:lnTo>
                  <a:lnTo>
                    <a:pt x="101" y="437"/>
                  </a:lnTo>
                  <a:lnTo>
                    <a:pt x="101" y="437"/>
                  </a:lnTo>
                  <a:lnTo>
                    <a:pt x="101" y="435"/>
                  </a:lnTo>
                  <a:lnTo>
                    <a:pt x="99" y="435"/>
                  </a:lnTo>
                  <a:lnTo>
                    <a:pt x="99" y="435"/>
                  </a:lnTo>
                  <a:lnTo>
                    <a:pt x="99" y="435"/>
                  </a:lnTo>
                  <a:lnTo>
                    <a:pt x="94" y="437"/>
                  </a:lnTo>
                  <a:lnTo>
                    <a:pt x="94" y="437"/>
                  </a:lnTo>
                  <a:lnTo>
                    <a:pt x="92" y="437"/>
                  </a:lnTo>
                  <a:lnTo>
                    <a:pt x="92" y="437"/>
                  </a:lnTo>
                  <a:lnTo>
                    <a:pt x="89" y="437"/>
                  </a:lnTo>
                  <a:lnTo>
                    <a:pt x="89" y="437"/>
                  </a:lnTo>
                  <a:lnTo>
                    <a:pt x="87" y="437"/>
                  </a:lnTo>
                  <a:lnTo>
                    <a:pt x="89" y="437"/>
                  </a:lnTo>
                  <a:lnTo>
                    <a:pt x="87" y="437"/>
                  </a:lnTo>
                  <a:lnTo>
                    <a:pt x="87" y="437"/>
                  </a:lnTo>
                  <a:lnTo>
                    <a:pt x="87" y="437"/>
                  </a:lnTo>
                  <a:lnTo>
                    <a:pt x="87" y="437"/>
                  </a:lnTo>
                  <a:lnTo>
                    <a:pt x="87" y="439"/>
                  </a:lnTo>
                  <a:lnTo>
                    <a:pt x="87" y="437"/>
                  </a:lnTo>
                  <a:lnTo>
                    <a:pt x="85" y="437"/>
                  </a:lnTo>
                  <a:lnTo>
                    <a:pt x="85" y="437"/>
                  </a:lnTo>
                  <a:lnTo>
                    <a:pt x="85" y="437"/>
                  </a:lnTo>
                  <a:lnTo>
                    <a:pt x="82" y="437"/>
                  </a:lnTo>
                  <a:lnTo>
                    <a:pt x="82" y="437"/>
                  </a:lnTo>
                  <a:lnTo>
                    <a:pt x="82" y="437"/>
                  </a:lnTo>
                  <a:lnTo>
                    <a:pt x="82" y="435"/>
                  </a:lnTo>
                  <a:lnTo>
                    <a:pt x="80" y="435"/>
                  </a:lnTo>
                  <a:lnTo>
                    <a:pt x="80" y="435"/>
                  </a:lnTo>
                  <a:lnTo>
                    <a:pt x="78" y="435"/>
                  </a:lnTo>
                  <a:lnTo>
                    <a:pt x="78" y="437"/>
                  </a:lnTo>
                  <a:lnTo>
                    <a:pt x="75" y="437"/>
                  </a:lnTo>
                  <a:lnTo>
                    <a:pt x="75" y="437"/>
                  </a:lnTo>
                  <a:lnTo>
                    <a:pt x="75" y="437"/>
                  </a:lnTo>
                  <a:lnTo>
                    <a:pt x="75" y="437"/>
                  </a:lnTo>
                  <a:lnTo>
                    <a:pt x="73" y="437"/>
                  </a:lnTo>
                  <a:lnTo>
                    <a:pt x="73" y="437"/>
                  </a:lnTo>
                  <a:lnTo>
                    <a:pt x="71" y="435"/>
                  </a:lnTo>
                  <a:lnTo>
                    <a:pt x="71" y="435"/>
                  </a:lnTo>
                  <a:lnTo>
                    <a:pt x="71" y="435"/>
                  </a:lnTo>
                  <a:lnTo>
                    <a:pt x="68" y="435"/>
                  </a:lnTo>
                  <a:lnTo>
                    <a:pt x="68" y="435"/>
                  </a:lnTo>
                  <a:lnTo>
                    <a:pt x="68" y="435"/>
                  </a:lnTo>
                  <a:lnTo>
                    <a:pt x="63" y="432"/>
                  </a:lnTo>
                  <a:lnTo>
                    <a:pt x="63" y="432"/>
                  </a:lnTo>
                  <a:lnTo>
                    <a:pt x="63" y="432"/>
                  </a:lnTo>
                  <a:lnTo>
                    <a:pt x="63" y="432"/>
                  </a:lnTo>
                  <a:lnTo>
                    <a:pt x="61" y="432"/>
                  </a:lnTo>
                  <a:lnTo>
                    <a:pt x="61" y="432"/>
                  </a:lnTo>
                  <a:lnTo>
                    <a:pt x="59" y="432"/>
                  </a:lnTo>
                  <a:lnTo>
                    <a:pt x="59" y="432"/>
                  </a:lnTo>
                  <a:lnTo>
                    <a:pt x="59" y="432"/>
                  </a:lnTo>
                  <a:lnTo>
                    <a:pt x="59" y="432"/>
                  </a:lnTo>
                  <a:lnTo>
                    <a:pt x="56" y="432"/>
                  </a:lnTo>
                  <a:lnTo>
                    <a:pt x="56" y="435"/>
                  </a:lnTo>
                  <a:lnTo>
                    <a:pt x="54" y="435"/>
                  </a:lnTo>
                  <a:lnTo>
                    <a:pt x="54" y="435"/>
                  </a:lnTo>
                  <a:lnTo>
                    <a:pt x="52" y="432"/>
                  </a:lnTo>
                  <a:lnTo>
                    <a:pt x="49" y="432"/>
                  </a:lnTo>
                  <a:lnTo>
                    <a:pt x="49" y="430"/>
                  </a:lnTo>
                  <a:lnTo>
                    <a:pt x="49" y="430"/>
                  </a:lnTo>
                  <a:lnTo>
                    <a:pt x="47" y="430"/>
                  </a:lnTo>
                  <a:lnTo>
                    <a:pt x="47" y="430"/>
                  </a:lnTo>
                  <a:lnTo>
                    <a:pt x="45" y="430"/>
                  </a:lnTo>
                  <a:lnTo>
                    <a:pt x="45" y="432"/>
                  </a:lnTo>
                  <a:lnTo>
                    <a:pt x="45" y="430"/>
                  </a:lnTo>
                  <a:lnTo>
                    <a:pt x="40" y="430"/>
                  </a:lnTo>
                  <a:lnTo>
                    <a:pt x="40" y="428"/>
                  </a:lnTo>
                  <a:lnTo>
                    <a:pt x="40" y="430"/>
                  </a:lnTo>
                  <a:lnTo>
                    <a:pt x="37" y="430"/>
                  </a:lnTo>
                  <a:lnTo>
                    <a:pt x="37" y="428"/>
                  </a:lnTo>
                  <a:lnTo>
                    <a:pt x="37" y="428"/>
                  </a:lnTo>
                  <a:lnTo>
                    <a:pt x="35" y="425"/>
                  </a:lnTo>
                  <a:lnTo>
                    <a:pt x="33" y="428"/>
                  </a:lnTo>
                  <a:lnTo>
                    <a:pt x="30" y="425"/>
                  </a:lnTo>
                  <a:lnTo>
                    <a:pt x="30" y="425"/>
                  </a:lnTo>
                  <a:lnTo>
                    <a:pt x="28" y="425"/>
                  </a:lnTo>
                  <a:lnTo>
                    <a:pt x="28" y="425"/>
                  </a:lnTo>
                  <a:lnTo>
                    <a:pt x="28" y="425"/>
                  </a:lnTo>
                  <a:lnTo>
                    <a:pt x="26" y="423"/>
                  </a:lnTo>
                  <a:lnTo>
                    <a:pt x="26" y="423"/>
                  </a:lnTo>
                  <a:lnTo>
                    <a:pt x="26" y="423"/>
                  </a:lnTo>
                  <a:lnTo>
                    <a:pt x="26" y="423"/>
                  </a:lnTo>
                  <a:lnTo>
                    <a:pt x="26" y="423"/>
                  </a:lnTo>
                  <a:lnTo>
                    <a:pt x="23" y="423"/>
                  </a:lnTo>
                  <a:lnTo>
                    <a:pt x="23" y="423"/>
                  </a:lnTo>
                  <a:lnTo>
                    <a:pt x="21" y="423"/>
                  </a:lnTo>
                  <a:lnTo>
                    <a:pt x="21" y="423"/>
                  </a:lnTo>
                  <a:lnTo>
                    <a:pt x="19" y="423"/>
                  </a:lnTo>
                  <a:lnTo>
                    <a:pt x="19" y="423"/>
                  </a:lnTo>
                  <a:lnTo>
                    <a:pt x="21" y="421"/>
                  </a:lnTo>
                  <a:lnTo>
                    <a:pt x="21" y="421"/>
                  </a:lnTo>
                  <a:lnTo>
                    <a:pt x="19" y="421"/>
                  </a:lnTo>
                  <a:lnTo>
                    <a:pt x="19" y="421"/>
                  </a:lnTo>
                  <a:lnTo>
                    <a:pt x="19" y="421"/>
                  </a:lnTo>
                  <a:lnTo>
                    <a:pt x="19" y="418"/>
                  </a:lnTo>
                  <a:lnTo>
                    <a:pt x="19" y="416"/>
                  </a:lnTo>
                  <a:lnTo>
                    <a:pt x="19" y="416"/>
                  </a:lnTo>
                  <a:lnTo>
                    <a:pt x="19" y="416"/>
                  </a:lnTo>
                  <a:lnTo>
                    <a:pt x="19" y="416"/>
                  </a:lnTo>
                  <a:lnTo>
                    <a:pt x="19" y="413"/>
                  </a:lnTo>
                  <a:lnTo>
                    <a:pt x="19" y="413"/>
                  </a:lnTo>
                  <a:lnTo>
                    <a:pt x="19" y="413"/>
                  </a:lnTo>
                  <a:lnTo>
                    <a:pt x="19" y="413"/>
                  </a:lnTo>
                  <a:lnTo>
                    <a:pt x="19" y="411"/>
                  </a:lnTo>
                  <a:lnTo>
                    <a:pt x="19" y="411"/>
                  </a:lnTo>
                  <a:lnTo>
                    <a:pt x="19" y="409"/>
                  </a:lnTo>
                  <a:lnTo>
                    <a:pt x="19" y="409"/>
                  </a:lnTo>
                  <a:lnTo>
                    <a:pt x="21" y="409"/>
                  </a:lnTo>
                  <a:lnTo>
                    <a:pt x="19" y="409"/>
                  </a:lnTo>
                  <a:lnTo>
                    <a:pt x="19" y="406"/>
                  </a:lnTo>
                  <a:lnTo>
                    <a:pt x="19" y="406"/>
                  </a:lnTo>
                  <a:lnTo>
                    <a:pt x="21" y="406"/>
                  </a:lnTo>
                  <a:lnTo>
                    <a:pt x="21" y="404"/>
                  </a:lnTo>
                  <a:lnTo>
                    <a:pt x="19" y="404"/>
                  </a:lnTo>
                  <a:lnTo>
                    <a:pt x="19" y="399"/>
                  </a:lnTo>
                  <a:lnTo>
                    <a:pt x="19" y="399"/>
                  </a:lnTo>
                  <a:lnTo>
                    <a:pt x="16" y="397"/>
                  </a:lnTo>
                  <a:lnTo>
                    <a:pt x="19" y="397"/>
                  </a:lnTo>
                  <a:lnTo>
                    <a:pt x="19" y="397"/>
                  </a:lnTo>
                  <a:lnTo>
                    <a:pt x="19" y="392"/>
                  </a:lnTo>
                  <a:lnTo>
                    <a:pt x="19" y="392"/>
                  </a:lnTo>
                  <a:lnTo>
                    <a:pt x="19" y="392"/>
                  </a:lnTo>
                  <a:lnTo>
                    <a:pt x="19" y="390"/>
                  </a:lnTo>
                  <a:lnTo>
                    <a:pt x="21" y="390"/>
                  </a:lnTo>
                  <a:lnTo>
                    <a:pt x="19" y="390"/>
                  </a:lnTo>
                  <a:lnTo>
                    <a:pt x="16" y="390"/>
                  </a:lnTo>
                  <a:lnTo>
                    <a:pt x="16" y="390"/>
                  </a:lnTo>
                  <a:lnTo>
                    <a:pt x="16" y="387"/>
                  </a:lnTo>
                  <a:lnTo>
                    <a:pt x="16" y="385"/>
                  </a:lnTo>
                  <a:lnTo>
                    <a:pt x="16" y="383"/>
                  </a:lnTo>
                  <a:lnTo>
                    <a:pt x="16" y="383"/>
                  </a:lnTo>
                  <a:lnTo>
                    <a:pt x="16" y="383"/>
                  </a:lnTo>
                  <a:lnTo>
                    <a:pt x="16" y="383"/>
                  </a:lnTo>
                  <a:lnTo>
                    <a:pt x="16" y="380"/>
                  </a:lnTo>
                  <a:lnTo>
                    <a:pt x="14" y="380"/>
                  </a:lnTo>
                  <a:lnTo>
                    <a:pt x="14" y="380"/>
                  </a:lnTo>
                  <a:lnTo>
                    <a:pt x="11" y="380"/>
                  </a:lnTo>
                  <a:lnTo>
                    <a:pt x="9" y="380"/>
                  </a:lnTo>
                  <a:lnTo>
                    <a:pt x="9" y="380"/>
                  </a:lnTo>
                  <a:lnTo>
                    <a:pt x="7" y="380"/>
                  </a:lnTo>
                  <a:lnTo>
                    <a:pt x="9" y="380"/>
                  </a:lnTo>
                  <a:lnTo>
                    <a:pt x="7" y="380"/>
                  </a:lnTo>
                  <a:lnTo>
                    <a:pt x="7" y="380"/>
                  </a:lnTo>
                  <a:lnTo>
                    <a:pt x="7" y="378"/>
                  </a:lnTo>
                  <a:lnTo>
                    <a:pt x="4" y="378"/>
                  </a:lnTo>
                  <a:lnTo>
                    <a:pt x="2" y="378"/>
                  </a:lnTo>
                  <a:lnTo>
                    <a:pt x="2" y="376"/>
                  </a:lnTo>
                  <a:lnTo>
                    <a:pt x="0" y="376"/>
                  </a:lnTo>
                  <a:lnTo>
                    <a:pt x="0" y="376"/>
                  </a:lnTo>
                  <a:close/>
                  <a:moveTo>
                    <a:pt x="191" y="345"/>
                  </a:moveTo>
                  <a:lnTo>
                    <a:pt x="193" y="345"/>
                  </a:lnTo>
                  <a:lnTo>
                    <a:pt x="191" y="345"/>
                  </a:lnTo>
                  <a:close/>
                  <a:moveTo>
                    <a:pt x="191" y="357"/>
                  </a:moveTo>
                  <a:lnTo>
                    <a:pt x="191" y="354"/>
                  </a:lnTo>
                  <a:lnTo>
                    <a:pt x="191" y="357"/>
                  </a:lnTo>
                  <a:close/>
                  <a:moveTo>
                    <a:pt x="189" y="354"/>
                  </a:moveTo>
                  <a:lnTo>
                    <a:pt x="186" y="354"/>
                  </a:lnTo>
                  <a:lnTo>
                    <a:pt x="189" y="354"/>
                  </a:lnTo>
                  <a:close/>
                  <a:moveTo>
                    <a:pt x="174" y="361"/>
                  </a:moveTo>
                  <a:lnTo>
                    <a:pt x="172" y="361"/>
                  </a:lnTo>
                  <a:lnTo>
                    <a:pt x="172" y="361"/>
                  </a:lnTo>
                  <a:lnTo>
                    <a:pt x="172" y="361"/>
                  </a:lnTo>
                  <a:lnTo>
                    <a:pt x="170" y="364"/>
                  </a:lnTo>
                  <a:lnTo>
                    <a:pt x="170" y="364"/>
                  </a:lnTo>
                  <a:lnTo>
                    <a:pt x="167" y="364"/>
                  </a:lnTo>
                  <a:lnTo>
                    <a:pt x="167" y="364"/>
                  </a:lnTo>
                  <a:lnTo>
                    <a:pt x="170" y="364"/>
                  </a:lnTo>
                  <a:lnTo>
                    <a:pt x="170" y="364"/>
                  </a:lnTo>
                  <a:lnTo>
                    <a:pt x="170" y="364"/>
                  </a:lnTo>
                  <a:lnTo>
                    <a:pt x="172" y="366"/>
                  </a:lnTo>
                  <a:lnTo>
                    <a:pt x="172" y="364"/>
                  </a:lnTo>
                  <a:lnTo>
                    <a:pt x="170" y="364"/>
                  </a:lnTo>
                  <a:lnTo>
                    <a:pt x="172" y="364"/>
                  </a:lnTo>
                  <a:lnTo>
                    <a:pt x="172" y="361"/>
                  </a:lnTo>
                  <a:lnTo>
                    <a:pt x="174" y="364"/>
                  </a:lnTo>
                  <a:lnTo>
                    <a:pt x="174" y="361"/>
                  </a:lnTo>
                  <a:close/>
                  <a:moveTo>
                    <a:pt x="189" y="357"/>
                  </a:moveTo>
                  <a:lnTo>
                    <a:pt x="189" y="354"/>
                  </a:lnTo>
                  <a:lnTo>
                    <a:pt x="189" y="357"/>
                  </a:lnTo>
                  <a:close/>
                  <a:moveTo>
                    <a:pt x="200" y="326"/>
                  </a:moveTo>
                  <a:lnTo>
                    <a:pt x="200" y="326"/>
                  </a:lnTo>
                  <a:lnTo>
                    <a:pt x="200" y="326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 cap="flat">
              <a:solidFill>
                <a:schemeClr val="bg2">
                  <a:lumMod val="7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>
                <a:solidFill>
                  <a:srgbClr val="000000"/>
                </a:solidFill>
              </a:endParaRPr>
            </a:p>
          </p:txBody>
        </p:sp>
        <p:sp>
          <p:nvSpPr>
            <p:cNvPr id="14" name="Freeform 23"/>
            <p:cNvSpPr>
              <a:spLocks/>
            </p:cNvSpPr>
            <p:nvPr/>
          </p:nvSpPr>
          <p:spPr bwMode="gray">
            <a:xfrm>
              <a:off x="2538272" y="4470785"/>
              <a:ext cx="1147423" cy="994433"/>
            </a:xfrm>
            <a:custGeom>
              <a:avLst/>
              <a:gdLst/>
              <a:ahLst/>
              <a:cxnLst>
                <a:cxn ang="0">
                  <a:pos x="71" y="623"/>
                </a:cxn>
                <a:cxn ang="0">
                  <a:pos x="189" y="564"/>
                </a:cxn>
                <a:cxn ang="0">
                  <a:pos x="262" y="541"/>
                </a:cxn>
                <a:cxn ang="0">
                  <a:pos x="354" y="536"/>
                </a:cxn>
                <a:cxn ang="0">
                  <a:pos x="413" y="548"/>
                </a:cxn>
                <a:cxn ang="0">
                  <a:pos x="451" y="517"/>
                </a:cxn>
                <a:cxn ang="0">
                  <a:pos x="470" y="479"/>
                </a:cxn>
                <a:cxn ang="0">
                  <a:pos x="451" y="429"/>
                </a:cxn>
                <a:cxn ang="0">
                  <a:pos x="465" y="394"/>
                </a:cxn>
                <a:cxn ang="0">
                  <a:pos x="491" y="370"/>
                </a:cxn>
                <a:cxn ang="0">
                  <a:pos x="489" y="337"/>
                </a:cxn>
                <a:cxn ang="0">
                  <a:pos x="465" y="309"/>
                </a:cxn>
                <a:cxn ang="0">
                  <a:pos x="470" y="248"/>
                </a:cxn>
                <a:cxn ang="0">
                  <a:pos x="494" y="224"/>
                </a:cxn>
                <a:cxn ang="0">
                  <a:pos x="522" y="129"/>
                </a:cxn>
                <a:cxn ang="0">
                  <a:pos x="576" y="66"/>
                </a:cxn>
                <a:cxn ang="0">
                  <a:pos x="645" y="96"/>
                </a:cxn>
                <a:cxn ang="0">
                  <a:pos x="669" y="115"/>
                </a:cxn>
                <a:cxn ang="0">
                  <a:pos x="721" y="87"/>
                </a:cxn>
                <a:cxn ang="0">
                  <a:pos x="780" y="52"/>
                </a:cxn>
                <a:cxn ang="0">
                  <a:pos x="810" y="23"/>
                </a:cxn>
                <a:cxn ang="0">
                  <a:pos x="865" y="4"/>
                </a:cxn>
                <a:cxn ang="0">
                  <a:pos x="905" y="9"/>
                </a:cxn>
                <a:cxn ang="0">
                  <a:pos x="924" y="61"/>
                </a:cxn>
                <a:cxn ang="0">
                  <a:pos x="992" y="56"/>
                </a:cxn>
                <a:cxn ang="0">
                  <a:pos x="1058" y="87"/>
                </a:cxn>
                <a:cxn ang="0">
                  <a:pos x="1148" y="122"/>
                </a:cxn>
                <a:cxn ang="0">
                  <a:pos x="1297" y="189"/>
                </a:cxn>
                <a:cxn ang="0">
                  <a:pos x="1358" y="207"/>
                </a:cxn>
                <a:cxn ang="0">
                  <a:pos x="1396" y="226"/>
                </a:cxn>
                <a:cxn ang="0">
                  <a:pos x="1403" y="271"/>
                </a:cxn>
                <a:cxn ang="0">
                  <a:pos x="1365" y="335"/>
                </a:cxn>
                <a:cxn ang="0">
                  <a:pos x="1330" y="401"/>
                </a:cxn>
                <a:cxn ang="0">
                  <a:pos x="1375" y="460"/>
                </a:cxn>
                <a:cxn ang="0">
                  <a:pos x="1311" y="493"/>
                </a:cxn>
                <a:cxn ang="0">
                  <a:pos x="1271" y="517"/>
                </a:cxn>
                <a:cxn ang="0">
                  <a:pos x="1283" y="595"/>
                </a:cxn>
                <a:cxn ang="0">
                  <a:pos x="1273" y="621"/>
                </a:cxn>
                <a:cxn ang="0">
                  <a:pos x="1283" y="670"/>
                </a:cxn>
                <a:cxn ang="0">
                  <a:pos x="1252" y="741"/>
                </a:cxn>
                <a:cxn ang="0">
                  <a:pos x="1169" y="807"/>
                </a:cxn>
                <a:cxn ang="0">
                  <a:pos x="1155" y="869"/>
                </a:cxn>
                <a:cxn ang="0">
                  <a:pos x="1125" y="916"/>
                </a:cxn>
                <a:cxn ang="0">
                  <a:pos x="1113" y="973"/>
                </a:cxn>
                <a:cxn ang="0">
                  <a:pos x="1002" y="1020"/>
                </a:cxn>
                <a:cxn ang="0">
                  <a:pos x="933" y="1025"/>
                </a:cxn>
                <a:cxn ang="0">
                  <a:pos x="872" y="1048"/>
                </a:cxn>
                <a:cxn ang="0">
                  <a:pos x="803" y="1063"/>
                </a:cxn>
                <a:cxn ang="0">
                  <a:pos x="716" y="1100"/>
                </a:cxn>
                <a:cxn ang="0">
                  <a:pos x="671" y="1105"/>
                </a:cxn>
                <a:cxn ang="0">
                  <a:pos x="652" y="1124"/>
                </a:cxn>
                <a:cxn ang="0">
                  <a:pos x="593" y="1115"/>
                </a:cxn>
                <a:cxn ang="0">
                  <a:pos x="562" y="1072"/>
                </a:cxn>
                <a:cxn ang="0">
                  <a:pos x="555" y="1025"/>
                </a:cxn>
                <a:cxn ang="0">
                  <a:pos x="574" y="966"/>
                </a:cxn>
                <a:cxn ang="0">
                  <a:pos x="536" y="933"/>
                </a:cxn>
                <a:cxn ang="0">
                  <a:pos x="501" y="904"/>
                </a:cxn>
                <a:cxn ang="0">
                  <a:pos x="491" y="822"/>
                </a:cxn>
                <a:cxn ang="0">
                  <a:pos x="456" y="748"/>
                </a:cxn>
                <a:cxn ang="0">
                  <a:pos x="366" y="767"/>
                </a:cxn>
                <a:cxn ang="0">
                  <a:pos x="276" y="812"/>
                </a:cxn>
                <a:cxn ang="0">
                  <a:pos x="154" y="748"/>
                </a:cxn>
                <a:cxn ang="0">
                  <a:pos x="12" y="760"/>
                </a:cxn>
              </a:cxnLst>
              <a:rect l="0" t="0" r="r" b="b"/>
              <a:pathLst>
                <a:path w="1420" h="1136">
                  <a:moveTo>
                    <a:pt x="2" y="727"/>
                  </a:moveTo>
                  <a:lnTo>
                    <a:pt x="2" y="725"/>
                  </a:lnTo>
                  <a:lnTo>
                    <a:pt x="5" y="722"/>
                  </a:lnTo>
                  <a:lnTo>
                    <a:pt x="0" y="720"/>
                  </a:lnTo>
                  <a:lnTo>
                    <a:pt x="0" y="720"/>
                  </a:lnTo>
                  <a:lnTo>
                    <a:pt x="2" y="718"/>
                  </a:lnTo>
                  <a:lnTo>
                    <a:pt x="2" y="713"/>
                  </a:lnTo>
                  <a:lnTo>
                    <a:pt x="5" y="711"/>
                  </a:lnTo>
                  <a:lnTo>
                    <a:pt x="5" y="711"/>
                  </a:lnTo>
                  <a:lnTo>
                    <a:pt x="7" y="703"/>
                  </a:lnTo>
                  <a:lnTo>
                    <a:pt x="10" y="701"/>
                  </a:lnTo>
                  <a:lnTo>
                    <a:pt x="10" y="701"/>
                  </a:lnTo>
                  <a:lnTo>
                    <a:pt x="12" y="701"/>
                  </a:lnTo>
                  <a:lnTo>
                    <a:pt x="14" y="701"/>
                  </a:lnTo>
                  <a:lnTo>
                    <a:pt x="14" y="701"/>
                  </a:lnTo>
                  <a:lnTo>
                    <a:pt x="17" y="701"/>
                  </a:lnTo>
                  <a:lnTo>
                    <a:pt x="17" y="699"/>
                  </a:lnTo>
                  <a:lnTo>
                    <a:pt x="17" y="696"/>
                  </a:lnTo>
                  <a:lnTo>
                    <a:pt x="17" y="694"/>
                  </a:lnTo>
                  <a:lnTo>
                    <a:pt x="12" y="689"/>
                  </a:lnTo>
                  <a:lnTo>
                    <a:pt x="12" y="687"/>
                  </a:lnTo>
                  <a:lnTo>
                    <a:pt x="14" y="685"/>
                  </a:lnTo>
                  <a:lnTo>
                    <a:pt x="14" y="685"/>
                  </a:lnTo>
                  <a:lnTo>
                    <a:pt x="19" y="687"/>
                  </a:lnTo>
                  <a:lnTo>
                    <a:pt x="26" y="689"/>
                  </a:lnTo>
                  <a:lnTo>
                    <a:pt x="28" y="689"/>
                  </a:lnTo>
                  <a:lnTo>
                    <a:pt x="28" y="687"/>
                  </a:lnTo>
                  <a:lnTo>
                    <a:pt x="28" y="687"/>
                  </a:lnTo>
                  <a:lnTo>
                    <a:pt x="28" y="685"/>
                  </a:lnTo>
                  <a:lnTo>
                    <a:pt x="24" y="680"/>
                  </a:lnTo>
                  <a:lnTo>
                    <a:pt x="24" y="680"/>
                  </a:lnTo>
                  <a:lnTo>
                    <a:pt x="24" y="678"/>
                  </a:lnTo>
                  <a:lnTo>
                    <a:pt x="24" y="678"/>
                  </a:lnTo>
                  <a:lnTo>
                    <a:pt x="26" y="675"/>
                  </a:lnTo>
                  <a:lnTo>
                    <a:pt x="26" y="673"/>
                  </a:lnTo>
                  <a:lnTo>
                    <a:pt x="28" y="668"/>
                  </a:lnTo>
                  <a:lnTo>
                    <a:pt x="28" y="666"/>
                  </a:lnTo>
                  <a:lnTo>
                    <a:pt x="28" y="666"/>
                  </a:lnTo>
                  <a:lnTo>
                    <a:pt x="28" y="663"/>
                  </a:lnTo>
                  <a:lnTo>
                    <a:pt x="31" y="661"/>
                  </a:lnTo>
                  <a:lnTo>
                    <a:pt x="33" y="659"/>
                  </a:lnTo>
                  <a:lnTo>
                    <a:pt x="36" y="659"/>
                  </a:lnTo>
                  <a:lnTo>
                    <a:pt x="38" y="654"/>
                  </a:lnTo>
                  <a:lnTo>
                    <a:pt x="40" y="654"/>
                  </a:lnTo>
                  <a:lnTo>
                    <a:pt x="40" y="652"/>
                  </a:lnTo>
                  <a:lnTo>
                    <a:pt x="40" y="649"/>
                  </a:lnTo>
                  <a:lnTo>
                    <a:pt x="40" y="649"/>
                  </a:lnTo>
                  <a:lnTo>
                    <a:pt x="47" y="647"/>
                  </a:lnTo>
                  <a:lnTo>
                    <a:pt x="47" y="644"/>
                  </a:lnTo>
                  <a:lnTo>
                    <a:pt x="47" y="642"/>
                  </a:lnTo>
                  <a:lnTo>
                    <a:pt x="47" y="642"/>
                  </a:lnTo>
                  <a:lnTo>
                    <a:pt x="50" y="642"/>
                  </a:lnTo>
                  <a:lnTo>
                    <a:pt x="52" y="642"/>
                  </a:lnTo>
                  <a:lnTo>
                    <a:pt x="59" y="642"/>
                  </a:lnTo>
                  <a:lnTo>
                    <a:pt x="61" y="640"/>
                  </a:lnTo>
                  <a:lnTo>
                    <a:pt x="64" y="637"/>
                  </a:lnTo>
                  <a:lnTo>
                    <a:pt x="64" y="637"/>
                  </a:lnTo>
                  <a:lnTo>
                    <a:pt x="66" y="637"/>
                  </a:lnTo>
                  <a:lnTo>
                    <a:pt x="69" y="633"/>
                  </a:lnTo>
                  <a:lnTo>
                    <a:pt x="71" y="628"/>
                  </a:lnTo>
                  <a:lnTo>
                    <a:pt x="71" y="626"/>
                  </a:lnTo>
                  <a:lnTo>
                    <a:pt x="71" y="623"/>
                  </a:lnTo>
                  <a:lnTo>
                    <a:pt x="71" y="621"/>
                  </a:lnTo>
                  <a:lnTo>
                    <a:pt x="69" y="618"/>
                  </a:lnTo>
                  <a:lnTo>
                    <a:pt x="69" y="616"/>
                  </a:lnTo>
                  <a:lnTo>
                    <a:pt x="71" y="614"/>
                  </a:lnTo>
                  <a:lnTo>
                    <a:pt x="73" y="614"/>
                  </a:lnTo>
                  <a:lnTo>
                    <a:pt x="76" y="614"/>
                  </a:lnTo>
                  <a:lnTo>
                    <a:pt x="78" y="609"/>
                  </a:lnTo>
                  <a:lnTo>
                    <a:pt x="80" y="602"/>
                  </a:lnTo>
                  <a:lnTo>
                    <a:pt x="80" y="602"/>
                  </a:lnTo>
                  <a:lnTo>
                    <a:pt x="80" y="602"/>
                  </a:lnTo>
                  <a:lnTo>
                    <a:pt x="83" y="600"/>
                  </a:lnTo>
                  <a:lnTo>
                    <a:pt x="85" y="600"/>
                  </a:lnTo>
                  <a:lnTo>
                    <a:pt x="87" y="600"/>
                  </a:lnTo>
                  <a:lnTo>
                    <a:pt x="90" y="592"/>
                  </a:lnTo>
                  <a:lnTo>
                    <a:pt x="92" y="585"/>
                  </a:lnTo>
                  <a:lnTo>
                    <a:pt x="95" y="585"/>
                  </a:lnTo>
                  <a:lnTo>
                    <a:pt x="97" y="583"/>
                  </a:lnTo>
                  <a:lnTo>
                    <a:pt x="97" y="583"/>
                  </a:lnTo>
                  <a:lnTo>
                    <a:pt x="99" y="583"/>
                  </a:lnTo>
                  <a:lnTo>
                    <a:pt x="102" y="581"/>
                  </a:lnTo>
                  <a:lnTo>
                    <a:pt x="106" y="583"/>
                  </a:lnTo>
                  <a:lnTo>
                    <a:pt x="109" y="583"/>
                  </a:lnTo>
                  <a:lnTo>
                    <a:pt x="113" y="581"/>
                  </a:lnTo>
                  <a:lnTo>
                    <a:pt x="123" y="581"/>
                  </a:lnTo>
                  <a:lnTo>
                    <a:pt x="125" y="578"/>
                  </a:lnTo>
                  <a:lnTo>
                    <a:pt x="128" y="576"/>
                  </a:lnTo>
                  <a:lnTo>
                    <a:pt x="130" y="574"/>
                  </a:lnTo>
                  <a:lnTo>
                    <a:pt x="130" y="571"/>
                  </a:lnTo>
                  <a:lnTo>
                    <a:pt x="132" y="571"/>
                  </a:lnTo>
                  <a:lnTo>
                    <a:pt x="137" y="571"/>
                  </a:lnTo>
                  <a:lnTo>
                    <a:pt x="137" y="574"/>
                  </a:lnTo>
                  <a:lnTo>
                    <a:pt x="142" y="574"/>
                  </a:lnTo>
                  <a:lnTo>
                    <a:pt x="147" y="574"/>
                  </a:lnTo>
                  <a:lnTo>
                    <a:pt x="149" y="574"/>
                  </a:lnTo>
                  <a:lnTo>
                    <a:pt x="149" y="574"/>
                  </a:lnTo>
                  <a:lnTo>
                    <a:pt x="151" y="574"/>
                  </a:lnTo>
                  <a:lnTo>
                    <a:pt x="151" y="574"/>
                  </a:lnTo>
                  <a:lnTo>
                    <a:pt x="154" y="574"/>
                  </a:lnTo>
                  <a:lnTo>
                    <a:pt x="154" y="576"/>
                  </a:lnTo>
                  <a:lnTo>
                    <a:pt x="156" y="576"/>
                  </a:lnTo>
                  <a:lnTo>
                    <a:pt x="161" y="576"/>
                  </a:lnTo>
                  <a:lnTo>
                    <a:pt x="161" y="576"/>
                  </a:lnTo>
                  <a:lnTo>
                    <a:pt x="161" y="576"/>
                  </a:lnTo>
                  <a:lnTo>
                    <a:pt x="163" y="576"/>
                  </a:lnTo>
                  <a:lnTo>
                    <a:pt x="163" y="574"/>
                  </a:lnTo>
                  <a:lnTo>
                    <a:pt x="165" y="574"/>
                  </a:lnTo>
                  <a:lnTo>
                    <a:pt x="165" y="574"/>
                  </a:lnTo>
                  <a:lnTo>
                    <a:pt x="168" y="574"/>
                  </a:lnTo>
                  <a:lnTo>
                    <a:pt x="170" y="574"/>
                  </a:lnTo>
                  <a:lnTo>
                    <a:pt x="173" y="571"/>
                  </a:lnTo>
                  <a:lnTo>
                    <a:pt x="173" y="571"/>
                  </a:lnTo>
                  <a:lnTo>
                    <a:pt x="175" y="571"/>
                  </a:lnTo>
                  <a:lnTo>
                    <a:pt x="175" y="571"/>
                  </a:lnTo>
                  <a:lnTo>
                    <a:pt x="180" y="571"/>
                  </a:lnTo>
                  <a:lnTo>
                    <a:pt x="180" y="571"/>
                  </a:lnTo>
                  <a:lnTo>
                    <a:pt x="180" y="571"/>
                  </a:lnTo>
                  <a:lnTo>
                    <a:pt x="177" y="566"/>
                  </a:lnTo>
                  <a:lnTo>
                    <a:pt x="180" y="566"/>
                  </a:lnTo>
                  <a:lnTo>
                    <a:pt x="180" y="566"/>
                  </a:lnTo>
                  <a:lnTo>
                    <a:pt x="182" y="564"/>
                  </a:lnTo>
                  <a:lnTo>
                    <a:pt x="189" y="564"/>
                  </a:lnTo>
                  <a:lnTo>
                    <a:pt x="189" y="564"/>
                  </a:lnTo>
                  <a:lnTo>
                    <a:pt x="191" y="564"/>
                  </a:lnTo>
                  <a:lnTo>
                    <a:pt x="191" y="564"/>
                  </a:lnTo>
                  <a:lnTo>
                    <a:pt x="191" y="564"/>
                  </a:lnTo>
                  <a:lnTo>
                    <a:pt x="191" y="562"/>
                  </a:lnTo>
                  <a:lnTo>
                    <a:pt x="191" y="559"/>
                  </a:lnTo>
                  <a:lnTo>
                    <a:pt x="191" y="557"/>
                  </a:lnTo>
                  <a:lnTo>
                    <a:pt x="194" y="557"/>
                  </a:lnTo>
                  <a:lnTo>
                    <a:pt x="194" y="557"/>
                  </a:lnTo>
                  <a:lnTo>
                    <a:pt x="199" y="557"/>
                  </a:lnTo>
                  <a:lnTo>
                    <a:pt x="199" y="557"/>
                  </a:lnTo>
                  <a:lnTo>
                    <a:pt x="199" y="559"/>
                  </a:lnTo>
                  <a:lnTo>
                    <a:pt x="199" y="559"/>
                  </a:lnTo>
                  <a:lnTo>
                    <a:pt x="199" y="562"/>
                  </a:lnTo>
                  <a:lnTo>
                    <a:pt x="199" y="564"/>
                  </a:lnTo>
                  <a:lnTo>
                    <a:pt x="201" y="566"/>
                  </a:lnTo>
                  <a:lnTo>
                    <a:pt x="206" y="574"/>
                  </a:lnTo>
                  <a:lnTo>
                    <a:pt x="208" y="576"/>
                  </a:lnTo>
                  <a:lnTo>
                    <a:pt x="208" y="576"/>
                  </a:lnTo>
                  <a:lnTo>
                    <a:pt x="210" y="578"/>
                  </a:lnTo>
                  <a:lnTo>
                    <a:pt x="213" y="576"/>
                  </a:lnTo>
                  <a:lnTo>
                    <a:pt x="213" y="576"/>
                  </a:lnTo>
                  <a:lnTo>
                    <a:pt x="215" y="574"/>
                  </a:lnTo>
                  <a:lnTo>
                    <a:pt x="217" y="571"/>
                  </a:lnTo>
                  <a:lnTo>
                    <a:pt x="220" y="566"/>
                  </a:lnTo>
                  <a:lnTo>
                    <a:pt x="220" y="566"/>
                  </a:lnTo>
                  <a:lnTo>
                    <a:pt x="222" y="566"/>
                  </a:lnTo>
                  <a:lnTo>
                    <a:pt x="224" y="566"/>
                  </a:lnTo>
                  <a:lnTo>
                    <a:pt x="224" y="564"/>
                  </a:lnTo>
                  <a:lnTo>
                    <a:pt x="224" y="564"/>
                  </a:lnTo>
                  <a:lnTo>
                    <a:pt x="227" y="562"/>
                  </a:lnTo>
                  <a:lnTo>
                    <a:pt x="227" y="562"/>
                  </a:lnTo>
                  <a:lnTo>
                    <a:pt x="229" y="562"/>
                  </a:lnTo>
                  <a:lnTo>
                    <a:pt x="229" y="559"/>
                  </a:lnTo>
                  <a:lnTo>
                    <a:pt x="232" y="555"/>
                  </a:lnTo>
                  <a:lnTo>
                    <a:pt x="234" y="555"/>
                  </a:lnTo>
                  <a:lnTo>
                    <a:pt x="236" y="552"/>
                  </a:lnTo>
                  <a:lnTo>
                    <a:pt x="236" y="552"/>
                  </a:lnTo>
                  <a:lnTo>
                    <a:pt x="236" y="550"/>
                  </a:lnTo>
                  <a:lnTo>
                    <a:pt x="236" y="550"/>
                  </a:lnTo>
                  <a:lnTo>
                    <a:pt x="234" y="548"/>
                  </a:lnTo>
                  <a:lnTo>
                    <a:pt x="234" y="548"/>
                  </a:lnTo>
                  <a:lnTo>
                    <a:pt x="234" y="548"/>
                  </a:lnTo>
                  <a:lnTo>
                    <a:pt x="236" y="548"/>
                  </a:lnTo>
                  <a:lnTo>
                    <a:pt x="241" y="548"/>
                  </a:lnTo>
                  <a:lnTo>
                    <a:pt x="241" y="545"/>
                  </a:lnTo>
                  <a:lnTo>
                    <a:pt x="246" y="543"/>
                  </a:lnTo>
                  <a:lnTo>
                    <a:pt x="248" y="543"/>
                  </a:lnTo>
                  <a:lnTo>
                    <a:pt x="248" y="545"/>
                  </a:lnTo>
                  <a:lnTo>
                    <a:pt x="246" y="545"/>
                  </a:lnTo>
                  <a:lnTo>
                    <a:pt x="246" y="545"/>
                  </a:lnTo>
                  <a:lnTo>
                    <a:pt x="248" y="545"/>
                  </a:lnTo>
                  <a:lnTo>
                    <a:pt x="248" y="548"/>
                  </a:lnTo>
                  <a:lnTo>
                    <a:pt x="250" y="548"/>
                  </a:lnTo>
                  <a:lnTo>
                    <a:pt x="250" y="548"/>
                  </a:lnTo>
                  <a:lnTo>
                    <a:pt x="255" y="545"/>
                  </a:lnTo>
                  <a:lnTo>
                    <a:pt x="255" y="545"/>
                  </a:lnTo>
                  <a:lnTo>
                    <a:pt x="255" y="543"/>
                  </a:lnTo>
                  <a:lnTo>
                    <a:pt x="258" y="541"/>
                  </a:lnTo>
                  <a:lnTo>
                    <a:pt x="260" y="541"/>
                  </a:lnTo>
                  <a:lnTo>
                    <a:pt x="262" y="541"/>
                  </a:lnTo>
                  <a:lnTo>
                    <a:pt x="262" y="541"/>
                  </a:lnTo>
                  <a:lnTo>
                    <a:pt x="262" y="541"/>
                  </a:lnTo>
                  <a:lnTo>
                    <a:pt x="262" y="538"/>
                  </a:lnTo>
                  <a:lnTo>
                    <a:pt x="265" y="538"/>
                  </a:lnTo>
                  <a:lnTo>
                    <a:pt x="265" y="536"/>
                  </a:lnTo>
                  <a:lnTo>
                    <a:pt x="267" y="536"/>
                  </a:lnTo>
                  <a:lnTo>
                    <a:pt x="269" y="533"/>
                  </a:lnTo>
                  <a:lnTo>
                    <a:pt x="272" y="533"/>
                  </a:lnTo>
                  <a:lnTo>
                    <a:pt x="272" y="536"/>
                  </a:lnTo>
                  <a:lnTo>
                    <a:pt x="276" y="536"/>
                  </a:lnTo>
                  <a:lnTo>
                    <a:pt x="276" y="536"/>
                  </a:lnTo>
                  <a:lnTo>
                    <a:pt x="281" y="538"/>
                  </a:lnTo>
                  <a:lnTo>
                    <a:pt x="281" y="538"/>
                  </a:lnTo>
                  <a:lnTo>
                    <a:pt x="284" y="543"/>
                  </a:lnTo>
                  <a:lnTo>
                    <a:pt x="284" y="543"/>
                  </a:lnTo>
                  <a:lnTo>
                    <a:pt x="286" y="541"/>
                  </a:lnTo>
                  <a:lnTo>
                    <a:pt x="288" y="538"/>
                  </a:lnTo>
                  <a:lnTo>
                    <a:pt x="291" y="541"/>
                  </a:lnTo>
                  <a:lnTo>
                    <a:pt x="293" y="538"/>
                  </a:lnTo>
                  <a:lnTo>
                    <a:pt x="295" y="538"/>
                  </a:lnTo>
                  <a:lnTo>
                    <a:pt x="298" y="538"/>
                  </a:lnTo>
                  <a:lnTo>
                    <a:pt x="300" y="538"/>
                  </a:lnTo>
                  <a:lnTo>
                    <a:pt x="300" y="538"/>
                  </a:lnTo>
                  <a:lnTo>
                    <a:pt x="302" y="538"/>
                  </a:lnTo>
                  <a:lnTo>
                    <a:pt x="305" y="538"/>
                  </a:lnTo>
                  <a:lnTo>
                    <a:pt x="305" y="538"/>
                  </a:lnTo>
                  <a:lnTo>
                    <a:pt x="305" y="538"/>
                  </a:lnTo>
                  <a:lnTo>
                    <a:pt x="305" y="536"/>
                  </a:lnTo>
                  <a:lnTo>
                    <a:pt x="307" y="536"/>
                  </a:lnTo>
                  <a:lnTo>
                    <a:pt x="312" y="536"/>
                  </a:lnTo>
                  <a:lnTo>
                    <a:pt x="312" y="536"/>
                  </a:lnTo>
                  <a:lnTo>
                    <a:pt x="314" y="536"/>
                  </a:lnTo>
                  <a:lnTo>
                    <a:pt x="317" y="536"/>
                  </a:lnTo>
                  <a:lnTo>
                    <a:pt x="317" y="536"/>
                  </a:lnTo>
                  <a:lnTo>
                    <a:pt x="317" y="538"/>
                  </a:lnTo>
                  <a:lnTo>
                    <a:pt x="319" y="538"/>
                  </a:lnTo>
                  <a:lnTo>
                    <a:pt x="321" y="538"/>
                  </a:lnTo>
                  <a:lnTo>
                    <a:pt x="321" y="541"/>
                  </a:lnTo>
                  <a:lnTo>
                    <a:pt x="326" y="538"/>
                  </a:lnTo>
                  <a:lnTo>
                    <a:pt x="326" y="538"/>
                  </a:lnTo>
                  <a:lnTo>
                    <a:pt x="326" y="541"/>
                  </a:lnTo>
                  <a:lnTo>
                    <a:pt x="326" y="541"/>
                  </a:lnTo>
                  <a:lnTo>
                    <a:pt x="326" y="543"/>
                  </a:lnTo>
                  <a:lnTo>
                    <a:pt x="331" y="541"/>
                  </a:lnTo>
                  <a:lnTo>
                    <a:pt x="333" y="541"/>
                  </a:lnTo>
                  <a:lnTo>
                    <a:pt x="336" y="541"/>
                  </a:lnTo>
                  <a:lnTo>
                    <a:pt x="336" y="541"/>
                  </a:lnTo>
                  <a:lnTo>
                    <a:pt x="336" y="541"/>
                  </a:lnTo>
                  <a:lnTo>
                    <a:pt x="336" y="541"/>
                  </a:lnTo>
                  <a:lnTo>
                    <a:pt x="338" y="541"/>
                  </a:lnTo>
                  <a:lnTo>
                    <a:pt x="340" y="541"/>
                  </a:lnTo>
                  <a:lnTo>
                    <a:pt x="343" y="541"/>
                  </a:lnTo>
                  <a:lnTo>
                    <a:pt x="345" y="541"/>
                  </a:lnTo>
                  <a:lnTo>
                    <a:pt x="345" y="541"/>
                  </a:lnTo>
                  <a:lnTo>
                    <a:pt x="345" y="541"/>
                  </a:lnTo>
                  <a:lnTo>
                    <a:pt x="347" y="543"/>
                  </a:lnTo>
                  <a:lnTo>
                    <a:pt x="347" y="543"/>
                  </a:lnTo>
                  <a:lnTo>
                    <a:pt x="350" y="543"/>
                  </a:lnTo>
                  <a:lnTo>
                    <a:pt x="350" y="543"/>
                  </a:lnTo>
                  <a:lnTo>
                    <a:pt x="347" y="541"/>
                  </a:lnTo>
                  <a:lnTo>
                    <a:pt x="347" y="541"/>
                  </a:lnTo>
                  <a:lnTo>
                    <a:pt x="350" y="538"/>
                  </a:lnTo>
                  <a:lnTo>
                    <a:pt x="352" y="536"/>
                  </a:lnTo>
                  <a:lnTo>
                    <a:pt x="354" y="536"/>
                  </a:lnTo>
                  <a:lnTo>
                    <a:pt x="354" y="536"/>
                  </a:lnTo>
                  <a:lnTo>
                    <a:pt x="354" y="538"/>
                  </a:lnTo>
                  <a:lnTo>
                    <a:pt x="359" y="538"/>
                  </a:lnTo>
                  <a:lnTo>
                    <a:pt x="359" y="541"/>
                  </a:lnTo>
                  <a:lnTo>
                    <a:pt x="359" y="541"/>
                  </a:lnTo>
                  <a:lnTo>
                    <a:pt x="364" y="541"/>
                  </a:lnTo>
                  <a:lnTo>
                    <a:pt x="366" y="541"/>
                  </a:lnTo>
                  <a:lnTo>
                    <a:pt x="366" y="541"/>
                  </a:lnTo>
                  <a:lnTo>
                    <a:pt x="366" y="543"/>
                  </a:lnTo>
                  <a:lnTo>
                    <a:pt x="369" y="545"/>
                  </a:lnTo>
                  <a:lnTo>
                    <a:pt x="369" y="548"/>
                  </a:lnTo>
                  <a:lnTo>
                    <a:pt x="371" y="548"/>
                  </a:lnTo>
                  <a:lnTo>
                    <a:pt x="373" y="548"/>
                  </a:lnTo>
                  <a:lnTo>
                    <a:pt x="376" y="550"/>
                  </a:lnTo>
                  <a:lnTo>
                    <a:pt x="376" y="550"/>
                  </a:lnTo>
                  <a:lnTo>
                    <a:pt x="378" y="550"/>
                  </a:lnTo>
                  <a:lnTo>
                    <a:pt x="378" y="548"/>
                  </a:lnTo>
                  <a:lnTo>
                    <a:pt x="380" y="548"/>
                  </a:lnTo>
                  <a:lnTo>
                    <a:pt x="380" y="548"/>
                  </a:lnTo>
                  <a:lnTo>
                    <a:pt x="383" y="548"/>
                  </a:lnTo>
                  <a:lnTo>
                    <a:pt x="383" y="550"/>
                  </a:lnTo>
                  <a:lnTo>
                    <a:pt x="385" y="550"/>
                  </a:lnTo>
                  <a:lnTo>
                    <a:pt x="385" y="550"/>
                  </a:lnTo>
                  <a:lnTo>
                    <a:pt x="385" y="552"/>
                  </a:lnTo>
                  <a:lnTo>
                    <a:pt x="387" y="552"/>
                  </a:lnTo>
                  <a:lnTo>
                    <a:pt x="387" y="552"/>
                  </a:lnTo>
                  <a:lnTo>
                    <a:pt x="390" y="550"/>
                  </a:lnTo>
                  <a:lnTo>
                    <a:pt x="390" y="552"/>
                  </a:lnTo>
                  <a:lnTo>
                    <a:pt x="390" y="555"/>
                  </a:lnTo>
                  <a:lnTo>
                    <a:pt x="390" y="555"/>
                  </a:lnTo>
                  <a:lnTo>
                    <a:pt x="392" y="555"/>
                  </a:lnTo>
                  <a:lnTo>
                    <a:pt x="392" y="555"/>
                  </a:lnTo>
                  <a:lnTo>
                    <a:pt x="392" y="557"/>
                  </a:lnTo>
                  <a:lnTo>
                    <a:pt x="392" y="559"/>
                  </a:lnTo>
                  <a:lnTo>
                    <a:pt x="395" y="557"/>
                  </a:lnTo>
                  <a:lnTo>
                    <a:pt x="395" y="557"/>
                  </a:lnTo>
                  <a:lnTo>
                    <a:pt x="397" y="557"/>
                  </a:lnTo>
                  <a:lnTo>
                    <a:pt x="397" y="555"/>
                  </a:lnTo>
                  <a:lnTo>
                    <a:pt x="399" y="555"/>
                  </a:lnTo>
                  <a:lnTo>
                    <a:pt x="402" y="555"/>
                  </a:lnTo>
                  <a:lnTo>
                    <a:pt x="402" y="555"/>
                  </a:lnTo>
                  <a:lnTo>
                    <a:pt x="404" y="555"/>
                  </a:lnTo>
                  <a:lnTo>
                    <a:pt x="404" y="555"/>
                  </a:lnTo>
                  <a:lnTo>
                    <a:pt x="404" y="555"/>
                  </a:lnTo>
                  <a:lnTo>
                    <a:pt x="404" y="555"/>
                  </a:lnTo>
                  <a:lnTo>
                    <a:pt x="404" y="552"/>
                  </a:lnTo>
                  <a:lnTo>
                    <a:pt x="404" y="552"/>
                  </a:lnTo>
                  <a:lnTo>
                    <a:pt x="404" y="550"/>
                  </a:lnTo>
                  <a:lnTo>
                    <a:pt x="406" y="550"/>
                  </a:lnTo>
                  <a:lnTo>
                    <a:pt x="406" y="550"/>
                  </a:lnTo>
                  <a:lnTo>
                    <a:pt x="409" y="552"/>
                  </a:lnTo>
                  <a:lnTo>
                    <a:pt x="409" y="552"/>
                  </a:lnTo>
                  <a:lnTo>
                    <a:pt x="409" y="550"/>
                  </a:lnTo>
                  <a:lnTo>
                    <a:pt x="409" y="550"/>
                  </a:lnTo>
                  <a:lnTo>
                    <a:pt x="409" y="548"/>
                  </a:lnTo>
                  <a:lnTo>
                    <a:pt x="409" y="548"/>
                  </a:lnTo>
                  <a:lnTo>
                    <a:pt x="411" y="545"/>
                  </a:lnTo>
                  <a:lnTo>
                    <a:pt x="411" y="545"/>
                  </a:lnTo>
                  <a:lnTo>
                    <a:pt x="413" y="545"/>
                  </a:lnTo>
                  <a:lnTo>
                    <a:pt x="413" y="545"/>
                  </a:lnTo>
                  <a:lnTo>
                    <a:pt x="413" y="548"/>
                  </a:lnTo>
                  <a:lnTo>
                    <a:pt x="413" y="548"/>
                  </a:lnTo>
                  <a:lnTo>
                    <a:pt x="413" y="548"/>
                  </a:lnTo>
                  <a:lnTo>
                    <a:pt x="416" y="548"/>
                  </a:lnTo>
                  <a:lnTo>
                    <a:pt x="418" y="548"/>
                  </a:lnTo>
                  <a:lnTo>
                    <a:pt x="418" y="548"/>
                  </a:lnTo>
                  <a:lnTo>
                    <a:pt x="421" y="548"/>
                  </a:lnTo>
                  <a:lnTo>
                    <a:pt x="421" y="545"/>
                  </a:lnTo>
                  <a:lnTo>
                    <a:pt x="418" y="545"/>
                  </a:lnTo>
                  <a:lnTo>
                    <a:pt x="421" y="543"/>
                  </a:lnTo>
                  <a:lnTo>
                    <a:pt x="421" y="543"/>
                  </a:lnTo>
                  <a:lnTo>
                    <a:pt x="421" y="543"/>
                  </a:lnTo>
                  <a:lnTo>
                    <a:pt x="421" y="541"/>
                  </a:lnTo>
                  <a:lnTo>
                    <a:pt x="423" y="541"/>
                  </a:lnTo>
                  <a:lnTo>
                    <a:pt x="423" y="543"/>
                  </a:lnTo>
                  <a:lnTo>
                    <a:pt x="425" y="543"/>
                  </a:lnTo>
                  <a:lnTo>
                    <a:pt x="425" y="543"/>
                  </a:lnTo>
                  <a:lnTo>
                    <a:pt x="428" y="541"/>
                  </a:lnTo>
                  <a:lnTo>
                    <a:pt x="428" y="541"/>
                  </a:lnTo>
                  <a:lnTo>
                    <a:pt x="428" y="541"/>
                  </a:lnTo>
                  <a:lnTo>
                    <a:pt x="430" y="541"/>
                  </a:lnTo>
                  <a:lnTo>
                    <a:pt x="430" y="536"/>
                  </a:lnTo>
                  <a:lnTo>
                    <a:pt x="432" y="536"/>
                  </a:lnTo>
                  <a:lnTo>
                    <a:pt x="432" y="536"/>
                  </a:lnTo>
                  <a:lnTo>
                    <a:pt x="432" y="538"/>
                  </a:lnTo>
                  <a:lnTo>
                    <a:pt x="435" y="536"/>
                  </a:lnTo>
                  <a:lnTo>
                    <a:pt x="435" y="536"/>
                  </a:lnTo>
                  <a:lnTo>
                    <a:pt x="435" y="536"/>
                  </a:lnTo>
                  <a:lnTo>
                    <a:pt x="437" y="533"/>
                  </a:lnTo>
                  <a:lnTo>
                    <a:pt x="435" y="533"/>
                  </a:lnTo>
                  <a:lnTo>
                    <a:pt x="435" y="531"/>
                  </a:lnTo>
                  <a:lnTo>
                    <a:pt x="432" y="531"/>
                  </a:lnTo>
                  <a:lnTo>
                    <a:pt x="435" y="529"/>
                  </a:lnTo>
                  <a:lnTo>
                    <a:pt x="437" y="529"/>
                  </a:lnTo>
                  <a:lnTo>
                    <a:pt x="435" y="526"/>
                  </a:lnTo>
                  <a:lnTo>
                    <a:pt x="437" y="526"/>
                  </a:lnTo>
                  <a:lnTo>
                    <a:pt x="437" y="526"/>
                  </a:lnTo>
                  <a:lnTo>
                    <a:pt x="437" y="529"/>
                  </a:lnTo>
                  <a:lnTo>
                    <a:pt x="437" y="526"/>
                  </a:lnTo>
                  <a:lnTo>
                    <a:pt x="437" y="526"/>
                  </a:lnTo>
                  <a:lnTo>
                    <a:pt x="437" y="526"/>
                  </a:lnTo>
                  <a:lnTo>
                    <a:pt x="439" y="524"/>
                  </a:lnTo>
                  <a:lnTo>
                    <a:pt x="439" y="524"/>
                  </a:lnTo>
                  <a:lnTo>
                    <a:pt x="442" y="524"/>
                  </a:lnTo>
                  <a:lnTo>
                    <a:pt x="439" y="522"/>
                  </a:lnTo>
                  <a:lnTo>
                    <a:pt x="442" y="522"/>
                  </a:lnTo>
                  <a:lnTo>
                    <a:pt x="442" y="522"/>
                  </a:lnTo>
                  <a:lnTo>
                    <a:pt x="442" y="519"/>
                  </a:lnTo>
                  <a:lnTo>
                    <a:pt x="444" y="519"/>
                  </a:lnTo>
                  <a:lnTo>
                    <a:pt x="447" y="519"/>
                  </a:lnTo>
                  <a:lnTo>
                    <a:pt x="447" y="519"/>
                  </a:lnTo>
                  <a:lnTo>
                    <a:pt x="447" y="519"/>
                  </a:lnTo>
                  <a:lnTo>
                    <a:pt x="447" y="522"/>
                  </a:lnTo>
                  <a:lnTo>
                    <a:pt x="447" y="522"/>
                  </a:lnTo>
                  <a:lnTo>
                    <a:pt x="447" y="524"/>
                  </a:lnTo>
                  <a:lnTo>
                    <a:pt x="447" y="522"/>
                  </a:lnTo>
                  <a:lnTo>
                    <a:pt x="447" y="522"/>
                  </a:lnTo>
                  <a:lnTo>
                    <a:pt x="449" y="522"/>
                  </a:lnTo>
                  <a:lnTo>
                    <a:pt x="449" y="519"/>
                  </a:lnTo>
                  <a:lnTo>
                    <a:pt x="451" y="519"/>
                  </a:lnTo>
                  <a:lnTo>
                    <a:pt x="451" y="519"/>
                  </a:lnTo>
                  <a:lnTo>
                    <a:pt x="451" y="519"/>
                  </a:lnTo>
                  <a:lnTo>
                    <a:pt x="454" y="519"/>
                  </a:lnTo>
                  <a:lnTo>
                    <a:pt x="451" y="517"/>
                  </a:lnTo>
                  <a:lnTo>
                    <a:pt x="454" y="517"/>
                  </a:lnTo>
                  <a:lnTo>
                    <a:pt x="454" y="517"/>
                  </a:lnTo>
                  <a:lnTo>
                    <a:pt x="456" y="517"/>
                  </a:lnTo>
                  <a:lnTo>
                    <a:pt x="456" y="517"/>
                  </a:lnTo>
                  <a:lnTo>
                    <a:pt x="456" y="517"/>
                  </a:lnTo>
                  <a:lnTo>
                    <a:pt x="458" y="515"/>
                  </a:lnTo>
                  <a:lnTo>
                    <a:pt x="458" y="515"/>
                  </a:lnTo>
                  <a:lnTo>
                    <a:pt x="458" y="515"/>
                  </a:lnTo>
                  <a:lnTo>
                    <a:pt x="461" y="515"/>
                  </a:lnTo>
                  <a:lnTo>
                    <a:pt x="461" y="515"/>
                  </a:lnTo>
                  <a:lnTo>
                    <a:pt x="458" y="512"/>
                  </a:lnTo>
                  <a:lnTo>
                    <a:pt x="461" y="512"/>
                  </a:lnTo>
                  <a:lnTo>
                    <a:pt x="461" y="512"/>
                  </a:lnTo>
                  <a:lnTo>
                    <a:pt x="461" y="512"/>
                  </a:lnTo>
                  <a:lnTo>
                    <a:pt x="463" y="512"/>
                  </a:lnTo>
                  <a:lnTo>
                    <a:pt x="465" y="512"/>
                  </a:lnTo>
                  <a:lnTo>
                    <a:pt x="465" y="510"/>
                  </a:lnTo>
                  <a:lnTo>
                    <a:pt x="463" y="510"/>
                  </a:lnTo>
                  <a:lnTo>
                    <a:pt x="465" y="510"/>
                  </a:lnTo>
                  <a:lnTo>
                    <a:pt x="465" y="507"/>
                  </a:lnTo>
                  <a:lnTo>
                    <a:pt x="465" y="510"/>
                  </a:lnTo>
                  <a:lnTo>
                    <a:pt x="465" y="507"/>
                  </a:lnTo>
                  <a:lnTo>
                    <a:pt x="468" y="507"/>
                  </a:lnTo>
                  <a:lnTo>
                    <a:pt x="468" y="507"/>
                  </a:lnTo>
                  <a:lnTo>
                    <a:pt x="470" y="507"/>
                  </a:lnTo>
                  <a:lnTo>
                    <a:pt x="470" y="505"/>
                  </a:lnTo>
                  <a:lnTo>
                    <a:pt x="468" y="505"/>
                  </a:lnTo>
                  <a:lnTo>
                    <a:pt x="468" y="503"/>
                  </a:lnTo>
                  <a:lnTo>
                    <a:pt x="470" y="505"/>
                  </a:lnTo>
                  <a:lnTo>
                    <a:pt x="470" y="503"/>
                  </a:lnTo>
                  <a:lnTo>
                    <a:pt x="475" y="503"/>
                  </a:lnTo>
                  <a:lnTo>
                    <a:pt x="475" y="503"/>
                  </a:lnTo>
                  <a:lnTo>
                    <a:pt x="477" y="503"/>
                  </a:lnTo>
                  <a:lnTo>
                    <a:pt x="475" y="500"/>
                  </a:lnTo>
                  <a:lnTo>
                    <a:pt x="477" y="500"/>
                  </a:lnTo>
                  <a:lnTo>
                    <a:pt x="477" y="500"/>
                  </a:lnTo>
                  <a:lnTo>
                    <a:pt x="477" y="500"/>
                  </a:lnTo>
                  <a:lnTo>
                    <a:pt x="477" y="498"/>
                  </a:lnTo>
                  <a:lnTo>
                    <a:pt x="477" y="498"/>
                  </a:lnTo>
                  <a:lnTo>
                    <a:pt x="477" y="498"/>
                  </a:lnTo>
                  <a:lnTo>
                    <a:pt x="477" y="498"/>
                  </a:lnTo>
                  <a:lnTo>
                    <a:pt x="477" y="496"/>
                  </a:lnTo>
                  <a:lnTo>
                    <a:pt x="477" y="496"/>
                  </a:lnTo>
                  <a:lnTo>
                    <a:pt x="477" y="493"/>
                  </a:lnTo>
                  <a:lnTo>
                    <a:pt x="475" y="493"/>
                  </a:lnTo>
                  <a:lnTo>
                    <a:pt x="475" y="493"/>
                  </a:lnTo>
                  <a:lnTo>
                    <a:pt x="475" y="493"/>
                  </a:lnTo>
                  <a:lnTo>
                    <a:pt x="475" y="491"/>
                  </a:lnTo>
                  <a:lnTo>
                    <a:pt x="475" y="491"/>
                  </a:lnTo>
                  <a:lnTo>
                    <a:pt x="475" y="491"/>
                  </a:lnTo>
                  <a:lnTo>
                    <a:pt x="475" y="489"/>
                  </a:lnTo>
                  <a:lnTo>
                    <a:pt x="473" y="486"/>
                  </a:lnTo>
                  <a:lnTo>
                    <a:pt x="473" y="484"/>
                  </a:lnTo>
                  <a:lnTo>
                    <a:pt x="470" y="484"/>
                  </a:lnTo>
                  <a:lnTo>
                    <a:pt x="470" y="484"/>
                  </a:lnTo>
                  <a:lnTo>
                    <a:pt x="470" y="484"/>
                  </a:lnTo>
                  <a:lnTo>
                    <a:pt x="470" y="484"/>
                  </a:lnTo>
                  <a:lnTo>
                    <a:pt x="470" y="481"/>
                  </a:lnTo>
                  <a:lnTo>
                    <a:pt x="470" y="481"/>
                  </a:lnTo>
                  <a:lnTo>
                    <a:pt x="470" y="481"/>
                  </a:lnTo>
                  <a:lnTo>
                    <a:pt x="470" y="481"/>
                  </a:lnTo>
                  <a:lnTo>
                    <a:pt x="470" y="479"/>
                  </a:lnTo>
                  <a:lnTo>
                    <a:pt x="470" y="479"/>
                  </a:lnTo>
                  <a:lnTo>
                    <a:pt x="468" y="479"/>
                  </a:lnTo>
                  <a:lnTo>
                    <a:pt x="470" y="479"/>
                  </a:lnTo>
                  <a:lnTo>
                    <a:pt x="468" y="479"/>
                  </a:lnTo>
                  <a:lnTo>
                    <a:pt x="470" y="477"/>
                  </a:lnTo>
                  <a:lnTo>
                    <a:pt x="468" y="474"/>
                  </a:lnTo>
                  <a:lnTo>
                    <a:pt x="468" y="474"/>
                  </a:lnTo>
                  <a:lnTo>
                    <a:pt x="468" y="474"/>
                  </a:lnTo>
                  <a:lnTo>
                    <a:pt x="468" y="472"/>
                  </a:lnTo>
                  <a:lnTo>
                    <a:pt x="468" y="472"/>
                  </a:lnTo>
                  <a:lnTo>
                    <a:pt x="468" y="470"/>
                  </a:lnTo>
                  <a:lnTo>
                    <a:pt x="468" y="470"/>
                  </a:lnTo>
                  <a:lnTo>
                    <a:pt x="470" y="467"/>
                  </a:lnTo>
                  <a:lnTo>
                    <a:pt x="470" y="467"/>
                  </a:lnTo>
                  <a:lnTo>
                    <a:pt x="468" y="467"/>
                  </a:lnTo>
                  <a:lnTo>
                    <a:pt x="470" y="467"/>
                  </a:lnTo>
                  <a:lnTo>
                    <a:pt x="470" y="467"/>
                  </a:lnTo>
                  <a:lnTo>
                    <a:pt x="470" y="465"/>
                  </a:lnTo>
                  <a:lnTo>
                    <a:pt x="470" y="465"/>
                  </a:lnTo>
                  <a:lnTo>
                    <a:pt x="470" y="465"/>
                  </a:lnTo>
                  <a:lnTo>
                    <a:pt x="470" y="463"/>
                  </a:lnTo>
                  <a:lnTo>
                    <a:pt x="473" y="463"/>
                  </a:lnTo>
                  <a:lnTo>
                    <a:pt x="473" y="463"/>
                  </a:lnTo>
                  <a:lnTo>
                    <a:pt x="470" y="460"/>
                  </a:lnTo>
                  <a:lnTo>
                    <a:pt x="470" y="460"/>
                  </a:lnTo>
                  <a:lnTo>
                    <a:pt x="473" y="458"/>
                  </a:lnTo>
                  <a:lnTo>
                    <a:pt x="475" y="458"/>
                  </a:lnTo>
                  <a:lnTo>
                    <a:pt x="475" y="455"/>
                  </a:lnTo>
                  <a:lnTo>
                    <a:pt x="475" y="453"/>
                  </a:lnTo>
                  <a:lnTo>
                    <a:pt x="475" y="453"/>
                  </a:lnTo>
                  <a:lnTo>
                    <a:pt x="477" y="453"/>
                  </a:lnTo>
                  <a:lnTo>
                    <a:pt x="477" y="453"/>
                  </a:lnTo>
                  <a:lnTo>
                    <a:pt x="477" y="453"/>
                  </a:lnTo>
                  <a:lnTo>
                    <a:pt x="480" y="451"/>
                  </a:lnTo>
                  <a:lnTo>
                    <a:pt x="480" y="448"/>
                  </a:lnTo>
                  <a:lnTo>
                    <a:pt x="480" y="448"/>
                  </a:lnTo>
                  <a:lnTo>
                    <a:pt x="480" y="448"/>
                  </a:lnTo>
                  <a:lnTo>
                    <a:pt x="480" y="448"/>
                  </a:lnTo>
                  <a:lnTo>
                    <a:pt x="480" y="446"/>
                  </a:lnTo>
                  <a:lnTo>
                    <a:pt x="480" y="446"/>
                  </a:lnTo>
                  <a:lnTo>
                    <a:pt x="480" y="444"/>
                  </a:lnTo>
                  <a:lnTo>
                    <a:pt x="480" y="441"/>
                  </a:lnTo>
                  <a:lnTo>
                    <a:pt x="480" y="439"/>
                  </a:lnTo>
                  <a:lnTo>
                    <a:pt x="477" y="437"/>
                  </a:lnTo>
                  <a:lnTo>
                    <a:pt x="475" y="434"/>
                  </a:lnTo>
                  <a:lnTo>
                    <a:pt x="475" y="434"/>
                  </a:lnTo>
                  <a:lnTo>
                    <a:pt x="475" y="432"/>
                  </a:lnTo>
                  <a:lnTo>
                    <a:pt x="473" y="429"/>
                  </a:lnTo>
                  <a:lnTo>
                    <a:pt x="470" y="432"/>
                  </a:lnTo>
                  <a:lnTo>
                    <a:pt x="468" y="429"/>
                  </a:lnTo>
                  <a:lnTo>
                    <a:pt x="465" y="429"/>
                  </a:lnTo>
                  <a:lnTo>
                    <a:pt x="463" y="429"/>
                  </a:lnTo>
                  <a:lnTo>
                    <a:pt x="461" y="429"/>
                  </a:lnTo>
                  <a:lnTo>
                    <a:pt x="458" y="432"/>
                  </a:lnTo>
                  <a:lnTo>
                    <a:pt x="456" y="432"/>
                  </a:lnTo>
                  <a:lnTo>
                    <a:pt x="456" y="432"/>
                  </a:lnTo>
                  <a:lnTo>
                    <a:pt x="456" y="432"/>
                  </a:lnTo>
                  <a:lnTo>
                    <a:pt x="454" y="429"/>
                  </a:lnTo>
                  <a:lnTo>
                    <a:pt x="451" y="432"/>
                  </a:lnTo>
                  <a:lnTo>
                    <a:pt x="451" y="429"/>
                  </a:lnTo>
                  <a:lnTo>
                    <a:pt x="451" y="429"/>
                  </a:lnTo>
                  <a:lnTo>
                    <a:pt x="451" y="429"/>
                  </a:lnTo>
                  <a:lnTo>
                    <a:pt x="451" y="427"/>
                  </a:lnTo>
                  <a:lnTo>
                    <a:pt x="451" y="425"/>
                  </a:lnTo>
                  <a:lnTo>
                    <a:pt x="449" y="425"/>
                  </a:lnTo>
                  <a:lnTo>
                    <a:pt x="449" y="422"/>
                  </a:lnTo>
                  <a:lnTo>
                    <a:pt x="447" y="422"/>
                  </a:lnTo>
                  <a:lnTo>
                    <a:pt x="447" y="422"/>
                  </a:lnTo>
                  <a:lnTo>
                    <a:pt x="447" y="420"/>
                  </a:lnTo>
                  <a:lnTo>
                    <a:pt x="449" y="420"/>
                  </a:lnTo>
                  <a:lnTo>
                    <a:pt x="449" y="418"/>
                  </a:lnTo>
                  <a:lnTo>
                    <a:pt x="449" y="418"/>
                  </a:lnTo>
                  <a:lnTo>
                    <a:pt x="447" y="418"/>
                  </a:lnTo>
                  <a:lnTo>
                    <a:pt x="447" y="418"/>
                  </a:lnTo>
                  <a:lnTo>
                    <a:pt x="447" y="415"/>
                  </a:lnTo>
                  <a:lnTo>
                    <a:pt x="449" y="415"/>
                  </a:lnTo>
                  <a:lnTo>
                    <a:pt x="449" y="415"/>
                  </a:lnTo>
                  <a:lnTo>
                    <a:pt x="447" y="415"/>
                  </a:lnTo>
                  <a:lnTo>
                    <a:pt x="447" y="415"/>
                  </a:lnTo>
                  <a:lnTo>
                    <a:pt x="447" y="413"/>
                  </a:lnTo>
                  <a:lnTo>
                    <a:pt x="447" y="413"/>
                  </a:lnTo>
                  <a:lnTo>
                    <a:pt x="447" y="413"/>
                  </a:lnTo>
                  <a:lnTo>
                    <a:pt x="447" y="411"/>
                  </a:lnTo>
                  <a:lnTo>
                    <a:pt x="449" y="413"/>
                  </a:lnTo>
                  <a:lnTo>
                    <a:pt x="449" y="411"/>
                  </a:lnTo>
                  <a:lnTo>
                    <a:pt x="449" y="408"/>
                  </a:lnTo>
                  <a:lnTo>
                    <a:pt x="449" y="408"/>
                  </a:lnTo>
                  <a:lnTo>
                    <a:pt x="451" y="406"/>
                  </a:lnTo>
                  <a:lnTo>
                    <a:pt x="449" y="406"/>
                  </a:lnTo>
                  <a:lnTo>
                    <a:pt x="449" y="406"/>
                  </a:lnTo>
                  <a:lnTo>
                    <a:pt x="449" y="406"/>
                  </a:lnTo>
                  <a:lnTo>
                    <a:pt x="451" y="406"/>
                  </a:lnTo>
                  <a:lnTo>
                    <a:pt x="451" y="408"/>
                  </a:lnTo>
                  <a:lnTo>
                    <a:pt x="451" y="408"/>
                  </a:lnTo>
                  <a:lnTo>
                    <a:pt x="451" y="408"/>
                  </a:lnTo>
                  <a:lnTo>
                    <a:pt x="456" y="408"/>
                  </a:lnTo>
                  <a:lnTo>
                    <a:pt x="456" y="408"/>
                  </a:lnTo>
                  <a:lnTo>
                    <a:pt x="456" y="408"/>
                  </a:lnTo>
                  <a:lnTo>
                    <a:pt x="456" y="408"/>
                  </a:lnTo>
                  <a:lnTo>
                    <a:pt x="458" y="408"/>
                  </a:lnTo>
                  <a:lnTo>
                    <a:pt x="458" y="408"/>
                  </a:lnTo>
                  <a:lnTo>
                    <a:pt x="458" y="408"/>
                  </a:lnTo>
                  <a:lnTo>
                    <a:pt x="456" y="406"/>
                  </a:lnTo>
                  <a:lnTo>
                    <a:pt x="458" y="406"/>
                  </a:lnTo>
                  <a:lnTo>
                    <a:pt x="458" y="406"/>
                  </a:lnTo>
                  <a:lnTo>
                    <a:pt x="458" y="406"/>
                  </a:lnTo>
                  <a:lnTo>
                    <a:pt x="458" y="403"/>
                  </a:lnTo>
                  <a:lnTo>
                    <a:pt x="461" y="406"/>
                  </a:lnTo>
                  <a:lnTo>
                    <a:pt x="461" y="403"/>
                  </a:lnTo>
                  <a:lnTo>
                    <a:pt x="461" y="401"/>
                  </a:lnTo>
                  <a:lnTo>
                    <a:pt x="461" y="401"/>
                  </a:lnTo>
                  <a:lnTo>
                    <a:pt x="461" y="401"/>
                  </a:lnTo>
                  <a:lnTo>
                    <a:pt x="461" y="399"/>
                  </a:lnTo>
                  <a:lnTo>
                    <a:pt x="458" y="399"/>
                  </a:lnTo>
                  <a:lnTo>
                    <a:pt x="458" y="399"/>
                  </a:lnTo>
                  <a:lnTo>
                    <a:pt x="461" y="399"/>
                  </a:lnTo>
                  <a:lnTo>
                    <a:pt x="461" y="396"/>
                  </a:lnTo>
                  <a:lnTo>
                    <a:pt x="461" y="396"/>
                  </a:lnTo>
                  <a:lnTo>
                    <a:pt x="463" y="396"/>
                  </a:lnTo>
                  <a:lnTo>
                    <a:pt x="463" y="396"/>
                  </a:lnTo>
                  <a:lnTo>
                    <a:pt x="463" y="394"/>
                  </a:lnTo>
                  <a:lnTo>
                    <a:pt x="465" y="394"/>
                  </a:lnTo>
                  <a:lnTo>
                    <a:pt x="465" y="396"/>
                  </a:lnTo>
                  <a:lnTo>
                    <a:pt x="465" y="394"/>
                  </a:lnTo>
                  <a:lnTo>
                    <a:pt x="465" y="394"/>
                  </a:lnTo>
                  <a:lnTo>
                    <a:pt x="465" y="394"/>
                  </a:lnTo>
                  <a:lnTo>
                    <a:pt x="465" y="392"/>
                  </a:lnTo>
                  <a:lnTo>
                    <a:pt x="465" y="392"/>
                  </a:lnTo>
                  <a:lnTo>
                    <a:pt x="468" y="392"/>
                  </a:lnTo>
                  <a:lnTo>
                    <a:pt x="468" y="392"/>
                  </a:lnTo>
                  <a:lnTo>
                    <a:pt x="468" y="389"/>
                  </a:lnTo>
                  <a:lnTo>
                    <a:pt x="468" y="389"/>
                  </a:lnTo>
                  <a:lnTo>
                    <a:pt x="470" y="389"/>
                  </a:lnTo>
                  <a:lnTo>
                    <a:pt x="470" y="389"/>
                  </a:lnTo>
                  <a:lnTo>
                    <a:pt x="470" y="389"/>
                  </a:lnTo>
                  <a:lnTo>
                    <a:pt x="470" y="389"/>
                  </a:lnTo>
                  <a:lnTo>
                    <a:pt x="470" y="387"/>
                  </a:lnTo>
                  <a:lnTo>
                    <a:pt x="468" y="387"/>
                  </a:lnTo>
                  <a:lnTo>
                    <a:pt x="470" y="387"/>
                  </a:lnTo>
                  <a:lnTo>
                    <a:pt x="470" y="387"/>
                  </a:lnTo>
                  <a:lnTo>
                    <a:pt x="470" y="387"/>
                  </a:lnTo>
                  <a:lnTo>
                    <a:pt x="470" y="385"/>
                  </a:lnTo>
                  <a:lnTo>
                    <a:pt x="470" y="385"/>
                  </a:lnTo>
                  <a:lnTo>
                    <a:pt x="470" y="385"/>
                  </a:lnTo>
                  <a:lnTo>
                    <a:pt x="473" y="385"/>
                  </a:lnTo>
                  <a:lnTo>
                    <a:pt x="473" y="382"/>
                  </a:lnTo>
                  <a:lnTo>
                    <a:pt x="473" y="382"/>
                  </a:lnTo>
                  <a:lnTo>
                    <a:pt x="473" y="382"/>
                  </a:lnTo>
                  <a:lnTo>
                    <a:pt x="473" y="382"/>
                  </a:lnTo>
                  <a:lnTo>
                    <a:pt x="475" y="382"/>
                  </a:lnTo>
                  <a:lnTo>
                    <a:pt x="475" y="382"/>
                  </a:lnTo>
                  <a:lnTo>
                    <a:pt x="477" y="382"/>
                  </a:lnTo>
                  <a:lnTo>
                    <a:pt x="475" y="382"/>
                  </a:lnTo>
                  <a:lnTo>
                    <a:pt x="477" y="380"/>
                  </a:lnTo>
                  <a:lnTo>
                    <a:pt x="480" y="382"/>
                  </a:lnTo>
                  <a:lnTo>
                    <a:pt x="477" y="380"/>
                  </a:lnTo>
                  <a:lnTo>
                    <a:pt x="480" y="380"/>
                  </a:lnTo>
                  <a:lnTo>
                    <a:pt x="480" y="378"/>
                  </a:lnTo>
                  <a:lnTo>
                    <a:pt x="480" y="378"/>
                  </a:lnTo>
                  <a:lnTo>
                    <a:pt x="480" y="378"/>
                  </a:lnTo>
                  <a:lnTo>
                    <a:pt x="480" y="375"/>
                  </a:lnTo>
                  <a:lnTo>
                    <a:pt x="480" y="378"/>
                  </a:lnTo>
                  <a:lnTo>
                    <a:pt x="480" y="375"/>
                  </a:lnTo>
                  <a:lnTo>
                    <a:pt x="482" y="375"/>
                  </a:lnTo>
                  <a:lnTo>
                    <a:pt x="482" y="375"/>
                  </a:lnTo>
                  <a:lnTo>
                    <a:pt x="482" y="375"/>
                  </a:lnTo>
                  <a:lnTo>
                    <a:pt x="484" y="375"/>
                  </a:lnTo>
                  <a:lnTo>
                    <a:pt x="484" y="373"/>
                  </a:lnTo>
                  <a:lnTo>
                    <a:pt x="484" y="373"/>
                  </a:lnTo>
                  <a:lnTo>
                    <a:pt x="484" y="373"/>
                  </a:lnTo>
                  <a:lnTo>
                    <a:pt x="484" y="373"/>
                  </a:lnTo>
                  <a:lnTo>
                    <a:pt x="487" y="373"/>
                  </a:lnTo>
                  <a:lnTo>
                    <a:pt x="484" y="373"/>
                  </a:lnTo>
                  <a:lnTo>
                    <a:pt x="484" y="373"/>
                  </a:lnTo>
                  <a:lnTo>
                    <a:pt x="487" y="373"/>
                  </a:lnTo>
                  <a:lnTo>
                    <a:pt x="487" y="373"/>
                  </a:lnTo>
                  <a:lnTo>
                    <a:pt x="489" y="373"/>
                  </a:lnTo>
                  <a:lnTo>
                    <a:pt x="487" y="373"/>
                  </a:lnTo>
                  <a:lnTo>
                    <a:pt x="489" y="370"/>
                  </a:lnTo>
                  <a:lnTo>
                    <a:pt x="489" y="373"/>
                  </a:lnTo>
                  <a:lnTo>
                    <a:pt x="491" y="370"/>
                  </a:lnTo>
                  <a:lnTo>
                    <a:pt x="489" y="370"/>
                  </a:lnTo>
                  <a:lnTo>
                    <a:pt x="489" y="370"/>
                  </a:lnTo>
                  <a:lnTo>
                    <a:pt x="491" y="370"/>
                  </a:lnTo>
                  <a:lnTo>
                    <a:pt x="491" y="370"/>
                  </a:lnTo>
                  <a:lnTo>
                    <a:pt x="491" y="370"/>
                  </a:lnTo>
                  <a:lnTo>
                    <a:pt x="491" y="370"/>
                  </a:lnTo>
                  <a:lnTo>
                    <a:pt x="491" y="370"/>
                  </a:lnTo>
                  <a:lnTo>
                    <a:pt x="491" y="366"/>
                  </a:lnTo>
                  <a:lnTo>
                    <a:pt x="491" y="366"/>
                  </a:lnTo>
                  <a:lnTo>
                    <a:pt x="491" y="368"/>
                  </a:lnTo>
                  <a:lnTo>
                    <a:pt x="494" y="368"/>
                  </a:lnTo>
                  <a:lnTo>
                    <a:pt x="494" y="368"/>
                  </a:lnTo>
                  <a:lnTo>
                    <a:pt x="494" y="368"/>
                  </a:lnTo>
                  <a:lnTo>
                    <a:pt x="494" y="366"/>
                  </a:lnTo>
                  <a:lnTo>
                    <a:pt x="494" y="366"/>
                  </a:lnTo>
                  <a:lnTo>
                    <a:pt x="494" y="366"/>
                  </a:lnTo>
                  <a:lnTo>
                    <a:pt x="494" y="366"/>
                  </a:lnTo>
                  <a:lnTo>
                    <a:pt x="496" y="366"/>
                  </a:lnTo>
                  <a:lnTo>
                    <a:pt x="496" y="366"/>
                  </a:lnTo>
                  <a:lnTo>
                    <a:pt x="496" y="366"/>
                  </a:lnTo>
                  <a:lnTo>
                    <a:pt x="496" y="366"/>
                  </a:lnTo>
                  <a:lnTo>
                    <a:pt x="496" y="366"/>
                  </a:lnTo>
                  <a:lnTo>
                    <a:pt x="496" y="366"/>
                  </a:lnTo>
                  <a:lnTo>
                    <a:pt x="496" y="363"/>
                  </a:lnTo>
                  <a:lnTo>
                    <a:pt x="499" y="363"/>
                  </a:lnTo>
                  <a:lnTo>
                    <a:pt x="499" y="363"/>
                  </a:lnTo>
                  <a:lnTo>
                    <a:pt x="496" y="363"/>
                  </a:lnTo>
                  <a:lnTo>
                    <a:pt x="496" y="363"/>
                  </a:lnTo>
                  <a:lnTo>
                    <a:pt x="496" y="363"/>
                  </a:lnTo>
                  <a:lnTo>
                    <a:pt x="496" y="361"/>
                  </a:lnTo>
                  <a:lnTo>
                    <a:pt x="496" y="361"/>
                  </a:lnTo>
                  <a:lnTo>
                    <a:pt x="499" y="361"/>
                  </a:lnTo>
                  <a:lnTo>
                    <a:pt x="499" y="361"/>
                  </a:lnTo>
                  <a:lnTo>
                    <a:pt x="499" y="359"/>
                  </a:lnTo>
                  <a:lnTo>
                    <a:pt x="496" y="359"/>
                  </a:lnTo>
                  <a:lnTo>
                    <a:pt x="496" y="356"/>
                  </a:lnTo>
                  <a:lnTo>
                    <a:pt x="496" y="359"/>
                  </a:lnTo>
                  <a:lnTo>
                    <a:pt x="494" y="356"/>
                  </a:lnTo>
                  <a:lnTo>
                    <a:pt x="496" y="356"/>
                  </a:lnTo>
                  <a:lnTo>
                    <a:pt x="494" y="356"/>
                  </a:lnTo>
                  <a:lnTo>
                    <a:pt x="494" y="354"/>
                  </a:lnTo>
                  <a:lnTo>
                    <a:pt x="494" y="354"/>
                  </a:lnTo>
                  <a:lnTo>
                    <a:pt x="494" y="354"/>
                  </a:lnTo>
                  <a:lnTo>
                    <a:pt x="494" y="354"/>
                  </a:lnTo>
                  <a:lnTo>
                    <a:pt x="491" y="354"/>
                  </a:lnTo>
                  <a:lnTo>
                    <a:pt x="494" y="352"/>
                  </a:lnTo>
                  <a:lnTo>
                    <a:pt x="494" y="352"/>
                  </a:lnTo>
                  <a:lnTo>
                    <a:pt x="494" y="352"/>
                  </a:lnTo>
                  <a:lnTo>
                    <a:pt x="491" y="349"/>
                  </a:lnTo>
                  <a:lnTo>
                    <a:pt x="491" y="349"/>
                  </a:lnTo>
                  <a:lnTo>
                    <a:pt x="489" y="352"/>
                  </a:lnTo>
                  <a:lnTo>
                    <a:pt x="491" y="349"/>
                  </a:lnTo>
                  <a:lnTo>
                    <a:pt x="489" y="349"/>
                  </a:lnTo>
                  <a:lnTo>
                    <a:pt x="489" y="347"/>
                  </a:lnTo>
                  <a:lnTo>
                    <a:pt x="489" y="347"/>
                  </a:lnTo>
                  <a:lnTo>
                    <a:pt x="491" y="347"/>
                  </a:lnTo>
                  <a:lnTo>
                    <a:pt x="489" y="347"/>
                  </a:lnTo>
                  <a:lnTo>
                    <a:pt x="489" y="347"/>
                  </a:lnTo>
                  <a:lnTo>
                    <a:pt x="489" y="347"/>
                  </a:lnTo>
                  <a:lnTo>
                    <a:pt x="487" y="344"/>
                  </a:lnTo>
                  <a:lnTo>
                    <a:pt x="489" y="344"/>
                  </a:lnTo>
                  <a:lnTo>
                    <a:pt x="489" y="344"/>
                  </a:lnTo>
                  <a:lnTo>
                    <a:pt x="489" y="342"/>
                  </a:lnTo>
                  <a:lnTo>
                    <a:pt x="491" y="340"/>
                  </a:lnTo>
                  <a:lnTo>
                    <a:pt x="487" y="340"/>
                  </a:lnTo>
                  <a:lnTo>
                    <a:pt x="487" y="340"/>
                  </a:lnTo>
                  <a:lnTo>
                    <a:pt x="489" y="337"/>
                  </a:lnTo>
                  <a:lnTo>
                    <a:pt x="487" y="337"/>
                  </a:lnTo>
                  <a:lnTo>
                    <a:pt x="487" y="337"/>
                  </a:lnTo>
                  <a:lnTo>
                    <a:pt x="487" y="335"/>
                  </a:lnTo>
                  <a:lnTo>
                    <a:pt x="487" y="335"/>
                  </a:lnTo>
                  <a:lnTo>
                    <a:pt x="487" y="335"/>
                  </a:lnTo>
                  <a:lnTo>
                    <a:pt x="487" y="333"/>
                  </a:lnTo>
                  <a:lnTo>
                    <a:pt x="484" y="333"/>
                  </a:lnTo>
                  <a:lnTo>
                    <a:pt x="484" y="333"/>
                  </a:lnTo>
                  <a:lnTo>
                    <a:pt x="487" y="333"/>
                  </a:lnTo>
                  <a:lnTo>
                    <a:pt x="484" y="333"/>
                  </a:lnTo>
                  <a:lnTo>
                    <a:pt x="484" y="330"/>
                  </a:lnTo>
                  <a:lnTo>
                    <a:pt x="484" y="328"/>
                  </a:lnTo>
                  <a:lnTo>
                    <a:pt x="487" y="328"/>
                  </a:lnTo>
                  <a:lnTo>
                    <a:pt x="484" y="328"/>
                  </a:lnTo>
                  <a:lnTo>
                    <a:pt x="487" y="328"/>
                  </a:lnTo>
                  <a:lnTo>
                    <a:pt x="487" y="326"/>
                  </a:lnTo>
                  <a:lnTo>
                    <a:pt x="487" y="326"/>
                  </a:lnTo>
                  <a:lnTo>
                    <a:pt x="484" y="323"/>
                  </a:lnTo>
                  <a:lnTo>
                    <a:pt x="484" y="323"/>
                  </a:lnTo>
                  <a:lnTo>
                    <a:pt x="482" y="323"/>
                  </a:lnTo>
                  <a:lnTo>
                    <a:pt x="484" y="323"/>
                  </a:lnTo>
                  <a:lnTo>
                    <a:pt x="484" y="321"/>
                  </a:lnTo>
                  <a:lnTo>
                    <a:pt x="482" y="321"/>
                  </a:lnTo>
                  <a:lnTo>
                    <a:pt x="482" y="321"/>
                  </a:lnTo>
                  <a:lnTo>
                    <a:pt x="484" y="318"/>
                  </a:lnTo>
                  <a:lnTo>
                    <a:pt x="482" y="318"/>
                  </a:lnTo>
                  <a:lnTo>
                    <a:pt x="482" y="318"/>
                  </a:lnTo>
                  <a:lnTo>
                    <a:pt x="482" y="318"/>
                  </a:lnTo>
                  <a:lnTo>
                    <a:pt x="482" y="316"/>
                  </a:lnTo>
                  <a:lnTo>
                    <a:pt x="480" y="318"/>
                  </a:lnTo>
                  <a:lnTo>
                    <a:pt x="480" y="318"/>
                  </a:lnTo>
                  <a:lnTo>
                    <a:pt x="480" y="318"/>
                  </a:lnTo>
                  <a:lnTo>
                    <a:pt x="480" y="316"/>
                  </a:lnTo>
                  <a:lnTo>
                    <a:pt x="477" y="316"/>
                  </a:lnTo>
                  <a:lnTo>
                    <a:pt x="477" y="316"/>
                  </a:lnTo>
                  <a:lnTo>
                    <a:pt x="477" y="314"/>
                  </a:lnTo>
                  <a:lnTo>
                    <a:pt x="477" y="316"/>
                  </a:lnTo>
                  <a:lnTo>
                    <a:pt x="477" y="314"/>
                  </a:lnTo>
                  <a:lnTo>
                    <a:pt x="477" y="314"/>
                  </a:lnTo>
                  <a:lnTo>
                    <a:pt x="475" y="314"/>
                  </a:lnTo>
                  <a:lnTo>
                    <a:pt x="475" y="314"/>
                  </a:lnTo>
                  <a:lnTo>
                    <a:pt x="475" y="311"/>
                  </a:lnTo>
                  <a:lnTo>
                    <a:pt x="475" y="314"/>
                  </a:lnTo>
                  <a:lnTo>
                    <a:pt x="475" y="311"/>
                  </a:lnTo>
                  <a:lnTo>
                    <a:pt x="475" y="309"/>
                  </a:lnTo>
                  <a:lnTo>
                    <a:pt x="475" y="311"/>
                  </a:lnTo>
                  <a:lnTo>
                    <a:pt x="473" y="314"/>
                  </a:lnTo>
                  <a:lnTo>
                    <a:pt x="470" y="311"/>
                  </a:lnTo>
                  <a:lnTo>
                    <a:pt x="473" y="311"/>
                  </a:lnTo>
                  <a:lnTo>
                    <a:pt x="470" y="309"/>
                  </a:lnTo>
                  <a:lnTo>
                    <a:pt x="473" y="309"/>
                  </a:lnTo>
                  <a:lnTo>
                    <a:pt x="470" y="309"/>
                  </a:lnTo>
                  <a:lnTo>
                    <a:pt x="470" y="309"/>
                  </a:lnTo>
                  <a:lnTo>
                    <a:pt x="470" y="309"/>
                  </a:lnTo>
                  <a:lnTo>
                    <a:pt x="470" y="309"/>
                  </a:lnTo>
                  <a:lnTo>
                    <a:pt x="468" y="309"/>
                  </a:lnTo>
                  <a:lnTo>
                    <a:pt x="468" y="309"/>
                  </a:lnTo>
                  <a:lnTo>
                    <a:pt x="468" y="309"/>
                  </a:lnTo>
                  <a:lnTo>
                    <a:pt x="468" y="309"/>
                  </a:lnTo>
                  <a:lnTo>
                    <a:pt x="468" y="307"/>
                  </a:lnTo>
                  <a:lnTo>
                    <a:pt x="465" y="307"/>
                  </a:lnTo>
                  <a:lnTo>
                    <a:pt x="465" y="309"/>
                  </a:lnTo>
                  <a:lnTo>
                    <a:pt x="465" y="307"/>
                  </a:lnTo>
                  <a:lnTo>
                    <a:pt x="465" y="307"/>
                  </a:lnTo>
                  <a:lnTo>
                    <a:pt x="463" y="307"/>
                  </a:lnTo>
                  <a:lnTo>
                    <a:pt x="461" y="307"/>
                  </a:lnTo>
                  <a:lnTo>
                    <a:pt x="463" y="307"/>
                  </a:lnTo>
                  <a:lnTo>
                    <a:pt x="461" y="307"/>
                  </a:lnTo>
                  <a:lnTo>
                    <a:pt x="463" y="304"/>
                  </a:lnTo>
                  <a:lnTo>
                    <a:pt x="461" y="304"/>
                  </a:lnTo>
                  <a:lnTo>
                    <a:pt x="463" y="304"/>
                  </a:lnTo>
                  <a:lnTo>
                    <a:pt x="461" y="302"/>
                  </a:lnTo>
                  <a:lnTo>
                    <a:pt x="461" y="304"/>
                  </a:lnTo>
                  <a:lnTo>
                    <a:pt x="461" y="302"/>
                  </a:lnTo>
                  <a:lnTo>
                    <a:pt x="461" y="304"/>
                  </a:lnTo>
                  <a:lnTo>
                    <a:pt x="458" y="302"/>
                  </a:lnTo>
                  <a:lnTo>
                    <a:pt x="461" y="302"/>
                  </a:lnTo>
                  <a:lnTo>
                    <a:pt x="458" y="302"/>
                  </a:lnTo>
                  <a:lnTo>
                    <a:pt x="458" y="300"/>
                  </a:lnTo>
                  <a:lnTo>
                    <a:pt x="458" y="300"/>
                  </a:lnTo>
                  <a:lnTo>
                    <a:pt x="456" y="297"/>
                  </a:lnTo>
                  <a:lnTo>
                    <a:pt x="456" y="297"/>
                  </a:lnTo>
                  <a:lnTo>
                    <a:pt x="456" y="295"/>
                  </a:lnTo>
                  <a:lnTo>
                    <a:pt x="456" y="292"/>
                  </a:lnTo>
                  <a:lnTo>
                    <a:pt x="458" y="292"/>
                  </a:lnTo>
                  <a:lnTo>
                    <a:pt x="458" y="290"/>
                  </a:lnTo>
                  <a:lnTo>
                    <a:pt x="461" y="290"/>
                  </a:lnTo>
                  <a:lnTo>
                    <a:pt x="461" y="288"/>
                  </a:lnTo>
                  <a:lnTo>
                    <a:pt x="461" y="283"/>
                  </a:lnTo>
                  <a:lnTo>
                    <a:pt x="461" y="283"/>
                  </a:lnTo>
                  <a:lnTo>
                    <a:pt x="461" y="281"/>
                  </a:lnTo>
                  <a:lnTo>
                    <a:pt x="463" y="281"/>
                  </a:lnTo>
                  <a:lnTo>
                    <a:pt x="465" y="276"/>
                  </a:lnTo>
                  <a:lnTo>
                    <a:pt x="468" y="274"/>
                  </a:lnTo>
                  <a:lnTo>
                    <a:pt x="468" y="274"/>
                  </a:lnTo>
                  <a:lnTo>
                    <a:pt x="468" y="271"/>
                  </a:lnTo>
                  <a:lnTo>
                    <a:pt x="470" y="271"/>
                  </a:lnTo>
                  <a:lnTo>
                    <a:pt x="470" y="269"/>
                  </a:lnTo>
                  <a:lnTo>
                    <a:pt x="470" y="269"/>
                  </a:lnTo>
                  <a:lnTo>
                    <a:pt x="470" y="269"/>
                  </a:lnTo>
                  <a:lnTo>
                    <a:pt x="470" y="266"/>
                  </a:lnTo>
                  <a:lnTo>
                    <a:pt x="473" y="264"/>
                  </a:lnTo>
                  <a:lnTo>
                    <a:pt x="473" y="264"/>
                  </a:lnTo>
                  <a:lnTo>
                    <a:pt x="473" y="264"/>
                  </a:lnTo>
                  <a:lnTo>
                    <a:pt x="475" y="262"/>
                  </a:lnTo>
                  <a:lnTo>
                    <a:pt x="473" y="259"/>
                  </a:lnTo>
                  <a:lnTo>
                    <a:pt x="475" y="259"/>
                  </a:lnTo>
                  <a:lnTo>
                    <a:pt x="473" y="259"/>
                  </a:lnTo>
                  <a:lnTo>
                    <a:pt x="473" y="257"/>
                  </a:lnTo>
                  <a:lnTo>
                    <a:pt x="473" y="257"/>
                  </a:lnTo>
                  <a:lnTo>
                    <a:pt x="473" y="255"/>
                  </a:lnTo>
                  <a:lnTo>
                    <a:pt x="470" y="255"/>
                  </a:lnTo>
                  <a:lnTo>
                    <a:pt x="473" y="255"/>
                  </a:lnTo>
                  <a:lnTo>
                    <a:pt x="473" y="255"/>
                  </a:lnTo>
                  <a:lnTo>
                    <a:pt x="470" y="252"/>
                  </a:lnTo>
                  <a:lnTo>
                    <a:pt x="470" y="252"/>
                  </a:lnTo>
                  <a:lnTo>
                    <a:pt x="470" y="252"/>
                  </a:lnTo>
                  <a:lnTo>
                    <a:pt x="470" y="252"/>
                  </a:lnTo>
                  <a:lnTo>
                    <a:pt x="470" y="250"/>
                  </a:lnTo>
                  <a:lnTo>
                    <a:pt x="470" y="250"/>
                  </a:lnTo>
                  <a:lnTo>
                    <a:pt x="470" y="250"/>
                  </a:lnTo>
                  <a:lnTo>
                    <a:pt x="470" y="250"/>
                  </a:lnTo>
                  <a:lnTo>
                    <a:pt x="470" y="248"/>
                  </a:lnTo>
                  <a:lnTo>
                    <a:pt x="470" y="248"/>
                  </a:lnTo>
                  <a:lnTo>
                    <a:pt x="473" y="248"/>
                  </a:lnTo>
                  <a:lnTo>
                    <a:pt x="470" y="245"/>
                  </a:lnTo>
                  <a:lnTo>
                    <a:pt x="473" y="245"/>
                  </a:lnTo>
                  <a:lnTo>
                    <a:pt x="473" y="245"/>
                  </a:lnTo>
                  <a:lnTo>
                    <a:pt x="473" y="243"/>
                  </a:lnTo>
                  <a:lnTo>
                    <a:pt x="473" y="243"/>
                  </a:lnTo>
                  <a:lnTo>
                    <a:pt x="473" y="243"/>
                  </a:lnTo>
                  <a:lnTo>
                    <a:pt x="473" y="243"/>
                  </a:lnTo>
                  <a:lnTo>
                    <a:pt x="475" y="243"/>
                  </a:lnTo>
                  <a:lnTo>
                    <a:pt x="475" y="243"/>
                  </a:lnTo>
                  <a:lnTo>
                    <a:pt x="475" y="243"/>
                  </a:lnTo>
                  <a:lnTo>
                    <a:pt x="475" y="243"/>
                  </a:lnTo>
                  <a:lnTo>
                    <a:pt x="475" y="243"/>
                  </a:lnTo>
                  <a:lnTo>
                    <a:pt x="475" y="241"/>
                  </a:lnTo>
                  <a:lnTo>
                    <a:pt x="475" y="241"/>
                  </a:lnTo>
                  <a:lnTo>
                    <a:pt x="475" y="241"/>
                  </a:lnTo>
                  <a:lnTo>
                    <a:pt x="475" y="238"/>
                  </a:lnTo>
                  <a:lnTo>
                    <a:pt x="475" y="238"/>
                  </a:lnTo>
                  <a:lnTo>
                    <a:pt x="475" y="236"/>
                  </a:lnTo>
                  <a:lnTo>
                    <a:pt x="475" y="236"/>
                  </a:lnTo>
                  <a:lnTo>
                    <a:pt x="475" y="236"/>
                  </a:lnTo>
                  <a:lnTo>
                    <a:pt x="475" y="236"/>
                  </a:lnTo>
                  <a:lnTo>
                    <a:pt x="477" y="236"/>
                  </a:lnTo>
                  <a:lnTo>
                    <a:pt x="477" y="233"/>
                  </a:lnTo>
                  <a:lnTo>
                    <a:pt x="477" y="233"/>
                  </a:lnTo>
                  <a:lnTo>
                    <a:pt x="477" y="233"/>
                  </a:lnTo>
                  <a:lnTo>
                    <a:pt x="477" y="233"/>
                  </a:lnTo>
                  <a:lnTo>
                    <a:pt x="477" y="233"/>
                  </a:lnTo>
                  <a:lnTo>
                    <a:pt x="477" y="233"/>
                  </a:lnTo>
                  <a:lnTo>
                    <a:pt x="480" y="233"/>
                  </a:lnTo>
                  <a:lnTo>
                    <a:pt x="480" y="233"/>
                  </a:lnTo>
                  <a:lnTo>
                    <a:pt x="480" y="233"/>
                  </a:lnTo>
                  <a:lnTo>
                    <a:pt x="482" y="233"/>
                  </a:lnTo>
                  <a:lnTo>
                    <a:pt x="482" y="233"/>
                  </a:lnTo>
                  <a:lnTo>
                    <a:pt x="484" y="233"/>
                  </a:lnTo>
                  <a:lnTo>
                    <a:pt x="484" y="233"/>
                  </a:lnTo>
                  <a:lnTo>
                    <a:pt x="487" y="233"/>
                  </a:lnTo>
                  <a:lnTo>
                    <a:pt x="487" y="233"/>
                  </a:lnTo>
                  <a:lnTo>
                    <a:pt x="487" y="233"/>
                  </a:lnTo>
                  <a:lnTo>
                    <a:pt x="487" y="231"/>
                  </a:lnTo>
                  <a:lnTo>
                    <a:pt x="489" y="231"/>
                  </a:lnTo>
                  <a:lnTo>
                    <a:pt x="489" y="231"/>
                  </a:lnTo>
                  <a:lnTo>
                    <a:pt x="489" y="231"/>
                  </a:lnTo>
                  <a:lnTo>
                    <a:pt x="489" y="229"/>
                  </a:lnTo>
                  <a:lnTo>
                    <a:pt x="491" y="229"/>
                  </a:lnTo>
                  <a:lnTo>
                    <a:pt x="491" y="229"/>
                  </a:lnTo>
                  <a:lnTo>
                    <a:pt x="491" y="229"/>
                  </a:lnTo>
                  <a:lnTo>
                    <a:pt x="491" y="226"/>
                  </a:lnTo>
                  <a:lnTo>
                    <a:pt x="491" y="229"/>
                  </a:lnTo>
                  <a:lnTo>
                    <a:pt x="494" y="229"/>
                  </a:lnTo>
                  <a:lnTo>
                    <a:pt x="494" y="226"/>
                  </a:lnTo>
                  <a:lnTo>
                    <a:pt x="494" y="226"/>
                  </a:lnTo>
                  <a:lnTo>
                    <a:pt x="494" y="226"/>
                  </a:lnTo>
                  <a:lnTo>
                    <a:pt x="494" y="226"/>
                  </a:lnTo>
                  <a:lnTo>
                    <a:pt x="494" y="226"/>
                  </a:lnTo>
                  <a:lnTo>
                    <a:pt x="494" y="226"/>
                  </a:lnTo>
                  <a:lnTo>
                    <a:pt x="494" y="226"/>
                  </a:lnTo>
                  <a:lnTo>
                    <a:pt x="494" y="226"/>
                  </a:lnTo>
                  <a:lnTo>
                    <a:pt x="494" y="226"/>
                  </a:lnTo>
                  <a:lnTo>
                    <a:pt x="494" y="224"/>
                  </a:lnTo>
                  <a:lnTo>
                    <a:pt x="494" y="224"/>
                  </a:lnTo>
                  <a:lnTo>
                    <a:pt x="494" y="224"/>
                  </a:lnTo>
                  <a:lnTo>
                    <a:pt x="496" y="224"/>
                  </a:lnTo>
                  <a:lnTo>
                    <a:pt x="496" y="224"/>
                  </a:lnTo>
                  <a:lnTo>
                    <a:pt x="496" y="224"/>
                  </a:lnTo>
                  <a:lnTo>
                    <a:pt x="496" y="222"/>
                  </a:lnTo>
                  <a:lnTo>
                    <a:pt x="496" y="222"/>
                  </a:lnTo>
                  <a:lnTo>
                    <a:pt x="496" y="222"/>
                  </a:lnTo>
                  <a:lnTo>
                    <a:pt x="499" y="224"/>
                  </a:lnTo>
                  <a:lnTo>
                    <a:pt x="496" y="224"/>
                  </a:lnTo>
                  <a:lnTo>
                    <a:pt x="499" y="224"/>
                  </a:lnTo>
                  <a:lnTo>
                    <a:pt x="501" y="226"/>
                  </a:lnTo>
                  <a:lnTo>
                    <a:pt x="501" y="226"/>
                  </a:lnTo>
                  <a:lnTo>
                    <a:pt x="503" y="226"/>
                  </a:lnTo>
                  <a:lnTo>
                    <a:pt x="503" y="226"/>
                  </a:lnTo>
                  <a:lnTo>
                    <a:pt x="503" y="226"/>
                  </a:lnTo>
                  <a:lnTo>
                    <a:pt x="508" y="224"/>
                  </a:lnTo>
                  <a:lnTo>
                    <a:pt x="520" y="222"/>
                  </a:lnTo>
                  <a:lnTo>
                    <a:pt x="536" y="217"/>
                  </a:lnTo>
                  <a:lnTo>
                    <a:pt x="539" y="217"/>
                  </a:lnTo>
                  <a:lnTo>
                    <a:pt x="539" y="215"/>
                  </a:lnTo>
                  <a:lnTo>
                    <a:pt x="539" y="215"/>
                  </a:lnTo>
                  <a:lnTo>
                    <a:pt x="539" y="212"/>
                  </a:lnTo>
                  <a:lnTo>
                    <a:pt x="536" y="207"/>
                  </a:lnTo>
                  <a:lnTo>
                    <a:pt x="539" y="207"/>
                  </a:lnTo>
                  <a:lnTo>
                    <a:pt x="536" y="207"/>
                  </a:lnTo>
                  <a:lnTo>
                    <a:pt x="539" y="203"/>
                  </a:lnTo>
                  <a:lnTo>
                    <a:pt x="536" y="198"/>
                  </a:lnTo>
                  <a:lnTo>
                    <a:pt x="536" y="196"/>
                  </a:lnTo>
                  <a:lnTo>
                    <a:pt x="534" y="193"/>
                  </a:lnTo>
                  <a:lnTo>
                    <a:pt x="532" y="191"/>
                  </a:lnTo>
                  <a:lnTo>
                    <a:pt x="534" y="186"/>
                  </a:lnTo>
                  <a:lnTo>
                    <a:pt x="532" y="184"/>
                  </a:lnTo>
                  <a:lnTo>
                    <a:pt x="534" y="181"/>
                  </a:lnTo>
                  <a:lnTo>
                    <a:pt x="534" y="181"/>
                  </a:lnTo>
                  <a:lnTo>
                    <a:pt x="529" y="181"/>
                  </a:lnTo>
                  <a:lnTo>
                    <a:pt x="529" y="179"/>
                  </a:lnTo>
                  <a:lnTo>
                    <a:pt x="529" y="179"/>
                  </a:lnTo>
                  <a:lnTo>
                    <a:pt x="527" y="179"/>
                  </a:lnTo>
                  <a:lnTo>
                    <a:pt x="524" y="177"/>
                  </a:lnTo>
                  <a:lnTo>
                    <a:pt x="522" y="174"/>
                  </a:lnTo>
                  <a:lnTo>
                    <a:pt x="522" y="172"/>
                  </a:lnTo>
                  <a:lnTo>
                    <a:pt x="522" y="170"/>
                  </a:lnTo>
                  <a:lnTo>
                    <a:pt x="522" y="163"/>
                  </a:lnTo>
                  <a:lnTo>
                    <a:pt x="522" y="158"/>
                  </a:lnTo>
                  <a:lnTo>
                    <a:pt x="524" y="155"/>
                  </a:lnTo>
                  <a:lnTo>
                    <a:pt x="527" y="153"/>
                  </a:lnTo>
                  <a:lnTo>
                    <a:pt x="529" y="153"/>
                  </a:lnTo>
                  <a:lnTo>
                    <a:pt x="532" y="151"/>
                  </a:lnTo>
                  <a:lnTo>
                    <a:pt x="534" y="151"/>
                  </a:lnTo>
                  <a:lnTo>
                    <a:pt x="534" y="148"/>
                  </a:lnTo>
                  <a:lnTo>
                    <a:pt x="532" y="148"/>
                  </a:lnTo>
                  <a:lnTo>
                    <a:pt x="532" y="146"/>
                  </a:lnTo>
                  <a:lnTo>
                    <a:pt x="534" y="146"/>
                  </a:lnTo>
                  <a:lnTo>
                    <a:pt x="534" y="144"/>
                  </a:lnTo>
                  <a:lnTo>
                    <a:pt x="532" y="139"/>
                  </a:lnTo>
                  <a:lnTo>
                    <a:pt x="529" y="139"/>
                  </a:lnTo>
                  <a:lnTo>
                    <a:pt x="529" y="132"/>
                  </a:lnTo>
                  <a:lnTo>
                    <a:pt x="527" y="132"/>
                  </a:lnTo>
                  <a:lnTo>
                    <a:pt x="527" y="132"/>
                  </a:lnTo>
                  <a:lnTo>
                    <a:pt x="524" y="132"/>
                  </a:lnTo>
                  <a:lnTo>
                    <a:pt x="524" y="134"/>
                  </a:lnTo>
                  <a:lnTo>
                    <a:pt x="522" y="132"/>
                  </a:lnTo>
                  <a:lnTo>
                    <a:pt x="522" y="129"/>
                  </a:lnTo>
                  <a:lnTo>
                    <a:pt x="522" y="127"/>
                  </a:lnTo>
                  <a:lnTo>
                    <a:pt x="524" y="125"/>
                  </a:lnTo>
                  <a:lnTo>
                    <a:pt x="524" y="122"/>
                  </a:lnTo>
                  <a:lnTo>
                    <a:pt x="527" y="118"/>
                  </a:lnTo>
                  <a:lnTo>
                    <a:pt x="529" y="115"/>
                  </a:lnTo>
                  <a:lnTo>
                    <a:pt x="529" y="115"/>
                  </a:lnTo>
                  <a:lnTo>
                    <a:pt x="527" y="115"/>
                  </a:lnTo>
                  <a:lnTo>
                    <a:pt x="527" y="113"/>
                  </a:lnTo>
                  <a:lnTo>
                    <a:pt x="524" y="113"/>
                  </a:lnTo>
                  <a:lnTo>
                    <a:pt x="524" y="111"/>
                  </a:lnTo>
                  <a:lnTo>
                    <a:pt x="524" y="108"/>
                  </a:lnTo>
                  <a:lnTo>
                    <a:pt x="524" y="108"/>
                  </a:lnTo>
                  <a:lnTo>
                    <a:pt x="532" y="104"/>
                  </a:lnTo>
                  <a:lnTo>
                    <a:pt x="532" y="101"/>
                  </a:lnTo>
                  <a:lnTo>
                    <a:pt x="536" y="104"/>
                  </a:lnTo>
                  <a:lnTo>
                    <a:pt x="541" y="104"/>
                  </a:lnTo>
                  <a:lnTo>
                    <a:pt x="546" y="106"/>
                  </a:lnTo>
                  <a:lnTo>
                    <a:pt x="548" y="106"/>
                  </a:lnTo>
                  <a:lnTo>
                    <a:pt x="553" y="108"/>
                  </a:lnTo>
                  <a:lnTo>
                    <a:pt x="555" y="108"/>
                  </a:lnTo>
                  <a:lnTo>
                    <a:pt x="558" y="111"/>
                  </a:lnTo>
                  <a:lnTo>
                    <a:pt x="560" y="113"/>
                  </a:lnTo>
                  <a:lnTo>
                    <a:pt x="562" y="113"/>
                  </a:lnTo>
                  <a:lnTo>
                    <a:pt x="565" y="113"/>
                  </a:lnTo>
                  <a:lnTo>
                    <a:pt x="565" y="113"/>
                  </a:lnTo>
                  <a:lnTo>
                    <a:pt x="567" y="111"/>
                  </a:lnTo>
                  <a:lnTo>
                    <a:pt x="569" y="113"/>
                  </a:lnTo>
                  <a:lnTo>
                    <a:pt x="569" y="111"/>
                  </a:lnTo>
                  <a:lnTo>
                    <a:pt x="572" y="108"/>
                  </a:lnTo>
                  <a:lnTo>
                    <a:pt x="572" y="108"/>
                  </a:lnTo>
                  <a:lnTo>
                    <a:pt x="574" y="108"/>
                  </a:lnTo>
                  <a:lnTo>
                    <a:pt x="574" y="108"/>
                  </a:lnTo>
                  <a:lnTo>
                    <a:pt x="576" y="108"/>
                  </a:lnTo>
                  <a:lnTo>
                    <a:pt x="576" y="108"/>
                  </a:lnTo>
                  <a:lnTo>
                    <a:pt x="576" y="104"/>
                  </a:lnTo>
                  <a:lnTo>
                    <a:pt x="576" y="104"/>
                  </a:lnTo>
                  <a:lnTo>
                    <a:pt x="576" y="104"/>
                  </a:lnTo>
                  <a:lnTo>
                    <a:pt x="574" y="101"/>
                  </a:lnTo>
                  <a:lnTo>
                    <a:pt x="574" y="99"/>
                  </a:lnTo>
                  <a:lnTo>
                    <a:pt x="576" y="99"/>
                  </a:lnTo>
                  <a:lnTo>
                    <a:pt x="576" y="96"/>
                  </a:lnTo>
                  <a:lnTo>
                    <a:pt x="576" y="96"/>
                  </a:lnTo>
                  <a:lnTo>
                    <a:pt x="574" y="96"/>
                  </a:lnTo>
                  <a:lnTo>
                    <a:pt x="574" y="94"/>
                  </a:lnTo>
                  <a:lnTo>
                    <a:pt x="574" y="94"/>
                  </a:lnTo>
                  <a:lnTo>
                    <a:pt x="572" y="92"/>
                  </a:lnTo>
                  <a:lnTo>
                    <a:pt x="574" y="87"/>
                  </a:lnTo>
                  <a:lnTo>
                    <a:pt x="574" y="85"/>
                  </a:lnTo>
                  <a:lnTo>
                    <a:pt x="576" y="80"/>
                  </a:lnTo>
                  <a:lnTo>
                    <a:pt x="574" y="78"/>
                  </a:lnTo>
                  <a:lnTo>
                    <a:pt x="574" y="78"/>
                  </a:lnTo>
                  <a:lnTo>
                    <a:pt x="569" y="78"/>
                  </a:lnTo>
                  <a:lnTo>
                    <a:pt x="569" y="78"/>
                  </a:lnTo>
                  <a:lnTo>
                    <a:pt x="569" y="75"/>
                  </a:lnTo>
                  <a:lnTo>
                    <a:pt x="569" y="75"/>
                  </a:lnTo>
                  <a:lnTo>
                    <a:pt x="569" y="73"/>
                  </a:lnTo>
                  <a:lnTo>
                    <a:pt x="572" y="70"/>
                  </a:lnTo>
                  <a:lnTo>
                    <a:pt x="572" y="68"/>
                  </a:lnTo>
                  <a:lnTo>
                    <a:pt x="574" y="68"/>
                  </a:lnTo>
                  <a:lnTo>
                    <a:pt x="576" y="68"/>
                  </a:lnTo>
                  <a:lnTo>
                    <a:pt x="576" y="66"/>
                  </a:lnTo>
                  <a:lnTo>
                    <a:pt x="576" y="66"/>
                  </a:lnTo>
                  <a:lnTo>
                    <a:pt x="576" y="63"/>
                  </a:lnTo>
                  <a:lnTo>
                    <a:pt x="576" y="61"/>
                  </a:lnTo>
                  <a:lnTo>
                    <a:pt x="579" y="63"/>
                  </a:lnTo>
                  <a:lnTo>
                    <a:pt x="581" y="61"/>
                  </a:lnTo>
                  <a:lnTo>
                    <a:pt x="581" y="63"/>
                  </a:lnTo>
                  <a:lnTo>
                    <a:pt x="584" y="66"/>
                  </a:lnTo>
                  <a:lnTo>
                    <a:pt x="586" y="66"/>
                  </a:lnTo>
                  <a:lnTo>
                    <a:pt x="586" y="68"/>
                  </a:lnTo>
                  <a:lnTo>
                    <a:pt x="591" y="70"/>
                  </a:lnTo>
                  <a:lnTo>
                    <a:pt x="593" y="73"/>
                  </a:lnTo>
                  <a:lnTo>
                    <a:pt x="595" y="73"/>
                  </a:lnTo>
                  <a:lnTo>
                    <a:pt x="595" y="75"/>
                  </a:lnTo>
                  <a:lnTo>
                    <a:pt x="595" y="75"/>
                  </a:lnTo>
                  <a:lnTo>
                    <a:pt x="598" y="75"/>
                  </a:lnTo>
                  <a:lnTo>
                    <a:pt x="598" y="78"/>
                  </a:lnTo>
                  <a:lnTo>
                    <a:pt x="600" y="78"/>
                  </a:lnTo>
                  <a:lnTo>
                    <a:pt x="600" y="80"/>
                  </a:lnTo>
                  <a:lnTo>
                    <a:pt x="600" y="80"/>
                  </a:lnTo>
                  <a:lnTo>
                    <a:pt x="602" y="82"/>
                  </a:lnTo>
                  <a:lnTo>
                    <a:pt x="602" y="82"/>
                  </a:lnTo>
                  <a:lnTo>
                    <a:pt x="602" y="85"/>
                  </a:lnTo>
                  <a:lnTo>
                    <a:pt x="602" y="85"/>
                  </a:lnTo>
                  <a:lnTo>
                    <a:pt x="602" y="87"/>
                  </a:lnTo>
                  <a:lnTo>
                    <a:pt x="600" y="87"/>
                  </a:lnTo>
                  <a:lnTo>
                    <a:pt x="602" y="87"/>
                  </a:lnTo>
                  <a:lnTo>
                    <a:pt x="602" y="89"/>
                  </a:lnTo>
                  <a:lnTo>
                    <a:pt x="605" y="89"/>
                  </a:lnTo>
                  <a:lnTo>
                    <a:pt x="605" y="89"/>
                  </a:lnTo>
                  <a:lnTo>
                    <a:pt x="605" y="92"/>
                  </a:lnTo>
                  <a:lnTo>
                    <a:pt x="607" y="92"/>
                  </a:lnTo>
                  <a:lnTo>
                    <a:pt x="610" y="89"/>
                  </a:lnTo>
                  <a:lnTo>
                    <a:pt x="612" y="89"/>
                  </a:lnTo>
                  <a:lnTo>
                    <a:pt x="612" y="94"/>
                  </a:lnTo>
                  <a:lnTo>
                    <a:pt x="614" y="94"/>
                  </a:lnTo>
                  <a:lnTo>
                    <a:pt x="614" y="92"/>
                  </a:lnTo>
                  <a:lnTo>
                    <a:pt x="614" y="92"/>
                  </a:lnTo>
                  <a:lnTo>
                    <a:pt x="619" y="94"/>
                  </a:lnTo>
                  <a:lnTo>
                    <a:pt x="621" y="92"/>
                  </a:lnTo>
                  <a:lnTo>
                    <a:pt x="621" y="89"/>
                  </a:lnTo>
                  <a:lnTo>
                    <a:pt x="621" y="89"/>
                  </a:lnTo>
                  <a:lnTo>
                    <a:pt x="621" y="89"/>
                  </a:lnTo>
                  <a:lnTo>
                    <a:pt x="624" y="92"/>
                  </a:lnTo>
                  <a:lnTo>
                    <a:pt x="624" y="92"/>
                  </a:lnTo>
                  <a:lnTo>
                    <a:pt x="624" y="89"/>
                  </a:lnTo>
                  <a:lnTo>
                    <a:pt x="626" y="89"/>
                  </a:lnTo>
                  <a:lnTo>
                    <a:pt x="626" y="92"/>
                  </a:lnTo>
                  <a:lnTo>
                    <a:pt x="628" y="92"/>
                  </a:lnTo>
                  <a:lnTo>
                    <a:pt x="631" y="92"/>
                  </a:lnTo>
                  <a:lnTo>
                    <a:pt x="631" y="92"/>
                  </a:lnTo>
                  <a:lnTo>
                    <a:pt x="631" y="87"/>
                  </a:lnTo>
                  <a:lnTo>
                    <a:pt x="633" y="89"/>
                  </a:lnTo>
                  <a:lnTo>
                    <a:pt x="636" y="87"/>
                  </a:lnTo>
                  <a:lnTo>
                    <a:pt x="636" y="85"/>
                  </a:lnTo>
                  <a:lnTo>
                    <a:pt x="636" y="85"/>
                  </a:lnTo>
                  <a:lnTo>
                    <a:pt x="636" y="85"/>
                  </a:lnTo>
                  <a:lnTo>
                    <a:pt x="638" y="85"/>
                  </a:lnTo>
                  <a:lnTo>
                    <a:pt x="640" y="87"/>
                  </a:lnTo>
                  <a:lnTo>
                    <a:pt x="640" y="92"/>
                  </a:lnTo>
                  <a:lnTo>
                    <a:pt x="643" y="92"/>
                  </a:lnTo>
                  <a:lnTo>
                    <a:pt x="643" y="94"/>
                  </a:lnTo>
                  <a:lnTo>
                    <a:pt x="645" y="94"/>
                  </a:lnTo>
                  <a:lnTo>
                    <a:pt x="645" y="96"/>
                  </a:lnTo>
                  <a:lnTo>
                    <a:pt x="645" y="99"/>
                  </a:lnTo>
                  <a:lnTo>
                    <a:pt x="645" y="101"/>
                  </a:lnTo>
                  <a:lnTo>
                    <a:pt x="645" y="101"/>
                  </a:lnTo>
                  <a:lnTo>
                    <a:pt x="645" y="106"/>
                  </a:lnTo>
                  <a:lnTo>
                    <a:pt x="640" y="111"/>
                  </a:lnTo>
                  <a:lnTo>
                    <a:pt x="640" y="111"/>
                  </a:lnTo>
                  <a:lnTo>
                    <a:pt x="640" y="113"/>
                  </a:lnTo>
                  <a:lnTo>
                    <a:pt x="638" y="113"/>
                  </a:lnTo>
                  <a:lnTo>
                    <a:pt x="638" y="115"/>
                  </a:lnTo>
                  <a:lnTo>
                    <a:pt x="636" y="115"/>
                  </a:lnTo>
                  <a:lnTo>
                    <a:pt x="636" y="118"/>
                  </a:lnTo>
                  <a:lnTo>
                    <a:pt x="636" y="118"/>
                  </a:lnTo>
                  <a:lnTo>
                    <a:pt x="636" y="120"/>
                  </a:lnTo>
                  <a:lnTo>
                    <a:pt x="636" y="122"/>
                  </a:lnTo>
                  <a:lnTo>
                    <a:pt x="636" y="122"/>
                  </a:lnTo>
                  <a:lnTo>
                    <a:pt x="636" y="122"/>
                  </a:lnTo>
                  <a:lnTo>
                    <a:pt x="633" y="125"/>
                  </a:lnTo>
                  <a:lnTo>
                    <a:pt x="631" y="125"/>
                  </a:lnTo>
                  <a:lnTo>
                    <a:pt x="631" y="125"/>
                  </a:lnTo>
                  <a:lnTo>
                    <a:pt x="631" y="125"/>
                  </a:lnTo>
                  <a:lnTo>
                    <a:pt x="628" y="125"/>
                  </a:lnTo>
                  <a:lnTo>
                    <a:pt x="626" y="125"/>
                  </a:lnTo>
                  <a:lnTo>
                    <a:pt x="626" y="127"/>
                  </a:lnTo>
                  <a:lnTo>
                    <a:pt x="628" y="129"/>
                  </a:lnTo>
                  <a:lnTo>
                    <a:pt x="628" y="132"/>
                  </a:lnTo>
                  <a:lnTo>
                    <a:pt x="631" y="134"/>
                  </a:lnTo>
                  <a:lnTo>
                    <a:pt x="631" y="132"/>
                  </a:lnTo>
                  <a:lnTo>
                    <a:pt x="631" y="134"/>
                  </a:lnTo>
                  <a:lnTo>
                    <a:pt x="631" y="134"/>
                  </a:lnTo>
                  <a:lnTo>
                    <a:pt x="636" y="134"/>
                  </a:lnTo>
                  <a:lnTo>
                    <a:pt x="633" y="134"/>
                  </a:lnTo>
                  <a:lnTo>
                    <a:pt x="636" y="132"/>
                  </a:lnTo>
                  <a:lnTo>
                    <a:pt x="636" y="132"/>
                  </a:lnTo>
                  <a:lnTo>
                    <a:pt x="636" y="132"/>
                  </a:lnTo>
                  <a:lnTo>
                    <a:pt x="636" y="129"/>
                  </a:lnTo>
                  <a:lnTo>
                    <a:pt x="638" y="127"/>
                  </a:lnTo>
                  <a:lnTo>
                    <a:pt x="638" y="127"/>
                  </a:lnTo>
                  <a:lnTo>
                    <a:pt x="638" y="127"/>
                  </a:lnTo>
                  <a:lnTo>
                    <a:pt x="640" y="127"/>
                  </a:lnTo>
                  <a:lnTo>
                    <a:pt x="640" y="127"/>
                  </a:lnTo>
                  <a:lnTo>
                    <a:pt x="643" y="127"/>
                  </a:lnTo>
                  <a:lnTo>
                    <a:pt x="643" y="127"/>
                  </a:lnTo>
                  <a:lnTo>
                    <a:pt x="645" y="125"/>
                  </a:lnTo>
                  <a:lnTo>
                    <a:pt x="643" y="122"/>
                  </a:lnTo>
                  <a:lnTo>
                    <a:pt x="645" y="122"/>
                  </a:lnTo>
                  <a:lnTo>
                    <a:pt x="645" y="120"/>
                  </a:lnTo>
                  <a:lnTo>
                    <a:pt x="647" y="118"/>
                  </a:lnTo>
                  <a:lnTo>
                    <a:pt x="652" y="118"/>
                  </a:lnTo>
                  <a:lnTo>
                    <a:pt x="657" y="122"/>
                  </a:lnTo>
                  <a:lnTo>
                    <a:pt x="659" y="120"/>
                  </a:lnTo>
                  <a:lnTo>
                    <a:pt x="659" y="120"/>
                  </a:lnTo>
                  <a:lnTo>
                    <a:pt x="659" y="120"/>
                  </a:lnTo>
                  <a:lnTo>
                    <a:pt x="662" y="120"/>
                  </a:lnTo>
                  <a:lnTo>
                    <a:pt x="662" y="118"/>
                  </a:lnTo>
                  <a:lnTo>
                    <a:pt x="662" y="118"/>
                  </a:lnTo>
                  <a:lnTo>
                    <a:pt x="662" y="118"/>
                  </a:lnTo>
                  <a:lnTo>
                    <a:pt x="664" y="118"/>
                  </a:lnTo>
                  <a:lnTo>
                    <a:pt x="664" y="115"/>
                  </a:lnTo>
                  <a:lnTo>
                    <a:pt x="664" y="115"/>
                  </a:lnTo>
                  <a:lnTo>
                    <a:pt x="666" y="115"/>
                  </a:lnTo>
                  <a:lnTo>
                    <a:pt x="666" y="115"/>
                  </a:lnTo>
                  <a:lnTo>
                    <a:pt x="669" y="115"/>
                  </a:lnTo>
                  <a:lnTo>
                    <a:pt x="671" y="115"/>
                  </a:lnTo>
                  <a:lnTo>
                    <a:pt x="671" y="115"/>
                  </a:lnTo>
                  <a:lnTo>
                    <a:pt x="673" y="115"/>
                  </a:lnTo>
                  <a:lnTo>
                    <a:pt x="676" y="115"/>
                  </a:lnTo>
                  <a:lnTo>
                    <a:pt x="676" y="115"/>
                  </a:lnTo>
                  <a:lnTo>
                    <a:pt x="676" y="115"/>
                  </a:lnTo>
                  <a:lnTo>
                    <a:pt x="676" y="115"/>
                  </a:lnTo>
                  <a:lnTo>
                    <a:pt x="676" y="115"/>
                  </a:lnTo>
                  <a:lnTo>
                    <a:pt x="676" y="115"/>
                  </a:lnTo>
                  <a:lnTo>
                    <a:pt x="678" y="115"/>
                  </a:lnTo>
                  <a:lnTo>
                    <a:pt x="678" y="113"/>
                  </a:lnTo>
                  <a:lnTo>
                    <a:pt x="678" y="113"/>
                  </a:lnTo>
                  <a:lnTo>
                    <a:pt x="678" y="113"/>
                  </a:lnTo>
                  <a:lnTo>
                    <a:pt x="678" y="113"/>
                  </a:lnTo>
                  <a:lnTo>
                    <a:pt x="680" y="113"/>
                  </a:lnTo>
                  <a:lnTo>
                    <a:pt x="680" y="113"/>
                  </a:lnTo>
                  <a:lnTo>
                    <a:pt x="680" y="113"/>
                  </a:lnTo>
                  <a:lnTo>
                    <a:pt x="680" y="113"/>
                  </a:lnTo>
                  <a:lnTo>
                    <a:pt x="683" y="113"/>
                  </a:lnTo>
                  <a:lnTo>
                    <a:pt x="683" y="111"/>
                  </a:lnTo>
                  <a:lnTo>
                    <a:pt x="685" y="108"/>
                  </a:lnTo>
                  <a:lnTo>
                    <a:pt x="685" y="106"/>
                  </a:lnTo>
                  <a:lnTo>
                    <a:pt x="685" y="106"/>
                  </a:lnTo>
                  <a:lnTo>
                    <a:pt x="685" y="104"/>
                  </a:lnTo>
                  <a:lnTo>
                    <a:pt x="685" y="104"/>
                  </a:lnTo>
                  <a:lnTo>
                    <a:pt x="685" y="106"/>
                  </a:lnTo>
                  <a:lnTo>
                    <a:pt x="687" y="104"/>
                  </a:lnTo>
                  <a:lnTo>
                    <a:pt x="687" y="104"/>
                  </a:lnTo>
                  <a:lnTo>
                    <a:pt x="687" y="104"/>
                  </a:lnTo>
                  <a:lnTo>
                    <a:pt x="690" y="104"/>
                  </a:lnTo>
                  <a:lnTo>
                    <a:pt x="690" y="104"/>
                  </a:lnTo>
                  <a:lnTo>
                    <a:pt x="690" y="99"/>
                  </a:lnTo>
                  <a:lnTo>
                    <a:pt x="692" y="99"/>
                  </a:lnTo>
                  <a:lnTo>
                    <a:pt x="692" y="99"/>
                  </a:lnTo>
                  <a:lnTo>
                    <a:pt x="692" y="99"/>
                  </a:lnTo>
                  <a:lnTo>
                    <a:pt x="692" y="96"/>
                  </a:lnTo>
                  <a:lnTo>
                    <a:pt x="695" y="99"/>
                  </a:lnTo>
                  <a:lnTo>
                    <a:pt x="695" y="96"/>
                  </a:lnTo>
                  <a:lnTo>
                    <a:pt x="697" y="94"/>
                  </a:lnTo>
                  <a:lnTo>
                    <a:pt x="697" y="94"/>
                  </a:lnTo>
                  <a:lnTo>
                    <a:pt x="697" y="94"/>
                  </a:lnTo>
                  <a:lnTo>
                    <a:pt x="699" y="94"/>
                  </a:lnTo>
                  <a:lnTo>
                    <a:pt x="699" y="94"/>
                  </a:lnTo>
                  <a:lnTo>
                    <a:pt x="699" y="94"/>
                  </a:lnTo>
                  <a:lnTo>
                    <a:pt x="702" y="94"/>
                  </a:lnTo>
                  <a:lnTo>
                    <a:pt x="704" y="94"/>
                  </a:lnTo>
                  <a:lnTo>
                    <a:pt x="704" y="94"/>
                  </a:lnTo>
                  <a:lnTo>
                    <a:pt x="706" y="96"/>
                  </a:lnTo>
                  <a:lnTo>
                    <a:pt x="709" y="94"/>
                  </a:lnTo>
                  <a:lnTo>
                    <a:pt x="709" y="94"/>
                  </a:lnTo>
                  <a:lnTo>
                    <a:pt x="709" y="94"/>
                  </a:lnTo>
                  <a:lnTo>
                    <a:pt x="711" y="94"/>
                  </a:lnTo>
                  <a:lnTo>
                    <a:pt x="711" y="94"/>
                  </a:lnTo>
                  <a:lnTo>
                    <a:pt x="711" y="94"/>
                  </a:lnTo>
                  <a:lnTo>
                    <a:pt x="711" y="94"/>
                  </a:lnTo>
                  <a:lnTo>
                    <a:pt x="713" y="92"/>
                  </a:lnTo>
                  <a:lnTo>
                    <a:pt x="713" y="89"/>
                  </a:lnTo>
                  <a:lnTo>
                    <a:pt x="713" y="89"/>
                  </a:lnTo>
                  <a:lnTo>
                    <a:pt x="713" y="92"/>
                  </a:lnTo>
                  <a:lnTo>
                    <a:pt x="716" y="92"/>
                  </a:lnTo>
                  <a:lnTo>
                    <a:pt x="718" y="89"/>
                  </a:lnTo>
                  <a:lnTo>
                    <a:pt x="721" y="87"/>
                  </a:lnTo>
                  <a:lnTo>
                    <a:pt x="721" y="87"/>
                  </a:lnTo>
                  <a:lnTo>
                    <a:pt x="721" y="87"/>
                  </a:lnTo>
                  <a:lnTo>
                    <a:pt x="721" y="85"/>
                  </a:lnTo>
                  <a:lnTo>
                    <a:pt x="723" y="85"/>
                  </a:lnTo>
                  <a:lnTo>
                    <a:pt x="723" y="85"/>
                  </a:lnTo>
                  <a:lnTo>
                    <a:pt x="723" y="85"/>
                  </a:lnTo>
                  <a:lnTo>
                    <a:pt x="723" y="85"/>
                  </a:lnTo>
                  <a:lnTo>
                    <a:pt x="723" y="85"/>
                  </a:lnTo>
                  <a:lnTo>
                    <a:pt x="723" y="82"/>
                  </a:lnTo>
                  <a:lnTo>
                    <a:pt x="725" y="82"/>
                  </a:lnTo>
                  <a:lnTo>
                    <a:pt x="728" y="80"/>
                  </a:lnTo>
                  <a:lnTo>
                    <a:pt x="728" y="82"/>
                  </a:lnTo>
                  <a:lnTo>
                    <a:pt x="728" y="80"/>
                  </a:lnTo>
                  <a:lnTo>
                    <a:pt x="728" y="78"/>
                  </a:lnTo>
                  <a:lnTo>
                    <a:pt x="728" y="80"/>
                  </a:lnTo>
                  <a:lnTo>
                    <a:pt x="730" y="80"/>
                  </a:lnTo>
                  <a:lnTo>
                    <a:pt x="730" y="78"/>
                  </a:lnTo>
                  <a:lnTo>
                    <a:pt x="730" y="78"/>
                  </a:lnTo>
                  <a:lnTo>
                    <a:pt x="732" y="78"/>
                  </a:lnTo>
                  <a:lnTo>
                    <a:pt x="732" y="78"/>
                  </a:lnTo>
                  <a:lnTo>
                    <a:pt x="732" y="78"/>
                  </a:lnTo>
                  <a:lnTo>
                    <a:pt x="732" y="75"/>
                  </a:lnTo>
                  <a:lnTo>
                    <a:pt x="735" y="75"/>
                  </a:lnTo>
                  <a:lnTo>
                    <a:pt x="735" y="75"/>
                  </a:lnTo>
                  <a:lnTo>
                    <a:pt x="735" y="73"/>
                  </a:lnTo>
                  <a:lnTo>
                    <a:pt x="737" y="73"/>
                  </a:lnTo>
                  <a:lnTo>
                    <a:pt x="737" y="73"/>
                  </a:lnTo>
                  <a:lnTo>
                    <a:pt x="739" y="70"/>
                  </a:lnTo>
                  <a:lnTo>
                    <a:pt x="739" y="70"/>
                  </a:lnTo>
                  <a:lnTo>
                    <a:pt x="742" y="68"/>
                  </a:lnTo>
                  <a:lnTo>
                    <a:pt x="742" y="68"/>
                  </a:lnTo>
                  <a:lnTo>
                    <a:pt x="744" y="68"/>
                  </a:lnTo>
                  <a:lnTo>
                    <a:pt x="744" y="68"/>
                  </a:lnTo>
                  <a:lnTo>
                    <a:pt x="744" y="68"/>
                  </a:lnTo>
                  <a:lnTo>
                    <a:pt x="747" y="68"/>
                  </a:lnTo>
                  <a:lnTo>
                    <a:pt x="747" y="66"/>
                  </a:lnTo>
                  <a:lnTo>
                    <a:pt x="749" y="66"/>
                  </a:lnTo>
                  <a:lnTo>
                    <a:pt x="747" y="66"/>
                  </a:lnTo>
                  <a:lnTo>
                    <a:pt x="749" y="68"/>
                  </a:lnTo>
                  <a:lnTo>
                    <a:pt x="756" y="68"/>
                  </a:lnTo>
                  <a:lnTo>
                    <a:pt x="758" y="68"/>
                  </a:lnTo>
                  <a:lnTo>
                    <a:pt x="758" y="68"/>
                  </a:lnTo>
                  <a:lnTo>
                    <a:pt x="761" y="66"/>
                  </a:lnTo>
                  <a:lnTo>
                    <a:pt x="761" y="61"/>
                  </a:lnTo>
                  <a:lnTo>
                    <a:pt x="763" y="61"/>
                  </a:lnTo>
                  <a:lnTo>
                    <a:pt x="763" y="61"/>
                  </a:lnTo>
                  <a:lnTo>
                    <a:pt x="763" y="61"/>
                  </a:lnTo>
                  <a:lnTo>
                    <a:pt x="763" y="59"/>
                  </a:lnTo>
                  <a:lnTo>
                    <a:pt x="768" y="56"/>
                  </a:lnTo>
                  <a:lnTo>
                    <a:pt x="768" y="56"/>
                  </a:lnTo>
                  <a:lnTo>
                    <a:pt x="770" y="56"/>
                  </a:lnTo>
                  <a:lnTo>
                    <a:pt x="770" y="56"/>
                  </a:lnTo>
                  <a:lnTo>
                    <a:pt x="770" y="56"/>
                  </a:lnTo>
                  <a:lnTo>
                    <a:pt x="773" y="56"/>
                  </a:lnTo>
                  <a:lnTo>
                    <a:pt x="770" y="54"/>
                  </a:lnTo>
                  <a:lnTo>
                    <a:pt x="773" y="52"/>
                  </a:lnTo>
                  <a:lnTo>
                    <a:pt x="773" y="54"/>
                  </a:lnTo>
                  <a:lnTo>
                    <a:pt x="775" y="52"/>
                  </a:lnTo>
                  <a:lnTo>
                    <a:pt x="775" y="52"/>
                  </a:lnTo>
                  <a:lnTo>
                    <a:pt x="775" y="52"/>
                  </a:lnTo>
                  <a:lnTo>
                    <a:pt x="777" y="52"/>
                  </a:lnTo>
                  <a:lnTo>
                    <a:pt x="780" y="52"/>
                  </a:lnTo>
                  <a:lnTo>
                    <a:pt x="780" y="49"/>
                  </a:lnTo>
                  <a:lnTo>
                    <a:pt x="780" y="49"/>
                  </a:lnTo>
                  <a:lnTo>
                    <a:pt x="780" y="49"/>
                  </a:lnTo>
                  <a:lnTo>
                    <a:pt x="782" y="49"/>
                  </a:lnTo>
                  <a:lnTo>
                    <a:pt x="782" y="49"/>
                  </a:lnTo>
                  <a:lnTo>
                    <a:pt x="784" y="49"/>
                  </a:lnTo>
                  <a:lnTo>
                    <a:pt x="784" y="47"/>
                  </a:lnTo>
                  <a:lnTo>
                    <a:pt x="784" y="49"/>
                  </a:lnTo>
                  <a:lnTo>
                    <a:pt x="787" y="47"/>
                  </a:lnTo>
                  <a:lnTo>
                    <a:pt x="787" y="47"/>
                  </a:lnTo>
                  <a:lnTo>
                    <a:pt x="787" y="47"/>
                  </a:lnTo>
                  <a:lnTo>
                    <a:pt x="789" y="47"/>
                  </a:lnTo>
                  <a:lnTo>
                    <a:pt x="789" y="44"/>
                  </a:lnTo>
                  <a:lnTo>
                    <a:pt x="787" y="44"/>
                  </a:lnTo>
                  <a:lnTo>
                    <a:pt x="787" y="44"/>
                  </a:lnTo>
                  <a:lnTo>
                    <a:pt x="787" y="44"/>
                  </a:lnTo>
                  <a:lnTo>
                    <a:pt x="787" y="42"/>
                  </a:lnTo>
                  <a:lnTo>
                    <a:pt x="787" y="44"/>
                  </a:lnTo>
                  <a:lnTo>
                    <a:pt x="787" y="42"/>
                  </a:lnTo>
                  <a:lnTo>
                    <a:pt x="787" y="42"/>
                  </a:lnTo>
                  <a:lnTo>
                    <a:pt x="789" y="40"/>
                  </a:lnTo>
                  <a:lnTo>
                    <a:pt x="789" y="40"/>
                  </a:lnTo>
                  <a:lnTo>
                    <a:pt x="791" y="40"/>
                  </a:lnTo>
                  <a:lnTo>
                    <a:pt x="789" y="40"/>
                  </a:lnTo>
                  <a:lnTo>
                    <a:pt x="789" y="40"/>
                  </a:lnTo>
                  <a:lnTo>
                    <a:pt x="789" y="40"/>
                  </a:lnTo>
                  <a:lnTo>
                    <a:pt x="789" y="37"/>
                  </a:lnTo>
                  <a:lnTo>
                    <a:pt x="789" y="37"/>
                  </a:lnTo>
                  <a:lnTo>
                    <a:pt x="791" y="37"/>
                  </a:lnTo>
                  <a:lnTo>
                    <a:pt x="789" y="35"/>
                  </a:lnTo>
                  <a:lnTo>
                    <a:pt x="789" y="35"/>
                  </a:lnTo>
                  <a:lnTo>
                    <a:pt x="791" y="35"/>
                  </a:lnTo>
                  <a:lnTo>
                    <a:pt x="791" y="35"/>
                  </a:lnTo>
                  <a:lnTo>
                    <a:pt x="791" y="35"/>
                  </a:lnTo>
                  <a:lnTo>
                    <a:pt x="794" y="35"/>
                  </a:lnTo>
                  <a:lnTo>
                    <a:pt x="794" y="35"/>
                  </a:lnTo>
                  <a:lnTo>
                    <a:pt x="794" y="33"/>
                  </a:lnTo>
                  <a:lnTo>
                    <a:pt x="796" y="33"/>
                  </a:lnTo>
                  <a:lnTo>
                    <a:pt x="796" y="33"/>
                  </a:lnTo>
                  <a:lnTo>
                    <a:pt x="799" y="33"/>
                  </a:lnTo>
                  <a:lnTo>
                    <a:pt x="799" y="33"/>
                  </a:lnTo>
                  <a:lnTo>
                    <a:pt x="799" y="33"/>
                  </a:lnTo>
                  <a:lnTo>
                    <a:pt x="799" y="33"/>
                  </a:lnTo>
                  <a:lnTo>
                    <a:pt x="801" y="33"/>
                  </a:lnTo>
                  <a:lnTo>
                    <a:pt x="801" y="30"/>
                  </a:lnTo>
                  <a:lnTo>
                    <a:pt x="801" y="30"/>
                  </a:lnTo>
                  <a:lnTo>
                    <a:pt x="803" y="30"/>
                  </a:lnTo>
                  <a:lnTo>
                    <a:pt x="803" y="28"/>
                  </a:lnTo>
                  <a:lnTo>
                    <a:pt x="803" y="30"/>
                  </a:lnTo>
                  <a:lnTo>
                    <a:pt x="806" y="28"/>
                  </a:lnTo>
                  <a:lnTo>
                    <a:pt x="806" y="28"/>
                  </a:lnTo>
                  <a:lnTo>
                    <a:pt x="806" y="28"/>
                  </a:lnTo>
                  <a:lnTo>
                    <a:pt x="806" y="28"/>
                  </a:lnTo>
                  <a:lnTo>
                    <a:pt x="806" y="26"/>
                  </a:lnTo>
                  <a:lnTo>
                    <a:pt x="808" y="26"/>
                  </a:lnTo>
                  <a:lnTo>
                    <a:pt x="808" y="26"/>
                  </a:lnTo>
                  <a:lnTo>
                    <a:pt x="808" y="26"/>
                  </a:lnTo>
                  <a:lnTo>
                    <a:pt x="808" y="23"/>
                  </a:lnTo>
                  <a:lnTo>
                    <a:pt x="810" y="26"/>
                  </a:lnTo>
                  <a:lnTo>
                    <a:pt x="810" y="23"/>
                  </a:lnTo>
                  <a:lnTo>
                    <a:pt x="810" y="26"/>
                  </a:lnTo>
                  <a:lnTo>
                    <a:pt x="810" y="23"/>
                  </a:lnTo>
                  <a:lnTo>
                    <a:pt x="810" y="23"/>
                  </a:lnTo>
                  <a:lnTo>
                    <a:pt x="810" y="21"/>
                  </a:lnTo>
                  <a:lnTo>
                    <a:pt x="813" y="21"/>
                  </a:lnTo>
                  <a:lnTo>
                    <a:pt x="813" y="23"/>
                  </a:lnTo>
                  <a:lnTo>
                    <a:pt x="815" y="21"/>
                  </a:lnTo>
                  <a:lnTo>
                    <a:pt x="813" y="21"/>
                  </a:lnTo>
                  <a:lnTo>
                    <a:pt x="815" y="21"/>
                  </a:lnTo>
                  <a:lnTo>
                    <a:pt x="815" y="21"/>
                  </a:lnTo>
                  <a:lnTo>
                    <a:pt x="815" y="18"/>
                  </a:lnTo>
                  <a:lnTo>
                    <a:pt x="817" y="18"/>
                  </a:lnTo>
                  <a:lnTo>
                    <a:pt x="817" y="18"/>
                  </a:lnTo>
                  <a:lnTo>
                    <a:pt x="817" y="18"/>
                  </a:lnTo>
                  <a:lnTo>
                    <a:pt x="820" y="18"/>
                  </a:lnTo>
                  <a:lnTo>
                    <a:pt x="820" y="16"/>
                  </a:lnTo>
                  <a:lnTo>
                    <a:pt x="822" y="16"/>
                  </a:lnTo>
                  <a:lnTo>
                    <a:pt x="822" y="16"/>
                  </a:lnTo>
                  <a:lnTo>
                    <a:pt x="822" y="16"/>
                  </a:lnTo>
                  <a:lnTo>
                    <a:pt x="822" y="16"/>
                  </a:lnTo>
                  <a:lnTo>
                    <a:pt x="825" y="16"/>
                  </a:lnTo>
                  <a:lnTo>
                    <a:pt x="825" y="14"/>
                  </a:lnTo>
                  <a:lnTo>
                    <a:pt x="825" y="14"/>
                  </a:lnTo>
                  <a:lnTo>
                    <a:pt x="825" y="14"/>
                  </a:lnTo>
                  <a:lnTo>
                    <a:pt x="827" y="14"/>
                  </a:lnTo>
                  <a:lnTo>
                    <a:pt x="827" y="14"/>
                  </a:lnTo>
                  <a:lnTo>
                    <a:pt x="827" y="14"/>
                  </a:lnTo>
                  <a:lnTo>
                    <a:pt x="829" y="14"/>
                  </a:lnTo>
                  <a:lnTo>
                    <a:pt x="832" y="11"/>
                  </a:lnTo>
                  <a:lnTo>
                    <a:pt x="832" y="14"/>
                  </a:lnTo>
                  <a:lnTo>
                    <a:pt x="832" y="11"/>
                  </a:lnTo>
                  <a:lnTo>
                    <a:pt x="832" y="14"/>
                  </a:lnTo>
                  <a:lnTo>
                    <a:pt x="834" y="14"/>
                  </a:lnTo>
                  <a:lnTo>
                    <a:pt x="834" y="11"/>
                  </a:lnTo>
                  <a:lnTo>
                    <a:pt x="834" y="11"/>
                  </a:lnTo>
                  <a:lnTo>
                    <a:pt x="836" y="11"/>
                  </a:lnTo>
                  <a:lnTo>
                    <a:pt x="836" y="11"/>
                  </a:lnTo>
                  <a:lnTo>
                    <a:pt x="836" y="11"/>
                  </a:lnTo>
                  <a:lnTo>
                    <a:pt x="836" y="11"/>
                  </a:lnTo>
                  <a:lnTo>
                    <a:pt x="839" y="9"/>
                  </a:lnTo>
                  <a:lnTo>
                    <a:pt x="841" y="7"/>
                  </a:lnTo>
                  <a:lnTo>
                    <a:pt x="843" y="7"/>
                  </a:lnTo>
                  <a:lnTo>
                    <a:pt x="843" y="7"/>
                  </a:lnTo>
                  <a:lnTo>
                    <a:pt x="846" y="7"/>
                  </a:lnTo>
                  <a:lnTo>
                    <a:pt x="846" y="7"/>
                  </a:lnTo>
                  <a:lnTo>
                    <a:pt x="846" y="7"/>
                  </a:lnTo>
                  <a:lnTo>
                    <a:pt x="846" y="7"/>
                  </a:lnTo>
                  <a:lnTo>
                    <a:pt x="846" y="4"/>
                  </a:lnTo>
                  <a:lnTo>
                    <a:pt x="848" y="7"/>
                  </a:lnTo>
                  <a:lnTo>
                    <a:pt x="848" y="4"/>
                  </a:lnTo>
                  <a:lnTo>
                    <a:pt x="850" y="4"/>
                  </a:lnTo>
                  <a:lnTo>
                    <a:pt x="850" y="4"/>
                  </a:lnTo>
                  <a:lnTo>
                    <a:pt x="850" y="4"/>
                  </a:lnTo>
                  <a:lnTo>
                    <a:pt x="850" y="4"/>
                  </a:lnTo>
                  <a:lnTo>
                    <a:pt x="853" y="4"/>
                  </a:lnTo>
                  <a:lnTo>
                    <a:pt x="853" y="2"/>
                  </a:lnTo>
                  <a:lnTo>
                    <a:pt x="855" y="2"/>
                  </a:lnTo>
                  <a:lnTo>
                    <a:pt x="858" y="4"/>
                  </a:lnTo>
                  <a:lnTo>
                    <a:pt x="858" y="2"/>
                  </a:lnTo>
                  <a:lnTo>
                    <a:pt x="860" y="2"/>
                  </a:lnTo>
                  <a:lnTo>
                    <a:pt x="860" y="2"/>
                  </a:lnTo>
                  <a:lnTo>
                    <a:pt x="860" y="2"/>
                  </a:lnTo>
                  <a:lnTo>
                    <a:pt x="862" y="2"/>
                  </a:lnTo>
                  <a:lnTo>
                    <a:pt x="865" y="4"/>
                  </a:lnTo>
                  <a:lnTo>
                    <a:pt x="865" y="4"/>
                  </a:lnTo>
                  <a:lnTo>
                    <a:pt x="862" y="4"/>
                  </a:lnTo>
                  <a:lnTo>
                    <a:pt x="865" y="2"/>
                  </a:lnTo>
                  <a:lnTo>
                    <a:pt x="865" y="4"/>
                  </a:lnTo>
                  <a:lnTo>
                    <a:pt x="865" y="2"/>
                  </a:lnTo>
                  <a:lnTo>
                    <a:pt x="865" y="2"/>
                  </a:lnTo>
                  <a:lnTo>
                    <a:pt x="867" y="2"/>
                  </a:lnTo>
                  <a:lnTo>
                    <a:pt x="867" y="2"/>
                  </a:lnTo>
                  <a:lnTo>
                    <a:pt x="867" y="0"/>
                  </a:lnTo>
                  <a:lnTo>
                    <a:pt x="869" y="2"/>
                  </a:lnTo>
                  <a:lnTo>
                    <a:pt x="869" y="2"/>
                  </a:lnTo>
                  <a:lnTo>
                    <a:pt x="869" y="2"/>
                  </a:lnTo>
                  <a:lnTo>
                    <a:pt x="869" y="4"/>
                  </a:lnTo>
                  <a:lnTo>
                    <a:pt x="872" y="4"/>
                  </a:lnTo>
                  <a:lnTo>
                    <a:pt x="874" y="4"/>
                  </a:lnTo>
                  <a:lnTo>
                    <a:pt x="874" y="4"/>
                  </a:lnTo>
                  <a:lnTo>
                    <a:pt x="874" y="4"/>
                  </a:lnTo>
                  <a:lnTo>
                    <a:pt x="879" y="4"/>
                  </a:lnTo>
                  <a:lnTo>
                    <a:pt x="879" y="7"/>
                  </a:lnTo>
                  <a:lnTo>
                    <a:pt x="876" y="7"/>
                  </a:lnTo>
                  <a:lnTo>
                    <a:pt x="879" y="7"/>
                  </a:lnTo>
                  <a:lnTo>
                    <a:pt x="879" y="7"/>
                  </a:lnTo>
                  <a:lnTo>
                    <a:pt x="881" y="4"/>
                  </a:lnTo>
                  <a:lnTo>
                    <a:pt x="881" y="4"/>
                  </a:lnTo>
                  <a:lnTo>
                    <a:pt x="881" y="4"/>
                  </a:lnTo>
                  <a:lnTo>
                    <a:pt x="881" y="7"/>
                  </a:lnTo>
                  <a:lnTo>
                    <a:pt x="884" y="7"/>
                  </a:lnTo>
                  <a:lnTo>
                    <a:pt x="884" y="4"/>
                  </a:lnTo>
                  <a:lnTo>
                    <a:pt x="884" y="7"/>
                  </a:lnTo>
                  <a:lnTo>
                    <a:pt x="884" y="7"/>
                  </a:lnTo>
                  <a:lnTo>
                    <a:pt x="884" y="4"/>
                  </a:lnTo>
                  <a:lnTo>
                    <a:pt x="886" y="4"/>
                  </a:lnTo>
                  <a:lnTo>
                    <a:pt x="886" y="7"/>
                  </a:lnTo>
                  <a:lnTo>
                    <a:pt x="886" y="7"/>
                  </a:lnTo>
                  <a:lnTo>
                    <a:pt x="886" y="7"/>
                  </a:lnTo>
                  <a:lnTo>
                    <a:pt x="888" y="7"/>
                  </a:lnTo>
                  <a:lnTo>
                    <a:pt x="888" y="7"/>
                  </a:lnTo>
                  <a:lnTo>
                    <a:pt x="888" y="7"/>
                  </a:lnTo>
                  <a:lnTo>
                    <a:pt x="888" y="7"/>
                  </a:lnTo>
                  <a:lnTo>
                    <a:pt x="891" y="7"/>
                  </a:lnTo>
                  <a:lnTo>
                    <a:pt x="891" y="7"/>
                  </a:lnTo>
                  <a:lnTo>
                    <a:pt x="891" y="7"/>
                  </a:lnTo>
                  <a:lnTo>
                    <a:pt x="891" y="7"/>
                  </a:lnTo>
                  <a:lnTo>
                    <a:pt x="893" y="7"/>
                  </a:lnTo>
                  <a:lnTo>
                    <a:pt x="893" y="4"/>
                  </a:lnTo>
                  <a:lnTo>
                    <a:pt x="893" y="4"/>
                  </a:lnTo>
                  <a:lnTo>
                    <a:pt x="898" y="4"/>
                  </a:lnTo>
                  <a:lnTo>
                    <a:pt x="895" y="4"/>
                  </a:lnTo>
                  <a:lnTo>
                    <a:pt x="898" y="7"/>
                  </a:lnTo>
                  <a:lnTo>
                    <a:pt x="898" y="7"/>
                  </a:lnTo>
                  <a:lnTo>
                    <a:pt x="898" y="7"/>
                  </a:lnTo>
                  <a:lnTo>
                    <a:pt x="900" y="7"/>
                  </a:lnTo>
                  <a:lnTo>
                    <a:pt x="900" y="7"/>
                  </a:lnTo>
                  <a:lnTo>
                    <a:pt x="900" y="7"/>
                  </a:lnTo>
                  <a:lnTo>
                    <a:pt x="900" y="9"/>
                  </a:lnTo>
                  <a:lnTo>
                    <a:pt x="900" y="7"/>
                  </a:lnTo>
                  <a:lnTo>
                    <a:pt x="902" y="7"/>
                  </a:lnTo>
                  <a:lnTo>
                    <a:pt x="902" y="9"/>
                  </a:lnTo>
                  <a:lnTo>
                    <a:pt x="902" y="9"/>
                  </a:lnTo>
                  <a:lnTo>
                    <a:pt x="905" y="9"/>
                  </a:lnTo>
                  <a:lnTo>
                    <a:pt x="905" y="9"/>
                  </a:lnTo>
                  <a:lnTo>
                    <a:pt x="905" y="9"/>
                  </a:lnTo>
                  <a:lnTo>
                    <a:pt x="907" y="9"/>
                  </a:lnTo>
                  <a:lnTo>
                    <a:pt x="907" y="9"/>
                  </a:lnTo>
                  <a:lnTo>
                    <a:pt x="907" y="9"/>
                  </a:lnTo>
                  <a:lnTo>
                    <a:pt x="907" y="9"/>
                  </a:lnTo>
                  <a:lnTo>
                    <a:pt x="907" y="9"/>
                  </a:lnTo>
                  <a:lnTo>
                    <a:pt x="910" y="9"/>
                  </a:lnTo>
                  <a:lnTo>
                    <a:pt x="910" y="9"/>
                  </a:lnTo>
                  <a:lnTo>
                    <a:pt x="910" y="11"/>
                  </a:lnTo>
                  <a:lnTo>
                    <a:pt x="910" y="11"/>
                  </a:lnTo>
                  <a:lnTo>
                    <a:pt x="912" y="11"/>
                  </a:lnTo>
                  <a:lnTo>
                    <a:pt x="912" y="11"/>
                  </a:lnTo>
                  <a:lnTo>
                    <a:pt x="912" y="11"/>
                  </a:lnTo>
                  <a:lnTo>
                    <a:pt x="914" y="11"/>
                  </a:lnTo>
                  <a:lnTo>
                    <a:pt x="914" y="11"/>
                  </a:lnTo>
                  <a:lnTo>
                    <a:pt x="914" y="11"/>
                  </a:lnTo>
                  <a:lnTo>
                    <a:pt x="914" y="11"/>
                  </a:lnTo>
                  <a:lnTo>
                    <a:pt x="914" y="11"/>
                  </a:lnTo>
                  <a:lnTo>
                    <a:pt x="914" y="11"/>
                  </a:lnTo>
                  <a:lnTo>
                    <a:pt x="917" y="11"/>
                  </a:lnTo>
                  <a:lnTo>
                    <a:pt x="917" y="11"/>
                  </a:lnTo>
                  <a:lnTo>
                    <a:pt x="919" y="11"/>
                  </a:lnTo>
                  <a:lnTo>
                    <a:pt x="917" y="11"/>
                  </a:lnTo>
                  <a:lnTo>
                    <a:pt x="919" y="11"/>
                  </a:lnTo>
                  <a:lnTo>
                    <a:pt x="919" y="14"/>
                  </a:lnTo>
                  <a:lnTo>
                    <a:pt x="919" y="11"/>
                  </a:lnTo>
                  <a:lnTo>
                    <a:pt x="919" y="14"/>
                  </a:lnTo>
                  <a:lnTo>
                    <a:pt x="921" y="14"/>
                  </a:lnTo>
                  <a:lnTo>
                    <a:pt x="924" y="14"/>
                  </a:lnTo>
                  <a:lnTo>
                    <a:pt x="919" y="18"/>
                  </a:lnTo>
                  <a:lnTo>
                    <a:pt x="919" y="18"/>
                  </a:lnTo>
                  <a:lnTo>
                    <a:pt x="919" y="21"/>
                  </a:lnTo>
                  <a:lnTo>
                    <a:pt x="917" y="26"/>
                  </a:lnTo>
                  <a:lnTo>
                    <a:pt x="917" y="30"/>
                  </a:lnTo>
                  <a:lnTo>
                    <a:pt x="914" y="30"/>
                  </a:lnTo>
                  <a:lnTo>
                    <a:pt x="912" y="37"/>
                  </a:lnTo>
                  <a:lnTo>
                    <a:pt x="910" y="42"/>
                  </a:lnTo>
                  <a:lnTo>
                    <a:pt x="910" y="44"/>
                  </a:lnTo>
                  <a:lnTo>
                    <a:pt x="910" y="47"/>
                  </a:lnTo>
                  <a:lnTo>
                    <a:pt x="910" y="47"/>
                  </a:lnTo>
                  <a:lnTo>
                    <a:pt x="910" y="49"/>
                  </a:lnTo>
                  <a:lnTo>
                    <a:pt x="910" y="47"/>
                  </a:lnTo>
                  <a:lnTo>
                    <a:pt x="910" y="49"/>
                  </a:lnTo>
                  <a:lnTo>
                    <a:pt x="912" y="49"/>
                  </a:lnTo>
                  <a:lnTo>
                    <a:pt x="912" y="52"/>
                  </a:lnTo>
                  <a:lnTo>
                    <a:pt x="910" y="52"/>
                  </a:lnTo>
                  <a:lnTo>
                    <a:pt x="912" y="54"/>
                  </a:lnTo>
                  <a:lnTo>
                    <a:pt x="910" y="54"/>
                  </a:lnTo>
                  <a:lnTo>
                    <a:pt x="910" y="54"/>
                  </a:lnTo>
                  <a:lnTo>
                    <a:pt x="910" y="54"/>
                  </a:lnTo>
                  <a:lnTo>
                    <a:pt x="910" y="54"/>
                  </a:lnTo>
                  <a:lnTo>
                    <a:pt x="910" y="56"/>
                  </a:lnTo>
                  <a:lnTo>
                    <a:pt x="910" y="56"/>
                  </a:lnTo>
                  <a:lnTo>
                    <a:pt x="910" y="56"/>
                  </a:lnTo>
                  <a:lnTo>
                    <a:pt x="912" y="56"/>
                  </a:lnTo>
                  <a:lnTo>
                    <a:pt x="912" y="56"/>
                  </a:lnTo>
                  <a:lnTo>
                    <a:pt x="912" y="56"/>
                  </a:lnTo>
                  <a:lnTo>
                    <a:pt x="914" y="59"/>
                  </a:lnTo>
                  <a:lnTo>
                    <a:pt x="914" y="59"/>
                  </a:lnTo>
                  <a:lnTo>
                    <a:pt x="919" y="59"/>
                  </a:lnTo>
                  <a:lnTo>
                    <a:pt x="924" y="59"/>
                  </a:lnTo>
                  <a:lnTo>
                    <a:pt x="924" y="61"/>
                  </a:lnTo>
                  <a:lnTo>
                    <a:pt x="924" y="61"/>
                  </a:lnTo>
                  <a:lnTo>
                    <a:pt x="926" y="61"/>
                  </a:lnTo>
                  <a:lnTo>
                    <a:pt x="926" y="61"/>
                  </a:lnTo>
                  <a:lnTo>
                    <a:pt x="928" y="61"/>
                  </a:lnTo>
                  <a:lnTo>
                    <a:pt x="931" y="61"/>
                  </a:lnTo>
                  <a:lnTo>
                    <a:pt x="931" y="63"/>
                  </a:lnTo>
                  <a:lnTo>
                    <a:pt x="931" y="63"/>
                  </a:lnTo>
                  <a:lnTo>
                    <a:pt x="931" y="66"/>
                  </a:lnTo>
                  <a:lnTo>
                    <a:pt x="931" y="66"/>
                  </a:lnTo>
                  <a:lnTo>
                    <a:pt x="933" y="66"/>
                  </a:lnTo>
                  <a:lnTo>
                    <a:pt x="933" y="66"/>
                  </a:lnTo>
                  <a:lnTo>
                    <a:pt x="936" y="66"/>
                  </a:lnTo>
                  <a:lnTo>
                    <a:pt x="936" y="66"/>
                  </a:lnTo>
                  <a:lnTo>
                    <a:pt x="936" y="66"/>
                  </a:lnTo>
                  <a:lnTo>
                    <a:pt x="936" y="66"/>
                  </a:lnTo>
                  <a:lnTo>
                    <a:pt x="938" y="66"/>
                  </a:lnTo>
                  <a:lnTo>
                    <a:pt x="938" y="68"/>
                  </a:lnTo>
                  <a:lnTo>
                    <a:pt x="943" y="68"/>
                  </a:lnTo>
                  <a:lnTo>
                    <a:pt x="945" y="68"/>
                  </a:lnTo>
                  <a:lnTo>
                    <a:pt x="945" y="68"/>
                  </a:lnTo>
                  <a:lnTo>
                    <a:pt x="947" y="68"/>
                  </a:lnTo>
                  <a:lnTo>
                    <a:pt x="947" y="68"/>
                  </a:lnTo>
                  <a:lnTo>
                    <a:pt x="950" y="70"/>
                  </a:lnTo>
                  <a:lnTo>
                    <a:pt x="954" y="73"/>
                  </a:lnTo>
                  <a:lnTo>
                    <a:pt x="954" y="73"/>
                  </a:lnTo>
                  <a:lnTo>
                    <a:pt x="954" y="73"/>
                  </a:lnTo>
                  <a:lnTo>
                    <a:pt x="954" y="75"/>
                  </a:lnTo>
                  <a:lnTo>
                    <a:pt x="954" y="78"/>
                  </a:lnTo>
                  <a:lnTo>
                    <a:pt x="954" y="78"/>
                  </a:lnTo>
                  <a:lnTo>
                    <a:pt x="957" y="75"/>
                  </a:lnTo>
                  <a:lnTo>
                    <a:pt x="957" y="75"/>
                  </a:lnTo>
                  <a:lnTo>
                    <a:pt x="957" y="75"/>
                  </a:lnTo>
                  <a:lnTo>
                    <a:pt x="959" y="75"/>
                  </a:lnTo>
                  <a:lnTo>
                    <a:pt x="959" y="73"/>
                  </a:lnTo>
                  <a:lnTo>
                    <a:pt x="962" y="73"/>
                  </a:lnTo>
                  <a:lnTo>
                    <a:pt x="962" y="73"/>
                  </a:lnTo>
                  <a:lnTo>
                    <a:pt x="962" y="73"/>
                  </a:lnTo>
                  <a:lnTo>
                    <a:pt x="962" y="73"/>
                  </a:lnTo>
                  <a:lnTo>
                    <a:pt x="962" y="70"/>
                  </a:lnTo>
                  <a:lnTo>
                    <a:pt x="962" y="70"/>
                  </a:lnTo>
                  <a:lnTo>
                    <a:pt x="964" y="70"/>
                  </a:lnTo>
                  <a:lnTo>
                    <a:pt x="964" y="68"/>
                  </a:lnTo>
                  <a:lnTo>
                    <a:pt x="964" y="68"/>
                  </a:lnTo>
                  <a:lnTo>
                    <a:pt x="964" y="66"/>
                  </a:lnTo>
                  <a:lnTo>
                    <a:pt x="966" y="66"/>
                  </a:lnTo>
                  <a:lnTo>
                    <a:pt x="966" y="66"/>
                  </a:lnTo>
                  <a:lnTo>
                    <a:pt x="966" y="66"/>
                  </a:lnTo>
                  <a:lnTo>
                    <a:pt x="966" y="66"/>
                  </a:lnTo>
                  <a:lnTo>
                    <a:pt x="969" y="63"/>
                  </a:lnTo>
                  <a:lnTo>
                    <a:pt x="969" y="66"/>
                  </a:lnTo>
                  <a:lnTo>
                    <a:pt x="971" y="63"/>
                  </a:lnTo>
                  <a:lnTo>
                    <a:pt x="976" y="61"/>
                  </a:lnTo>
                  <a:lnTo>
                    <a:pt x="976" y="61"/>
                  </a:lnTo>
                  <a:lnTo>
                    <a:pt x="978" y="61"/>
                  </a:lnTo>
                  <a:lnTo>
                    <a:pt x="980" y="59"/>
                  </a:lnTo>
                  <a:lnTo>
                    <a:pt x="980" y="59"/>
                  </a:lnTo>
                  <a:lnTo>
                    <a:pt x="980" y="59"/>
                  </a:lnTo>
                  <a:lnTo>
                    <a:pt x="983" y="59"/>
                  </a:lnTo>
                  <a:lnTo>
                    <a:pt x="983" y="59"/>
                  </a:lnTo>
                  <a:lnTo>
                    <a:pt x="985" y="59"/>
                  </a:lnTo>
                  <a:lnTo>
                    <a:pt x="985" y="59"/>
                  </a:lnTo>
                  <a:lnTo>
                    <a:pt x="985" y="56"/>
                  </a:lnTo>
                  <a:lnTo>
                    <a:pt x="992" y="56"/>
                  </a:lnTo>
                  <a:lnTo>
                    <a:pt x="992" y="56"/>
                  </a:lnTo>
                  <a:lnTo>
                    <a:pt x="997" y="56"/>
                  </a:lnTo>
                  <a:lnTo>
                    <a:pt x="997" y="56"/>
                  </a:lnTo>
                  <a:lnTo>
                    <a:pt x="997" y="56"/>
                  </a:lnTo>
                  <a:lnTo>
                    <a:pt x="999" y="56"/>
                  </a:lnTo>
                  <a:lnTo>
                    <a:pt x="999" y="56"/>
                  </a:lnTo>
                  <a:lnTo>
                    <a:pt x="1002" y="56"/>
                  </a:lnTo>
                  <a:lnTo>
                    <a:pt x="1006" y="56"/>
                  </a:lnTo>
                  <a:lnTo>
                    <a:pt x="1006" y="59"/>
                  </a:lnTo>
                  <a:lnTo>
                    <a:pt x="1009" y="59"/>
                  </a:lnTo>
                  <a:lnTo>
                    <a:pt x="1009" y="59"/>
                  </a:lnTo>
                  <a:lnTo>
                    <a:pt x="1009" y="59"/>
                  </a:lnTo>
                  <a:lnTo>
                    <a:pt x="1011" y="59"/>
                  </a:lnTo>
                  <a:lnTo>
                    <a:pt x="1011" y="61"/>
                  </a:lnTo>
                  <a:lnTo>
                    <a:pt x="1011" y="61"/>
                  </a:lnTo>
                  <a:lnTo>
                    <a:pt x="1013" y="61"/>
                  </a:lnTo>
                  <a:lnTo>
                    <a:pt x="1013" y="59"/>
                  </a:lnTo>
                  <a:lnTo>
                    <a:pt x="1016" y="61"/>
                  </a:lnTo>
                  <a:lnTo>
                    <a:pt x="1016" y="61"/>
                  </a:lnTo>
                  <a:lnTo>
                    <a:pt x="1018" y="59"/>
                  </a:lnTo>
                  <a:lnTo>
                    <a:pt x="1018" y="59"/>
                  </a:lnTo>
                  <a:lnTo>
                    <a:pt x="1018" y="61"/>
                  </a:lnTo>
                  <a:lnTo>
                    <a:pt x="1021" y="61"/>
                  </a:lnTo>
                  <a:lnTo>
                    <a:pt x="1021" y="61"/>
                  </a:lnTo>
                  <a:lnTo>
                    <a:pt x="1025" y="61"/>
                  </a:lnTo>
                  <a:lnTo>
                    <a:pt x="1025" y="61"/>
                  </a:lnTo>
                  <a:lnTo>
                    <a:pt x="1028" y="63"/>
                  </a:lnTo>
                  <a:lnTo>
                    <a:pt x="1030" y="63"/>
                  </a:lnTo>
                  <a:lnTo>
                    <a:pt x="1030" y="63"/>
                  </a:lnTo>
                  <a:lnTo>
                    <a:pt x="1030" y="66"/>
                  </a:lnTo>
                  <a:lnTo>
                    <a:pt x="1030" y="68"/>
                  </a:lnTo>
                  <a:lnTo>
                    <a:pt x="1032" y="68"/>
                  </a:lnTo>
                  <a:lnTo>
                    <a:pt x="1032" y="68"/>
                  </a:lnTo>
                  <a:lnTo>
                    <a:pt x="1032" y="68"/>
                  </a:lnTo>
                  <a:lnTo>
                    <a:pt x="1035" y="70"/>
                  </a:lnTo>
                  <a:lnTo>
                    <a:pt x="1035" y="70"/>
                  </a:lnTo>
                  <a:lnTo>
                    <a:pt x="1035" y="68"/>
                  </a:lnTo>
                  <a:lnTo>
                    <a:pt x="1035" y="70"/>
                  </a:lnTo>
                  <a:lnTo>
                    <a:pt x="1037" y="70"/>
                  </a:lnTo>
                  <a:lnTo>
                    <a:pt x="1037" y="70"/>
                  </a:lnTo>
                  <a:lnTo>
                    <a:pt x="1037" y="70"/>
                  </a:lnTo>
                  <a:lnTo>
                    <a:pt x="1039" y="70"/>
                  </a:lnTo>
                  <a:lnTo>
                    <a:pt x="1037" y="70"/>
                  </a:lnTo>
                  <a:lnTo>
                    <a:pt x="1037" y="70"/>
                  </a:lnTo>
                  <a:lnTo>
                    <a:pt x="1039" y="73"/>
                  </a:lnTo>
                  <a:lnTo>
                    <a:pt x="1039" y="75"/>
                  </a:lnTo>
                  <a:lnTo>
                    <a:pt x="1042" y="75"/>
                  </a:lnTo>
                  <a:lnTo>
                    <a:pt x="1042" y="75"/>
                  </a:lnTo>
                  <a:lnTo>
                    <a:pt x="1044" y="75"/>
                  </a:lnTo>
                  <a:lnTo>
                    <a:pt x="1047" y="78"/>
                  </a:lnTo>
                  <a:lnTo>
                    <a:pt x="1049" y="80"/>
                  </a:lnTo>
                  <a:lnTo>
                    <a:pt x="1054" y="80"/>
                  </a:lnTo>
                  <a:lnTo>
                    <a:pt x="1054" y="82"/>
                  </a:lnTo>
                  <a:lnTo>
                    <a:pt x="1056" y="85"/>
                  </a:lnTo>
                  <a:lnTo>
                    <a:pt x="1056" y="85"/>
                  </a:lnTo>
                  <a:lnTo>
                    <a:pt x="1056" y="87"/>
                  </a:lnTo>
                  <a:lnTo>
                    <a:pt x="1058" y="85"/>
                  </a:lnTo>
                  <a:lnTo>
                    <a:pt x="1058" y="85"/>
                  </a:lnTo>
                  <a:lnTo>
                    <a:pt x="1058" y="85"/>
                  </a:lnTo>
                  <a:lnTo>
                    <a:pt x="1058" y="87"/>
                  </a:lnTo>
                  <a:lnTo>
                    <a:pt x="1061" y="87"/>
                  </a:lnTo>
                  <a:lnTo>
                    <a:pt x="1058" y="87"/>
                  </a:lnTo>
                  <a:lnTo>
                    <a:pt x="1061" y="87"/>
                  </a:lnTo>
                  <a:lnTo>
                    <a:pt x="1063" y="89"/>
                  </a:lnTo>
                  <a:lnTo>
                    <a:pt x="1063" y="87"/>
                  </a:lnTo>
                  <a:lnTo>
                    <a:pt x="1065" y="89"/>
                  </a:lnTo>
                  <a:lnTo>
                    <a:pt x="1065" y="89"/>
                  </a:lnTo>
                  <a:lnTo>
                    <a:pt x="1065" y="89"/>
                  </a:lnTo>
                  <a:lnTo>
                    <a:pt x="1065" y="89"/>
                  </a:lnTo>
                  <a:lnTo>
                    <a:pt x="1065" y="89"/>
                  </a:lnTo>
                  <a:lnTo>
                    <a:pt x="1068" y="92"/>
                  </a:lnTo>
                  <a:lnTo>
                    <a:pt x="1070" y="94"/>
                  </a:lnTo>
                  <a:lnTo>
                    <a:pt x="1070" y="92"/>
                  </a:lnTo>
                  <a:lnTo>
                    <a:pt x="1073" y="89"/>
                  </a:lnTo>
                  <a:lnTo>
                    <a:pt x="1075" y="92"/>
                  </a:lnTo>
                  <a:lnTo>
                    <a:pt x="1075" y="92"/>
                  </a:lnTo>
                  <a:lnTo>
                    <a:pt x="1075" y="94"/>
                  </a:lnTo>
                  <a:lnTo>
                    <a:pt x="1077" y="96"/>
                  </a:lnTo>
                  <a:lnTo>
                    <a:pt x="1080" y="96"/>
                  </a:lnTo>
                  <a:lnTo>
                    <a:pt x="1082" y="96"/>
                  </a:lnTo>
                  <a:lnTo>
                    <a:pt x="1082" y="99"/>
                  </a:lnTo>
                  <a:lnTo>
                    <a:pt x="1082" y="99"/>
                  </a:lnTo>
                  <a:lnTo>
                    <a:pt x="1084" y="99"/>
                  </a:lnTo>
                  <a:lnTo>
                    <a:pt x="1087" y="99"/>
                  </a:lnTo>
                  <a:lnTo>
                    <a:pt x="1089" y="104"/>
                  </a:lnTo>
                  <a:lnTo>
                    <a:pt x="1094" y="104"/>
                  </a:lnTo>
                  <a:lnTo>
                    <a:pt x="1094" y="106"/>
                  </a:lnTo>
                  <a:lnTo>
                    <a:pt x="1091" y="108"/>
                  </a:lnTo>
                  <a:lnTo>
                    <a:pt x="1096" y="108"/>
                  </a:lnTo>
                  <a:lnTo>
                    <a:pt x="1099" y="111"/>
                  </a:lnTo>
                  <a:lnTo>
                    <a:pt x="1101" y="111"/>
                  </a:lnTo>
                  <a:lnTo>
                    <a:pt x="1101" y="111"/>
                  </a:lnTo>
                  <a:lnTo>
                    <a:pt x="1103" y="113"/>
                  </a:lnTo>
                  <a:lnTo>
                    <a:pt x="1106" y="111"/>
                  </a:lnTo>
                  <a:lnTo>
                    <a:pt x="1108" y="111"/>
                  </a:lnTo>
                  <a:lnTo>
                    <a:pt x="1108" y="113"/>
                  </a:lnTo>
                  <a:lnTo>
                    <a:pt x="1108" y="113"/>
                  </a:lnTo>
                  <a:lnTo>
                    <a:pt x="1113" y="115"/>
                  </a:lnTo>
                  <a:lnTo>
                    <a:pt x="1113" y="115"/>
                  </a:lnTo>
                  <a:lnTo>
                    <a:pt x="1113" y="115"/>
                  </a:lnTo>
                  <a:lnTo>
                    <a:pt x="1115" y="118"/>
                  </a:lnTo>
                  <a:lnTo>
                    <a:pt x="1117" y="115"/>
                  </a:lnTo>
                  <a:lnTo>
                    <a:pt x="1120" y="113"/>
                  </a:lnTo>
                  <a:lnTo>
                    <a:pt x="1122" y="115"/>
                  </a:lnTo>
                  <a:lnTo>
                    <a:pt x="1122" y="113"/>
                  </a:lnTo>
                  <a:lnTo>
                    <a:pt x="1125" y="115"/>
                  </a:lnTo>
                  <a:lnTo>
                    <a:pt x="1127" y="113"/>
                  </a:lnTo>
                  <a:lnTo>
                    <a:pt x="1127" y="113"/>
                  </a:lnTo>
                  <a:lnTo>
                    <a:pt x="1127" y="113"/>
                  </a:lnTo>
                  <a:lnTo>
                    <a:pt x="1127" y="113"/>
                  </a:lnTo>
                  <a:lnTo>
                    <a:pt x="1129" y="113"/>
                  </a:lnTo>
                  <a:lnTo>
                    <a:pt x="1129" y="115"/>
                  </a:lnTo>
                  <a:lnTo>
                    <a:pt x="1129" y="115"/>
                  </a:lnTo>
                  <a:lnTo>
                    <a:pt x="1132" y="118"/>
                  </a:lnTo>
                  <a:lnTo>
                    <a:pt x="1132" y="118"/>
                  </a:lnTo>
                  <a:lnTo>
                    <a:pt x="1134" y="120"/>
                  </a:lnTo>
                  <a:lnTo>
                    <a:pt x="1136" y="122"/>
                  </a:lnTo>
                  <a:lnTo>
                    <a:pt x="1136" y="122"/>
                  </a:lnTo>
                  <a:lnTo>
                    <a:pt x="1136" y="125"/>
                  </a:lnTo>
                  <a:lnTo>
                    <a:pt x="1136" y="125"/>
                  </a:lnTo>
                  <a:lnTo>
                    <a:pt x="1139" y="125"/>
                  </a:lnTo>
                  <a:lnTo>
                    <a:pt x="1139" y="125"/>
                  </a:lnTo>
                  <a:lnTo>
                    <a:pt x="1146" y="122"/>
                  </a:lnTo>
                  <a:lnTo>
                    <a:pt x="1148" y="122"/>
                  </a:lnTo>
                  <a:lnTo>
                    <a:pt x="1150" y="122"/>
                  </a:lnTo>
                  <a:lnTo>
                    <a:pt x="1150" y="122"/>
                  </a:lnTo>
                  <a:lnTo>
                    <a:pt x="1155" y="125"/>
                  </a:lnTo>
                  <a:lnTo>
                    <a:pt x="1158" y="122"/>
                  </a:lnTo>
                  <a:lnTo>
                    <a:pt x="1158" y="122"/>
                  </a:lnTo>
                  <a:lnTo>
                    <a:pt x="1160" y="122"/>
                  </a:lnTo>
                  <a:lnTo>
                    <a:pt x="1160" y="120"/>
                  </a:lnTo>
                  <a:lnTo>
                    <a:pt x="1162" y="120"/>
                  </a:lnTo>
                  <a:lnTo>
                    <a:pt x="1162" y="120"/>
                  </a:lnTo>
                  <a:lnTo>
                    <a:pt x="1165" y="118"/>
                  </a:lnTo>
                  <a:lnTo>
                    <a:pt x="1165" y="115"/>
                  </a:lnTo>
                  <a:lnTo>
                    <a:pt x="1167" y="115"/>
                  </a:lnTo>
                  <a:lnTo>
                    <a:pt x="1169" y="115"/>
                  </a:lnTo>
                  <a:lnTo>
                    <a:pt x="1172" y="115"/>
                  </a:lnTo>
                  <a:lnTo>
                    <a:pt x="1174" y="113"/>
                  </a:lnTo>
                  <a:lnTo>
                    <a:pt x="1174" y="113"/>
                  </a:lnTo>
                  <a:lnTo>
                    <a:pt x="1205" y="141"/>
                  </a:lnTo>
                  <a:lnTo>
                    <a:pt x="1217" y="153"/>
                  </a:lnTo>
                  <a:lnTo>
                    <a:pt x="1226" y="163"/>
                  </a:lnTo>
                  <a:lnTo>
                    <a:pt x="1231" y="165"/>
                  </a:lnTo>
                  <a:lnTo>
                    <a:pt x="1231" y="167"/>
                  </a:lnTo>
                  <a:lnTo>
                    <a:pt x="1233" y="184"/>
                  </a:lnTo>
                  <a:lnTo>
                    <a:pt x="1233" y="198"/>
                  </a:lnTo>
                  <a:lnTo>
                    <a:pt x="1233" y="198"/>
                  </a:lnTo>
                  <a:lnTo>
                    <a:pt x="1238" y="198"/>
                  </a:lnTo>
                  <a:lnTo>
                    <a:pt x="1238" y="198"/>
                  </a:lnTo>
                  <a:lnTo>
                    <a:pt x="1240" y="198"/>
                  </a:lnTo>
                  <a:lnTo>
                    <a:pt x="1240" y="198"/>
                  </a:lnTo>
                  <a:lnTo>
                    <a:pt x="1243" y="198"/>
                  </a:lnTo>
                  <a:lnTo>
                    <a:pt x="1245" y="198"/>
                  </a:lnTo>
                  <a:lnTo>
                    <a:pt x="1247" y="198"/>
                  </a:lnTo>
                  <a:lnTo>
                    <a:pt x="1250" y="198"/>
                  </a:lnTo>
                  <a:lnTo>
                    <a:pt x="1252" y="198"/>
                  </a:lnTo>
                  <a:lnTo>
                    <a:pt x="1254" y="200"/>
                  </a:lnTo>
                  <a:lnTo>
                    <a:pt x="1257" y="200"/>
                  </a:lnTo>
                  <a:lnTo>
                    <a:pt x="1257" y="200"/>
                  </a:lnTo>
                  <a:lnTo>
                    <a:pt x="1259" y="200"/>
                  </a:lnTo>
                  <a:lnTo>
                    <a:pt x="1259" y="198"/>
                  </a:lnTo>
                  <a:lnTo>
                    <a:pt x="1259" y="198"/>
                  </a:lnTo>
                  <a:lnTo>
                    <a:pt x="1264" y="198"/>
                  </a:lnTo>
                  <a:lnTo>
                    <a:pt x="1266" y="196"/>
                  </a:lnTo>
                  <a:lnTo>
                    <a:pt x="1269" y="196"/>
                  </a:lnTo>
                  <a:lnTo>
                    <a:pt x="1271" y="193"/>
                  </a:lnTo>
                  <a:lnTo>
                    <a:pt x="1276" y="193"/>
                  </a:lnTo>
                  <a:lnTo>
                    <a:pt x="1278" y="191"/>
                  </a:lnTo>
                  <a:lnTo>
                    <a:pt x="1278" y="191"/>
                  </a:lnTo>
                  <a:lnTo>
                    <a:pt x="1278" y="189"/>
                  </a:lnTo>
                  <a:lnTo>
                    <a:pt x="1278" y="189"/>
                  </a:lnTo>
                  <a:lnTo>
                    <a:pt x="1280" y="186"/>
                  </a:lnTo>
                  <a:lnTo>
                    <a:pt x="1280" y="186"/>
                  </a:lnTo>
                  <a:lnTo>
                    <a:pt x="1283" y="186"/>
                  </a:lnTo>
                  <a:lnTo>
                    <a:pt x="1283" y="186"/>
                  </a:lnTo>
                  <a:lnTo>
                    <a:pt x="1285" y="186"/>
                  </a:lnTo>
                  <a:lnTo>
                    <a:pt x="1285" y="186"/>
                  </a:lnTo>
                  <a:lnTo>
                    <a:pt x="1288" y="186"/>
                  </a:lnTo>
                  <a:lnTo>
                    <a:pt x="1288" y="191"/>
                  </a:lnTo>
                  <a:lnTo>
                    <a:pt x="1290" y="191"/>
                  </a:lnTo>
                  <a:lnTo>
                    <a:pt x="1290" y="191"/>
                  </a:lnTo>
                  <a:lnTo>
                    <a:pt x="1295" y="191"/>
                  </a:lnTo>
                  <a:lnTo>
                    <a:pt x="1295" y="189"/>
                  </a:lnTo>
                  <a:lnTo>
                    <a:pt x="1295" y="191"/>
                  </a:lnTo>
                  <a:lnTo>
                    <a:pt x="1297" y="189"/>
                  </a:lnTo>
                  <a:lnTo>
                    <a:pt x="1297" y="189"/>
                  </a:lnTo>
                  <a:lnTo>
                    <a:pt x="1297" y="186"/>
                  </a:lnTo>
                  <a:lnTo>
                    <a:pt x="1297" y="186"/>
                  </a:lnTo>
                  <a:lnTo>
                    <a:pt x="1299" y="186"/>
                  </a:lnTo>
                  <a:lnTo>
                    <a:pt x="1299" y="186"/>
                  </a:lnTo>
                  <a:lnTo>
                    <a:pt x="1302" y="189"/>
                  </a:lnTo>
                  <a:lnTo>
                    <a:pt x="1304" y="189"/>
                  </a:lnTo>
                  <a:lnTo>
                    <a:pt x="1302" y="191"/>
                  </a:lnTo>
                  <a:lnTo>
                    <a:pt x="1304" y="193"/>
                  </a:lnTo>
                  <a:lnTo>
                    <a:pt x="1304" y="193"/>
                  </a:lnTo>
                  <a:lnTo>
                    <a:pt x="1306" y="193"/>
                  </a:lnTo>
                  <a:lnTo>
                    <a:pt x="1309" y="191"/>
                  </a:lnTo>
                  <a:lnTo>
                    <a:pt x="1309" y="191"/>
                  </a:lnTo>
                  <a:lnTo>
                    <a:pt x="1309" y="191"/>
                  </a:lnTo>
                  <a:lnTo>
                    <a:pt x="1309" y="189"/>
                  </a:lnTo>
                  <a:lnTo>
                    <a:pt x="1311" y="189"/>
                  </a:lnTo>
                  <a:lnTo>
                    <a:pt x="1313" y="189"/>
                  </a:lnTo>
                  <a:lnTo>
                    <a:pt x="1313" y="189"/>
                  </a:lnTo>
                  <a:lnTo>
                    <a:pt x="1313" y="189"/>
                  </a:lnTo>
                  <a:lnTo>
                    <a:pt x="1313" y="189"/>
                  </a:lnTo>
                  <a:lnTo>
                    <a:pt x="1316" y="191"/>
                  </a:lnTo>
                  <a:lnTo>
                    <a:pt x="1316" y="191"/>
                  </a:lnTo>
                  <a:lnTo>
                    <a:pt x="1318" y="193"/>
                  </a:lnTo>
                  <a:lnTo>
                    <a:pt x="1321" y="196"/>
                  </a:lnTo>
                  <a:lnTo>
                    <a:pt x="1321" y="196"/>
                  </a:lnTo>
                  <a:lnTo>
                    <a:pt x="1323" y="196"/>
                  </a:lnTo>
                  <a:lnTo>
                    <a:pt x="1323" y="196"/>
                  </a:lnTo>
                  <a:lnTo>
                    <a:pt x="1325" y="198"/>
                  </a:lnTo>
                  <a:lnTo>
                    <a:pt x="1325" y="198"/>
                  </a:lnTo>
                  <a:lnTo>
                    <a:pt x="1325" y="198"/>
                  </a:lnTo>
                  <a:lnTo>
                    <a:pt x="1325" y="198"/>
                  </a:lnTo>
                  <a:lnTo>
                    <a:pt x="1325" y="200"/>
                  </a:lnTo>
                  <a:lnTo>
                    <a:pt x="1328" y="200"/>
                  </a:lnTo>
                  <a:lnTo>
                    <a:pt x="1328" y="200"/>
                  </a:lnTo>
                  <a:lnTo>
                    <a:pt x="1330" y="203"/>
                  </a:lnTo>
                  <a:lnTo>
                    <a:pt x="1330" y="205"/>
                  </a:lnTo>
                  <a:lnTo>
                    <a:pt x="1330" y="205"/>
                  </a:lnTo>
                  <a:lnTo>
                    <a:pt x="1332" y="205"/>
                  </a:lnTo>
                  <a:lnTo>
                    <a:pt x="1335" y="205"/>
                  </a:lnTo>
                  <a:lnTo>
                    <a:pt x="1337" y="205"/>
                  </a:lnTo>
                  <a:lnTo>
                    <a:pt x="1337" y="203"/>
                  </a:lnTo>
                  <a:lnTo>
                    <a:pt x="1337" y="200"/>
                  </a:lnTo>
                  <a:lnTo>
                    <a:pt x="1339" y="200"/>
                  </a:lnTo>
                  <a:lnTo>
                    <a:pt x="1339" y="200"/>
                  </a:lnTo>
                  <a:lnTo>
                    <a:pt x="1342" y="203"/>
                  </a:lnTo>
                  <a:lnTo>
                    <a:pt x="1342" y="200"/>
                  </a:lnTo>
                  <a:lnTo>
                    <a:pt x="1344" y="198"/>
                  </a:lnTo>
                  <a:lnTo>
                    <a:pt x="1344" y="200"/>
                  </a:lnTo>
                  <a:lnTo>
                    <a:pt x="1347" y="200"/>
                  </a:lnTo>
                  <a:lnTo>
                    <a:pt x="1349" y="203"/>
                  </a:lnTo>
                  <a:lnTo>
                    <a:pt x="1349" y="205"/>
                  </a:lnTo>
                  <a:lnTo>
                    <a:pt x="1349" y="207"/>
                  </a:lnTo>
                  <a:lnTo>
                    <a:pt x="1349" y="205"/>
                  </a:lnTo>
                  <a:lnTo>
                    <a:pt x="1351" y="207"/>
                  </a:lnTo>
                  <a:lnTo>
                    <a:pt x="1351" y="207"/>
                  </a:lnTo>
                  <a:lnTo>
                    <a:pt x="1351" y="207"/>
                  </a:lnTo>
                  <a:lnTo>
                    <a:pt x="1354" y="207"/>
                  </a:lnTo>
                  <a:lnTo>
                    <a:pt x="1356" y="207"/>
                  </a:lnTo>
                  <a:lnTo>
                    <a:pt x="1356" y="207"/>
                  </a:lnTo>
                  <a:lnTo>
                    <a:pt x="1358" y="207"/>
                  </a:lnTo>
                  <a:lnTo>
                    <a:pt x="1358" y="207"/>
                  </a:lnTo>
                  <a:lnTo>
                    <a:pt x="1358" y="207"/>
                  </a:lnTo>
                  <a:lnTo>
                    <a:pt x="1361" y="207"/>
                  </a:lnTo>
                  <a:lnTo>
                    <a:pt x="1361" y="207"/>
                  </a:lnTo>
                  <a:lnTo>
                    <a:pt x="1361" y="207"/>
                  </a:lnTo>
                  <a:lnTo>
                    <a:pt x="1363" y="207"/>
                  </a:lnTo>
                  <a:lnTo>
                    <a:pt x="1365" y="207"/>
                  </a:lnTo>
                  <a:lnTo>
                    <a:pt x="1368" y="207"/>
                  </a:lnTo>
                  <a:lnTo>
                    <a:pt x="1368" y="207"/>
                  </a:lnTo>
                  <a:lnTo>
                    <a:pt x="1368" y="207"/>
                  </a:lnTo>
                  <a:lnTo>
                    <a:pt x="1370" y="207"/>
                  </a:lnTo>
                  <a:lnTo>
                    <a:pt x="1370" y="207"/>
                  </a:lnTo>
                  <a:lnTo>
                    <a:pt x="1373" y="205"/>
                  </a:lnTo>
                  <a:lnTo>
                    <a:pt x="1373" y="205"/>
                  </a:lnTo>
                  <a:lnTo>
                    <a:pt x="1375" y="207"/>
                  </a:lnTo>
                  <a:lnTo>
                    <a:pt x="1375" y="207"/>
                  </a:lnTo>
                  <a:lnTo>
                    <a:pt x="1375" y="207"/>
                  </a:lnTo>
                  <a:lnTo>
                    <a:pt x="1375" y="210"/>
                  </a:lnTo>
                  <a:lnTo>
                    <a:pt x="1375" y="210"/>
                  </a:lnTo>
                  <a:lnTo>
                    <a:pt x="1375" y="210"/>
                  </a:lnTo>
                  <a:lnTo>
                    <a:pt x="1377" y="210"/>
                  </a:lnTo>
                  <a:lnTo>
                    <a:pt x="1377" y="212"/>
                  </a:lnTo>
                  <a:lnTo>
                    <a:pt x="1377" y="212"/>
                  </a:lnTo>
                  <a:lnTo>
                    <a:pt x="1377" y="215"/>
                  </a:lnTo>
                  <a:lnTo>
                    <a:pt x="1377" y="212"/>
                  </a:lnTo>
                  <a:lnTo>
                    <a:pt x="1380" y="215"/>
                  </a:lnTo>
                  <a:lnTo>
                    <a:pt x="1382" y="215"/>
                  </a:lnTo>
                  <a:lnTo>
                    <a:pt x="1382" y="217"/>
                  </a:lnTo>
                  <a:lnTo>
                    <a:pt x="1380" y="219"/>
                  </a:lnTo>
                  <a:lnTo>
                    <a:pt x="1380" y="219"/>
                  </a:lnTo>
                  <a:lnTo>
                    <a:pt x="1382" y="219"/>
                  </a:lnTo>
                  <a:lnTo>
                    <a:pt x="1382" y="219"/>
                  </a:lnTo>
                  <a:lnTo>
                    <a:pt x="1382" y="219"/>
                  </a:lnTo>
                  <a:lnTo>
                    <a:pt x="1382" y="219"/>
                  </a:lnTo>
                  <a:lnTo>
                    <a:pt x="1384" y="219"/>
                  </a:lnTo>
                  <a:lnTo>
                    <a:pt x="1384" y="219"/>
                  </a:lnTo>
                  <a:lnTo>
                    <a:pt x="1384" y="217"/>
                  </a:lnTo>
                  <a:lnTo>
                    <a:pt x="1384" y="219"/>
                  </a:lnTo>
                  <a:lnTo>
                    <a:pt x="1387" y="219"/>
                  </a:lnTo>
                  <a:lnTo>
                    <a:pt x="1387" y="219"/>
                  </a:lnTo>
                  <a:lnTo>
                    <a:pt x="1389" y="219"/>
                  </a:lnTo>
                  <a:lnTo>
                    <a:pt x="1389" y="219"/>
                  </a:lnTo>
                  <a:lnTo>
                    <a:pt x="1389" y="219"/>
                  </a:lnTo>
                  <a:lnTo>
                    <a:pt x="1389" y="219"/>
                  </a:lnTo>
                  <a:lnTo>
                    <a:pt x="1391" y="217"/>
                  </a:lnTo>
                  <a:lnTo>
                    <a:pt x="1391" y="219"/>
                  </a:lnTo>
                  <a:lnTo>
                    <a:pt x="1391" y="222"/>
                  </a:lnTo>
                  <a:lnTo>
                    <a:pt x="1391" y="222"/>
                  </a:lnTo>
                  <a:lnTo>
                    <a:pt x="1394" y="222"/>
                  </a:lnTo>
                  <a:lnTo>
                    <a:pt x="1394" y="219"/>
                  </a:lnTo>
                  <a:lnTo>
                    <a:pt x="1394" y="219"/>
                  </a:lnTo>
                  <a:lnTo>
                    <a:pt x="1394" y="222"/>
                  </a:lnTo>
                  <a:lnTo>
                    <a:pt x="1394" y="222"/>
                  </a:lnTo>
                  <a:lnTo>
                    <a:pt x="1394" y="224"/>
                  </a:lnTo>
                  <a:lnTo>
                    <a:pt x="1394" y="224"/>
                  </a:lnTo>
                  <a:lnTo>
                    <a:pt x="1394" y="224"/>
                  </a:lnTo>
                  <a:lnTo>
                    <a:pt x="1394" y="224"/>
                  </a:lnTo>
                  <a:lnTo>
                    <a:pt x="1394" y="224"/>
                  </a:lnTo>
                  <a:lnTo>
                    <a:pt x="1394" y="224"/>
                  </a:lnTo>
                  <a:lnTo>
                    <a:pt x="1396" y="226"/>
                  </a:lnTo>
                  <a:lnTo>
                    <a:pt x="1394" y="226"/>
                  </a:lnTo>
                  <a:lnTo>
                    <a:pt x="1394" y="226"/>
                  </a:lnTo>
                  <a:lnTo>
                    <a:pt x="1396" y="226"/>
                  </a:lnTo>
                  <a:lnTo>
                    <a:pt x="1396" y="226"/>
                  </a:lnTo>
                  <a:lnTo>
                    <a:pt x="1396" y="226"/>
                  </a:lnTo>
                  <a:lnTo>
                    <a:pt x="1396" y="229"/>
                  </a:lnTo>
                  <a:lnTo>
                    <a:pt x="1399" y="229"/>
                  </a:lnTo>
                  <a:lnTo>
                    <a:pt x="1399" y="229"/>
                  </a:lnTo>
                  <a:lnTo>
                    <a:pt x="1399" y="229"/>
                  </a:lnTo>
                  <a:lnTo>
                    <a:pt x="1399" y="229"/>
                  </a:lnTo>
                  <a:lnTo>
                    <a:pt x="1399" y="231"/>
                  </a:lnTo>
                  <a:lnTo>
                    <a:pt x="1399" y="231"/>
                  </a:lnTo>
                  <a:lnTo>
                    <a:pt x="1399" y="229"/>
                  </a:lnTo>
                  <a:lnTo>
                    <a:pt x="1401" y="229"/>
                  </a:lnTo>
                  <a:lnTo>
                    <a:pt x="1401" y="231"/>
                  </a:lnTo>
                  <a:lnTo>
                    <a:pt x="1403" y="231"/>
                  </a:lnTo>
                  <a:lnTo>
                    <a:pt x="1403" y="231"/>
                  </a:lnTo>
                  <a:lnTo>
                    <a:pt x="1403" y="231"/>
                  </a:lnTo>
                  <a:lnTo>
                    <a:pt x="1403" y="231"/>
                  </a:lnTo>
                  <a:lnTo>
                    <a:pt x="1406" y="231"/>
                  </a:lnTo>
                  <a:lnTo>
                    <a:pt x="1406" y="233"/>
                  </a:lnTo>
                  <a:lnTo>
                    <a:pt x="1408" y="233"/>
                  </a:lnTo>
                  <a:lnTo>
                    <a:pt x="1408" y="231"/>
                  </a:lnTo>
                  <a:lnTo>
                    <a:pt x="1408" y="231"/>
                  </a:lnTo>
                  <a:lnTo>
                    <a:pt x="1413" y="231"/>
                  </a:lnTo>
                  <a:lnTo>
                    <a:pt x="1413" y="231"/>
                  </a:lnTo>
                  <a:lnTo>
                    <a:pt x="1413" y="231"/>
                  </a:lnTo>
                  <a:lnTo>
                    <a:pt x="1413" y="231"/>
                  </a:lnTo>
                  <a:lnTo>
                    <a:pt x="1410" y="233"/>
                  </a:lnTo>
                  <a:lnTo>
                    <a:pt x="1410" y="236"/>
                  </a:lnTo>
                  <a:lnTo>
                    <a:pt x="1413" y="236"/>
                  </a:lnTo>
                  <a:lnTo>
                    <a:pt x="1415" y="238"/>
                  </a:lnTo>
                  <a:lnTo>
                    <a:pt x="1415" y="241"/>
                  </a:lnTo>
                  <a:lnTo>
                    <a:pt x="1417" y="241"/>
                  </a:lnTo>
                  <a:lnTo>
                    <a:pt x="1417" y="243"/>
                  </a:lnTo>
                  <a:lnTo>
                    <a:pt x="1417" y="243"/>
                  </a:lnTo>
                  <a:lnTo>
                    <a:pt x="1420" y="243"/>
                  </a:lnTo>
                  <a:lnTo>
                    <a:pt x="1420" y="245"/>
                  </a:lnTo>
                  <a:lnTo>
                    <a:pt x="1420" y="245"/>
                  </a:lnTo>
                  <a:lnTo>
                    <a:pt x="1420" y="248"/>
                  </a:lnTo>
                  <a:lnTo>
                    <a:pt x="1417" y="250"/>
                  </a:lnTo>
                  <a:lnTo>
                    <a:pt x="1417" y="250"/>
                  </a:lnTo>
                  <a:lnTo>
                    <a:pt x="1417" y="250"/>
                  </a:lnTo>
                  <a:lnTo>
                    <a:pt x="1415" y="250"/>
                  </a:lnTo>
                  <a:lnTo>
                    <a:pt x="1415" y="250"/>
                  </a:lnTo>
                  <a:lnTo>
                    <a:pt x="1415" y="252"/>
                  </a:lnTo>
                  <a:lnTo>
                    <a:pt x="1417" y="252"/>
                  </a:lnTo>
                  <a:lnTo>
                    <a:pt x="1417" y="252"/>
                  </a:lnTo>
                  <a:lnTo>
                    <a:pt x="1417" y="257"/>
                  </a:lnTo>
                  <a:lnTo>
                    <a:pt x="1415" y="257"/>
                  </a:lnTo>
                  <a:lnTo>
                    <a:pt x="1415" y="259"/>
                  </a:lnTo>
                  <a:lnTo>
                    <a:pt x="1413" y="259"/>
                  </a:lnTo>
                  <a:lnTo>
                    <a:pt x="1413" y="259"/>
                  </a:lnTo>
                  <a:lnTo>
                    <a:pt x="1410" y="264"/>
                  </a:lnTo>
                  <a:lnTo>
                    <a:pt x="1413" y="264"/>
                  </a:lnTo>
                  <a:lnTo>
                    <a:pt x="1413" y="266"/>
                  </a:lnTo>
                  <a:lnTo>
                    <a:pt x="1413" y="269"/>
                  </a:lnTo>
                  <a:lnTo>
                    <a:pt x="1410" y="269"/>
                  </a:lnTo>
                  <a:lnTo>
                    <a:pt x="1410" y="269"/>
                  </a:lnTo>
                  <a:lnTo>
                    <a:pt x="1408" y="271"/>
                  </a:lnTo>
                  <a:lnTo>
                    <a:pt x="1408" y="274"/>
                  </a:lnTo>
                  <a:lnTo>
                    <a:pt x="1406" y="274"/>
                  </a:lnTo>
                  <a:lnTo>
                    <a:pt x="1406" y="274"/>
                  </a:lnTo>
                  <a:lnTo>
                    <a:pt x="1406" y="274"/>
                  </a:lnTo>
                  <a:lnTo>
                    <a:pt x="1406" y="271"/>
                  </a:lnTo>
                  <a:lnTo>
                    <a:pt x="1403" y="271"/>
                  </a:lnTo>
                  <a:lnTo>
                    <a:pt x="1403" y="274"/>
                  </a:lnTo>
                  <a:lnTo>
                    <a:pt x="1403" y="274"/>
                  </a:lnTo>
                  <a:lnTo>
                    <a:pt x="1401" y="276"/>
                  </a:lnTo>
                  <a:lnTo>
                    <a:pt x="1401" y="276"/>
                  </a:lnTo>
                  <a:lnTo>
                    <a:pt x="1401" y="278"/>
                  </a:lnTo>
                  <a:lnTo>
                    <a:pt x="1399" y="278"/>
                  </a:lnTo>
                  <a:lnTo>
                    <a:pt x="1399" y="283"/>
                  </a:lnTo>
                  <a:lnTo>
                    <a:pt x="1396" y="283"/>
                  </a:lnTo>
                  <a:lnTo>
                    <a:pt x="1396" y="285"/>
                  </a:lnTo>
                  <a:lnTo>
                    <a:pt x="1396" y="288"/>
                  </a:lnTo>
                  <a:lnTo>
                    <a:pt x="1394" y="288"/>
                  </a:lnTo>
                  <a:lnTo>
                    <a:pt x="1394" y="290"/>
                  </a:lnTo>
                  <a:lnTo>
                    <a:pt x="1394" y="290"/>
                  </a:lnTo>
                  <a:lnTo>
                    <a:pt x="1391" y="292"/>
                  </a:lnTo>
                  <a:lnTo>
                    <a:pt x="1391" y="290"/>
                  </a:lnTo>
                  <a:lnTo>
                    <a:pt x="1389" y="290"/>
                  </a:lnTo>
                  <a:lnTo>
                    <a:pt x="1391" y="288"/>
                  </a:lnTo>
                  <a:lnTo>
                    <a:pt x="1389" y="288"/>
                  </a:lnTo>
                  <a:lnTo>
                    <a:pt x="1389" y="288"/>
                  </a:lnTo>
                  <a:lnTo>
                    <a:pt x="1389" y="290"/>
                  </a:lnTo>
                  <a:lnTo>
                    <a:pt x="1387" y="292"/>
                  </a:lnTo>
                  <a:lnTo>
                    <a:pt x="1387" y="292"/>
                  </a:lnTo>
                  <a:lnTo>
                    <a:pt x="1384" y="297"/>
                  </a:lnTo>
                  <a:lnTo>
                    <a:pt x="1382" y="300"/>
                  </a:lnTo>
                  <a:lnTo>
                    <a:pt x="1382" y="300"/>
                  </a:lnTo>
                  <a:lnTo>
                    <a:pt x="1380" y="300"/>
                  </a:lnTo>
                  <a:lnTo>
                    <a:pt x="1380" y="302"/>
                  </a:lnTo>
                  <a:lnTo>
                    <a:pt x="1380" y="302"/>
                  </a:lnTo>
                  <a:lnTo>
                    <a:pt x="1380" y="302"/>
                  </a:lnTo>
                  <a:lnTo>
                    <a:pt x="1382" y="302"/>
                  </a:lnTo>
                  <a:lnTo>
                    <a:pt x="1382" y="304"/>
                  </a:lnTo>
                  <a:lnTo>
                    <a:pt x="1382" y="304"/>
                  </a:lnTo>
                  <a:lnTo>
                    <a:pt x="1382" y="307"/>
                  </a:lnTo>
                  <a:lnTo>
                    <a:pt x="1382" y="307"/>
                  </a:lnTo>
                  <a:lnTo>
                    <a:pt x="1380" y="307"/>
                  </a:lnTo>
                  <a:lnTo>
                    <a:pt x="1377" y="307"/>
                  </a:lnTo>
                  <a:lnTo>
                    <a:pt x="1377" y="307"/>
                  </a:lnTo>
                  <a:lnTo>
                    <a:pt x="1377" y="307"/>
                  </a:lnTo>
                  <a:lnTo>
                    <a:pt x="1375" y="307"/>
                  </a:lnTo>
                  <a:lnTo>
                    <a:pt x="1373" y="304"/>
                  </a:lnTo>
                  <a:lnTo>
                    <a:pt x="1373" y="304"/>
                  </a:lnTo>
                  <a:lnTo>
                    <a:pt x="1370" y="307"/>
                  </a:lnTo>
                  <a:lnTo>
                    <a:pt x="1370" y="307"/>
                  </a:lnTo>
                  <a:lnTo>
                    <a:pt x="1370" y="307"/>
                  </a:lnTo>
                  <a:lnTo>
                    <a:pt x="1370" y="307"/>
                  </a:lnTo>
                  <a:lnTo>
                    <a:pt x="1368" y="307"/>
                  </a:lnTo>
                  <a:lnTo>
                    <a:pt x="1365" y="309"/>
                  </a:lnTo>
                  <a:lnTo>
                    <a:pt x="1365" y="311"/>
                  </a:lnTo>
                  <a:lnTo>
                    <a:pt x="1365" y="314"/>
                  </a:lnTo>
                  <a:lnTo>
                    <a:pt x="1365" y="316"/>
                  </a:lnTo>
                  <a:lnTo>
                    <a:pt x="1363" y="321"/>
                  </a:lnTo>
                  <a:lnTo>
                    <a:pt x="1363" y="323"/>
                  </a:lnTo>
                  <a:lnTo>
                    <a:pt x="1363" y="323"/>
                  </a:lnTo>
                  <a:lnTo>
                    <a:pt x="1365" y="323"/>
                  </a:lnTo>
                  <a:lnTo>
                    <a:pt x="1363" y="326"/>
                  </a:lnTo>
                  <a:lnTo>
                    <a:pt x="1363" y="328"/>
                  </a:lnTo>
                  <a:lnTo>
                    <a:pt x="1361" y="328"/>
                  </a:lnTo>
                  <a:lnTo>
                    <a:pt x="1361" y="333"/>
                  </a:lnTo>
                  <a:lnTo>
                    <a:pt x="1358" y="335"/>
                  </a:lnTo>
                  <a:lnTo>
                    <a:pt x="1361" y="335"/>
                  </a:lnTo>
                  <a:lnTo>
                    <a:pt x="1361" y="335"/>
                  </a:lnTo>
                  <a:lnTo>
                    <a:pt x="1365" y="335"/>
                  </a:lnTo>
                  <a:lnTo>
                    <a:pt x="1365" y="337"/>
                  </a:lnTo>
                  <a:lnTo>
                    <a:pt x="1368" y="335"/>
                  </a:lnTo>
                  <a:lnTo>
                    <a:pt x="1370" y="337"/>
                  </a:lnTo>
                  <a:lnTo>
                    <a:pt x="1370" y="337"/>
                  </a:lnTo>
                  <a:lnTo>
                    <a:pt x="1370" y="340"/>
                  </a:lnTo>
                  <a:lnTo>
                    <a:pt x="1370" y="342"/>
                  </a:lnTo>
                  <a:lnTo>
                    <a:pt x="1370" y="342"/>
                  </a:lnTo>
                  <a:lnTo>
                    <a:pt x="1370" y="342"/>
                  </a:lnTo>
                  <a:lnTo>
                    <a:pt x="1370" y="344"/>
                  </a:lnTo>
                  <a:lnTo>
                    <a:pt x="1368" y="344"/>
                  </a:lnTo>
                  <a:lnTo>
                    <a:pt x="1368" y="344"/>
                  </a:lnTo>
                  <a:lnTo>
                    <a:pt x="1368" y="344"/>
                  </a:lnTo>
                  <a:lnTo>
                    <a:pt x="1368" y="347"/>
                  </a:lnTo>
                  <a:lnTo>
                    <a:pt x="1368" y="349"/>
                  </a:lnTo>
                  <a:lnTo>
                    <a:pt x="1365" y="349"/>
                  </a:lnTo>
                  <a:lnTo>
                    <a:pt x="1365" y="347"/>
                  </a:lnTo>
                  <a:lnTo>
                    <a:pt x="1363" y="349"/>
                  </a:lnTo>
                  <a:lnTo>
                    <a:pt x="1361" y="349"/>
                  </a:lnTo>
                  <a:lnTo>
                    <a:pt x="1361" y="352"/>
                  </a:lnTo>
                  <a:lnTo>
                    <a:pt x="1358" y="349"/>
                  </a:lnTo>
                  <a:lnTo>
                    <a:pt x="1358" y="349"/>
                  </a:lnTo>
                  <a:lnTo>
                    <a:pt x="1358" y="347"/>
                  </a:lnTo>
                  <a:lnTo>
                    <a:pt x="1356" y="347"/>
                  </a:lnTo>
                  <a:lnTo>
                    <a:pt x="1356" y="347"/>
                  </a:lnTo>
                  <a:lnTo>
                    <a:pt x="1351" y="347"/>
                  </a:lnTo>
                  <a:lnTo>
                    <a:pt x="1351" y="347"/>
                  </a:lnTo>
                  <a:lnTo>
                    <a:pt x="1351" y="349"/>
                  </a:lnTo>
                  <a:lnTo>
                    <a:pt x="1349" y="349"/>
                  </a:lnTo>
                  <a:lnTo>
                    <a:pt x="1349" y="347"/>
                  </a:lnTo>
                  <a:lnTo>
                    <a:pt x="1347" y="347"/>
                  </a:lnTo>
                  <a:lnTo>
                    <a:pt x="1347" y="347"/>
                  </a:lnTo>
                  <a:lnTo>
                    <a:pt x="1344" y="347"/>
                  </a:lnTo>
                  <a:lnTo>
                    <a:pt x="1344" y="347"/>
                  </a:lnTo>
                  <a:lnTo>
                    <a:pt x="1342" y="347"/>
                  </a:lnTo>
                  <a:lnTo>
                    <a:pt x="1339" y="347"/>
                  </a:lnTo>
                  <a:lnTo>
                    <a:pt x="1339" y="349"/>
                  </a:lnTo>
                  <a:lnTo>
                    <a:pt x="1339" y="354"/>
                  </a:lnTo>
                  <a:lnTo>
                    <a:pt x="1337" y="356"/>
                  </a:lnTo>
                  <a:lnTo>
                    <a:pt x="1335" y="361"/>
                  </a:lnTo>
                  <a:lnTo>
                    <a:pt x="1332" y="361"/>
                  </a:lnTo>
                  <a:lnTo>
                    <a:pt x="1332" y="363"/>
                  </a:lnTo>
                  <a:lnTo>
                    <a:pt x="1332" y="363"/>
                  </a:lnTo>
                  <a:lnTo>
                    <a:pt x="1332" y="366"/>
                  </a:lnTo>
                  <a:lnTo>
                    <a:pt x="1330" y="370"/>
                  </a:lnTo>
                  <a:lnTo>
                    <a:pt x="1330" y="373"/>
                  </a:lnTo>
                  <a:lnTo>
                    <a:pt x="1330" y="373"/>
                  </a:lnTo>
                  <a:lnTo>
                    <a:pt x="1332" y="373"/>
                  </a:lnTo>
                  <a:lnTo>
                    <a:pt x="1332" y="373"/>
                  </a:lnTo>
                  <a:lnTo>
                    <a:pt x="1330" y="380"/>
                  </a:lnTo>
                  <a:lnTo>
                    <a:pt x="1330" y="382"/>
                  </a:lnTo>
                  <a:lnTo>
                    <a:pt x="1330" y="385"/>
                  </a:lnTo>
                  <a:lnTo>
                    <a:pt x="1332" y="387"/>
                  </a:lnTo>
                  <a:lnTo>
                    <a:pt x="1332" y="389"/>
                  </a:lnTo>
                  <a:lnTo>
                    <a:pt x="1330" y="389"/>
                  </a:lnTo>
                  <a:lnTo>
                    <a:pt x="1332" y="392"/>
                  </a:lnTo>
                  <a:lnTo>
                    <a:pt x="1330" y="394"/>
                  </a:lnTo>
                  <a:lnTo>
                    <a:pt x="1330" y="394"/>
                  </a:lnTo>
                  <a:lnTo>
                    <a:pt x="1330" y="396"/>
                  </a:lnTo>
                  <a:lnTo>
                    <a:pt x="1330" y="396"/>
                  </a:lnTo>
                  <a:lnTo>
                    <a:pt x="1330" y="399"/>
                  </a:lnTo>
                  <a:lnTo>
                    <a:pt x="1332" y="399"/>
                  </a:lnTo>
                  <a:lnTo>
                    <a:pt x="1330" y="401"/>
                  </a:lnTo>
                  <a:lnTo>
                    <a:pt x="1328" y="403"/>
                  </a:lnTo>
                  <a:lnTo>
                    <a:pt x="1328" y="403"/>
                  </a:lnTo>
                  <a:lnTo>
                    <a:pt x="1328" y="406"/>
                  </a:lnTo>
                  <a:lnTo>
                    <a:pt x="1325" y="406"/>
                  </a:lnTo>
                  <a:lnTo>
                    <a:pt x="1325" y="406"/>
                  </a:lnTo>
                  <a:lnTo>
                    <a:pt x="1328" y="408"/>
                  </a:lnTo>
                  <a:lnTo>
                    <a:pt x="1325" y="408"/>
                  </a:lnTo>
                  <a:lnTo>
                    <a:pt x="1325" y="411"/>
                  </a:lnTo>
                  <a:lnTo>
                    <a:pt x="1325" y="411"/>
                  </a:lnTo>
                  <a:lnTo>
                    <a:pt x="1325" y="413"/>
                  </a:lnTo>
                  <a:lnTo>
                    <a:pt x="1325" y="413"/>
                  </a:lnTo>
                  <a:lnTo>
                    <a:pt x="1323" y="415"/>
                  </a:lnTo>
                  <a:lnTo>
                    <a:pt x="1325" y="418"/>
                  </a:lnTo>
                  <a:lnTo>
                    <a:pt x="1325" y="418"/>
                  </a:lnTo>
                  <a:lnTo>
                    <a:pt x="1330" y="418"/>
                  </a:lnTo>
                  <a:lnTo>
                    <a:pt x="1330" y="418"/>
                  </a:lnTo>
                  <a:lnTo>
                    <a:pt x="1332" y="420"/>
                  </a:lnTo>
                  <a:lnTo>
                    <a:pt x="1337" y="420"/>
                  </a:lnTo>
                  <a:lnTo>
                    <a:pt x="1337" y="420"/>
                  </a:lnTo>
                  <a:lnTo>
                    <a:pt x="1337" y="422"/>
                  </a:lnTo>
                  <a:lnTo>
                    <a:pt x="1339" y="425"/>
                  </a:lnTo>
                  <a:lnTo>
                    <a:pt x="1339" y="425"/>
                  </a:lnTo>
                  <a:lnTo>
                    <a:pt x="1339" y="427"/>
                  </a:lnTo>
                  <a:lnTo>
                    <a:pt x="1342" y="427"/>
                  </a:lnTo>
                  <a:lnTo>
                    <a:pt x="1342" y="429"/>
                  </a:lnTo>
                  <a:lnTo>
                    <a:pt x="1339" y="429"/>
                  </a:lnTo>
                  <a:lnTo>
                    <a:pt x="1342" y="432"/>
                  </a:lnTo>
                  <a:lnTo>
                    <a:pt x="1342" y="432"/>
                  </a:lnTo>
                  <a:lnTo>
                    <a:pt x="1344" y="437"/>
                  </a:lnTo>
                  <a:lnTo>
                    <a:pt x="1347" y="439"/>
                  </a:lnTo>
                  <a:lnTo>
                    <a:pt x="1349" y="437"/>
                  </a:lnTo>
                  <a:lnTo>
                    <a:pt x="1351" y="437"/>
                  </a:lnTo>
                  <a:lnTo>
                    <a:pt x="1349" y="437"/>
                  </a:lnTo>
                  <a:lnTo>
                    <a:pt x="1351" y="439"/>
                  </a:lnTo>
                  <a:lnTo>
                    <a:pt x="1349" y="439"/>
                  </a:lnTo>
                  <a:lnTo>
                    <a:pt x="1349" y="439"/>
                  </a:lnTo>
                  <a:lnTo>
                    <a:pt x="1349" y="441"/>
                  </a:lnTo>
                  <a:lnTo>
                    <a:pt x="1351" y="444"/>
                  </a:lnTo>
                  <a:lnTo>
                    <a:pt x="1351" y="444"/>
                  </a:lnTo>
                  <a:lnTo>
                    <a:pt x="1354" y="444"/>
                  </a:lnTo>
                  <a:lnTo>
                    <a:pt x="1356" y="444"/>
                  </a:lnTo>
                  <a:lnTo>
                    <a:pt x="1356" y="446"/>
                  </a:lnTo>
                  <a:lnTo>
                    <a:pt x="1358" y="446"/>
                  </a:lnTo>
                  <a:lnTo>
                    <a:pt x="1358" y="444"/>
                  </a:lnTo>
                  <a:lnTo>
                    <a:pt x="1358" y="444"/>
                  </a:lnTo>
                  <a:lnTo>
                    <a:pt x="1358" y="444"/>
                  </a:lnTo>
                  <a:lnTo>
                    <a:pt x="1361" y="446"/>
                  </a:lnTo>
                  <a:lnTo>
                    <a:pt x="1361" y="446"/>
                  </a:lnTo>
                  <a:lnTo>
                    <a:pt x="1361" y="448"/>
                  </a:lnTo>
                  <a:lnTo>
                    <a:pt x="1361" y="448"/>
                  </a:lnTo>
                  <a:lnTo>
                    <a:pt x="1363" y="448"/>
                  </a:lnTo>
                  <a:lnTo>
                    <a:pt x="1365" y="451"/>
                  </a:lnTo>
                  <a:lnTo>
                    <a:pt x="1365" y="453"/>
                  </a:lnTo>
                  <a:lnTo>
                    <a:pt x="1365" y="453"/>
                  </a:lnTo>
                  <a:lnTo>
                    <a:pt x="1365" y="453"/>
                  </a:lnTo>
                  <a:lnTo>
                    <a:pt x="1368" y="455"/>
                  </a:lnTo>
                  <a:lnTo>
                    <a:pt x="1368" y="458"/>
                  </a:lnTo>
                  <a:lnTo>
                    <a:pt x="1370" y="455"/>
                  </a:lnTo>
                  <a:lnTo>
                    <a:pt x="1370" y="458"/>
                  </a:lnTo>
                  <a:lnTo>
                    <a:pt x="1373" y="458"/>
                  </a:lnTo>
                  <a:lnTo>
                    <a:pt x="1375" y="458"/>
                  </a:lnTo>
                  <a:lnTo>
                    <a:pt x="1375" y="460"/>
                  </a:lnTo>
                  <a:lnTo>
                    <a:pt x="1375" y="463"/>
                  </a:lnTo>
                  <a:lnTo>
                    <a:pt x="1375" y="465"/>
                  </a:lnTo>
                  <a:lnTo>
                    <a:pt x="1375" y="465"/>
                  </a:lnTo>
                  <a:lnTo>
                    <a:pt x="1377" y="467"/>
                  </a:lnTo>
                  <a:lnTo>
                    <a:pt x="1377" y="470"/>
                  </a:lnTo>
                  <a:lnTo>
                    <a:pt x="1377" y="472"/>
                  </a:lnTo>
                  <a:lnTo>
                    <a:pt x="1377" y="470"/>
                  </a:lnTo>
                  <a:lnTo>
                    <a:pt x="1380" y="472"/>
                  </a:lnTo>
                  <a:lnTo>
                    <a:pt x="1380" y="472"/>
                  </a:lnTo>
                  <a:lnTo>
                    <a:pt x="1380" y="474"/>
                  </a:lnTo>
                  <a:lnTo>
                    <a:pt x="1375" y="479"/>
                  </a:lnTo>
                  <a:lnTo>
                    <a:pt x="1368" y="484"/>
                  </a:lnTo>
                  <a:lnTo>
                    <a:pt x="1368" y="484"/>
                  </a:lnTo>
                  <a:lnTo>
                    <a:pt x="1370" y="484"/>
                  </a:lnTo>
                  <a:lnTo>
                    <a:pt x="1373" y="486"/>
                  </a:lnTo>
                  <a:lnTo>
                    <a:pt x="1375" y="489"/>
                  </a:lnTo>
                  <a:lnTo>
                    <a:pt x="1375" y="491"/>
                  </a:lnTo>
                  <a:lnTo>
                    <a:pt x="1370" y="489"/>
                  </a:lnTo>
                  <a:lnTo>
                    <a:pt x="1368" y="489"/>
                  </a:lnTo>
                  <a:lnTo>
                    <a:pt x="1368" y="489"/>
                  </a:lnTo>
                  <a:lnTo>
                    <a:pt x="1365" y="486"/>
                  </a:lnTo>
                  <a:lnTo>
                    <a:pt x="1365" y="486"/>
                  </a:lnTo>
                  <a:lnTo>
                    <a:pt x="1363" y="486"/>
                  </a:lnTo>
                  <a:lnTo>
                    <a:pt x="1363" y="484"/>
                  </a:lnTo>
                  <a:lnTo>
                    <a:pt x="1361" y="484"/>
                  </a:lnTo>
                  <a:lnTo>
                    <a:pt x="1361" y="484"/>
                  </a:lnTo>
                  <a:lnTo>
                    <a:pt x="1358" y="484"/>
                  </a:lnTo>
                  <a:lnTo>
                    <a:pt x="1358" y="484"/>
                  </a:lnTo>
                  <a:lnTo>
                    <a:pt x="1356" y="484"/>
                  </a:lnTo>
                  <a:lnTo>
                    <a:pt x="1356" y="484"/>
                  </a:lnTo>
                  <a:lnTo>
                    <a:pt x="1354" y="484"/>
                  </a:lnTo>
                  <a:lnTo>
                    <a:pt x="1354" y="484"/>
                  </a:lnTo>
                  <a:lnTo>
                    <a:pt x="1349" y="484"/>
                  </a:lnTo>
                  <a:lnTo>
                    <a:pt x="1349" y="484"/>
                  </a:lnTo>
                  <a:lnTo>
                    <a:pt x="1344" y="481"/>
                  </a:lnTo>
                  <a:lnTo>
                    <a:pt x="1344" y="484"/>
                  </a:lnTo>
                  <a:lnTo>
                    <a:pt x="1342" y="481"/>
                  </a:lnTo>
                  <a:lnTo>
                    <a:pt x="1339" y="481"/>
                  </a:lnTo>
                  <a:lnTo>
                    <a:pt x="1337" y="479"/>
                  </a:lnTo>
                  <a:lnTo>
                    <a:pt x="1337" y="479"/>
                  </a:lnTo>
                  <a:lnTo>
                    <a:pt x="1332" y="481"/>
                  </a:lnTo>
                  <a:lnTo>
                    <a:pt x="1330" y="481"/>
                  </a:lnTo>
                  <a:lnTo>
                    <a:pt x="1328" y="481"/>
                  </a:lnTo>
                  <a:lnTo>
                    <a:pt x="1328" y="484"/>
                  </a:lnTo>
                  <a:lnTo>
                    <a:pt x="1325" y="484"/>
                  </a:lnTo>
                  <a:lnTo>
                    <a:pt x="1325" y="484"/>
                  </a:lnTo>
                  <a:lnTo>
                    <a:pt x="1325" y="486"/>
                  </a:lnTo>
                  <a:lnTo>
                    <a:pt x="1325" y="486"/>
                  </a:lnTo>
                  <a:lnTo>
                    <a:pt x="1323" y="489"/>
                  </a:lnTo>
                  <a:lnTo>
                    <a:pt x="1325" y="489"/>
                  </a:lnTo>
                  <a:lnTo>
                    <a:pt x="1323" y="491"/>
                  </a:lnTo>
                  <a:lnTo>
                    <a:pt x="1323" y="491"/>
                  </a:lnTo>
                  <a:lnTo>
                    <a:pt x="1321" y="493"/>
                  </a:lnTo>
                  <a:lnTo>
                    <a:pt x="1321" y="493"/>
                  </a:lnTo>
                  <a:lnTo>
                    <a:pt x="1318" y="496"/>
                  </a:lnTo>
                  <a:lnTo>
                    <a:pt x="1316" y="493"/>
                  </a:lnTo>
                  <a:lnTo>
                    <a:pt x="1316" y="496"/>
                  </a:lnTo>
                  <a:lnTo>
                    <a:pt x="1316" y="493"/>
                  </a:lnTo>
                  <a:lnTo>
                    <a:pt x="1313" y="496"/>
                  </a:lnTo>
                  <a:lnTo>
                    <a:pt x="1311" y="496"/>
                  </a:lnTo>
                  <a:lnTo>
                    <a:pt x="1311" y="493"/>
                  </a:lnTo>
                  <a:lnTo>
                    <a:pt x="1311" y="493"/>
                  </a:lnTo>
                  <a:lnTo>
                    <a:pt x="1309" y="493"/>
                  </a:lnTo>
                  <a:lnTo>
                    <a:pt x="1306" y="493"/>
                  </a:lnTo>
                  <a:lnTo>
                    <a:pt x="1306" y="493"/>
                  </a:lnTo>
                  <a:lnTo>
                    <a:pt x="1304" y="493"/>
                  </a:lnTo>
                  <a:lnTo>
                    <a:pt x="1304" y="493"/>
                  </a:lnTo>
                  <a:lnTo>
                    <a:pt x="1304" y="491"/>
                  </a:lnTo>
                  <a:lnTo>
                    <a:pt x="1304" y="491"/>
                  </a:lnTo>
                  <a:lnTo>
                    <a:pt x="1304" y="491"/>
                  </a:lnTo>
                  <a:lnTo>
                    <a:pt x="1304" y="491"/>
                  </a:lnTo>
                  <a:lnTo>
                    <a:pt x="1302" y="491"/>
                  </a:lnTo>
                  <a:lnTo>
                    <a:pt x="1302" y="489"/>
                  </a:lnTo>
                  <a:lnTo>
                    <a:pt x="1302" y="489"/>
                  </a:lnTo>
                  <a:lnTo>
                    <a:pt x="1302" y="489"/>
                  </a:lnTo>
                  <a:lnTo>
                    <a:pt x="1299" y="486"/>
                  </a:lnTo>
                  <a:lnTo>
                    <a:pt x="1299" y="489"/>
                  </a:lnTo>
                  <a:lnTo>
                    <a:pt x="1297" y="489"/>
                  </a:lnTo>
                  <a:lnTo>
                    <a:pt x="1297" y="489"/>
                  </a:lnTo>
                  <a:lnTo>
                    <a:pt x="1297" y="489"/>
                  </a:lnTo>
                  <a:lnTo>
                    <a:pt x="1295" y="491"/>
                  </a:lnTo>
                  <a:lnTo>
                    <a:pt x="1292" y="491"/>
                  </a:lnTo>
                  <a:lnTo>
                    <a:pt x="1292" y="491"/>
                  </a:lnTo>
                  <a:lnTo>
                    <a:pt x="1292" y="491"/>
                  </a:lnTo>
                  <a:lnTo>
                    <a:pt x="1290" y="489"/>
                  </a:lnTo>
                  <a:lnTo>
                    <a:pt x="1290" y="491"/>
                  </a:lnTo>
                  <a:lnTo>
                    <a:pt x="1288" y="491"/>
                  </a:lnTo>
                  <a:lnTo>
                    <a:pt x="1288" y="491"/>
                  </a:lnTo>
                  <a:lnTo>
                    <a:pt x="1304" y="507"/>
                  </a:lnTo>
                  <a:lnTo>
                    <a:pt x="1304" y="512"/>
                  </a:lnTo>
                  <a:lnTo>
                    <a:pt x="1302" y="515"/>
                  </a:lnTo>
                  <a:lnTo>
                    <a:pt x="1302" y="512"/>
                  </a:lnTo>
                  <a:lnTo>
                    <a:pt x="1297" y="512"/>
                  </a:lnTo>
                  <a:lnTo>
                    <a:pt x="1297" y="512"/>
                  </a:lnTo>
                  <a:lnTo>
                    <a:pt x="1295" y="512"/>
                  </a:lnTo>
                  <a:lnTo>
                    <a:pt x="1295" y="512"/>
                  </a:lnTo>
                  <a:lnTo>
                    <a:pt x="1295" y="512"/>
                  </a:lnTo>
                  <a:lnTo>
                    <a:pt x="1292" y="512"/>
                  </a:lnTo>
                  <a:lnTo>
                    <a:pt x="1292" y="510"/>
                  </a:lnTo>
                  <a:lnTo>
                    <a:pt x="1292" y="510"/>
                  </a:lnTo>
                  <a:lnTo>
                    <a:pt x="1290" y="510"/>
                  </a:lnTo>
                  <a:lnTo>
                    <a:pt x="1290" y="507"/>
                  </a:lnTo>
                  <a:lnTo>
                    <a:pt x="1288" y="507"/>
                  </a:lnTo>
                  <a:lnTo>
                    <a:pt x="1288" y="507"/>
                  </a:lnTo>
                  <a:lnTo>
                    <a:pt x="1288" y="507"/>
                  </a:lnTo>
                  <a:lnTo>
                    <a:pt x="1288" y="507"/>
                  </a:lnTo>
                  <a:lnTo>
                    <a:pt x="1285" y="510"/>
                  </a:lnTo>
                  <a:lnTo>
                    <a:pt x="1285" y="510"/>
                  </a:lnTo>
                  <a:lnTo>
                    <a:pt x="1283" y="510"/>
                  </a:lnTo>
                  <a:lnTo>
                    <a:pt x="1283" y="510"/>
                  </a:lnTo>
                  <a:lnTo>
                    <a:pt x="1283" y="510"/>
                  </a:lnTo>
                  <a:lnTo>
                    <a:pt x="1283" y="512"/>
                  </a:lnTo>
                  <a:lnTo>
                    <a:pt x="1283" y="512"/>
                  </a:lnTo>
                  <a:lnTo>
                    <a:pt x="1283" y="512"/>
                  </a:lnTo>
                  <a:lnTo>
                    <a:pt x="1280" y="512"/>
                  </a:lnTo>
                  <a:lnTo>
                    <a:pt x="1280" y="512"/>
                  </a:lnTo>
                  <a:lnTo>
                    <a:pt x="1278" y="512"/>
                  </a:lnTo>
                  <a:lnTo>
                    <a:pt x="1278" y="512"/>
                  </a:lnTo>
                  <a:lnTo>
                    <a:pt x="1276" y="515"/>
                  </a:lnTo>
                  <a:lnTo>
                    <a:pt x="1273" y="515"/>
                  </a:lnTo>
                  <a:lnTo>
                    <a:pt x="1273" y="512"/>
                  </a:lnTo>
                  <a:lnTo>
                    <a:pt x="1273" y="512"/>
                  </a:lnTo>
                  <a:lnTo>
                    <a:pt x="1271" y="517"/>
                  </a:lnTo>
                  <a:lnTo>
                    <a:pt x="1271" y="517"/>
                  </a:lnTo>
                  <a:lnTo>
                    <a:pt x="1271" y="515"/>
                  </a:lnTo>
                  <a:lnTo>
                    <a:pt x="1269" y="515"/>
                  </a:lnTo>
                  <a:lnTo>
                    <a:pt x="1269" y="517"/>
                  </a:lnTo>
                  <a:lnTo>
                    <a:pt x="1269" y="517"/>
                  </a:lnTo>
                  <a:lnTo>
                    <a:pt x="1266" y="517"/>
                  </a:lnTo>
                  <a:lnTo>
                    <a:pt x="1264" y="519"/>
                  </a:lnTo>
                  <a:lnTo>
                    <a:pt x="1264" y="519"/>
                  </a:lnTo>
                  <a:lnTo>
                    <a:pt x="1264" y="522"/>
                  </a:lnTo>
                  <a:lnTo>
                    <a:pt x="1264" y="522"/>
                  </a:lnTo>
                  <a:lnTo>
                    <a:pt x="1264" y="522"/>
                  </a:lnTo>
                  <a:lnTo>
                    <a:pt x="1264" y="524"/>
                  </a:lnTo>
                  <a:lnTo>
                    <a:pt x="1264" y="524"/>
                  </a:lnTo>
                  <a:lnTo>
                    <a:pt x="1264" y="524"/>
                  </a:lnTo>
                  <a:lnTo>
                    <a:pt x="1264" y="526"/>
                  </a:lnTo>
                  <a:lnTo>
                    <a:pt x="1264" y="526"/>
                  </a:lnTo>
                  <a:lnTo>
                    <a:pt x="1259" y="529"/>
                  </a:lnTo>
                  <a:lnTo>
                    <a:pt x="1257" y="531"/>
                  </a:lnTo>
                  <a:lnTo>
                    <a:pt x="1257" y="533"/>
                  </a:lnTo>
                  <a:lnTo>
                    <a:pt x="1257" y="536"/>
                  </a:lnTo>
                  <a:lnTo>
                    <a:pt x="1257" y="538"/>
                  </a:lnTo>
                  <a:lnTo>
                    <a:pt x="1257" y="541"/>
                  </a:lnTo>
                  <a:lnTo>
                    <a:pt x="1257" y="541"/>
                  </a:lnTo>
                  <a:lnTo>
                    <a:pt x="1257" y="543"/>
                  </a:lnTo>
                  <a:lnTo>
                    <a:pt x="1254" y="543"/>
                  </a:lnTo>
                  <a:lnTo>
                    <a:pt x="1254" y="545"/>
                  </a:lnTo>
                  <a:lnTo>
                    <a:pt x="1254" y="545"/>
                  </a:lnTo>
                  <a:lnTo>
                    <a:pt x="1257" y="545"/>
                  </a:lnTo>
                  <a:lnTo>
                    <a:pt x="1257" y="548"/>
                  </a:lnTo>
                  <a:lnTo>
                    <a:pt x="1254" y="548"/>
                  </a:lnTo>
                  <a:lnTo>
                    <a:pt x="1252" y="550"/>
                  </a:lnTo>
                  <a:lnTo>
                    <a:pt x="1254" y="550"/>
                  </a:lnTo>
                  <a:lnTo>
                    <a:pt x="1264" y="552"/>
                  </a:lnTo>
                  <a:lnTo>
                    <a:pt x="1269" y="552"/>
                  </a:lnTo>
                  <a:lnTo>
                    <a:pt x="1273" y="552"/>
                  </a:lnTo>
                  <a:lnTo>
                    <a:pt x="1273" y="552"/>
                  </a:lnTo>
                  <a:lnTo>
                    <a:pt x="1273" y="555"/>
                  </a:lnTo>
                  <a:lnTo>
                    <a:pt x="1273" y="555"/>
                  </a:lnTo>
                  <a:lnTo>
                    <a:pt x="1273" y="562"/>
                  </a:lnTo>
                  <a:lnTo>
                    <a:pt x="1273" y="564"/>
                  </a:lnTo>
                  <a:lnTo>
                    <a:pt x="1271" y="564"/>
                  </a:lnTo>
                  <a:lnTo>
                    <a:pt x="1271" y="571"/>
                  </a:lnTo>
                  <a:lnTo>
                    <a:pt x="1271" y="574"/>
                  </a:lnTo>
                  <a:lnTo>
                    <a:pt x="1271" y="574"/>
                  </a:lnTo>
                  <a:lnTo>
                    <a:pt x="1271" y="574"/>
                  </a:lnTo>
                  <a:lnTo>
                    <a:pt x="1269" y="576"/>
                  </a:lnTo>
                  <a:lnTo>
                    <a:pt x="1269" y="576"/>
                  </a:lnTo>
                  <a:lnTo>
                    <a:pt x="1269" y="576"/>
                  </a:lnTo>
                  <a:lnTo>
                    <a:pt x="1271" y="576"/>
                  </a:lnTo>
                  <a:lnTo>
                    <a:pt x="1269" y="578"/>
                  </a:lnTo>
                  <a:lnTo>
                    <a:pt x="1271" y="576"/>
                  </a:lnTo>
                  <a:lnTo>
                    <a:pt x="1271" y="578"/>
                  </a:lnTo>
                  <a:lnTo>
                    <a:pt x="1273" y="578"/>
                  </a:lnTo>
                  <a:lnTo>
                    <a:pt x="1271" y="578"/>
                  </a:lnTo>
                  <a:lnTo>
                    <a:pt x="1273" y="578"/>
                  </a:lnTo>
                  <a:lnTo>
                    <a:pt x="1276" y="581"/>
                  </a:lnTo>
                  <a:lnTo>
                    <a:pt x="1276" y="581"/>
                  </a:lnTo>
                  <a:lnTo>
                    <a:pt x="1278" y="581"/>
                  </a:lnTo>
                  <a:lnTo>
                    <a:pt x="1283" y="583"/>
                  </a:lnTo>
                  <a:lnTo>
                    <a:pt x="1283" y="583"/>
                  </a:lnTo>
                  <a:lnTo>
                    <a:pt x="1283" y="588"/>
                  </a:lnTo>
                  <a:lnTo>
                    <a:pt x="1283" y="590"/>
                  </a:lnTo>
                  <a:lnTo>
                    <a:pt x="1283" y="595"/>
                  </a:lnTo>
                  <a:lnTo>
                    <a:pt x="1285" y="595"/>
                  </a:lnTo>
                  <a:lnTo>
                    <a:pt x="1285" y="597"/>
                  </a:lnTo>
                  <a:lnTo>
                    <a:pt x="1285" y="597"/>
                  </a:lnTo>
                  <a:lnTo>
                    <a:pt x="1285" y="600"/>
                  </a:lnTo>
                  <a:lnTo>
                    <a:pt x="1285" y="600"/>
                  </a:lnTo>
                  <a:lnTo>
                    <a:pt x="1285" y="600"/>
                  </a:lnTo>
                  <a:lnTo>
                    <a:pt x="1285" y="602"/>
                  </a:lnTo>
                  <a:lnTo>
                    <a:pt x="1283" y="602"/>
                  </a:lnTo>
                  <a:lnTo>
                    <a:pt x="1283" y="602"/>
                  </a:lnTo>
                  <a:lnTo>
                    <a:pt x="1283" y="602"/>
                  </a:lnTo>
                  <a:lnTo>
                    <a:pt x="1280" y="602"/>
                  </a:lnTo>
                  <a:lnTo>
                    <a:pt x="1273" y="602"/>
                  </a:lnTo>
                  <a:lnTo>
                    <a:pt x="1269" y="602"/>
                  </a:lnTo>
                  <a:lnTo>
                    <a:pt x="1266" y="602"/>
                  </a:lnTo>
                  <a:lnTo>
                    <a:pt x="1264" y="602"/>
                  </a:lnTo>
                  <a:lnTo>
                    <a:pt x="1262" y="602"/>
                  </a:lnTo>
                  <a:lnTo>
                    <a:pt x="1259" y="600"/>
                  </a:lnTo>
                  <a:lnTo>
                    <a:pt x="1259" y="600"/>
                  </a:lnTo>
                  <a:lnTo>
                    <a:pt x="1259" y="600"/>
                  </a:lnTo>
                  <a:lnTo>
                    <a:pt x="1259" y="597"/>
                  </a:lnTo>
                  <a:lnTo>
                    <a:pt x="1257" y="597"/>
                  </a:lnTo>
                  <a:lnTo>
                    <a:pt x="1254" y="597"/>
                  </a:lnTo>
                  <a:lnTo>
                    <a:pt x="1254" y="597"/>
                  </a:lnTo>
                  <a:lnTo>
                    <a:pt x="1247" y="597"/>
                  </a:lnTo>
                  <a:lnTo>
                    <a:pt x="1245" y="600"/>
                  </a:lnTo>
                  <a:lnTo>
                    <a:pt x="1245" y="602"/>
                  </a:lnTo>
                  <a:lnTo>
                    <a:pt x="1245" y="604"/>
                  </a:lnTo>
                  <a:lnTo>
                    <a:pt x="1245" y="604"/>
                  </a:lnTo>
                  <a:lnTo>
                    <a:pt x="1245" y="604"/>
                  </a:lnTo>
                  <a:lnTo>
                    <a:pt x="1245" y="604"/>
                  </a:lnTo>
                  <a:lnTo>
                    <a:pt x="1247" y="604"/>
                  </a:lnTo>
                  <a:lnTo>
                    <a:pt x="1247" y="609"/>
                  </a:lnTo>
                  <a:lnTo>
                    <a:pt x="1250" y="607"/>
                  </a:lnTo>
                  <a:lnTo>
                    <a:pt x="1250" y="607"/>
                  </a:lnTo>
                  <a:lnTo>
                    <a:pt x="1250" y="604"/>
                  </a:lnTo>
                  <a:lnTo>
                    <a:pt x="1250" y="607"/>
                  </a:lnTo>
                  <a:lnTo>
                    <a:pt x="1252" y="607"/>
                  </a:lnTo>
                  <a:lnTo>
                    <a:pt x="1254" y="604"/>
                  </a:lnTo>
                  <a:lnTo>
                    <a:pt x="1254" y="607"/>
                  </a:lnTo>
                  <a:lnTo>
                    <a:pt x="1257" y="609"/>
                  </a:lnTo>
                  <a:lnTo>
                    <a:pt x="1257" y="609"/>
                  </a:lnTo>
                  <a:lnTo>
                    <a:pt x="1257" y="609"/>
                  </a:lnTo>
                  <a:lnTo>
                    <a:pt x="1257" y="609"/>
                  </a:lnTo>
                  <a:lnTo>
                    <a:pt x="1259" y="609"/>
                  </a:lnTo>
                  <a:lnTo>
                    <a:pt x="1259" y="611"/>
                  </a:lnTo>
                  <a:lnTo>
                    <a:pt x="1262" y="611"/>
                  </a:lnTo>
                  <a:lnTo>
                    <a:pt x="1262" y="614"/>
                  </a:lnTo>
                  <a:lnTo>
                    <a:pt x="1262" y="614"/>
                  </a:lnTo>
                  <a:lnTo>
                    <a:pt x="1264" y="614"/>
                  </a:lnTo>
                  <a:lnTo>
                    <a:pt x="1266" y="616"/>
                  </a:lnTo>
                  <a:lnTo>
                    <a:pt x="1266" y="616"/>
                  </a:lnTo>
                  <a:lnTo>
                    <a:pt x="1266" y="616"/>
                  </a:lnTo>
                  <a:lnTo>
                    <a:pt x="1266" y="618"/>
                  </a:lnTo>
                  <a:lnTo>
                    <a:pt x="1269" y="618"/>
                  </a:lnTo>
                  <a:lnTo>
                    <a:pt x="1269" y="618"/>
                  </a:lnTo>
                  <a:lnTo>
                    <a:pt x="1269" y="621"/>
                  </a:lnTo>
                  <a:lnTo>
                    <a:pt x="1269" y="621"/>
                  </a:lnTo>
                  <a:lnTo>
                    <a:pt x="1271" y="621"/>
                  </a:lnTo>
                  <a:lnTo>
                    <a:pt x="1271" y="621"/>
                  </a:lnTo>
                  <a:lnTo>
                    <a:pt x="1273" y="621"/>
                  </a:lnTo>
                  <a:lnTo>
                    <a:pt x="1273" y="621"/>
                  </a:lnTo>
                  <a:lnTo>
                    <a:pt x="1273" y="621"/>
                  </a:lnTo>
                  <a:lnTo>
                    <a:pt x="1273" y="621"/>
                  </a:lnTo>
                  <a:lnTo>
                    <a:pt x="1273" y="621"/>
                  </a:lnTo>
                  <a:lnTo>
                    <a:pt x="1269" y="623"/>
                  </a:lnTo>
                  <a:lnTo>
                    <a:pt x="1266" y="623"/>
                  </a:lnTo>
                  <a:lnTo>
                    <a:pt x="1266" y="626"/>
                  </a:lnTo>
                  <a:lnTo>
                    <a:pt x="1266" y="628"/>
                  </a:lnTo>
                  <a:lnTo>
                    <a:pt x="1269" y="628"/>
                  </a:lnTo>
                  <a:lnTo>
                    <a:pt x="1266" y="630"/>
                  </a:lnTo>
                  <a:lnTo>
                    <a:pt x="1269" y="630"/>
                  </a:lnTo>
                  <a:lnTo>
                    <a:pt x="1269" y="630"/>
                  </a:lnTo>
                  <a:lnTo>
                    <a:pt x="1269" y="633"/>
                  </a:lnTo>
                  <a:lnTo>
                    <a:pt x="1271" y="633"/>
                  </a:lnTo>
                  <a:lnTo>
                    <a:pt x="1273" y="635"/>
                  </a:lnTo>
                  <a:lnTo>
                    <a:pt x="1273" y="633"/>
                  </a:lnTo>
                  <a:lnTo>
                    <a:pt x="1273" y="633"/>
                  </a:lnTo>
                  <a:lnTo>
                    <a:pt x="1273" y="635"/>
                  </a:lnTo>
                  <a:lnTo>
                    <a:pt x="1276" y="635"/>
                  </a:lnTo>
                  <a:lnTo>
                    <a:pt x="1276" y="637"/>
                  </a:lnTo>
                  <a:lnTo>
                    <a:pt x="1276" y="637"/>
                  </a:lnTo>
                  <a:lnTo>
                    <a:pt x="1276" y="637"/>
                  </a:lnTo>
                  <a:lnTo>
                    <a:pt x="1278" y="637"/>
                  </a:lnTo>
                  <a:lnTo>
                    <a:pt x="1278" y="637"/>
                  </a:lnTo>
                  <a:lnTo>
                    <a:pt x="1278" y="640"/>
                  </a:lnTo>
                  <a:lnTo>
                    <a:pt x="1278" y="640"/>
                  </a:lnTo>
                  <a:lnTo>
                    <a:pt x="1280" y="640"/>
                  </a:lnTo>
                  <a:lnTo>
                    <a:pt x="1280" y="640"/>
                  </a:lnTo>
                  <a:lnTo>
                    <a:pt x="1280" y="642"/>
                  </a:lnTo>
                  <a:lnTo>
                    <a:pt x="1283" y="642"/>
                  </a:lnTo>
                  <a:lnTo>
                    <a:pt x="1283" y="644"/>
                  </a:lnTo>
                  <a:lnTo>
                    <a:pt x="1283" y="644"/>
                  </a:lnTo>
                  <a:lnTo>
                    <a:pt x="1283" y="647"/>
                  </a:lnTo>
                  <a:lnTo>
                    <a:pt x="1283" y="647"/>
                  </a:lnTo>
                  <a:lnTo>
                    <a:pt x="1285" y="647"/>
                  </a:lnTo>
                  <a:lnTo>
                    <a:pt x="1285" y="649"/>
                  </a:lnTo>
                  <a:lnTo>
                    <a:pt x="1285" y="649"/>
                  </a:lnTo>
                  <a:lnTo>
                    <a:pt x="1285" y="649"/>
                  </a:lnTo>
                  <a:lnTo>
                    <a:pt x="1285" y="649"/>
                  </a:lnTo>
                  <a:lnTo>
                    <a:pt x="1285" y="652"/>
                  </a:lnTo>
                  <a:lnTo>
                    <a:pt x="1285" y="654"/>
                  </a:lnTo>
                  <a:lnTo>
                    <a:pt x="1283" y="654"/>
                  </a:lnTo>
                  <a:lnTo>
                    <a:pt x="1283" y="654"/>
                  </a:lnTo>
                  <a:lnTo>
                    <a:pt x="1285" y="656"/>
                  </a:lnTo>
                  <a:lnTo>
                    <a:pt x="1283" y="656"/>
                  </a:lnTo>
                  <a:lnTo>
                    <a:pt x="1285" y="656"/>
                  </a:lnTo>
                  <a:lnTo>
                    <a:pt x="1285" y="656"/>
                  </a:lnTo>
                  <a:lnTo>
                    <a:pt x="1285" y="659"/>
                  </a:lnTo>
                  <a:lnTo>
                    <a:pt x="1285" y="659"/>
                  </a:lnTo>
                  <a:lnTo>
                    <a:pt x="1283" y="661"/>
                  </a:lnTo>
                  <a:lnTo>
                    <a:pt x="1283" y="661"/>
                  </a:lnTo>
                  <a:lnTo>
                    <a:pt x="1285" y="661"/>
                  </a:lnTo>
                  <a:lnTo>
                    <a:pt x="1285" y="663"/>
                  </a:lnTo>
                  <a:lnTo>
                    <a:pt x="1285" y="663"/>
                  </a:lnTo>
                  <a:lnTo>
                    <a:pt x="1285" y="663"/>
                  </a:lnTo>
                  <a:lnTo>
                    <a:pt x="1285" y="663"/>
                  </a:lnTo>
                  <a:lnTo>
                    <a:pt x="1288" y="663"/>
                  </a:lnTo>
                  <a:lnTo>
                    <a:pt x="1288" y="663"/>
                  </a:lnTo>
                  <a:lnTo>
                    <a:pt x="1288" y="666"/>
                  </a:lnTo>
                  <a:lnTo>
                    <a:pt x="1285" y="666"/>
                  </a:lnTo>
                  <a:lnTo>
                    <a:pt x="1285" y="666"/>
                  </a:lnTo>
                  <a:lnTo>
                    <a:pt x="1285" y="666"/>
                  </a:lnTo>
                  <a:lnTo>
                    <a:pt x="1283" y="668"/>
                  </a:lnTo>
                  <a:lnTo>
                    <a:pt x="1283" y="670"/>
                  </a:lnTo>
                  <a:lnTo>
                    <a:pt x="1285" y="673"/>
                  </a:lnTo>
                  <a:lnTo>
                    <a:pt x="1285" y="673"/>
                  </a:lnTo>
                  <a:lnTo>
                    <a:pt x="1285" y="673"/>
                  </a:lnTo>
                  <a:lnTo>
                    <a:pt x="1280" y="675"/>
                  </a:lnTo>
                  <a:lnTo>
                    <a:pt x="1280" y="678"/>
                  </a:lnTo>
                  <a:lnTo>
                    <a:pt x="1280" y="678"/>
                  </a:lnTo>
                  <a:lnTo>
                    <a:pt x="1280" y="680"/>
                  </a:lnTo>
                  <a:lnTo>
                    <a:pt x="1280" y="680"/>
                  </a:lnTo>
                  <a:lnTo>
                    <a:pt x="1280" y="682"/>
                  </a:lnTo>
                  <a:lnTo>
                    <a:pt x="1280" y="682"/>
                  </a:lnTo>
                  <a:lnTo>
                    <a:pt x="1283" y="685"/>
                  </a:lnTo>
                  <a:lnTo>
                    <a:pt x="1283" y="685"/>
                  </a:lnTo>
                  <a:lnTo>
                    <a:pt x="1283" y="685"/>
                  </a:lnTo>
                  <a:lnTo>
                    <a:pt x="1278" y="689"/>
                  </a:lnTo>
                  <a:lnTo>
                    <a:pt x="1278" y="689"/>
                  </a:lnTo>
                  <a:lnTo>
                    <a:pt x="1276" y="689"/>
                  </a:lnTo>
                  <a:lnTo>
                    <a:pt x="1273" y="689"/>
                  </a:lnTo>
                  <a:lnTo>
                    <a:pt x="1269" y="687"/>
                  </a:lnTo>
                  <a:lnTo>
                    <a:pt x="1269" y="689"/>
                  </a:lnTo>
                  <a:lnTo>
                    <a:pt x="1271" y="692"/>
                  </a:lnTo>
                  <a:lnTo>
                    <a:pt x="1269" y="694"/>
                  </a:lnTo>
                  <a:lnTo>
                    <a:pt x="1271" y="696"/>
                  </a:lnTo>
                  <a:lnTo>
                    <a:pt x="1271" y="696"/>
                  </a:lnTo>
                  <a:lnTo>
                    <a:pt x="1271" y="699"/>
                  </a:lnTo>
                  <a:lnTo>
                    <a:pt x="1269" y="699"/>
                  </a:lnTo>
                  <a:lnTo>
                    <a:pt x="1269" y="701"/>
                  </a:lnTo>
                  <a:lnTo>
                    <a:pt x="1266" y="701"/>
                  </a:lnTo>
                  <a:lnTo>
                    <a:pt x="1266" y="701"/>
                  </a:lnTo>
                  <a:lnTo>
                    <a:pt x="1266" y="701"/>
                  </a:lnTo>
                  <a:lnTo>
                    <a:pt x="1264" y="701"/>
                  </a:lnTo>
                  <a:lnTo>
                    <a:pt x="1264" y="703"/>
                  </a:lnTo>
                  <a:lnTo>
                    <a:pt x="1264" y="703"/>
                  </a:lnTo>
                  <a:lnTo>
                    <a:pt x="1262" y="706"/>
                  </a:lnTo>
                  <a:lnTo>
                    <a:pt x="1262" y="708"/>
                  </a:lnTo>
                  <a:lnTo>
                    <a:pt x="1259" y="708"/>
                  </a:lnTo>
                  <a:lnTo>
                    <a:pt x="1259" y="708"/>
                  </a:lnTo>
                  <a:lnTo>
                    <a:pt x="1259" y="711"/>
                  </a:lnTo>
                  <a:lnTo>
                    <a:pt x="1257" y="711"/>
                  </a:lnTo>
                  <a:lnTo>
                    <a:pt x="1254" y="711"/>
                  </a:lnTo>
                  <a:lnTo>
                    <a:pt x="1254" y="711"/>
                  </a:lnTo>
                  <a:lnTo>
                    <a:pt x="1254" y="713"/>
                  </a:lnTo>
                  <a:lnTo>
                    <a:pt x="1254" y="715"/>
                  </a:lnTo>
                  <a:lnTo>
                    <a:pt x="1254" y="715"/>
                  </a:lnTo>
                  <a:lnTo>
                    <a:pt x="1254" y="718"/>
                  </a:lnTo>
                  <a:lnTo>
                    <a:pt x="1254" y="718"/>
                  </a:lnTo>
                  <a:lnTo>
                    <a:pt x="1252" y="720"/>
                  </a:lnTo>
                  <a:lnTo>
                    <a:pt x="1254" y="720"/>
                  </a:lnTo>
                  <a:lnTo>
                    <a:pt x="1252" y="722"/>
                  </a:lnTo>
                  <a:lnTo>
                    <a:pt x="1252" y="722"/>
                  </a:lnTo>
                  <a:lnTo>
                    <a:pt x="1254" y="725"/>
                  </a:lnTo>
                  <a:lnTo>
                    <a:pt x="1254" y="727"/>
                  </a:lnTo>
                  <a:lnTo>
                    <a:pt x="1254" y="727"/>
                  </a:lnTo>
                  <a:lnTo>
                    <a:pt x="1254" y="727"/>
                  </a:lnTo>
                  <a:lnTo>
                    <a:pt x="1254" y="727"/>
                  </a:lnTo>
                  <a:lnTo>
                    <a:pt x="1254" y="729"/>
                  </a:lnTo>
                  <a:lnTo>
                    <a:pt x="1254" y="732"/>
                  </a:lnTo>
                  <a:lnTo>
                    <a:pt x="1252" y="732"/>
                  </a:lnTo>
                  <a:lnTo>
                    <a:pt x="1254" y="734"/>
                  </a:lnTo>
                  <a:lnTo>
                    <a:pt x="1254" y="734"/>
                  </a:lnTo>
                  <a:lnTo>
                    <a:pt x="1252" y="734"/>
                  </a:lnTo>
                  <a:lnTo>
                    <a:pt x="1252" y="739"/>
                  </a:lnTo>
                  <a:lnTo>
                    <a:pt x="1252" y="741"/>
                  </a:lnTo>
                  <a:lnTo>
                    <a:pt x="1250" y="741"/>
                  </a:lnTo>
                  <a:lnTo>
                    <a:pt x="1250" y="741"/>
                  </a:lnTo>
                  <a:lnTo>
                    <a:pt x="1247" y="741"/>
                  </a:lnTo>
                  <a:lnTo>
                    <a:pt x="1247" y="744"/>
                  </a:lnTo>
                  <a:lnTo>
                    <a:pt x="1245" y="746"/>
                  </a:lnTo>
                  <a:lnTo>
                    <a:pt x="1243" y="746"/>
                  </a:lnTo>
                  <a:lnTo>
                    <a:pt x="1243" y="746"/>
                  </a:lnTo>
                  <a:lnTo>
                    <a:pt x="1240" y="746"/>
                  </a:lnTo>
                  <a:lnTo>
                    <a:pt x="1238" y="746"/>
                  </a:lnTo>
                  <a:lnTo>
                    <a:pt x="1238" y="748"/>
                  </a:lnTo>
                  <a:lnTo>
                    <a:pt x="1236" y="751"/>
                  </a:lnTo>
                  <a:lnTo>
                    <a:pt x="1236" y="751"/>
                  </a:lnTo>
                  <a:lnTo>
                    <a:pt x="1236" y="753"/>
                  </a:lnTo>
                  <a:lnTo>
                    <a:pt x="1236" y="755"/>
                  </a:lnTo>
                  <a:lnTo>
                    <a:pt x="1238" y="755"/>
                  </a:lnTo>
                  <a:lnTo>
                    <a:pt x="1236" y="758"/>
                  </a:lnTo>
                  <a:lnTo>
                    <a:pt x="1236" y="760"/>
                  </a:lnTo>
                  <a:lnTo>
                    <a:pt x="1233" y="760"/>
                  </a:lnTo>
                  <a:lnTo>
                    <a:pt x="1233" y="763"/>
                  </a:lnTo>
                  <a:lnTo>
                    <a:pt x="1233" y="763"/>
                  </a:lnTo>
                  <a:lnTo>
                    <a:pt x="1233" y="765"/>
                  </a:lnTo>
                  <a:lnTo>
                    <a:pt x="1231" y="767"/>
                  </a:lnTo>
                  <a:lnTo>
                    <a:pt x="1231" y="767"/>
                  </a:lnTo>
                  <a:lnTo>
                    <a:pt x="1231" y="770"/>
                  </a:lnTo>
                  <a:lnTo>
                    <a:pt x="1231" y="770"/>
                  </a:lnTo>
                  <a:lnTo>
                    <a:pt x="1231" y="772"/>
                  </a:lnTo>
                  <a:lnTo>
                    <a:pt x="1231" y="772"/>
                  </a:lnTo>
                  <a:lnTo>
                    <a:pt x="1231" y="774"/>
                  </a:lnTo>
                  <a:lnTo>
                    <a:pt x="1228" y="774"/>
                  </a:lnTo>
                  <a:lnTo>
                    <a:pt x="1228" y="777"/>
                  </a:lnTo>
                  <a:lnTo>
                    <a:pt x="1228" y="777"/>
                  </a:lnTo>
                  <a:lnTo>
                    <a:pt x="1228" y="779"/>
                  </a:lnTo>
                  <a:lnTo>
                    <a:pt x="1224" y="781"/>
                  </a:lnTo>
                  <a:lnTo>
                    <a:pt x="1224" y="779"/>
                  </a:lnTo>
                  <a:lnTo>
                    <a:pt x="1224" y="781"/>
                  </a:lnTo>
                  <a:lnTo>
                    <a:pt x="1224" y="781"/>
                  </a:lnTo>
                  <a:lnTo>
                    <a:pt x="1219" y="781"/>
                  </a:lnTo>
                  <a:lnTo>
                    <a:pt x="1191" y="781"/>
                  </a:lnTo>
                  <a:lnTo>
                    <a:pt x="1179" y="781"/>
                  </a:lnTo>
                  <a:lnTo>
                    <a:pt x="1179" y="784"/>
                  </a:lnTo>
                  <a:lnTo>
                    <a:pt x="1179" y="784"/>
                  </a:lnTo>
                  <a:lnTo>
                    <a:pt x="1179" y="784"/>
                  </a:lnTo>
                  <a:lnTo>
                    <a:pt x="1179" y="789"/>
                  </a:lnTo>
                  <a:lnTo>
                    <a:pt x="1176" y="789"/>
                  </a:lnTo>
                  <a:lnTo>
                    <a:pt x="1176" y="791"/>
                  </a:lnTo>
                  <a:lnTo>
                    <a:pt x="1176" y="793"/>
                  </a:lnTo>
                  <a:lnTo>
                    <a:pt x="1176" y="793"/>
                  </a:lnTo>
                  <a:lnTo>
                    <a:pt x="1174" y="793"/>
                  </a:lnTo>
                  <a:lnTo>
                    <a:pt x="1174" y="793"/>
                  </a:lnTo>
                  <a:lnTo>
                    <a:pt x="1174" y="796"/>
                  </a:lnTo>
                  <a:lnTo>
                    <a:pt x="1172" y="796"/>
                  </a:lnTo>
                  <a:lnTo>
                    <a:pt x="1172" y="796"/>
                  </a:lnTo>
                  <a:lnTo>
                    <a:pt x="1169" y="798"/>
                  </a:lnTo>
                  <a:lnTo>
                    <a:pt x="1169" y="798"/>
                  </a:lnTo>
                  <a:lnTo>
                    <a:pt x="1167" y="798"/>
                  </a:lnTo>
                  <a:lnTo>
                    <a:pt x="1169" y="798"/>
                  </a:lnTo>
                  <a:lnTo>
                    <a:pt x="1167" y="800"/>
                  </a:lnTo>
                  <a:lnTo>
                    <a:pt x="1167" y="800"/>
                  </a:lnTo>
                  <a:lnTo>
                    <a:pt x="1167" y="803"/>
                  </a:lnTo>
                  <a:lnTo>
                    <a:pt x="1167" y="803"/>
                  </a:lnTo>
                  <a:lnTo>
                    <a:pt x="1167" y="805"/>
                  </a:lnTo>
                  <a:lnTo>
                    <a:pt x="1169" y="807"/>
                  </a:lnTo>
                  <a:lnTo>
                    <a:pt x="1174" y="810"/>
                  </a:lnTo>
                  <a:lnTo>
                    <a:pt x="1174" y="812"/>
                  </a:lnTo>
                  <a:lnTo>
                    <a:pt x="1174" y="812"/>
                  </a:lnTo>
                  <a:lnTo>
                    <a:pt x="1174" y="817"/>
                  </a:lnTo>
                  <a:lnTo>
                    <a:pt x="1174" y="819"/>
                  </a:lnTo>
                  <a:lnTo>
                    <a:pt x="1174" y="822"/>
                  </a:lnTo>
                  <a:lnTo>
                    <a:pt x="1172" y="822"/>
                  </a:lnTo>
                  <a:lnTo>
                    <a:pt x="1174" y="824"/>
                  </a:lnTo>
                  <a:lnTo>
                    <a:pt x="1174" y="826"/>
                  </a:lnTo>
                  <a:lnTo>
                    <a:pt x="1174" y="826"/>
                  </a:lnTo>
                  <a:lnTo>
                    <a:pt x="1172" y="826"/>
                  </a:lnTo>
                  <a:lnTo>
                    <a:pt x="1172" y="829"/>
                  </a:lnTo>
                  <a:lnTo>
                    <a:pt x="1172" y="829"/>
                  </a:lnTo>
                  <a:lnTo>
                    <a:pt x="1169" y="831"/>
                  </a:lnTo>
                  <a:lnTo>
                    <a:pt x="1169" y="833"/>
                  </a:lnTo>
                  <a:lnTo>
                    <a:pt x="1167" y="833"/>
                  </a:lnTo>
                  <a:lnTo>
                    <a:pt x="1167" y="833"/>
                  </a:lnTo>
                  <a:lnTo>
                    <a:pt x="1167" y="836"/>
                  </a:lnTo>
                  <a:lnTo>
                    <a:pt x="1167" y="836"/>
                  </a:lnTo>
                  <a:lnTo>
                    <a:pt x="1172" y="836"/>
                  </a:lnTo>
                  <a:lnTo>
                    <a:pt x="1172" y="836"/>
                  </a:lnTo>
                  <a:lnTo>
                    <a:pt x="1172" y="838"/>
                  </a:lnTo>
                  <a:lnTo>
                    <a:pt x="1172" y="838"/>
                  </a:lnTo>
                  <a:lnTo>
                    <a:pt x="1172" y="838"/>
                  </a:lnTo>
                  <a:lnTo>
                    <a:pt x="1174" y="838"/>
                  </a:lnTo>
                  <a:lnTo>
                    <a:pt x="1172" y="840"/>
                  </a:lnTo>
                  <a:lnTo>
                    <a:pt x="1172" y="840"/>
                  </a:lnTo>
                  <a:lnTo>
                    <a:pt x="1172" y="840"/>
                  </a:lnTo>
                  <a:lnTo>
                    <a:pt x="1172" y="840"/>
                  </a:lnTo>
                  <a:lnTo>
                    <a:pt x="1169" y="843"/>
                  </a:lnTo>
                  <a:lnTo>
                    <a:pt x="1169" y="843"/>
                  </a:lnTo>
                  <a:lnTo>
                    <a:pt x="1167" y="845"/>
                  </a:lnTo>
                  <a:lnTo>
                    <a:pt x="1167" y="845"/>
                  </a:lnTo>
                  <a:lnTo>
                    <a:pt x="1167" y="848"/>
                  </a:lnTo>
                  <a:lnTo>
                    <a:pt x="1167" y="848"/>
                  </a:lnTo>
                  <a:lnTo>
                    <a:pt x="1167" y="848"/>
                  </a:lnTo>
                  <a:lnTo>
                    <a:pt x="1167" y="850"/>
                  </a:lnTo>
                  <a:lnTo>
                    <a:pt x="1165" y="850"/>
                  </a:lnTo>
                  <a:lnTo>
                    <a:pt x="1167" y="850"/>
                  </a:lnTo>
                  <a:lnTo>
                    <a:pt x="1167" y="852"/>
                  </a:lnTo>
                  <a:lnTo>
                    <a:pt x="1167" y="852"/>
                  </a:lnTo>
                  <a:lnTo>
                    <a:pt x="1167" y="852"/>
                  </a:lnTo>
                  <a:lnTo>
                    <a:pt x="1165" y="852"/>
                  </a:lnTo>
                  <a:lnTo>
                    <a:pt x="1165" y="852"/>
                  </a:lnTo>
                  <a:lnTo>
                    <a:pt x="1165" y="855"/>
                  </a:lnTo>
                  <a:lnTo>
                    <a:pt x="1165" y="855"/>
                  </a:lnTo>
                  <a:lnTo>
                    <a:pt x="1165" y="857"/>
                  </a:lnTo>
                  <a:lnTo>
                    <a:pt x="1165" y="857"/>
                  </a:lnTo>
                  <a:lnTo>
                    <a:pt x="1165" y="857"/>
                  </a:lnTo>
                  <a:lnTo>
                    <a:pt x="1162" y="857"/>
                  </a:lnTo>
                  <a:lnTo>
                    <a:pt x="1162" y="859"/>
                  </a:lnTo>
                  <a:lnTo>
                    <a:pt x="1160" y="859"/>
                  </a:lnTo>
                  <a:lnTo>
                    <a:pt x="1160" y="859"/>
                  </a:lnTo>
                  <a:lnTo>
                    <a:pt x="1158" y="859"/>
                  </a:lnTo>
                  <a:lnTo>
                    <a:pt x="1158" y="859"/>
                  </a:lnTo>
                  <a:lnTo>
                    <a:pt x="1158" y="862"/>
                  </a:lnTo>
                  <a:lnTo>
                    <a:pt x="1158" y="864"/>
                  </a:lnTo>
                  <a:lnTo>
                    <a:pt x="1158" y="866"/>
                  </a:lnTo>
                  <a:lnTo>
                    <a:pt x="1158" y="866"/>
                  </a:lnTo>
                  <a:lnTo>
                    <a:pt x="1155" y="866"/>
                  </a:lnTo>
                  <a:lnTo>
                    <a:pt x="1155" y="869"/>
                  </a:lnTo>
                  <a:lnTo>
                    <a:pt x="1155" y="869"/>
                  </a:lnTo>
                  <a:lnTo>
                    <a:pt x="1153" y="869"/>
                  </a:lnTo>
                  <a:lnTo>
                    <a:pt x="1153" y="871"/>
                  </a:lnTo>
                  <a:lnTo>
                    <a:pt x="1153" y="871"/>
                  </a:lnTo>
                  <a:lnTo>
                    <a:pt x="1153" y="874"/>
                  </a:lnTo>
                  <a:lnTo>
                    <a:pt x="1153" y="876"/>
                  </a:lnTo>
                  <a:lnTo>
                    <a:pt x="1153" y="874"/>
                  </a:lnTo>
                  <a:lnTo>
                    <a:pt x="1150" y="876"/>
                  </a:lnTo>
                  <a:lnTo>
                    <a:pt x="1150" y="876"/>
                  </a:lnTo>
                  <a:lnTo>
                    <a:pt x="1148" y="876"/>
                  </a:lnTo>
                  <a:lnTo>
                    <a:pt x="1148" y="876"/>
                  </a:lnTo>
                  <a:lnTo>
                    <a:pt x="1146" y="876"/>
                  </a:lnTo>
                  <a:lnTo>
                    <a:pt x="1143" y="876"/>
                  </a:lnTo>
                  <a:lnTo>
                    <a:pt x="1143" y="876"/>
                  </a:lnTo>
                  <a:lnTo>
                    <a:pt x="1141" y="878"/>
                  </a:lnTo>
                  <a:lnTo>
                    <a:pt x="1139" y="878"/>
                  </a:lnTo>
                  <a:lnTo>
                    <a:pt x="1136" y="876"/>
                  </a:lnTo>
                  <a:lnTo>
                    <a:pt x="1136" y="878"/>
                  </a:lnTo>
                  <a:lnTo>
                    <a:pt x="1134" y="878"/>
                  </a:lnTo>
                  <a:lnTo>
                    <a:pt x="1134" y="881"/>
                  </a:lnTo>
                  <a:lnTo>
                    <a:pt x="1134" y="881"/>
                  </a:lnTo>
                  <a:lnTo>
                    <a:pt x="1132" y="878"/>
                  </a:lnTo>
                  <a:lnTo>
                    <a:pt x="1132" y="881"/>
                  </a:lnTo>
                  <a:lnTo>
                    <a:pt x="1129" y="881"/>
                  </a:lnTo>
                  <a:lnTo>
                    <a:pt x="1129" y="883"/>
                  </a:lnTo>
                  <a:lnTo>
                    <a:pt x="1132" y="883"/>
                  </a:lnTo>
                  <a:lnTo>
                    <a:pt x="1132" y="885"/>
                  </a:lnTo>
                  <a:lnTo>
                    <a:pt x="1132" y="885"/>
                  </a:lnTo>
                  <a:lnTo>
                    <a:pt x="1134" y="885"/>
                  </a:lnTo>
                  <a:lnTo>
                    <a:pt x="1134" y="888"/>
                  </a:lnTo>
                  <a:lnTo>
                    <a:pt x="1136" y="888"/>
                  </a:lnTo>
                  <a:lnTo>
                    <a:pt x="1136" y="888"/>
                  </a:lnTo>
                  <a:lnTo>
                    <a:pt x="1139" y="888"/>
                  </a:lnTo>
                  <a:lnTo>
                    <a:pt x="1139" y="890"/>
                  </a:lnTo>
                  <a:lnTo>
                    <a:pt x="1139" y="890"/>
                  </a:lnTo>
                  <a:lnTo>
                    <a:pt x="1136" y="890"/>
                  </a:lnTo>
                  <a:lnTo>
                    <a:pt x="1136" y="890"/>
                  </a:lnTo>
                  <a:lnTo>
                    <a:pt x="1136" y="890"/>
                  </a:lnTo>
                  <a:lnTo>
                    <a:pt x="1136" y="890"/>
                  </a:lnTo>
                  <a:lnTo>
                    <a:pt x="1136" y="892"/>
                  </a:lnTo>
                  <a:lnTo>
                    <a:pt x="1134" y="895"/>
                  </a:lnTo>
                  <a:lnTo>
                    <a:pt x="1134" y="895"/>
                  </a:lnTo>
                  <a:lnTo>
                    <a:pt x="1132" y="895"/>
                  </a:lnTo>
                  <a:lnTo>
                    <a:pt x="1132" y="897"/>
                  </a:lnTo>
                  <a:lnTo>
                    <a:pt x="1132" y="897"/>
                  </a:lnTo>
                  <a:lnTo>
                    <a:pt x="1132" y="900"/>
                  </a:lnTo>
                  <a:lnTo>
                    <a:pt x="1127" y="900"/>
                  </a:lnTo>
                  <a:lnTo>
                    <a:pt x="1127" y="902"/>
                  </a:lnTo>
                  <a:lnTo>
                    <a:pt x="1127" y="902"/>
                  </a:lnTo>
                  <a:lnTo>
                    <a:pt x="1127" y="902"/>
                  </a:lnTo>
                  <a:lnTo>
                    <a:pt x="1127" y="904"/>
                  </a:lnTo>
                  <a:lnTo>
                    <a:pt x="1125" y="904"/>
                  </a:lnTo>
                  <a:lnTo>
                    <a:pt x="1125" y="907"/>
                  </a:lnTo>
                  <a:lnTo>
                    <a:pt x="1125" y="907"/>
                  </a:lnTo>
                  <a:lnTo>
                    <a:pt x="1122" y="907"/>
                  </a:lnTo>
                  <a:lnTo>
                    <a:pt x="1122" y="909"/>
                  </a:lnTo>
                  <a:lnTo>
                    <a:pt x="1122" y="909"/>
                  </a:lnTo>
                  <a:lnTo>
                    <a:pt x="1125" y="911"/>
                  </a:lnTo>
                  <a:lnTo>
                    <a:pt x="1122" y="914"/>
                  </a:lnTo>
                  <a:lnTo>
                    <a:pt x="1122" y="914"/>
                  </a:lnTo>
                  <a:lnTo>
                    <a:pt x="1125" y="916"/>
                  </a:lnTo>
                  <a:lnTo>
                    <a:pt x="1125" y="914"/>
                  </a:lnTo>
                  <a:lnTo>
                    <a:pt x="1125" y="916"/>
                  </a:lnTo>
                  <a:lnTo>
                    <a:pt x="1125" y="916"/>
                  </a:lnTo>
                  <a:lnTo>
                    <a:pt x="1125" y="918"/>
                  </a:lnTo>
                  <a:lnTo>
                    <a:pt x="1125" y="918"/>
                  </a:lnTo>
                  <a:lnTo>
                    <a:pt x="1122" y="921"/>
                  </a:lnTo>
                  <a:lnTo>
                    <a:pt x="1122" y="921"/>
                  </a:lnTo>
                  <a:lnTo>
                    <a:pt x="1120" y="921"/>
                  </a:lnTo>
                  <a:lnTo>
                    <a:pt x="1120" y="923"/>
                  </a:lnTo>
                  <a:lnTo>
                    <a:pt x="1120" y="926"/>
                  </a:lnTo>
                  <a:lnTo>
                    <a:pt x="1120" y="928"/>
                  </a:lnTo>
                  <a:lnTo>
                    <a:pt x="1120" y="928"/>
                  </a:lnTo>
                  <a:lnTo>
                    <a:pt x="1120" y="928"/>
                  </a:lnTo>
                  <a:lnTo>
                    <a:pt x="1120" y="930"/>
                  </a:lnTo>
                  <a:lnTo>
                    <a:pt x="1120" y="930"/>
                  </a:lnTo>
                  <a:lnTo>
                    <a:pt x="1120" y="930"/>
                  </a:lnTo>
                  <a:lnTo>
                    <a:pt x="1120" y="933"/>
                  </a:lnTo>
                  <a:lnTo>
                    <a:pt x="1120" y="933"/>
                  </a:lnTo>
                  <a:lnTo>
                    <a:pt x="1117" y="935"/>
                  </a:lnTo>
                  <a:lnTo>
                    <a:pt x="1117" y="935"/>
                  </a:lnTo>
                  <a:lnTo>
                    <a:pt x="1117" y="935"/>
                  </a:lnTo>
                  <a:lnTo>
                    <a:pt x="1117" y="935"/>
                  </a:lnTo>
                  <a:lnTo>
                    <a:pt x="1120" y="937"/>
                  </a:lnTo>
                  <a:lnTo>
                    <a:pt x="1117" y="937"/>
                  </a:lnTo>
                  <a:lnTo>
                    <a:pt x="1117" y="940"/>
                  </a:lnTo>
                  <a:lnTo>
                    <a:pt x="1115" y="940"/>
                  </a:lnTo>
                  <a:lnTo>
                    <a:pt x="1115" y="937"/>
                  </a:lnTo>
                  <a:lnTo>
                    <a:pt x="1113" y="940"/>
                  </a:lnTo>
                  <a:lnTo>
                    <a:pt x="1113" y="942"/>
                  </a:lnTo>
                  <a:lnTo>
                    <a:pt x="1113" y="942"/>
                  </a:lnTo>
                  <a:lnTo>
                    <a:pt x="1113" y="942"/>
                  </a:lnTo>
                  <a:lnTo>
                    <a:pt x="1113" y="944"/>
                  </a:lnTo>
                  <a:lnTo>
                    <a:pt x="1113" y="944"/>
                  </a:lnTo>
                  <a:lnTo>
                    <a:pt x="1115" y="947"/>
                  </a:lnTo>
                  <a:lnTo>
                    <a:pt x="1115" y="947"/>
                  </a:lnTo>
                  <a:lnTo>
                    <a:pt x="1117" y="949"/>
                  </a:lnTo>
                  <a:lnTo>
                    <a:pt x="1115" y="952"/>
                  </a:lnTo>
                  <a:lnTo>
                    <a:pt x="1113" y="952"/>
                  </a:lnTo>
                  <a:lnTo>
                    <a:pt x="1113" y="954"/>
                  </a:lnTo>
                  <a:lnTo>
                    <a:pt x="1110" y="954"/>
                  </a:lnTo>
                  <a:lnTo>
                    <a:pt x="1110" y="954"/>
                  </a:lnTo>
                  <a:lnTo>
                    <a:pt x="1110" y="956"/>
                  </a:lnTo>
                  <a:lnTo>
                    <a:pt x="1110" y="956"/>
                  </a:lnTo>
                  <a:lnTo>
                    <a:pt x="1110" y="959"/>
                  </a:lnTo>
                  <a:lnTo>
                    <a:pt x="1108" y="959"/>
                  </a:lnTo>
                  <a:lnTo>
                    <a:pt x="1108" y="959"/>
                  </a:lnTo>
                  <a:lnTo>
                    <a:pt x="1108" y="961"/>
                  </a:lnTo>
                  <a:lnTo>
                    <a:pt x="1106" y="961"/>
                  </a:lnTo>
                  <a:lnTo>
                    <a:pt x="1103" y="963"/>
                  </a:lnTo>
                  <a:lnTo>
                    <a:pt x="1101" y="966"/>
                  </a:lnTo>
                  <a:lnTo>
                    <a:pt x="1103" y="968"/>
                  </a:lnTo>
                  <a:lnTo>
                    <a:pt x="1103" y="968"/>
                  </a:lnTo>
                  <a:lnTo>
                    <a:pt x="1101" y="968"/>
                  </a:lnTo>
                  <a:lnTo>
                    <a:pt x="1103" y="970"/>
                  </a:lnTo>
                  <a:lnTo>
                    <a:pt x="1103" y="970"/>
                  </a:lnTo>
                  <a:lnTo>
                    <a:pt x="1106" y="970"/>
                  </a:lnTo>
                  <a:lnTo>
                    <a:pt x="1106" y="970"/>
                  </a:lnTo>
                  <a:lnTo>
                    <a:pt x="1106" y="973"/>
                  </a:lnTo>
                  <a:lnTo>
                    <a:pt x="1108" y="973"/>
                  </a:lnTo>
                  <a:lnTo>
                    <a:pt x="1108" y="970"/>
                  </a:lnTo>
                  <a:lnTo>
                    <a:pt x="1108" y="970"/>
                  </a:lnTo>
                  <a:lnTo>
                    <a:pt x="1110" y="970"/>
                  </a:lnTo>
                  <a:lnTo>
                    <a:pt x="1110" y="970"/>
                  </a:lnTo>
                  <a:lnTo>
                    <a:pt x="1113" y="973"/>
                  </a:lnTo>
                  <a:lnTo>
                    <a:pt x="1113" y="973"/>
                  </a:lnTo>
                  <a:lnTo>
                    <a:pt x="1113" y="973"/>
                  </a:lnTo>
                  <a:lnTo>
                    <a:pt x="1113" y="975"/>
                  </a:lnTo>
                  <a:lnTo>
                    <a:pt x="1113" y="973"/>
                  </a:lnTo>
                  <a:lnTo>
                    <a:pt x="1115" y="975"/>
                  </a:lnTo>
                  <a:lnTo>
                    <a:pt x="1115" y="978"/>
                  </a:lnTo>
                  <a:lnTo>
                    <a:pt x="1115" y="978"/>
                  </a:lnTo>
                  <a:lnTo>
                    <a:pt x="1115" y="978"/>
                  </a:lnTo>
                  <a:lnTo>
                    <a:pt x="1115" y="980"/>
                  </a:lnTo>
                  <a:lnTo>
                    <a:pt x="1110" y="980"/>
                  </a:lnTo>
                  <a:lnTo>
                    <a:pt x="1110" y="982"/>
                  </a:lnTo>
                  <a:lnTo>
                    <a:pt x="1106" y="982"/>
                  </a:lnTo>
                  <a:lnTo>
                    <a:pt x="1103" y="982"/>
                  </a:lnTo>
                  <a:lnTo>
                    <a:pt x="1101" y="982"/>
                  </a:lnTo>
                  <a:lnTo>
                    <a:pt x="1101" y="982"/>
                  </a:lnTo>
                  <a:lnTo>
                    <a:pt x="1099" y="985"/>
                  </a:lnTo>
                  <a:lnTo>
                    <a:pt x="1091" y="987"/>
                  </a:lnTo>
                  <a:lnTo>
                    <a:pt x="1089" y="989"/>
                  </a:lnTo>
                  <a:lnTo>
                    <a:pt x="1082" y="992"/>
                  </a:lnTo>
                  <a:lnTo>
                    <a:pt x="1075" y="994"/>
                  </a:lnTo>
                  <a:lnTo>
                    <a:pt x="1075" y="996"/>
                  </a:lnTo>
                  <a:lnTo>
                    <a:pt x="1073" y="996"/>
                  </a:lnTo>
                  <a:lnTo>
                    <a:pt x="1073" y="996"/>
                  </a:lnTo>
                  <a:lnTo>
                    <a:pt x="1073" y="996"/>
                  </a:lnTo>
                  <a:lnTo>
                    <a:pt x="1070" y="999"/>
                  </a:lnTo>
                  <a:lnTo>
                    <a:pt x="1065" y="999"/>
                  </a:lnTo>
                  <a:lnTo>
                    <a:pt x="1063" y="999"/>
                  </a:lnTo>
                  <a:lnTo>
                    <a:pt x="1063" y="1001"/>
                  </a:lnTo>
                  <a:lnTo>
                    <a:pt x="1058" y="1003"/>
                  </a:lnTo>
                  <a:lnTo>
                    <a:pt x="1054" y="1006"/>
                  </a:lnTo>
                  <a:lnTo>
                    <a:pt x="1051" y="1006"/>
                  </a:lnTo>
                  <a:lnTo>
                    <a:pt x="1049" y="1008"/>
                  </a:lnTo>
                  <a:lnTo>
                    <a:pt x="1042" y="1008"/>
                  </a:lnTo>
                  <a:lnTo>
                    <a:pt x="1037" y="1011"/>
                  </a:lnTo>
                  <a:lnTo>
                    <a:pt x="1037" y="1013"/>
                  </a:lnTo>
                  <a:lnTo>
                    <a:pt x="1035" y="1015"/>
                  </a:lnTo>
                  <a:lnTo>
                    <a:pt x="1028" y="1018"/>
                  </a:lnTo>
                  <a:lnTo>
                    <a:pt x="1028" y="1018"/>
                  </a:lnTo>
                  <a:lnTo>
                    <a:pt x="1025" y="1018"/>
                  </a:lnTo>
                  <a:lnTo>
                    <a:pt x="1023" y="1020"/>
                  </a:lnTo>
                  <a:lnTo>
                    <a:pt x="1021" y="1020"/>
                  </a:lnTo>
                  <a:lnTo>
                    <a:pt x="1018" y="1022"/>
                  </a:lnTo>
                  <a:lnTo>
                    <a:pt x="1018" y="1022"/>
                  </a:lnTo>
                  <a:lnTo>
                    <a:pt x="1018" y="1022"/>
                  </a:lnTo>
                  <a:lnTo>
                    <a:pt x="1018" y="1025"/>
                  </a:lnTo>
                  <a:lnTo>
                    <a:pt x="1018" y="1025"/>
                  </a:lnTo>
                  <a:lnTo>
                    <a:pt x="1016" y="1027"/>
                  </a:lnTo>
                  <a:lnTo>
                    <a:pt x="1011" y="1027"/>
                  </a:lnTo>
                  <a:lnTo>
                    <a:pt x="1011" y="1027"/>
                  </a:lnTo>
                  <a:lnTo>
                    <a:pt x="1011" y="1027"/>
                  </a:lnTo>
                  <a:lnTo>
                    <a:pt x="1009" y="1027"/>
                  </a:lnTo>
                  <a:lnTo>
                    <a:pt x="1006" y="1027"/>
                  </a:lnTo>
                  <a:lnTo>
                    <a:pt x="1006" y="1029"/>
                  </a:lnTo>
                  <a:lnTo>
                    <a:pt x="1004" y="1032"/>
                  </a:lnTo>
                  <a:lnTo>
                    <a:pt x="1004" y="1029"/>
                  </a:lnTo>
                  <a:lnTo>
                    <a:pt x="1002" y="1027"/>
                  </a:lnTo>
                  <a:lnTo>
                    <a:pt x="1002" y="1025"/>
                  </a:lnTo>
                  <a:lnTo>
                    <a:pt x="1006" y="1025"/>
                  </a:lnTo>
                  <a:lnTo>
                    <a:pt x="1006" y="1022"/>
                  </a:lnTo>
                  <a:lnTo>
                    <a:pt x="1006" y="1020"/>
                  </a:lnTo>
                  <a:lnTo>
                    <a:pt x="1004" y="1020"/>
                  </a:lnTo>
                  <a:lnTo>
                    <a:pt x="1002" y="1020"/>
                  </a:lnTo>
                  <a:lnTo>
                    <a:pt x="1002" y="1020"/>
                  </a:lnTo>
                  <a:lnTo>
                    <a:pt x="1002" y="1018"/>
                  </a:lnTo>
                  <a:lnTo>
                    <a:pt x="999" y="1018"/>
                  </a:lnTo>
                  <a:lnTo>
                    <a:pt x="997" y="1022"/>
                  </a:lnTo>
                  <a:lnTo>
                    <a:pt x="997" y="1020"/>
                  </a:lnTo>
                  <a:lnTo>
                    <a:pt x="997" y="1020"/>
                  </a:lnTo>
                  <a:lnTo>
                    <a:pt x="995" y="1020"/>
                  </a:lnTo>
                  <a:lnTo>
                    <a:pt x="995" y="1020"/>
                  </a:lnTo>
                  <a:lnTo>
                    <a:pt x="992" y="1020"/>
                  </a:lnTo>
                  <a:lnTo>
                    <a:pt x="992" y="1020"/>
                  </a:lnTo>
                  <a:lnTo>
                    <a:pt x="992" y="1018"/>
                  </a:lnTo>
                  <a:lnTo>
                    <a:pt x="992" y="1018"/>
                  </a:lnTo>
                  <a:lnTo>
                    <a:pt x="990" y="1018"/>
                  </a:lnTo>
                  <a:lnTo>
                    <a:pt x="990" y="1018"/>
                  </a:lnTo>
                  <a:lnTo>
                    <a:pt x="990" y="1018"/>
                  </a:lnTo>
                  <a:lnTo>
                    <a:pt x="988" y="1018"/>
                  </a:lnTo>
                  <a:lnTo>
                    <a:pt x="985" y="1018"/>
                  </a:lnTo>
                  <a:lnTo>
                    <a:pt x="983" y="1018"/>
                  </a:lnTo>
                  <a:lnTo>
                    <a:pt x="983" y="1018"/>
                  </a:lnTo>
                  <a:lnTo>
                    <a:pt x="980" y="1018"/>
                  </a:lnTo>
                  <a:lnTo>
                    <a:pt x="980" y="1018"/>
                  </a:lnTo>
                  <a:lnTo>
                    <a:pt x="978" y="1018"/>
                  </a:lnTo>
                  <a:lnTo>
                    <a:pt x="978" y="1018"/>
                  </a:lnTo>
                  <a:lnTo>
                    <a:pt x="976" y="1018"/>
                  </a:lnTo>
                  <a:lnTo>
                    <a:pt x="976" y="1018"/>
                  </a:lnTo>
                  <a:lnTo>
                    <a:pt x="976" y="1018"/>
                  </a:lnTo>
                  <a:lnTo>
                    <a:pt x="973" y="1020"/>
                  </a:lnTo>
                  <a:lnTo>
                    <a:pt x="969" y="1022"/>
                  </a:lnTo>
                  <a:lnTo>
                    <a:pt x="966" y="1022"/>
                  </a:lnTo>
                  <a:lnTo>
                    <a:pt x="966" y="1025"/>
                  </a:lnTo>
                  <a:lnTo>
                    <a:pt x="964" y="1025"/>
                  </a:lnTo>
                  <a:lnTo>
                    <a:pt x="962" y="1025"/>
                  </a:lnTo>
                  <a:lnTo>
                    <a:pt x="959" y="1025"/>
                  </a:lnTo>
                  <a:lnTo>
                    <a:pt x="957" y="1025"/>
                  </a:lnTo>
                  <a:lnTo>
                    <a:pt x="957" y="1025"/>
                  </a:lnTo>
                  <a:lnTo>
                    <a:pt x="957" y="1025"/>
                  </a:lnTo>
                  <a:lnTo>
                    <a:pt x="957" y="1025"/>
                  </a:lnTo>
                  <a:lnTo>
                    <a:pt x="954" y="1025"/>
                  </a:lnTo>
                  <a:lnTo>
                    <a:pt x="952" y="1027"/>
                  </a:lnTo>
                  <a:lnTo>
                    <a:pt x="950" y="1027"/>
                  </a:lnTo>
                  <a:lnTo>
                    <a:pt x="950" y="1027"/>
                  </a:lnTo>
                  <a:lnTo>
                    <a:pt x="947" y="1025"/>
                  </a:lnTo>
                  <a:lnTo>
                    <a:pt x="947" y="1022"/>
                  </a:lnTo>
                  <a:lnTo>
                    <a:pt x="947" y="1025"/>
                  </a:lnTo>
                  <a:lnTo>
                    <a:pt x="945" y="1025"/>
                  </a:lnTo>
                  <a:lnTo>
                    <a:pt x="945" y="1025"/>
                  </a:lnTo>
                  <a:lnTo>
                    <a:pt x="945" y="1025"/>
                  </a:lnTo>
                  <a:lnTo>
                    <a:pt x="945" y="1027"/>
                  </a:lnTo>
                  <a:lnTo>
                    <a:pt x="945" y="1027"/>
                  </a:lnTo>
                  <a:lnTo>
                    <a:pt x="943" y="1027"/>
                  </a:lnTo>
                  <a:lnTo>
                    <a:pt x="943" y="1025"/>
                  </a:lnTo>
                  <a:lnTo>
                    <a:pt x="943" y="1027"/>
                  </a:lnTo>
                  <a:lnTo>
                    <a:pt x="940" y="1025"/>
                  </a:lnTo>
                  <a:lnTo>
                    <a:pt x="940" y="1025"/>
                  </a:lnTo>
                  <a:lnTo>
                    <a:pt x="938" y="1025"/>
                  </a:lnTo>
                  <a:lnTo>
                    <a:pt x="938" y="1025"/>
                  </a:lnTo>
                  <a:lnTo>
                    <a:pt x="938" y="1025"/>
                  </a:lnTo>
                  <a:lnTo>
                    <a:pt x="938" y="1027"/>
                  </a:lnTo>
                  <a:lnTo>
                    <a:pt x="936" y="1027"/>
                  </a:lnTo>
                  <a:lnTo>
                    <a:pt x="936" y="1027"/>
                  </a:lnTo>
                  <a:lnTo>
                    <a:pt x="936" y="1025"/>
                  </a:lnTo>
                  <a:lnTo>
                    <a:pt x="933" y="1025"/>
                  </a:lnTo>
                  <a:lnTo>
                    <a:pt x="933" y="1027"/>
                  </a:lnTo>
                  <a:lnTo>
                    <a:pt x="933" y="1027"/>
                  </a:lnTo>
                  <a:lnTo>
                    <a:pt x="931" y="1027"/>
                  </a:lnTo>
                  <a:lnTo>
                    <a:pt x="928" y="1029"/>
                  </a:lnTo>
                  <a:lnTo>
                    <a:pt x="928" y="1027"/>
                  </a:lnTo>
                  <a:lnTo>
                    <a:pt x="926" y="1027"/>
                  </a:lnTo>
                  <a:lnTo>
                    <a:pt x="926" y="1027"/>
                  </a:lnTo>
                  <a:lnTo>
                    <a:pt x="926" y="1027"/>
                  </a:lnTo>
                  <a:lnTo>
                    <a:pt x="926" y="1027"/>
                  </a:lnTo>
                  <a:lnTo>
                    <a:pt x="926" y="1025"/>
                  </a:lnTo>
                  <a:lnTo>
                    <a:pt x="926" y="1025"/>
                  </a:lnTo>
                  <a:lnTo>
                    <a:pt x="924" y="1025"/>
                  </a:lnTo>
                  <a:lnTo>
                    <a:pt x="924" y="1025"/>
                  </a:lnTo>
                  <a:lnTo>
                    <a:pt x="919" y="1027"/>
                  </a:lnTo>
                  <a:lnTo>
                    <a:pt x="919" y="1027"/>
                  </a:lnTo>
                  <a:lnTo>
                    <a:pt x="919" y="1027"/>
                  </a:lnTo>
                  <a:lnTo>
                    <a:pt x="917" y="1027"/>
                  </a:lnTo>
                  <a:lnTo>
                    <a:pt x="914" y="1029"/>
                  </a:lnTo>
                  <a:lnTo>
                    <a:pt x="914" y="1027"/>
                  </a:lnTo>
                  <a:lnTo>
                    <a:pt x="912" y="1029"/>
                  </a:lnTo>
                  <a:lnTo>
                    <a:pt x="912" y="1029"/>
                  </a:lnTo>
                  <a:lnTo>
                    <a:pt x="912" y="1029"/>
                  </a:lnTo>
                  <a:lnTo>
                    <a:pt x="910" y="1029"/>
                  </a:lnTo>
                  <a:lnTo>
                    <a:pt x="910" y="1032"/>
                  </a:lnTo>
                  <a:lnTo>
                    <a:pt x="910" y="1032"/>
                  </a:lnTo>
                  <a:lnTo>
                    <a:pt x="907" y="1032"/>
                  </a:lnTo>
                  <a:lnTo>
                    <a:pt x="902" y="1034"/>
                  </a:lnTo>
                  <a:lnTo>
                    <a:pt x="900" y="1034"/>
                  </a:lnTo>
                  <a:lnTo>
                    <a:pt x="900" y="1034"/>
                  </a:lnTo>
                  <a:lnTo>
                    <a:pt x="898" y="1034"/>
                  </a:lnTo>
                  <a:lnTo>
                    <a:pt x="898" y="1037"/>
                  </a:lnTo>
                  <a:lnTo>
                    <a:pt x="898" y="1037"/>
                  </a:lnTo>
                  <a:lnTo>
                    <a:pt x="895" y="1037"/>
                  </a:lnTo>
                  <a:lnTo>
                    <a:pt x="895" y="1037"/>
                  </a:lnTo>
                  <a:lnTo>
                    <a:pt x="893" y="1037"/>
                  </a:lnTo>
                  <a:lnTo>
                    <a:pt x="893" y="1037"/>
                  </a:lnTo>
                  <a:lnTo>
                    <a:pt x="891" y="1037"/>
                  </a:lnTo>
                  <a:lnTo>
                    <a:pt x="891" y="1037"/>
                  </a:lnTo>
                  <a:lnTo>
                    <a:pt x="886" y="1037"/>
                  </a:lnTo>
                  <a:lnTo>
                    <a:pt x="886" y="1037"/>
                  </a:lnTo>
                  <a:lnTo>
                    <a:pt x="886" y="1039"/>
                  </a:lnTo>
                  <a:lnTo>
                    <a:pt x="884" y="1039"/>
                  </a:lnTo>
                  <a:lnTo>
                    <a:pt x="884" y="1041"/>
                  </a:lnTo>
                  <a:lnTo>
                    <a:pt x="884" y="1039"/>
                  </a:lnTo>
                  <a:lnTo>
                    <a:pt x="881" y="1039"/>
                  </a:lnTo>
                  <a:lnTo>
                    <a:pt x="881" y="1039"/>
                  </a:lnTo>
                  <a:lnTo>
                    <a:pt x="881" y="1041"/>
                  </a:lnTo>
                  <a:lnTo>
                    <a:pt x="881" y="1041"/>
                  </a:lnTo>
                  <a:lnTo>
                    <a:pt x="879" y="1041"/>
                  </a:lnTo>
                  <a:lnTo>
                    <a:pt x="879" y="1041"/>
                  </a:lnTo>
                  <a:lnTo>
                    <a:pt x="879" y="1041"/>
                  </a:lnTo>
                  <a:lnTo>
                    <a:pt x="879" y="1044"/>
                  </a:lnTo>
                  <a:lnTo>
                    <a:pt x="879" y="1044"/>
                  </a:lnTo>
                  <a:lnTo>
                    <a:pt x="879" y="1044"/>
                  </a:lnTo>
                  <a:lnTo>
                    <a:pt x="876" y="1044"/>
                  </a:lnTo>
                  <a:lnTo>
                    <a:pt x="876" y="1044"/>
                  </a:lnTo>
                  <a:lnTo>
                    <a:pt x="874" y="1046"/>
                  </a:lnTo>
                  <a:lnTo>
                    <a:pt x="874" y="1046"/>
                  </a:lnTo>
                  <a:lnTo>
                    <a:pt x="874" y="1046"/>
                  </a:lnTo>
                  <a:lnTo>
                    <a:pt x="872" y="1046"/>
                  </a:lnTo>
                  <a:lnTo>
                    <a:pt x="872" y="1046"/>
                  </a:lnTo>
                  <a:lnTo>
                    <a:pt x="872" y="1048"/>
                  </a:lnTo>
                  <a:lnTo>
                    <a:pt x="869" y="1048"/>
                  </a:lnTo>
                  <a:lnTo>
                    <a:pt x="869" y="1048"/>
                  </a:lnTo>
                  <a:lnTo>
                    <a:pt x="869" y="1048"/>
                  </a:lnTo>
                  <a:lnTo>
                    <a:pt x="867" y="1048"/>
                  </a:lnTo>
                  <a:lnTo>
                    <a:pt x="867" y="1051"/>
                  </a:lnTo>
                  <a:lnTo>
                    <a:pt x="865" y="1051"/>
                  </a:lnTo>
                  <a:lnTo>
                    <a:pt x="865" y="1051"/>
                  </a:lnTo>
                  <a:lnTo>
                    <a:pt x="862" y="1051"/>
                  </a:lnTo>
                  <a:lnTo>
                    <a:pt x="862" y="1051"/>
                  </a:lnTo>
                  <a:lnTo>
                    <a:pt x="862" y="1048"/>
                  </a:lnTo>
                  <a:lnTo>
                    <a:pt x="862" y="1048"/>
                  </a:lnTo>
                  <a:lnTo>
                    <a:pt x="860" y="1048"/>
                  </a:lnTo>
                  <a:lnTo>
                    <a:pt x="860" y="1048"/>
                  </a:lnTo>
                  <a:lnTo>
                    <a:pt x="860" y="1048"/>
                  </a:lnTo>
                  <a:lnTo>
                    <a:pt x="858" y="1048"/>
                  </a:lnTo>
                  <a:lnTo>
                    <a:pt x="858" y="1048"/>
                  </a:lnTo>
                  <a:lnTo>
                    <a:pt x="858" y="1051"/>
                  </a:lnTo>
                  <a:lnTo>
                    <a:pt x="855" y="1051"/>
                  </a:lnTo>
                  <a:lnTo>
                    <a:pt x="855" y="1051"/>
                  </a:lnTo>
                  <a:lnTo>
                    <a:pt x="853" y="1051"/>
                  </a:lnTo>
                  <a:lnTo>
                    <a:pt x="853" y="1051"/>
                  </a:lnTo>
                  <a:lnTo>
                    <a:pt x="850" y="1051"/>
                  </a:lnTo>
                  <a:lnTo>
                    <a:pt x="850" y="1048"/>
                  </a:lnTo>
                  <a:lnTo>
                    <a:pt x="848" y="1051"/>
                  </a:lnTo>
                  <a:lnTo>
                    <a:pt x="846" y="1051"/>
                  </a:lnTo>
                  <a:lnTo>
                    <a:pt x="846" y="1051"/>
                  </a:lnTo>
                  <a:lnTo>
                    <a:pt x="846" y="1051"/>
                  </a:lnTo>
                  <a:lnTo>
                    <a:pt x="846" y="1051"/>
                  </a:lnTo>
                  <a:lnTo>
                    <a:pt x="843" y="1051"/>
                  </a:lnTo>
                  <a:lnTo>
                    <a:pt x="841" y="1051"/>
                  </a:lnTo>
                  <a:lnTo>
                    <a:pt x="841" y="1048"/>
                  </a:lnTo>
                  <a:lnTo>
                    <a:pt x="839" y="1051"/>
                  </a:lnTo>
                  <a:lnTo>
                    <a:pt x="839" y="1051"/>
                  </a:lnTo>
                  <a:lnTo>
                    <a:pt x="836" y="1051"/>
                  </a:lnTo>
                  <a:lnTo>
                    <a:pt x="836" y="1051"/>
                  </a:lnTo>
                  <a:lnTo>
                    <a:pt x="836" y="1053"/>
                  </a:lnTo>
                  <a:lnTo>
                    <a:pt x="836" y="1053"/>
                  </a:lnTo>
                  <a:lnTo>
                    <a:pt x="836" y="1053"/>
                  </a:lnTo>
                  <a:lnTo>
                    <a:pt x="832" y="1055"/>
                  </a:lnTo>
                  <a:lnTo>
                    <a:pt x="829" y="1055"/>
                  </a:lnTo>
                  <a:lnTo>
                    <a:pt x="829" y="1058"/>
                  </a:lnTo>
                  <a:lnTo>
                    <a:pt x="827" y="1058"/>
                  </a:lnTo>
                  <a:lnTo>
                    <a:pt x="827" y="1060"/>
                  </a:lnTo>
                  <a:lnTo>
                    <a:pt x="827" y="1060"/>
                  </a:lnTo>
                  <a:lnTo>
                    <a:pt x="827" y="1058"/>
                  </a:lnTo>
                  <a:lnTo>
                    <a:pt x="825" y="1060"/>
                  </a:lnTo>
                  <a:lnTo>
                    <a:pt x="822" y="1058"/>
                  </a:lnTo>
                  <a:lnTo>
                    <a:pt x="820" y="1060"/>
                  </a:lnTo>
                  <a:lnTo>
                    <a:pt x="820" y="1058"/>
                  </a:lnTo>
                  <a:lnTo>
                    <a:pt x="820" y="1058"/>
                  </a:lnTo>
                  <a:lnTo>
                    <a:pt x="817" y="1060"/>
                  </a:lnTo>
                  <a:lnTo>
                    <a:pt x="815" y="1060"/>
                  </a:lnTo>
                  <a:lnTo>
                    <a:pt x="815" y="1063"/>
                  </a:lnTo>
                  <a:lnTo>
                    <a:pt x="813" y="1063"/>
                  </a:lnTo>
                  <a:lnTo>
                    <a:pt x="813" y="1063"/>
                  </a:lnTo>
                  <a:lnTo>
                    <a:pt x="810" y="1065"/>
                  </a:lnTo>
                  <a:lnTo>
                    <a:pt x="810" y="1065"/>
                  </a:lnTo>
                  <a:lnTo>
                    <a:pt x="810" y="1065"/>
                  </a:lnTo>
                  <a:lnTo>
                    <a:pt x="808" y="1065"/>
                  </a:lnTo>
                  <a:lnTo>
                    <a:pt x="808" y="1065"/>
                  </a:lnTo>
                  <a:lnTo>
                    <a:pt x="806" y="1065"/>
                  </a:lnTo>
                  <a:lnTo>
                    <a:pt x="803" y="1063"/>
                  </a:lnTo>
                  <a:lnTo>
                    <a:pt x="801" y="1063"/>
                  </a:lnTo>
                  <a:lnTo>
                    <a:pt x="801" y="1065"/>
                  </a:lnTo>
                  <a:lnTo>
                    <a:pt x="799" y="1065"/>
                  </a:lnTo>
                  <a:lnTo>
                    <a:pt x="796" y="1065"/>
                  </a:lnTo>
                  <a:lnTo>
                    <a:pt x="796" y="1065"/>
                  </a:lnTo>
                  <a:lnTo>
                    <a:pt x="796" y="1067"/>
                  </a:lnTo>
                  <a:lnTo>
                    <a:pt x="794" y="1067"/>
                  </a:lnTo>
                  <a:lnTo>
                    <a:pt x="794" y="1067"/>
                  </a:lnTo>
                  <a:lnTo>
                    <a:pt x="791" y="1070"/>
                  </a:lnTo>
                  <a:lnTo>
                    <a:pt x="791" y="1070"/>
                  </a:lnTo>
                  <a:lnTo>
                    <a:pt x="791" y="1072"/>
                  </a:lnTo>
                  <a:lnTo>
                    <a:pt x="789" y="1072"/>
                  </a:lnTo>
                  <a:lnTo>
                    <a:pt x="789" y="1072"/>
                  </a:lnTo>
                  <a:lnTo>
                    <a:pt x="787" y="1072"/>
                  </a:lnTo>
                  <a:lnTo>
                    <a:pt x="787" y="1072"/>
                  </a:lnTo>
                  <a:lnTo>
                    <a:pt x="784" y="1072"/>
                  </a:lnTo>
                  <a:lnTo>
                    <a:pt x="784" y="1072"/>
                  </a:lnTo>
                  <a:lnTo>
                    <a:pt x="782" y="1072"/>
                  </a:lnTo>
                  <a:lnTo>
                    <a:pt x="782" y="1077"/>
                  </a:lnTo>
                  <a:lnTo>
                    <a:pt x="780" y="1077"/>
                  </a:lnTo>
                  <a:lnTo>
                    <a:pt x="777" y="1077"/>
                  </a:lnTo>
                  <a:lnTo>
                    <a:pt x="773" y="1077"/>
                  </a:lnTo>
                  <a:lnTo>
                    <a:pt x="773" y="1079"/>
                  </a:lnTo>
                  <a:lnTo>
                    <a:pt x="770" y="1077"/>
                  </a:lnTo>
                  <a:lnTo>
                    <a:pt x="768" y="1077"/>
                  </a:lnTo>
                  <a:lnTo>
                    <a:pt x="768" y="1077"/>
                  </a:lnTo>
                  <a:lnTo>
                    <a:pt x="765" y="1077"/>
                  </a:lnTo>
                  <a:lnTo>
                    <a:pt x="765" y="1077"/>
                  </a:lnTo>
                  <a:lnTo>
                    <a:pt x="763" y="1077"/>
                  </a:lnTo>
                  <a:lnTo>
                    <a:pt x="761" y="1079"/>
                  </a:lnTo>
                  <a:lnTo>
                    <a:pt x="758" y="1079"/>
                  </a:lnTo>
                  <a:lnTo>
                    <a:pt x="756" y="1079"/>
                  </a:lnTo>
                  <a:lnTo>
                    <a:pt x="756" y="1079"/>
                  </a:lnTo>
                  <a:lnTo>
                    <a:pt x="754" y="1081"/>
                  </a:lnTo>
                  <a:lnTo>
                    <a:pt x="754" y="1081"/>
                  </a:lnTo>
                  <a:lnTo>
                    <a:pt x="751" y="1081"/>
                  </a:lnTo>
                  <a:lnTo>
                    <a:pt x="751" y="1081"/>
                  </a:lnTo>
                  <a:lnTo>
                    <a:pt x="749" y="1081"/>
                  </a:lnTo>
                  <a:lnTo>
                    <a:pt x="749" y="1084"/>
                  </a:lnTo>
                  <a:lnTo>
                    <a:pt x="747" y="1086"/>
                  </a:lnTo>
                  <a:lnTo>
                    <a:pt x="747" y="1086"/>
                  </a:lnTo>
                  <a:lnTo>
                    <a:pt x="749" y="1086"/>
                  </a:lnTo>
                  <a:lnTo>
                    <a:pt x="747" y="1089"/>
                  </a:lnTo>
                  <a:lnTo>
                    <a:pt x="742" y="1089"/>
                  </a:lnTo>
                  <a:lnTo>
                    <a:pt x="742" y="1089"/>
                  </a:lnTo>
                  <a:lnTo>
                    <a:pt x="739" y="1091"/>
                  </a:lnTo>
                  <a:lnTo>
                    <a:pt x="739" y="1091"/>
                  </a:lnTo>
                  <a:lnTo>
                    <a:pt x="735" y="1093"/>
                  </a:lnTo>
                  <a:lnTo>
                    <a:pt x="735" y="1093"/>
                  </a:lnTo>
                  <a:lnTo>
                    <a:pt x="735" y="1096"/>
                  </a:lnTo>
                  <a:lnTo>
                    <a:pt x="735" y="1096"/>
                  </a:lnTo>
                  <a:lnTo>
                    <a:pt x="735" y="1096"/>
                  </a:lnTo>
                  <a:lnTo>
                    <a:pt x="732" y="1098"/>
                  </a:lnTo>
                  <a:lnTo>
                    <a:pt x="730" y="1096"/>
                  </a:lnTo>
                  <a:lnTo>
                    <a:pt x="725" y="1098"/>
                  </a:lnTo>
                  <a:lnTo>
                    <a:pt x="725" y="1098"/>
                  </a:lnTo>
                  <a:lnTo>
                    <a:pt x="723" y="1098"/>
                  </a:lnTo>
                  <a:lnTo>
                    <a:pt x="723" y="1100"/>
                  </a:lnTo>
                  <a:lnTo>
                    <a:pt x="721" y="1100"/>
                  </a:lnTo>
                  <a:lnTo>
                    <a:pt x="718" y="1100"/>
                  </a:lnTo>
                  <a:lnTo>
                    <a:pt x="718" y="1100"/>
                  </a:lnTo>
                  <a:lnTo>
                    <a:pt x="716" y="1100"/>
                  </a:lnTo>
                  <a:lnTo>
                    <a:pt x="716" y="1098"/>
                  </a:lnTo>
                  <a:lnTo>
                    <a:pt x="716" y="1098"/>
                  </a:lnTo>
                  <a:lnTo>
                    <a:pt x="716" y="1098"/>
                  </a:lnTo>
                  <a:lnTo>
                    <a:pt x="713" y="1098"/>
                  </a:lnTo>
                  <a:lnTo>
                    <a:pt x="713" y="1096"/>
                  </a:lnTo>
                  <a:lnTo>
                    <a:pt x="711" y="1096"/>
                  </a:lnTo>
                  <a:lnTo>
                    <a:pt x="711" y="1096"/>
                  </a:lnTo>
                  <a:lnTo>
                    <a:pt x="709" y="1093"/>
                  </a:lnTo>
                  <a:lnTo>
                    <a:pt x="706" y="1093"/>
                  </a:lnTo>
                  <a:lnTo>
                    <a:pt x="709" y="1096"/>
                  </a:lnTo>
                  <a:lnTo>
                    <a:pt x="706" y="1098"/>
                  </a:lnTo>
                  <a:lnTo>
                    <a:pt x="704" y="1098"/>
                  </a:lnTo>
                  <a:lnTo>
                    <a:pt x="702" y="1100"/>
                  </a:lnTo>
                  <a:lnTo>
                    <a:pt x="699" y="1100"/>
                  </a:lnTo>
                  <a:lnTo>
                    <a:pt x="699" y="1100"/>
                  </a:lnTo>
                  <a:lnTo>
                    <a:pt x="699" y="1100"/>
                  </a:lnTo>
                  <a:lnTo>
                    <a:pt x="695" y="1103"/>
                  </a:lnTo>
                  <a:lnTo>
                    <a:pt x="695" y="1100"/>
                  </a:lnTo>
                  <a:lnTo>
                    <a:pt x="695" y="1100"/>
                  </a:lnTo>
                  <a:lnTo>
                    <a:pt x="695" y="1100"/>
                  </a:lnTo>
                  <a:lnTo>
                    <a:pt x="697" y="1098"/>
                  </a:lnTo>
                  <a:lnTo>
                    <a:pt x="697" y="1096"/>
                  </a:lnTo>
                  <a:lnTo>
                    <a:pt x="695" y="1096"/>
                  </a:lnTo>
                  <a:lnTo>
                    <a:pt x="695" y="1096"/>
                  </a:lnTo>
                  <a:lnTo>
                    <a:pt x="695" y="1096"/>
                  </a:lnTo>
                  <a:lnTo>
                    <a:pt x="695" y="1096"/>
                  </a:lnTo>
                  <a:lnTo>
                    <a:pt x="695" y="1098"/>
                  </a:lnTo>
                  <a:lnTo>
                    <a:pt x="692" y="1098"/>
                  </a:lnTo>
                  <a:lnTo>
                    <a:pt x="690" y="1100"/>
                  </a:lnTo>
                  <a:lnTo>
                    <a:pt x="685" y="1100"/>
                  </a:lnTo>
                  <a:lnTo>
                    <a:pt x="685" y="1100"/>
                  </a:lnTo>
                  <a:lnTo>
                    <a:pt x="683" y="1100"/>
                  </a:lnTo>
                  <a:lnTo>
                    <a:pt x="680" y="1100"/>
                  </a:lnTo>
                  <a:lnTo>
                    <a:pt x="683" y="1098"/>
                  </a:lnTo>
                  <a:lnTo>
                    <a:pt x="683" y="1098"/>
                  </a:lnTo>
                  <a:lnTo>
                    <a:pt x="685" y="1096"/>
                  </a:lnTo>
                  <a:lnTo>
                    <a:pt x="683" y="1096"/>
                  </a:lnTo>
                  <a:lnTo>
                    <a:pt x="685" y="1096"/>
                  </a:lnTo>
                  <a:lnTo>
                    <a:pt x="685" y="1096"/>
                  </a:lnTo>
                  <a:lnTo>
                    <a:pt x="685" y="1093"/>
                  </a:lnTo>
                  <a:lnTo>
                    <a:pt x="685" y="1091"/>
                  </a:lnTo>
                  <a:lnTo>
                    <a:pt x="683" y="1091"/>
                  </a:lnTo>
                  <a:lnTo>
                    <a:pt x="680" y="1093"/>
                  </a:lnTo>
                  <a:lnTo>
                    <a:pt x="678" y="1091"/>
                  </a:lnTo>
                  <a:lnTo>
                    <a:pt x="676" y="1093"/>
                  </a:lnTo>
                  <a:lnTo>
                    <a:pt x="676" y="1093"/>
                  </a:lnTo>
                  <a:lnTo>
                    <a:pt x="676" y="1096"/>
                  </a:lnTo>
                  <a:lnTo>
                    <a:pt x="676" y="1096"/>
                  </a:lnTo>
                  <a:lnTo>
                    <a:pt x="676" y="1096"/>
                  </a:lnTo>
                  <a:lnTo>
                    <a:pt x="676" y="1098"/>
                  </a:lnTo>
                  <a:lnTo>
                    <a:pt x="678" y="1098"/>
                  </a:lnTo>
                  <a:lnTo>
                    <a:pt x="678" y="1100"/>
                  </a:lnTo>
                  <a:lnTo>
                    <a:pt x="680" y="1100"/>
                  </a:lnTo>
                  <a:lnTo>
                    <a:pt x="680" y="1100"/>
                  </a:lnTo>
                  <a:lnTo>
                    <a:pt x="680" y="1100"/>
                  </a:lnTo>
                  <a:lnTo>
                    <a:pt x="678" y="1103"/>
                  </a:lnTo>
                  <a:lnTo>
                    <a:pt x="678" y="1103"/>
                  </a:lnTo>
                  <a:lnTo>
                    <a:pt x="676" y="1103"/>
                  </a:lnTo>
                  <a:lnTo>
                    <a:pt x="673" y="1103"/>
                  </a:lnTo>
                  <a:lnTo>
                    <a:pt x="673" y="1103"/>
                  </a:lnTo>
                  <a:lnTo>
                    <a:pt x="673" y="1105"/>
                  </a:lnTo>
                  <a:lnTo>
                    <a:pt x="671" y="1105"/>
                  </a:lnTo>
                  <a:lnTo>
                    <a:pt x="671" y="1105"/>
                  </a:lnTo>
                  <a:lnTo>
                    <a:pt x="669" y="1105"/>
                  </a:lnTo>
                  <a:lnTo>
                    <a:pt x="669" y="1107"/>
                  </a:lnTo>
                  <a:lnTo>
                    <a:pt x="666" y="1107"/>
                  </a:lnTo>
                  <a:lnTo>
                    <a:pt x="664" y="1110"/>
                  </a:lnTo>
                  <a:lnTo>
                    <a:pt x="666" y="1112"/>
                  </a:lnTo>
                  <a:lnTo>
                    <a:pt x="666" y="1112"/>
                  </a:lnTo>
                  <a:lnTo>
                    <a:pt x="669" y="1112"/>
                  </a:lnTo>
                  <a:lnTo>
                    <a:pt x="671" y="1110"/>
                  </a:lnTo>
                  <a:lnTo>
                    <a:pt x="673" y="1110"/>
                  </a:lnTo>
                  <a:lnTo>
                    <a:pt x="676" y="1110"/>
                  </a:lnTo>
                  <a:lnTo>
                    <a:pt x="676" y="1110"/>
                  </a:lnTo>
                  <a:lnTo>
                    <a:pt x="676" y="1110"/>
                  </a:lnTo>
                  <a:lnTo>
                    <a:pt x="678" y="1115"/>
                  </a:lnTo>
                  <a:lnTo>
                    <a:pt x="678" y="1115"/>
                  </a:lnTo>
                  <a:lnTo>
                    <a:pt x="678" y="1115"/>
                  </a:lnTo>
                  <a:lnTo>
                    <a:pt x="678" y="1117"/>
                  </a:lnTo>
                  <a:lnTo>
                    <a:pt x="678" y="1117"/>
                  </a:lnTo>
                  <a:lnTo>
                    <a:pt x="676" y="1117"/>
                  </a:lnTo>
                  <a:lnTo>
                    <a:pt x="676" y="1119"/>
                  </a:lnTo>
                  <a:lnTo>
                    <a:pt x="676" y="1119"/>
                  </a:lnTo>
                  <a:lnTo>
                    <a:pt x="676" y="1122"/>
                  </a:lnTo>
                  <a:lnTo>
                    <a:pt x="678" y="1122"/>
                  </a:lnTo>
                  <a:lnTo>
                    <a:pt x="678" y="1122"/>
                  </a:lnTo>
                  <a:lnTo>
                    <a:pt x="678" y="1124"/>
                  </a:lnTo>
                  <a:lnTo>
                    <a:pt x="676" y="1124"/>
                  </a:lnTo>
                  <a:lnTo>
                    <a:pt x="676" y="1122"/>
                  </a:lnTo>
                  <a:lnTo>
                    <a:pt x="676" y="1122"/>
                  </a:lnTo>
                  <a:lnTo>
                    <a:pt x="673" y="1119"/>
                  </a:lnTo>
                  <a:lnTo>
                    <a:pt x="673" y="1119"/>
                  </a:lnTo>
                  <a:lnTo>
                    <a:pt x="671" y="1122"/>
                  </a:lnTo>
                  <a:lnTo>
                    <a:pt x="671" y="1122"/>
                  </a:lnTo>
                  <a:lnTo>
                    <a:pt x="671" y="1126"/>
                  </a:lnTo>
                  <a:lnTo>
                    <a:pt x="671" y="1126"/>
                  </a:lnTo>
                  <a:lnTo>
                    <a:pt x="671" y="1126"/>
                  </a:lnTo>
                  <a:lnTo>
                    <a:pt x="669" y="1129"/>
                  </a:lnTo>
                  <a:lnTo>
                    <a:pt x="669" y="1129"/>
                  </a:lnTo>
                  <a:lnTo>
                    <a:pt x="666" y="1126"/>
                  </a:lnTo>
                  <a:lnTo>
                    <a:pt x="666" y="1126"/>
                  </a:lnTo>
                  <a:lnTo>
                    <a:pt x="666" y="1124"/>
                  </a:lnTo>
                  <a:lnTo>
                    <a:pt x="666" y="1126"/>
                  </a:lnTo>
                  <a:lnTo>
                    <a:pt x="664" y="1124"/>
                  </a:lnTo>
                  <a:lnTo>
                    <a:pt x="664" y="1126"/>
                  </a:lnTo>
                  <a:lnTo>
                    <a:pt x="662" y="1126"/>
                  </a:lnTo>
                  <a:lnTo>
                    <a:pt x="662" y="1126"/>
                  </a:lnTo>
                  <a:lnTo>
                    <a:pt x="659" y="1126"/>
                  </a:lnTo>
                  <a:lnTo>
                    <a:pt x="659" y="1126"/>
                  </a:lnTo>
                  <a:lnTo>
                    <a:pt x="659" y="1129"/>
                  </a:lnTo>
                  <a:lnTo>
                    <a:pt x="659" y="1129"/>
                  </a:lnTo>
                  <a:lnTo>
                    <a:pt x="659" y="1129"/>
                  </a:lnTo>
                  <a:lnTo>
                    <a:pt x="657" y="1131"/>
                  </a:lnTo>
                  <a:lnTo>
                    <a:pt x="657" y="1131"/>
                  </a:lnTo>
                  <a:lnTo>
                    <a:pt x="657" y="1129"/>
                  </a:lnTo>
                  <a:lnTo>
                    <a:pt x="657" y="1129"/>
                  </a:lnTo>
                  <a:lnTo>
                    <a:pt x="654" y="1129"/>
                  </a:lnTo>
                  <a:lnTo>
                    <a:pt x="654" y="1126"/>
                  </a:lnTo>
                  <a:lnTo>
                    <a:pt x="654" y="1126"/>
                  </a:lnTo>
                  <a:lnTo>
                    <a:pt x="652" y="1126"/>
                  </a:lnTo>
                  <a:lnTo>
                    <a:pt x="652" y="1124"/>
                  </a:lnTo>
                  <a:lnTo>
                    <a:pt x="654" y="1124"/>
                  </a:lnTo>
                  <a:lnTo>
                    <a:pt x="652" y="1124"/>
                  </a:lnTo>
                  <a:lnTo>
                    <a:pt x="652" y="1124"/>
                  </a:lnTo>
                  <a:lnTo>
                    <a:pt x="652" y="1124"/>
                  </a:lnTo>
                  <a:lnTo>
                    <a:pt x="650" y="1126"/>
                  </a:lnTo>
                  <a:lnTo>
                    <a:pt x="647" y="1126"/>
                  </a:lnTo>
                  <a:lnTo>
                    <a:pt x="647" y="1126"/>
                  </a:lnTo>
                  <a:lnTo>
                    <a:pt x="645" y="1129"/>
                  </a:lnTo>
                  <a:lnTo>
                    <a:pt x="645" y="1129"/>
                  </a:lnTo>
                  <a:lnTo>
                    <a:pt x="643" y="1129"/>
                  </a:lnTo>
                  <a:lnTo>
                    <a:pt x="643" y="1131"/>
                  </a:lnTo>
                  <a:lnTo>
                    <a:pt x="640" y="1131"/>
                  </a:lnTo>
                  <a:lnTo>
                    <a:pt x="640" y="1133"/>
                  </a:lnTo>
                  <a:lnTo>
                    <a:pt x="638" y="1131"/>
                  </a:lnTo>
                  <a:lnTo>
                    <a:pt x="636" y="1133"/>
                  </a:lnTo>
                  <a:lnTo>
                    <a:pt x="631" y="1133"/>
                  </a:lnTo>
                  <a:lnTo>
                    <a:pt x="628" y="1133"/>
                  </a:lnTo>
                  <a:lnTo>
                    <a:pt x="626" y="1136"/>
                  </a:lnTo>
                  <a:lnTo>
                    <a:pt x="626" y="1136"/>
                  </a:lnTo>
                  <a:lnTo>
                    <a:pt x="624" y="1136"/>
                  </a:lnTo>
                  <a:lnTo>
                    <a:pt x="621" y="1136"/>
                  </a:lnTo>
                  <a:lnTo>
                    <a:pt x="624" y="1136"/>
                  </a:lnTo>
                  <a:lnTo>
                    <a:pt x="624" y="1133"/>
                  </a:lnTo>
                  <a:lnTo>
                    <a:pt x="624" y="1131"/>
                  </a:lnTo>
                  <a:lnTo>
                    <a:pt x="624" y="1129"/>
                  </a:lnTo>
                  <a:lnTo>
                    <a:pt x="624" y="1129"/>
                  </a:lnTo>
                  <a:lnTo>
                    <a:pt x="621" y="1129"/>
                  </a:lnTo>
                  <a:lnTo>
                    <a:pt x="617" y="1129"/>
                  </a:lnTo>
                  <a:lnTo>
                    <a:pt x="617" y="1129"/>
                  </a:lnTo>
                  <a:lnTo>
                    <a:pt x="617" y="1129"/>
                  </a:lnTo>
                  <a:lnTo>
                    <a:pt x="612" y="1131"/>
                  </a:lnTo>
                  <a:lnTo>
                    <a:pt x="612" y="1133"/>
                  </a:lnTo>
                  <a:lnTo>
                    <a:pt x="610" y="1133"/>
                  </a:lnTo>
                  <a:lnTo>
                    <a:pt x="607" y="1133"/>
                  </a:lnTo>
                  <a:lnTo>
                    <a:pt x="607" y="1131"/>
                  </a:lnTo>
                  <a:lnTo>
                    <a:pt x="607" y="1131"/>
                  </a:lnTo>
                  <a:lnTo>
                    <a:pt x="605" y="1131"/>
                  </a:lnTo>
                  <a:lnTo>
                    <a:pt x="605" y="1133"/>
                  </a:lnTo>
                  <a:lnTo>
                    <a:pt x="602" y="1133"/>
                  </a:lnTo>
                  <a:lnTo>
                    <a:pt x="598" y="1133"/>
                  </a:lnTo>
                  <a:lnTo>
                    <a:pt x="598" y="1133"/>
                  </a:lnTo>
                  <a:lnTo>
                    <a:pt x="595" y="1133"/>
                  </a:lnTo>
                  <a:lnTo>
                    <a:pt x="595" y="1131"/>
                  </a:lnTo>
                  <a:lnTo>
                    <a:pt x="593" y="1131"/>
                  </a:lnTo>
                  <a:lnTo>
                    <a:pt x="593" y="1129"/>
                  </a:lnTo>
                  <a:lnTo>
                    <a:pt x="593" y="1129"/>
                  </a:lnTo>
                  <a:lnTo>
                    <a:pt x="593" y="1129"/>
                  </a:lnTo>
                  <a:lnTo>
                    <a:pt x="595" y="1129"/>
                  </a:lnTo>
                  <a:lnTo>
                    <a:pt x="593" y="1126"/>
                  </a:lnTo>
                  <a:lnTo>
                    <a:pt x="595" y="1126"/>
                  </a:lnTo>
                  <a:lnTo>
                    <a:pt x="593" y="1124"/>
                  </a:lnTo>
                  <a:lnTo>
                    <a:pt x="593" y="1124"/>
                  </a:lnTo>
                  <a:lnTo>
                    <a:pt x="595" y="1119"/>
                  </a:lnTo>
                  <a:lnTo>
                    <a:pt x="598" y="1119"/>
                  </a:lnTo>
                  <a:lnTo>
                    <a:pt x="598" y="1117"/>
                  </a:lnTo>
                  <a:lnTo>
                    <a:pt x="598" y="1117"/>
                  </a:lnTo>
                  <a:lnTo>
                    <a:pt x="598" y="1117"/>
                  </a:lnTo>
                  <a:lnTo>
                    <a:pt x="598" y="1117"/>
                  </a:lnTo>
                  <a:lnTo>
                    <a:pt x="598" y="1115"/>
                  </a:lnTo>
                  <a:lnTo>
                    <a:pt x="595" y="1115"/>
                  </a:lnTo>
                  <a:lnTo>
                    <a:pt x="595" y="1117"/>
                  </a:lnTo>
                  <a:lnTo>
                    <a:pt x="593" y="1115"/>
                  </a:lnTo>
                  <a:lnTo>
                    <a:pt x="593" y="1115"/>
                  </a:lnTo>
                  <a:lnTo>
                    <a:pt x="593" y="1112"/>
                  </a:lnTo>
                  <a:lnTo>
                    <a:pt x="593" y="1115"/>
                  </a:lnTo>
                  <a:lnTo>
                    <a:pt x="591" y="1115"/>
                  </a:lnTo>
                  <a:lnTo>
                    <a:pt x="588" y="1112"/>
                  </a:lnTo>
                  <a:lnTo>
                    <a:pt x="588" y="1112"/>
                  </a:lnTo>
                  <a:lnTo>
                    <a:pt x="586" y="1112"/>
                  </a:lnTo>
                  <a:lnTo>
                    <a:pt x="586" y="1110"/>
                  </a:lnTo>
                  <a:lnTo>
                    <a:pt x="584" y="1110"/>
                  </a:lnTo>
                  <a:lnTo>
                    <a:pt x="584" y="1107"/>
                  </a:lnTo>
                  <a:lnTo>
                    <a:pt x="581" y="1107"/>
                  </a:lnTo>
                  <a:lnTo>
                    <a:pt x="581" y="1107"/>
                  </a:lnTo>
                  <a:lnTo>
                    <a:pt x="581" y="1107"/>
                  </a:lnTo>
                  <a:lnTo>
                    <a:pt x="581" y="1105"/>
                  </a:lnTo>
                  <a:lnTo>
                    <a:pt x="581" y="1105"/>
                  </a:lnTo>
                  <a:lnTo>
                    <a:pt x="581" y="1105"/>
                  </a:lnTo>
                  <a:lnTo>
                    <a:pt x="584" y="1105"/>
                  </a:lnTo>
                  <a:lnTo>
                    <a:pt x="584" y="1105"/>
                  </a:lnTo>
                  <a:lnTo>
                    <a:pt x="586" y="1103"/>
                  </a:lnTo>
                  <a:lnTo>
                    <a:pt x="586" y="1103"/>
                  </a:lnTo>
                  <a:lnTo>
                    <a:pt x="588" y="1103"/>
                  </a:lnTo>
                  <a:lnTo>
                    <a:pt x="588" y="1103"/>
                  </a:lnTo>
                  <a:lnTo>
                    <a:pt x="591" y="1103"/>
                  </a:lnTo>
                  <a:lnTo>
                    <a:pt x="588" y="1105"/>
                  </a:lnTo>
                  <a:lnTo>
                    <a:pt x="591" y="1105"/>
                  </a:lnTo>
                  <a:lnTo>
                    <a:pt x="593" y="1103"/>
                  </a:lnTo>
                  <a:lnTo>
                    <a:pt x="593" y="1100"/>
                  </a:lnTo>
                  <a:lnTo>
                    <a:pt x="591" y="1100"/>
                  </a:lnTo>
                  <a:lnTo>
                    <a:pt x="591" y="1100"/>
                  </a:lnTo>
                  <a:lnTo>
                    <a:pt x="588" y="1100"/>
                  </a:lnTo>
                  <a:lnTo>
                    <a:pt x="588" y="1098"/>
                  </a:lnTo>
                  <a:lnTo>
                    <a:pt x="588" y="1098"/>
                  </a:lnTo>
                  <a:lnTo>
                    <a:pt x="591" y="1098"/>
                  </a:lnTo>
                  <a:lnTo>
                    <a:pt x="588" y="1096"/>
                  </a:lnTo>
                  <a:lnTo>
                    <a:pt x="588" y="1093"/>
                  </a:lnTo>
                  <a:lnTo>
                    <a:pt x="586" y="1093"/>
                  </a:lnTo>
                  <a:lnTo>
                    <a:pt x="586" y="1091"/>
                  </a:lnTo>
                  <a:lnTo>
                    <a:pt x="588" y="1089"/>
                  </a:lnTo>
                  <a:lnTo>
                    <a:pt x="588" y="1086"/>
                  </a:lnTo>
                  <a:lnTo>
                    <a:pt x="588" y="1089"/>
                  </a:lnTo>
                  <a:lnTo>
                    <a:pt x="588" y="1089"/>
                  </a:lnTo>
                  <a:lnTo>
                    <a:pt x="586" y="1086"/>
                  </a:lnTo>
                  <a:lnTo>
                    <a:pt x="586" y="1086"/>
                  </a:lnTo>
                  <a:lnTo>
                    <a:pt x="584" y="1086"/>
                  </a:lnTo>
                  <a:lnTo>
                    <a:pt x="584" y="1084"/>
                  </a:lnTo>
                  <a:lnTo>
                    <a:pt x="584" y="1084"/>
                  </a:lnTo>
                  <a:lnTo>
                    <a:pt x="579" y="1084"/>
                  </a:lnTo>
                  <a:lnTo>
                    <a:pt x="579" y="1084"/>
                  </a:lnTo>
                  <a:lnTo>
                    <a:pt x="576" y="1084"/>
                  </a:lnTo>
                  <a:lnTo>
                    <a:pt x="576" y="1081"/>
                  </a:lnTo>
                  <a:lnTo>
                    <a:pt x="574" y="1081"/>
                  </a:lnTo>
                  <a:lnTo>
                    <a:pt x="574" y="1079"/>
                  </a:lnTo>
                  <a:lnTo>
                    <a:pt x="574" y="1079"/>
                  </a:lnTo>
                  <a:lnTo>
                    <a:pt x="572" y="1077"/>
                  </a:lnTo>
                  <a:lnTo>
                    <a:pt x="572" y="1077"/>
                  </a:lnTo>
                  <a:lnTo>
                    <a:pt x="572" y="1077"/>
                  </a:lnTo>
                  <a:lnTo>
                    <a:pt x="572" y="1077"/>
                  </a:lnTo>
                  <a:lnTo>
                    <a:pt x="572" y="1074"/>
                  </a:lnTo>
                  <a:lnTo>
                    <a:pt x="569" y="1074"/>
                  </a:lnTo>
                  <a:lnTo>
                    <a:pt x="569" y="1077"/>
                  </a:lnTo>
                  <a:lnTo>
                    <a:pt x="569" y="1074"/>
                  </a:lnTo>
                  <a:lnTo>
                    <a:pt x="567" y="1074"/>
                  </a:lnTo>
                  <a:lnTo>
                    <a:pt x="567" y="1074"/>
                  </a:lnTo>
                  <a:lnTo>
                    <a:pt x="565" y="1074"/>
                  </a:lnTo>
                  <a:lnTo>
                    <a:pt x="562" y="1072"/>
                  </a:lnTo>
                  <a:lnTo>
                    <a:pt x="562" y="1074"/>
                  </a:lnTo>
                  <a:lnTo>
                    <a:pt x="560" y="1072"/>
                  </a:lnTo>
                  <a:lnTo>
                    <a:pt x="560" y="1072"/>
                  </a:lnTo>
                  <a:lnTo>
                    <a:pt x="560" y="1072"/>
                  </a:lnTo>
                  <a:lnTo>
                    <a:pt x="560" y="1072"/>
                  </a:lnTo>
                  <a:lnTo>
                    <a:pt x="558" y="1070"/>
                  </a:lnTo>
                  <a:lnTo>
                    <a:pt x="558" y="1070"/>
                  </a:lnTo>
                  <a:lnTo>
                    <a:pt x="558" y="1067"/>
                  </a:lnTo>
                  <a:lnTo>
                    <a:pt x="558" y="1065"/>
                  </a:lnTo>
                  <a:lnTo>
                    <a:pt x="558" y="1065"/>
                  </a:lnTo>
                  <a:lnTo>
                    <a:pt x="555" y="1065"/>
                  </a:lnTo>
                  <a:lnTo>
                    <a:pt x="555" y="1063"/>
                  </a:lnTo>
                  <a:lnTo>
                    <a:pt x="553" y="1063"/>
                  </a:lnTo>
                  <a:lnTo>
                    <a:pt x="553" y="1063"/>
                  </a:lnTo>
                  <a:lnTo>
                    <a:pt x="553" y="1063"/>
                  </a:lnTo>
                  <a:lnTo>
                    <a:pt x="553" y="1060"/>
                  </a:lnTo>
                  <a:lnTo>
                    <a:pt x="553" y="1060"/>
                  </a:lnTo>
                  <a:lnTo>
                    <a:pt x="553" y="1060"/>
                  </a:lnTo>
                  <a:lnTo>
                    <a:pt x="553" y="1058"/>
                  </a:lnTo>
                  <a:lnTo>
                    <a:pt x="550" y="1058"/>
                  </a:lnTo>
                  <a:lnTo>
                    <a:pt x="550" y="1058"/>
                  </a:lnTo>
                  <a:lnTo>
                    <a:pt x="550" y="1058"/>
                  </a:lnTo>
                  <a:lnTo>
                    <a:pt x="550" y="1055"/>
                  </a:lnTo>
                  <a:lnTo>
                    <a:pt x="550" y="1055"/>
                  </a:lnTo>
                  <a:lnTo>
                    <a:pt x="553" y="1055"/>
                  </a:lnTo>
                  <a:lnTo>
                    <a:pt x="550" y="1053"/>
                  </a:lnTo>
                  <a:lnTo>
                    <a:pt x="553" y="1053"/>
                  </a:lnTo>
                  <a:lnTo>
                    <a:pt x="550" y="1051"/>
                  </a:lnTo>
                  <a:lnTo>
                    <a:pt x="550" y="1051"/>
                  </a:lnTo>
                  <a:lnTo>
                    <a:pt x="553" y="1051"/>
                  </a:lnTo>
                  <a:lnTo>
                    <a:pt x="553" y="1048"/>
                  </a:lnTo>
                  <a:lnTo>
                    <a:pt x="553" y="1048"/>
                  </a:lnTo>
                  <a:lnTo>
                    <a:pt x="553" y="1046"/>
                  </a:lnTo>
                  <a:lnTo>
                    <a:pt x="555" y="1046"/>
                  </a:lnTo>
                  <a:lnTo>
                    <a:pt x="555" y="1044"/>
                  </a:lnTo>
                  <a:lnTo>
                    <a:pt x="558" y="1041"/>
                  </a:lnTo>
                  <a:lnTo>
                    <a:pt x="555" y="1039"/>
                  </a:lnTo>
                  <a:lnTo>
                    <a:pt x="558" y="1039"/>
                  </a:lnTo>
                  <a:lnTo>
                    <a:pt x="558" y="1039"/>
                  </a:lnTo>
                  <a:lnTo>
                    <a:pt x="560" y="1039"/>
                  </a:lnTo>
                  <a:lnTo>
                    <a:pt x="560" y="1037"/>
                  </a:lnTo>
                  <a:lnTo>
                    <a:pt x="562" y="1037"/>
                  </a:lnTo>
                  <a:lnTo>
                    <a:pt x="565" y="1034"/>
                  </a:lnTo>
                  <a:lnTo>
                    <a:pt x="565" y="1034"/>
                  </a:lnTo>
                  <a:lnTo>
                    <a:pt x="562" y="1034"/>
                  </a:lnTo>
                  <a:lnTo>
                    <a:pt x="562" y="1032"/>
                  </a:lnTo>
                  <a:lnTo>
                    <a:pt x="560" y="1029"/>
                  </a:lnTo>
                  <a:lnTo>
                    <a:pt x="560" y="1027"/>
                  </a:lnTo>
                  <a:lnTo>
                    <a:pt x="558" y="1029"/>
                  </a:lnTo>
                  <a:lnTo>
                    <a:pt x="555" y="1027"/>
                  </a:lnTo>
                  <a:lnTo>
                    <a:pt x="553" y="1027"/>
                  </a:lnTo>
                  <a:lnTo>
                    <a:pt x="553" y="1027"/>
                  </a:lnTo>
                  <a:lnTo>
                    <a:pt x="553" y="1027"/>
                  </a:lnTo>
                  <a:lnTo>
                    <a:pt x="550" y="1027"/>
                  </a:lnTo>
                  <a:lnTo>
                    <a:pt x="550" y="1027"/>
                  </a:lnTo>
                  <a:lnTo>
                    <a:pt x="550" y="1027"/>
                  </a:lnTo>
                  <a:lnTo>
                    <a:pt x="550" y="1027"/>
                  </a:lnTo>
                  <a:lnTo>
                    <a:pt x="550" y="1025"/>
                  </a:lnTo>
                  <a:lnTo>
                    <a:pt x="550" y="1025"/>
                  </a:lnTo>
                  <a:lnTo>
                    <a:pt x="550" y="1027"/>
                  </a:lnTo>
                  <a:lnTo>
                    <a:pt x="553" y="1025"/>
                  </a:lnTo>
                  <a:lnTo>
                    <a:pt x="555" y="1025"/>
                  </a:lnTo>
                  <a:lnTo>
                    <a:pt x="558" y="1025"/>
                  </a:lnTo>
                  <a:lnTo>
                    <a:pt x="558" y="1025"/>
                  </a:lnTo>
                  <a:lnTo>
                    <a:pt x="555" y="1022"/>
                  </a:lnTo>
                  <a:lnTo>
                    <a:pt x="553" y="1022"/>
                  </a:lnTo>
                  <a:lnTo>
                    <a:pt x="555" y="1020"/>
                  </a:lnTo>
                  <a:lnTo>
                    <a:pt x="555" y="1020"/>
                  </a:lnTo>
                  <a:lnTo>
                    <a:pt x="555" y="1018"/>
                  </a:lnTo>
                  <a:lnTo>
                    <a:pt x="558" y="1020"/>
                  </a:lnTo>
                  <a:lnTo>
                    <a:pt x="558" y="1018"/>
                  </a:lnTo>
                  <a:lnTo>
                    <a:pt x="558" y="1018"/>
                  </a:lnTo>
                  <a:lnTo>
                    <a:pt x="560" y="1018"/>
                  </a:lnTo>
                  <a:lnTo>
                    <a:pt x="560" y="1018"/>
                  </a:lnTo>
                  <a:lnTo>
                    <a:pt x="562" y="1018"/>
                  </a:lnTo>
                  <a:lnTo>
                    <a:pt x="562" y="1018"/>
                  </a:lnTo>
                  <a:lnTo>
                    <a:pt x="562" y="1018"/>
                  </a:lnTo>
                  <a:lnTo>
                    <a:pt x="562" y="1018"/>
                  </a:lnTo>
                  <a:lnTo>
                    <a:pt x="562" y="1015"/>
                  </a:lnTo>
                  <a:lnTo>
                    <a:pt x="562" y="1015"/>
                  </a:lnTo>
                  <a:lnTo>
                    <a:pt x="562" y="1013"/>
                  </a:lnTo>
                  <a:lnTo>
                    <a:pt x="560" y="1013"/>
                  </a:lnTo>
                  <a:lnTo>
                    <a:pt x="560" y="1013"/>
                  </a:lnTo>
                  <a:lnTo>
                    <a:pt x="558" y="1011"/>
                  </a:lnTo>
                  <a:lnTo>
                    <a:pt x="558" y="1008"/>
                  </a:lnTo>
                  <a:lnTo>
                    <a:pt x="558" y="1008"/>
                  </a:lnTo>
                  <a:lnTo>
                    <a:pt x="558" y="1006"/>
                  </a:lnTo>
                  <a:lnTo>
                    <a:pt x="555" y="1003"/>
                  </a:lnTo>
                  <a:lnTo>
                    <a:pt x="558" y="1003"/>
                  </a:lnTo>
                  <a:lnTo>
                    <a:pt x="558" y="1003"/>
                  </a:lnTo>
                  <a:lnTo>
                    <a:pt x="558" y="1003"/>
                  </a:lnTo>
                  <a:lnTo>
                    <a:pt x="560" y="1001"/>
                  </a:lnTo>
                  <a:lnTo>
                    <a:pt x="558" y="999"/>
                  </a:lnTo>
                  <a:lnTo>
                    <a:pt x="558" y="999"/>
                  </a:lnTo>
                  <a:lnTo>
                    <a:pt x="558" y="996"/>
                  </a:lnTo>
                  <a:lnTo>
                    <a:pt x="555" y="996"/>
                  </a:lnTo>
                  <a:lnTo>
                    <a:pt x="555" y="996"/>
                  </a:lnTo>
                  <a:lnTo>
                    <a:pt x="553" y="994"/>
                  </a:lnTo>
                  <a:lnTo>
                    <a:pt x="555" y="994"/>
                  </a:lnTo>
                  <a:lnTo>
                    <a:pt x="558" y="992"/>
                  </a:lnTo>
                  <a:lnTo>
                    <a:pt x="558" y="992"/>
                  </a:lnTo>
                  <a:lnTo>
                    <a:pt x="560" y="989"/>
                  </a:lnTo>
                  <a:lnTo>
                    <a:pt x="558" y="987"/>
                  </a:lnTo>
                  <a:lnTo>
                    <a:pt x="560" y="987"/>
                  </a:lnTo>
                  <a:lnTo>
                    <a:pt x="560" y="987"/>
                  </a:lnTo>
                  <a:lnTo>
                    <a:pt x="562" y="987"/>
                  </a:lnTo>
                  <a:lnTo>
                    <a:pt x="562" y="985"/>
                  </a:lnTo>
                  <a:lnTo>
                    <a:pt x="562" y="982"/>
                  </a:lnTo>
                  <a:lnTo>
                    <a:pt x="562" y="982"/>
                  </a:lnTo>
                  <a:lnTo>
                    <a:pt x="562" y="980"/>
                  </a:lnTo>
                  <a:lnTo>
                    <a:pt x="562" y="980"/>
                  </a:lnTo>
                  <a:lnTo>
                    <a:pt x="562" y="978"/>
                  </a:lnTo>
                  <a:lnTo>
                    <a:pt x="562" y="978"/>
                  </a:lnTo>
                  <a:lnTo>
                    <a:pt x="562" y="975"/>
                  </a:lnTo>
                  <a:lnTo>
                    <a:pt x="562" y="973"/>
                  </a:lnTo>
                  <a:lnTo>
                    <a:pt x="567" y="975"/>
                  </a:lnTo>
                  <a:lnTo>
                    <a:pt x="569" y="973"/>
                  </a:lnTo>
                  <a:lnTo>
                    <a:pt x="569" y="970"/>
                  </a:lnTo>
                  <a:lnTo>
                    <a:pt x="572" y="970"/>
                  </a:lnTo>
                  <a:lnTo>
                    <a:pt x="572" y="970"/>
                  </a:lnTo>
                  <a:lnTo>
                    <a:pt x="572" y="968"/>
                  </a:lnTo>
                  <a:lnTo>
                    <a:pt x="572" y="968"/>
                  </a:lnTo>
                  <a:lnTo>
                    <a:pt x="574" y="968"/>
                  </a:lnTo>
                  <a:lnTo>
                    <a:pt x="574" y="966"/>
                  </a:lnTo>
                  <a:lnTo>
                    <a:pt x="576" y="966"/>
                  </a:lnTo>
                  <a:lnTo>
                    <a:pt x="576" y="963"/>
                  </a:lnTo>
                  <a:lnTo>
                    <a:pt x="574" y="963"/>
                  </a:lnTo>
                  <a:lnTo>
                    <a:pt x="576" y="963"/>
                  </a:lnTo>
                  <a:lnTo>
                    <a:pt x="576" y="961"/>
                  </a:lnTo>
                  <a:lnTo>
                    <a:pt x="576" y="961"/>
                  </a:lnTo>
                  <a:lnTo>
                    <a:pt x="576" y="959"/>
                  </a:lnTo>
                  <a:lnTo>
                    <a:pt x="576" y="959"/>
                  </a:lnTo>
                  <a:lnTo>
                    <a:pt x="579" y="959"/>
                  </a:lnTo>
                  <a:lnTo>
                    <a:pt x="579" y="959"/>
                  </a:lnTo>
                  <a:lnTo>
                    <a:pt x="576" y="956"/>
                  </a:lnTo>
                  <a:lnTo>
                    <a:pt x="576" y="954"/>
                  </a:lnTo>
                  <a:lnTo>
                    <a:pt x="574" y="954"/>
                  </a:lnTo>
                  <a:lnTo>
                    <a:pt x="576" y="952"/>
                  </a:lnTo>
                  <a:lnTo>
                    <a:pt x="576" y="952"/>
                  </a:lnTo>
                  <a:lnTo>
                    <a:pt x="576" y="949"/>
                  </a:lnTo>
                  <a:lnTo>
                    <a:pt x="576" y="949"/>
                  </a:lnTo>
                  <a:lnTo>
                    <a:pt x="576" y="947"/>
                  </a:lnTo>
                  <a:lnTo>
                    <a:pt x="576" y="944"/>
                  </a:lnTo>
                  <a:lnTo>
                    <a:pt x="576" y="944"/>
                  </a:lnTo>
                  <a:lnTo>
                    <a:pt x="576" y="944"/>
                  </a:lnTo>
                  <a:lnTo>
                    <a:pt x="574" y="944"/>
                  </a:lnTo>
                  <a:lnTo>
                    <a:pt x="574" y="944"/>
                  </a:lnTo>
                  <a:lnTo>
                    <a:pt x="572" y="942"/>
                  </a:lnTo>
                  <a:lnTo>
                    <a:pt x="569" y="942"/>
                  </a:lnTo>
                  <a:lnTo>
                    <a:pt x="569" y="942"/>
                  </a:lnTo>
                  <a:lnTo>
                    <a:pt x="569" y="942"/>
                  </a:lnTo>
                  <a:lnTo>
                    <a:pt x="565" y="942"/>
                  </a:lnTo>
                  <a:lnTo>
                    <a:pt x="565" y="944"/>
                  </a:lnTo>
                  <a:lnTo>
                    <a:pt x="562" y="942"/>
                  </a:lnTo>
                  <a:lnTo>
                    <a:pt x="562" y="942"/>
                  </a:lnTo>
                  <a:lnTo>
                    <a:pt x="562" y="942"/>
                  </a:lnTo>
                  <a:lnTo>
                    <a:pt x="562" y="942"/>
                  </a:lnTo>
                  <a:lnTo>
                    <a:pt x="562" y="940"/>
                  </a:lnTo>
                  <a:lnTo>
                    <a:pt x="562" y="940"/>
                  </a:lnTo>
                  <a:lnTo>
                    <a:pt x="560" y="940"/>
                  </a:lnTo>
                  <a:lnTo>
                    <a:pt x="560" y="937"/>
                  </a:lnTo>
                  <a:lnTo>
                    <a:pt x="560" y="937"/>
                  </a:lnTo>
                  <a:lnTo>
                    <a:pt x="560" y="935"/>
                  </a:lnTo>
                  <a:lnTo>
                    <a:pt x="560" y="935"/>
                  </a:lnTo>
                  <a:lnTo>
                    <a:pt x="560" y="935"/>
                  </a:lnTo>
                  <a:lnTo>
                    <a:pt x="560" y="933"/>
                  </a:lnTo>
                  <a:lnTo>
                    <a:pt x="558" y="933"/>
                  </a:lnTo>
                  <a:lnTo>
                    <a:pt x="558" y="933"/>
                  </a:lnTo>
                  <a:lnTo>
                    <a:pt x="555" y="935"/>
                  </a:lnTo>
                  <a:lnTo>
                    <a:pt x="555" y="935"/>
                  </a:lnTo>
                  <a:lnTo>
                    <a:pt x="553" y="935"/>
                  </a:lnTo>
                  <a:lnTo>
                    <a:pt x="553" y="935"/>
                  </a:lnTo>
                  <a:lnTo>
                    <a:pt x="550" y="940"/>
                  </a:lnTo>
                  <a:lnTo>
                    <a:pt x="550" y="937"/>
                  </a:lnTo>
                  <a:lnTo>
                    <a:pt x="550" y="935"/>
                  </a:lnTo>
                  <a:lnTo>
                    <a:pt x="550" y="937"/>
                  </a:lnTo>
                  <a:lnTo>
                    <a:pt x="548" y="937"/>
                  </a:lnTo>
                  <a:lnTo>
                    <a:pt x="546" y="935"/>
                  </a:lnTo>
                  <a:lnTo>
                    <a:pt x="543" y="935"/>
                  </a:lnTo>
                  <a:lnTo>
                    <a:pt x="546" y="933"/>
                  </a:lnTo>
                  <a:lnTo>
                    <a:pt x="543" y="933"/>
                  </a:lnTo>
                  <a:lnTo>
                    <a:pt x="543" y="933"/>
                  </a:lnTo>
                  <a:lnTo>
                    <a:pt x="541" y="933"/>
                  </a:lnTo>
                  <a:lnTo>
                    <a:pt x="541" y="935"/>
                  </a:lnTo>
                  <a:lnTo>
                    <a:pt x="539" y="933"/>
                  </a:lnTo>
                  <a:lnTo>
                    <a:pt x="536" y="933"/>
                  </a:lnTo>
                  <a:lnTo>
                    <a:pt x="534" y="935"/>
                  </a:lnTo>
                  <a:lnTo>
                    <a:pt x="534" y="935"/>
                  </a:lnTo>
                  <a:lnTo>
                    <a:pt x="534" y="935"/>
                  </a:lnTo>
                  <a:lnTo>
                    <a:pt x="532" y="935"/>
                  </a:lnTo>
                  <a:lnTo>
                    <a:pt x="532" y="937"/>
                  </a:lnTo>
                  <a:lnTo>
                    <a:pt x="532" y="937"/>
                  </a:lnTo>
                  <a:lnTo>
                    <a:pt x="532" y="937"/>
                  </a:lnTo>
                  <a:lnTo>
                    <a:pt x="529" y="940"/>
                  </a:lnTo>
                  <a:lnTo>
                    <a:pt x="529" y="940"/>
                  </a:lnTo>
                  <a:lnTo>
                    <a:pt x="527" y="940"/>
                  </a:lnTo>
                  <a:lnTo>
                    <a:pt x="527" y="940"/>
                  </a:lnTo>
                  <a:lnTo>
                    <a:pt x="524" y="940"/>
                  </a:lnTo>
                  <a:lnTo>
                    <a:pt x="524" y="942"/>
                  </a:lnTo>
                  <a:lnTo>
                    <a:pt x="524" y="940"/>
                  </a:lnTo>
                  <a:lnTo>
                    <a:pt x="522" y="942"/>
                  </a:lnTo>
                  <a:lnTo>
                    <a:pt x="522" y="940"/>
                  </a:lnTo>
                  <a:lnTo>
                    <a:pt x="520" y="942"/>
                  </a:lnTo>
                  <a:lnTo>
                    <a:pt x="520" y="940"/>
                  </a:lnTo>
                  <a:lnTo>
                    <a:pt x="520" y="940"/>
                  </a:lnTo>
                  <a:lnTo>
                    <a:pt x="517" y="940"/>
                  </a:lnTo>
                  <a:lnTo>
                    <a:pt x="515" y="942"/>
                  </a:lnTo>
                  <a:lnTo>
                    <a:pt x="515" y="940"/>
                  </a:lnTo>
                  <a:lnTo>
                    <a:pt x="515" y="942"/>
                  </a:lnTo>
                  <a:lnTo>
                    <a:pt x="515" y="940"/>
                  </a:lnTo>
                  <a:lnTo>
                    <a:pt x="513" y="940"/>
                  </a:lnTo>
                  <a:lnTo>
                    <a:pt x="513" y="940"/>
                  </a:lnTo>
                  <a:lnTo>
                    <a:pt x="513" y="940"/>
                  </a:lnTo>
                  <a:lnTo>
                    <a:pt x="513" y="940"/>
                  </a:lnTo>
                  <a:lnTo>
                    <a:pt x="513" y="937"/>
                  </a:lnTo>
                  <a:lnTo>
                    <a:pt x="513" y="937"/>
                  </a:lnTo>
                  <a:lnTo>
                    <a:pt x="515" y="935"/>
                  </a:lnTo>
                  <a:lnTo>
                    <a:pt x="513" y="933"/>
                  </a:lnTo>
                  <a:lnTo>
                    <a:pt x="515" y="933"/>
                  </a:lnTo>
                  <a:lnTo>
                    <a:pt x="515" y="933"/>
                  </a:lnTo>
                  <a:lnTo>
                    <a:pt x="515" y="930"/>
                  </a:lnTo>
                  <a:lnTo>
                    <a:pt x="513" y="930"/>
                  </a:lnTo>
                  <a:lnTo>
                    <a:pt x="513" y="928"/>
                  </a:lnTo>
                  <a:lnTo>
                    <a:pt x="513" y="928"/>
                  </a:lnTo>
                  <a:lnTo>
                    <a:pt x="510" y="926"/>
                  </a:lnTo>
                  <a:lnTo>
                    <a:pt x="510" y="926"/>
                  </a:lnTo>
                  <a:lnTo>
                    <a:pt x="510" y="926"/>
                  </a:lnTo>
                  <a:lnTo>
                    <a:pt x="510" y="923"/>
                  </a:lnTo>
                  <a:lnTo>
                    <a:pt x="510" y="923"/>
                  </a:lnTo>
                  <a:lnTo>
                    <a:pt x="510" y="921"/>
                  </a:lnTo>
                  <a:lnTo>
                    <a:pt x="508" y="918"/>
                  </a:lnTo>
                  <a:lnTo>
                    <a:pt x="508" y="918"/>
                  </a:lnTo>
                  <a:lnTo>
                    <a:pt x="508" y="918"/>
                  </a:lnTo>
                  <a:lnTo>
                    <a:pt x="506" y="916"/>
                  </a:lnTo>
                  <a:lnTo>
                    <a:pt x="506" y="916"/>
                  </a:lnTo>
                  <a:lnTo>
                    <a:pt x="506" y="916"/>
                  </a:lnTo>
                  <a:lnTo>
                    <a:pt x="506" y="914"/>
                  </a:lnTo>
                  <a:lnTo>
                    <a:pt x="506" y="914"/>
                  </a:lnTo>
                  <a:lnTo>
                    <a:pt x="506" y="914"/>
                  </a:lnTo>
                  <a:lnTo>
                    <a:pt x="506" y="914"/>
                  </a:lnTo>
                  <a:lnTo>
                    <a:pt x="503" y="914"/>
                  </a:lnTo>
                  <a:lnTo>
                    <a:pt x="503" y="914"/>
                  </a:lnTo>
                  <a:lnTo>
                    <a:pt x="503" y="914"/>
                  </a:lnTo>
                  <a:lnTo>
                    <a:pt x="501" y="911"/>
                  </a:lnTo>
                  <a:lnTo>
                    <a:pt x="501" y="909"/>
                  </a:lnTo>
                  <a:lnTo>
                    <a:pt x="501" y="909"/>
                  </a:lnTo>
                  <a:lnTo>
                    <a:pt x="499" y="907"/>
                  </a:lnTo>
                  <a:lnTo>
                    <a:pt x="501" y="904"/>
                  </a:lnTo>
                  <a:lnTo>
                    <a:pt x="496" y="902"/>
                  </a:lnTo>
                  <a:lnTo>
                    <a:pt x="499" y="902"/>
                  </a:lnTo>
                  <a:lnTo>
                    <a:pt x="499" y="902"/>
                  </a:lnTo>
                  <a:lnTo>
                    <a:pt x="499" y="900"/>
                  </a:lnTo>
                  <a:lnTo>
                    <a:pt x="501" y="900"/>
                  </a:lnTo>
                  <a:lnTo>
                    <a:pt x="501" y="900"/>
                  </a:lnTo>
                  <a:lnTo>
                    <a:pt x="499" y="897"/>
                  </a:lnTo>
                  <a:lnTo>
                    <a:pt x="496" y="897"/>
                  </a:lnTo>
                  <a:lnTo>
                    <a:pt x="496" y="897"/>
                  </a:lnTo>
                  <a:lnTo>
                    <a:pt x="496" y="895"/>
                  </a:lnTo>
                  <a:lnTo>
                    <a:pt x="496" y="892"/>
                  </a:lnTo>
                  <a:lnTo>
                    <a:pt x="496" y="890"/>
                  </a:lnTo>
                  <a:lnTo>
                    <a:pt x="494" y="888"/>
                  </a:lnTo>
                  <a:lnTo>
                    <a:pt x="496" y="888"/>
                  </a:lnTo>
                  <a:lnTo>
                    <a:pt x="496" y="885"/>
                  </a:lnTo>
                  <a:lnTo>
                    <a:pt x="496" y="883"/>
                  </a:lnTo>
                  <a:lnTo>
                    <a:pt x="496" y="881"/>
                  </a:lnTo>
                  <a:lnTo>
                    <a:pt x="494" y="881"/>
                  </a:lnTo>
                  <a:lnTo>
                    <a:pt x="494" y="878"/>
                  </a:lnTo>
                  <a:lnTo>
                    <a:pt x="491" y="878"/>
                  </a:lnTo>
                  <a:lnTo>
                    <a:pt x="491" y="878"/>
                  </a:lnTo>
                  <a:lnTo>
                    <a:pt x="491" y="876"/>
                  </a:lnTo>
                  <a:lnTo>
                    <a:pt x="487" y="876"/>
                  </a:lnTo>
                  <a:lnTo>
                    <a:pt x="487" y="874"/>
                  </a:lnTo>
                  <a:lnTo>
                    <a:pt x="484" y="871"/>
                  </a:lnTo>
                  <a:lnTo>
                    <a:pt x="487" y="866"/>
                  </a:lnTo>
                  <a:lnTo>
                    <a:pt x="487" y="862"/>
                  </a:lnTo>
                  <a:lnTo>
                    <a:pt x="487" y="859"/>
                  </a:lnTo>
                  <a:lnTo>
                    <a:pt x="487" y="859"/>
                  </a:lnTo>
                  <a:lnTo>
                    <a:pt x="489" y="857"/>
                  </a:lnTo>
                  <a:lnTo>
                    <a:pt x="489" y="857"/>
                  </a:lnTo>
                  <a:lnTo>
                    <a:pt x="491" y="855"/>
                  </a:lnTo>
                  <a:lnTo>
                    <a:pt x="491" y="852"/>
                  </a:lnTo>
                  <a:lnTo>
                    <a:pt x="491" y="852"/>
                  </a:lnTo>
                  <a:lnTo>
                    <a:pt x="491" y="850"/>
                  </a:lnTo>
                  <a:lnTo>
                    <a:pt x="494" y="848"/>
                  </a:lnTo>
                  <a:lnTo>
                    <a:pt x="494" y="848"/>
                  </a:lnTo>
                  <a:lnTo>
                    <a:pt x="494" y="848"/>
                  </a:lnTo>
                  <a:lnTo>
                    <a:pt x="496" y="848"/>
                  </a:lnTo>
                  <a:lnTo>
                    <a:pt x="501" y="848"/>
                  </a:lnTo>
                  <a:lnTo>
                    <a:pt x="501" y="848"/>
                  </a:lnTo>
                  <a:lnTo>
                    <a:pt x="501" y="845"/>
                  </a:lnTo>
                  <a:lnTo>
                    <a:pt x="501" y="843"/>
                  </a:lnTo>
                  <a:lnTo>
                    <a:pt x="501" y="843"/>
                  </a:lnTo>
                  <a:lnTo>
                    <a:pt x="503" y="840"/>
                  </a:lnTo>
                  <a:lnTo>
                    <a:pt x="503" y="840"/>
                  </a:lnTo>
                  <a:lnTo>
                    <a:pt x="503" y="838"/>
                  </a:lnTo>
                  <a:lnTo>
                    <a:pt x="501" y="838"/>
                  </a:lnTo>
                  <a:lnTo>
                    <a:pt x="501" y="836"/>
                  </a:lnTo>
                  <a:lnTo>
                    <a:pt x="501" y="836"/>
                  </a:lnTo>
                  <a:lnTo>
                    <a:pt x="499" y="833"/>
                  </a:lnTo>
                  <a:lnTo>
                    <a:pt x="499" y="833"/>
                  </a:lnTo>
                  <a:lnTo>
                    <a:pt x="499" y="833"/>
                  </a:lnTo>
                  <a:lnTo>
                    <a:pt x="499" y="831"/>
                  </a:lnTo>
                  <a:lnTo>
                    <a:pt x="499" y="831"/>
                  </a:lnTo>
                  <a:lnTo>
                    <a:pt x="496" y="829"/>
                  </a:lnTo>
                  <a:lnTo>
                    <a:pt x="496" y="829"/>
                  </a:lnTo>
                  <a:lnTo>
                    <a:pt x="496" y="826"/>
                  </a:lnTo>
                  <a:lnTo>
                    <a:pt x="496" y="824"/>
                  </a:lnTo>
                  <a:lnTo>
                    <a:pt x="496" y="824"/>
                  </a:lnTo>
                  <a:lnTo>
                    <a:pt x="494" y="822"/>
                  </a:lnTo>
                  <a:lnTo>
                    <a:pt x="491" y="822"/>
                  </a:lnTo>
                  <a:lnTo>
                    <a:pt x="489" y="822"/>
                  </a:lnTo>
                  <a:lnTo>
                    <a:pt x="487" y="822"/>
                  </a:lnTo>
                  <a:lnTo>
                    <a:pt x="484" y="819"/>
                  </a:lnTo>
                  <a:lnTo>
                    <a:pt x="482" y="817"/>
                  </a:lnTo>
                  <a:lnTo>
                    <a:pt x="482" y="815"/>
                  </a:lnTo>
                  <a:lnTo>
                    <a:pt x="480" y="815"/>
                  </a:lnTo>
                  <a:lnTo>
                    <a:pt x="477" y="815"/>
                  </a:lnTo>
                  <a:lnTo>
                    <a:pt x="477" y="812"/>
                  </a:lnTo>
                  <a:lnTo>
                    <a:pt x="477" y="812"/>
                  </a:lnTo>
                  <a:lnTo>
                    <a:pt x="477" y="812"/>
                  </a:lnTo>
                  <a:lnTo>
                    <a:pt x="477" y="812"/>
                  </a:lnTo>
                  <a:lnTo>
                    <a:pt x="477" y="810"/>
                  </a:lnTo>
                  <a:lnTo>
                    <a:pt x="477" y="810"/>
                  </a:lnTo>
                  <a:lnTo>
                    <a:pt x="477" y="810"/>
                  </a:lnTo>
                  <a:lnTo>
                    <a:pt x="477" y="807"/>
                  </a:lnTo>
                  <a:lnTo>
                    <a:pt x="477" y="807"/>
                  </a:lnTo>
                  <a:lnTo>
                    <a:pt x="477" y="807"/>
                  </a:lnTo>
                  <a:lnTo>
                    <a:pt x="477" y="807"/>
                  </a:lnTo>
                  <a:lnTo>
                    <a:pt x="477" y="805"/>
                  </a:lnTo>
                  <a:lnTo>
                    <a:pt x="477" y="805"/>
                  </a:lnTo>
                  <a:lnTo>
                    <a:pt x="477" y="805"/>
                  </a:lnTo>
                  <a:lnTo>
                    <a:pt x="477" y="803"/>
                  </a:lnTo>
                  <a:lnTo>
                    <a:pt x="477" y="803"/>
                  </a:lnTo>
                  <a:lnTo>
                    <a:pt x="477" y="800"/>
                  </a:lnTo>
                  <a:lnTo>
                    <a:pt x="477" y="798"/>
                  </a:lnTo>
                  <a:lnTo>
                    <a:pt x="477" y="798"/>
                  </a:lnTo>
                  <a:lnTo>
                    <a:pt x="477" y="798"/>
                  </a:lnTo>
                  <a:lnTo>
                    <a:pt x="477" y="798"/>
                  </a:lnTo>
                  <a:lnTo>
                    <a:pt x="477" y="796"/>
                  </a:lnTo>
                  <a:lnTo>
                    <a:pt x="480" y="796"/>
                  </a:lnTo>
                  <a:lnTo>
                    <a:pt x="480" y="793"/>
                  </a:lnTo>
                  <a:lnTo>
                    <a:pt x="480" y="791"/>
                  </a:lnTo>
                  <a:lnTo>
                    <a:pt x="480" y="791"/>
                  </a:lnTo>
                  <a:lnTo>
                    <a:pt x="482" y="789"/>
                  </a:lnTo>
                  <a:lnTo>
                    <a:pt x="484" y="789"/>
                  </a:lnTo>
                  <a:lnTo>
                    <a:pt x="484" y="784"/>
                  </a:lnTo>
                  <a:lnTo>
                    <a:pt x="484" y="784"/>
                  </a:lnTo>
                  <a:lnTo>
                    <a:pt x="484" y="781"/>
                  </a:lnTo>
                  <a:lnTo>
                    <a:pt x="482" y="779"/>
                  </a:lnTo>
                  <a:lnTo>
                    <a:pt x="482" y="779"/>
                  </a:lnTo>
                  <a:lnTo>
                    <a:pt x="482" y="777"/>
                  </a:lnTo>
                  <a:lnTo>
                    <a:pt x="480" y="774"/>
                  </a:lnTo>
                  <a:lnTo>
                    <a:pt x="480" y="774"/>
                  </a:lnTo>
                  <a:lnTo>
                    <a:pt x="477" y="774"/>
                  </a:lnTo>
                  <a:lnTo>
                    <a:pt x="475" y="770"/>
                  </a:lnTo>
                  <a:lnTo>
                    <a:pt x="473" y="770"/>
                  </a:lnTo>
                  <a:lnTo>
                    <a:pt x="470" y="767"/>
                  </a:lnTo>
                  <a:lnTo>
                    <a:pt x="468" y="767"/>
                  </a:lnTo>
                  <a:lnTo>
                    <a:pt x="468" y="765"/>
                  </a:lnTo>
                  <a:lnTo>
                    <a:pt x="463" y="765"/>
                  </a:lnTo>
                  <a:lnTo>
                    <a:pt x="463" y="765"/>
                  </a:lnTo>
                  <a:lnTo>
                    <a:pt x="461" y="763"/>
                  </a:lnTo>
                  <a:lnTo>
                    <a:pt x="458" y="760"/>
                  </a:lnTo>
                  <a:lnTo>
                    <a:pt x="458" y="760"/>
                  </a:lnTo>
                  <a:lnTo>
                    <a:pt x="458" y="758"/>
                  </a:lnTo>
                  <a:lnTo>
                    <a:pt x="461" y="758"/>
                  </a:lnTo>
                  <a:lnTo>
                    <a:pt x="461" y="758"/>
                  </a:lnTo>
                  <a:lnTo>
                    <a:pt x="461" y="755"/>
                  </a:lnTo>
                  <a:lnTo>
                    <a:pt x="458" y="755"/>
                  </a:lnTo>
                  <a:lnTo>
                    <a:pt x="458" y="753"/>
                  </a:lnTo>
                  <a:lnTo>
                    <a:pt x="456" y="751"/>
                  </a:lnTo>
                  <a:lnTo>
                    <a:pt x="456" y="748"/>
                  </a:lnTo>
                  <a:lnTo>
                    <a:pt x="454" y="751"/>
                  </a:lnTo>
                  <a:lnTo>
                    <a:pt x="454" y="751"/>
                  </a:lnTo>
                  <a:lnTo>
                    <a:pt x="451" y="751"/>
                  </a:lnTo>
                  <a:lnTo>
                    <a:pt x="449" y="753"/>
                  </a:lnTo>
                  <a:lnTo>
                    <a:pt x="447" y="753"/>
                  </a:lnTo>
                  <a:lnTo>
                    <a:pt x="444" y="753"/>
                  </a:lnTo>
                  <a:lnTo>
                    <a:pt x="444" y="755"/>
                  </a:lnTo>
                  <a:lnTo>
                    <a:pt x="442" y="755"/>
                  </a:lnTo>
                  <a:lnTo>
                    <a:pt x="439" y="755"/>
                  </a:lnTo>
                  <a:lnTo>
                    <a:pt x="439" y="758"/>
                  </a:lnTo>
                  <a:lnTo>
                    <a:pt x="437" y="760"/>
                  </a:lnTo>
                  <a:lnTo>
                    <a:pt x="435" y="760"/>
                  </a:lnTo>
                  <a:lnTo>
                    <a:pt x="432" y="760"/>
                  </a:lnTo>
                  <a:lnTo>
                    <a:pt x="432" y="760"/>
                  </a:lnTo>
                  <a:lnTo>
                    <a:pt x="430" y="758"/>
                  </a:lnTo>
                  <a:lnTo>
                    <a:pt x="430" y="758"/>
                  </a:lnTo>
                  <a:lnTo>
                    <a:pt x="430" y="755"/>
                  </a:lnTo>
                  <a:lnTo>
                    <a:pt x="430" y="755"/>
                  </a:lnTo>
                  <a:lnTo>
                    <a:pt x="425" y="751"/>
                  </a:lnTo>
                  <a:lnTo>
                    <a:pt x="423" y="751"/>
                  </a:lnTo>
                  <a:lnTo>
                    <a:pt x="421" y="753"/>
                  </a:lnTo>
                  <a:lnTo>
                    <a:pt x="421" y="753"/>
                  </a:lnTo>
                  <a:lnTo>
                    <a:pt x="418" y="753"/>
                  </a:lnTo>
                  <a:lnTo>
                    <a:pt x="413" y="753"/>
                  </a:lnTo>
                  <a:lnTo>
                    <a:pt x="409" y="755"/>
                  </a:lnTo>
                  <a:lnTo>
                    <a:pt x="406" y="753"/>
                  </a:lnTo>
                  <a:lnTo>
                    <a:pt x="406" y="753"/>
                  </a:lnTo>
                  <a:lnTo>
                    <a:pt x="404" y="755"/>
                  </a:lnTo>
                  <a:lnTo>
                    <a:pt x="404" y="758"/>
                  </a:lnTo>
                  <a:lnTo>
                    <a:pt x="404" y="758"/>
                  </a:lnTo>
                  <a:lnTo>
                    <a:pt x="404" y="758"/>
                  </a:lnTo>
                  <a:lnTo>
                    <a:pt x="404" y="760"/>
                  </a:lnTo>
                  <a:lnTo>
                    <a:pt x="404" y="760"/>
                  </a:lnTo>
                  <a:lnTo>
                    <a:pt x="404" y="760"/>
                  </a:lnTo>
                  <a:lnTo>
                    <a:pt x="404" y="760"/>
                  </a:lnTo>
                  <a:lnTo>
                    <a:pt x="404" y="763"/>
                  </a:lnTo>
                  <a:lnTo>
                    <a:pt x="404" y="765"/>
                  </a:lnTo>
                  <a:lnTo>
                    <a:pt x="404" y="767"/>
                  </a:lnTo>
                  <a:lnTo>
                    <a:pt x="404" y="767"/>
                  </a:lnTo>
                  <a:lnTo>
                    <a:pt x="402" y="770"/>
                  </a:lnTo>
                  <a:lnTo>
                    <a:pt x="399" y="770"/>
                  </a:lnTo>
                  <a:lnTo>
                    <a:pt x="397" y="770"/>
                  </a:lnTo>
                  <a:lnTo>
                    <a:pt x="395" y="767"/>
                  </a:lnTo>
                  <a:lnTo>
                    <a:pt x="395" y="763"/>
                  </a:lnTo>
                  <a:lnTo>
                    <a:pt x="390" y="760"/>
                  </a:lnTo>
                  <a:lnTo>
                    <a:pt x="390" y="760"/>
                  </a:lnTo>
                  <a:lnTo>
                    <a:pt x="387" y="760"/>
                  </a:lnTo>
                  <a:lnTo>
                    <a:pt x="387" y="765"/>
                  </a:lnTo>
                  <a:lnTo>
                    <a:pt x="387" y="767"/>
                  </a:lnTo>
                  <a:lnTo>
                    <a:pt x="387" y="767"/>
                  </a:lnTo>
                  <a:lnTo>
                    <a:pt x="385" y="770"/>
                  </a:lnTo>
                  <a:lnTo>
                    <a:pt x="383" y="770"/>
                  </a:lnTo>
                  <a:lnTo>
                    <a:pt x="383" y="772"/>
                  </a:lnTo>
                  <a:lnTo>
                    <a:pt x="378" y="774"/>
                  </a:lnTo>
                  <a:lnTo>
                    <a:pt x="376" y="774"/>
                  </a:lnTo>
                  <a:lnTo>
                    <a:pt x="373" y="774"/>
                  </a:lnTo>
                  <a:lnTo>
                    <a:pt x="371" y="772"/>
                  </a:lnTo>
                  <a:lnTo>
                    <a:pt x="369" y="770"/>
                  </a:lnTo>
                  <a:lnTo>
                    <a:pt x="369" y="767"/>
                  </a:lnTo>
                  <a:lnTo>
                    <a:pt x="366" y="767"/>
                  </a:lnTo>
                  <a:lnTo>
                    <a:pt x="366" y="767"/>
                  </a:lnTo>
                  <a:lnTo>
                    <a:pt x="366" y="767"/>
                  </a:lnTo>
                  <a:lnTo>
                    <a:pt x="364" y="765"/>
                  </a:lnTo>
                  <a:lnTo>
                    <a:pt x="361" y="760"/>
                  </a:lnTo>
                  <a:lnTo>
                    <a:pt x="359" y="760"/>
                  </a:lnTo>
                  <a:lnTo>
                    <a:pt x="359" y="758"/>
                  </a:lnTo>
                  <a:lnTo>
                    <a:pt x="357" y="758"/>
                  </a:lnTo>
                  <a:lnTo>
                    <a:pt x="357" y="760"/>
                  </a:lnTo>
                  <a:lnTo>
                    <a:pt x="357" y="760"/>
                  </a:lnTo>
                  <a:lnTo>
                    <a:pt x="357" y="765"/>
                  </a:lnTo>
                  <a:lnTo>
                    <a:pt x="357" y="765"/>
                  </a:lnTo>
                  <a:lnTo>
                    <a:pt x="359" y="770"/>
                  </a:lnTo>
                  <a:lnTo>
                    <a:pt x="359" y="770"/>
                  </a:lnTo>
                  <a:lnTo>
                    <a:pt x="359" y="772"/>
                  </a:lnTo>
                  <a:lnTo>
                    <a:pt x="359" y="772"/>
                  </a:lnTo>
                  <a:lnTo>
                    <a:pt x="357" y="774"/>
                  </a:lnTo>
                  <a:lnTo>
                    <a:pt x="354" y="774"/>
                  </a:lnTo>
                  <a:lnTo>
                    <a:pt x="354" y="774"/>
                  </a:lnTo>
                  <a:lnTo>
                    <a:pt x="352" y="774"/>
                  </a:lnTo>
                  <a:lnTo>
                    <a:pt x="352" y="772"/>
                  </a:lnTo>
                  <a:lnTo>
                    <a:pt x="350" y="770"/>
                  </a:lnTo>
                  <a:lnTo>
                    <a:pt x="347" y="770"/>
                  </a:lnTo>
                  <a:lnTo>
                    <a:pt x="345" y="770"/>
                  </a:lnTo>
                  <a:lnTo>
                    <a:pt x="343" y="770"/>
                  </a:lnTo>
                  <a:lnTo>
                    <a:pt x="343" y="770"/>
                  </a:lnTo>
                  <a:lnTo>
                    <a:pt x="340" y="770"/>
                  </a:lnTo>
                  <a:lnTo>
                    <a:pt x="340" y="770"/>
                  </a:lnTo>
                  <a:lnTo>
                    <a:pt x="336" y="770"/>
                  </a:lnTo>
                  <a:lnTo>
                    <a:pt x="331" y="770"/>
                  </a:lnTo>
                  <a:lnTo>
                    <a:pt x="331" y="770"/>
                  </a:lnTo>
                  <a:lnTo>
                    <a:pt x="326" y="772"/>
                  </a:lnTo>
                  <a:lnTo>
                    <a:pt x="321" y="772"/>
                  </a:lnTo>
                  <a:lnTo>
                    <a:pt x="319" y="772"/>
                  </a:lnTo>
                  <a:lnTo>
                    <a:pt x="317" y="772"/>
                  </a:lnTo>
                  <a:lnTo>
                    <a:pt x="314" y="772"/>
                  </a:lnTo>
                  <a:lnTo>
                    <a:pt x="312" y="772"/>
                  </a:lnTo>
                  <a:lnTo>
                    <a:pt x="310" y="777"/>
                  </a:lnTo>
                  <a:lnTo>
                    <a:pt x="305" y="777"/>
                  </a:lnTo>
                  <a:lnTo>
                    <a:pt x="302" y="777"/>
                  </a:lnTo>
                  <a:lnTo>
                    <a:pt x="302" y="777"/>
                  </a:lnTo>
                  <a:lnTo>
                    <a:pt x="300" y="777"/>
                  </a:lnTo>
                  <a:lnTo>
                    <a:pt x="295" y="774"/>
                  </a:lnTo>
                  <a:lnTo>
                    <a:pt x="295" y="774"/>
                  </a:lnTo>
                  <a:lnTo>
                    <a:pt x="293" y="774"/>
                  </a:lnTo>
                  <a:lnTo>
                    <a:pt x="288" y="777"/>
                  </a:lnTo>
                  <a:lnTo>
                    <a:pt x="284" y="777"/>
                  </a:lnTo>
                  <a:lnTo>
                    <a:pt x="284" y="777"/>
                  </a:lnTo>
                  <a:lnTo>
                    <a:pt x="281" y="777"/>
                  </a:lnTo>
                  <a:lnTo>
                    <a:pt x="279" y="779"/>
                  </a:lnTo>
                  <a:lnTo>
                    <a:pt x="279" y="781"/>
                  </a:lnTo>
                  <a:lnTo>
                    <a:pt x="279" y="784"/>
                  </a:lnTo>
                  <a:lnTo>
                    <a:pt x="279" y="784"/>
                  </a:lnTo>
                  <a:lnTo>
                    <a:pt x="279" y="784"/>
                  </a:lnTo>
                  <a:lnTo>
                    <a:pt x="276" y="786"/>
                  </a:lnTo>
                  <a:lnTo>
                    <a:pt x="274" y="789"/>
                  </a:lnTo>
                  <a:lnTo>
                    <a:pt x="274" y="793"/>
                  </a:lnTo>
                  <a:lnTo>
                    <a:pt x="274" y="793"/>
                  </a:lnTo>
                  <a:lnTo>
                    <a:pt x="276" y="796"/>
                  </a:lnTo>
                  <a:lnTo>
                    <a:pt x="276" y="800"/>
                  </a:lnTo>
                  <a:lnTo>
                    <a:pt x="276" y="805"/>
                  </a:lnTo>
                  <a:lnTo>
                    <a:pt x="276" y="805"/>
                  </a:lnTo>
                  <a:lnTo>
                    <a:pt x="276" y="807"/>
                  </a:lnTo>
                  <a:lnTo>
                    <a:pt x="276" y="807"/>
                  </a:lnTo>
                  <a:lnTo>
                    <a:pt x="276" y="812"/>
                  </a:lnTo>
                  <a:lnTo>
                    <a:pt x="274" y="812"/>
                  </a:lnTo>
                  <a:lnTo>
                    <a:pt x="274" y="812"/>
                  </a:lnTo>
                  <a:lnTo>
                    <a:pt x="265" y="807"/>
                  </a:lnTo>
                  <a:lnTo>
                    <a:pt x="265" y="805"/>
                  </a:lnTo>
                  <a:lnTo>
                    <a:pt x="265" y="791"/>
                  </a:lnTo>
                  <a:lnTo>
                    <a:pt x="265" y="789"/>
                  </a:lnTo>
                  <a:lnTo>
                    <a:pt x="265" y="781"/>
                  </a:lnTo>
                  <a:lnTo>
                    <a:pt x="262" y="777"/>
                  </a:lnTo>
                  <a:lnTo>
                    <a:pt x="262" y="777"/>
                  </a:lnTo>
                  <a:lnTo>
                    <a:pt x="258" y="774"/>
                  </a:lnTo>
                  <a:lnTo>
                    <a:pt x="258" y="774"/>
                  </a:lnTo>
                  <a:lnTo>
                    <a:pt x="253" y="774"/>
                  </a:lnTo>
                  <a:lnTo>
                    <a:pt x="253" y="774"/>
                  </a:lnTo>
                  <a:lnTo>
                    <a:pt x="248" y="781"/>
                  </a:lnTo>
                  <a:lnTo>
                    <a:pt x="246" y="789"/>
                  </a:lnTo>
                  <a:lnTo>
                    <a:pt x="243" y="791"/>
                  </a:lnTo>
                  <a:lnTo>
                    <a:pt x="239" y="796"/>
                  </a:lnTo>
                  <a:lnTo>
                    <a:pt x="239" y="796"/>
                  </a:lnTo>
                  <a:lnTo>
                    <a:pt x="239" y="796"/>
                  </a:lnTo>
                  <a:lnTo>
                    <a:pt x="236" y="796"/>
                  </a:lnTo>
                  <a:lnTo>
                    <a:pt x="232" y="793"/>
                  </a:lnTo>
                  <a:lnTo>
                    <a:pt x="232" y="793"/>
                  </a:lnTo>
                  <a:lnTo>
                    <a:pt x="227" y="789"/>
                  </a:lnTo>
                  <a:lnTo>
                    <a:pt x="227" y="786"/>
                  </a:lnTo>
                  <a:lnTo>
                    <a:pt x="227" y="784"/>
                  </a:lnTo>
                  <a:lnTo>
                    <a:pt x="222" y="777"/>
                  </a:lnTo>
                  <a:lnTo>
                    <a:pt x="222" y="770"/>
                  </a:lnTo>
                  <a:lnTo>
                    <a:pt x="222" y="767"/>
                  </a:lnTo>
                  <a:lnTo>
                    <a:pt x="222" y="767"/>
                  </a:lnTo>
                  <a:lnTo>
                    <a:pt x="222" y="765"/>
                  </a:lnTo>
                  <a:lnTo>
                    <a:pt x="224" y="758"/>
                  </a:lnTo>
                  <a:lnTo>
                    <a:pt x="224" y="755"/>
                  </a:lnTo>
                  <a:lnTo>
                    <a:pt x="227" y="755"/>
                  </a:lnTo>
                  <a:lnTo>
                    <a:pt x="229" y="755"/>
                  </a:lnTo>
                  <a:lnTo>
                    <a:pt x="229" y="753"/>
                  </a:lnTo>
                  <a:lnTo>
                    <a:pt x="229" y="751"/>
                  </a:lnTo>
                  <a:lnTo>
                    <a:pt x="229" y="751"/>
                  </a:lnTo>
                  <a:lnTo>
                    <a:pt x="227" y="751"/>
                  </a:lnTo>
                  <a:lnTo>
                    <a:pt x="224" y="748"/>
                  </a:lnTo>
                  <a:lnTo>
                    <a:pt x="220" y="751"/>
                  </a:lnTo>
                  <a:lnTo>
                    <a:pt x="217" y="751"/>
                  </a:lnTo>
                  <a:lnTo>
                    <a:pt x="215" y="753"/>
                  </a:lnTo>
                  <a:lnTo>
                    <a:pt x="206" y="751"/>
                  </a:lnTo>
                  <a:lnTo>
                    <a:pt x="203" y="751"/>
                  </a:lnTo>
                  <a:lnTo>
                    <a:pt x="199" y="748"/>
                  </a:lnTo>
                  <a:lnTo>
                    <a:pt x="199" y="748"/>
                  </a:lnTo>
                  <a:lnTo>
                    <a:pt x="196" y="744"/>
                  </a:lnTo>
                  <a:lnTo>
                    <a:pt x="194" y="744"/>
                  </a:lnTo>
                  <a:lnTo>
                    <a:pt x="191" y="741"/>
                  </a:lnTo>
                  <a:lnTo>
                    <a:pt x="189" y="744"/>
                  </a:lnTo>
                  <a:lnTo>
                    <a:pt x="187" y="744"/>
                  </a:lnTo>
                  <a:lnTo>
                    <a:pt x="184" y="744"/>
                  </a:lnTo>
                  <a:lnTo>
                    <a:pt x="182" y="746"/>
                  </a:lnTo>
                  <a:lnTo>
                    <a:pt x="182" y="746"/>
                  </a:lnTo>
                  <a:lnTo>
                    <a:pt x="180" y="746"/>
                  </a:lnTo>
                  <a:lnTo>
                    <a:pt x="170" y="746"/>
                  </a:lnTo>
                  <a:lnTo>
                    <a:pt x="165" y="746"/>
                  </a:lnTo>
                  <a:lnTo>
                    <a:pt x="165" y="746"/>
                  </a:lnTo>
                  <a:lnTo>
                    <a:pt x="161" y="746"/>
                  </a:lnTo>
                  <a:lnTo>
                    <a:pt x="161" y="746"/>
                  </a:lnTo>
                  <a:lnTo>
                    <a:pt x="156" y="746"/>
                  </a:lnTo>
                  <a:lnTo>
                    <a:pt x="154" y="748"/>
                  </a:lnTo>
                  <a:lnTo>
                    <a:pt x="151" y="748"/>
                  </a:lnTo>
                  <a:lnTo>
                    <a:pt x="147" y="748"/>
                  </a:lnTo>
                  <a:lnTo>
                    <a:pt x="147" y="746"/>
                  </a:lnTo>
                  <a:lnTo>
                    <a:pt x="139" y="744"/>
                  </a:lnTo>
                  <a:lnTo>
                    <a:pt x="132" y="746"/>
                  </a:lnTo>
                  <a:lnTo>
                    <a:pt x="130" y="744"/>
                  </a:lnTo>
                  <a:lnTo>
                    <a:pt x="128" y="744"/>
                  </a:lnTo>
                  <a:lnTo>
                    <a:pt x="128" y="744"/>
                  </a:lnTo>
                  <a:lnTo>
                    <a:pt x="125" y="739"/>
                  </a:lnTo>
                  <a:lnTo>
                    <a:pt x="123" y="739"/>
                  </a:lnTo>
                  <a:lnTo>
                    <a:pt x="121" y="739"/>
                  </a:lnTo>
                  <a:lnTo>
                    <a:pt x="121" y="739"/>
                  </a:lnTo>
                  <a:lnTo>
                    <a:pt x="116" y="739"/>
                  </a:lnTo>
                  <a:lnTo>
                    <a:pt x="113" y="739"/>
                  </a:lnTo>
                  <a:lnTo>
                    <a:pt x="113" y="739"/>
                  </a:lnTo>
                  <a:lnTo>
                    <a:pt x="111" y="739"/>
                  </a:lnTo>
                  <a:lnTo>
                    <a:pt x="109" y="737"/>
                  </a:lnTo>
                  <a:lnTo>
                    <a:pt x="106" y="737"/>
                  </a:lnTo>
                  <a:lnTo>
                    <a:pt x="102" y="739"/>
                  </a:lnTo>
                  <a:lnTo>
                    <a:pt x="97" y="737"/>
                  </a:lnTo>
                  <a:lnTo>
                    <a:pt x="95" y="739"/>
                  </a:lnTo>
                  <a:lnTo>
                    <a:pt x="92" y="739"/>
                  </a:lnTo>
                  <a:lnTo>
                    <a:pt x="92" y="737"/>
                  </a:lnTo>
                  <a:lnTo>
                    <a:pt x="90" y="737"/>
                  </a:lnTo>
                  <a:lnTo>
                    <a:pt x="90" y="737"/>
                  </a:lnTo>
                  <a:lnTo>
                    <a:pt x="87" y="734"/>
                  </a:lnTo>
                  <a:lnTo>
                    <a:pt x="80" y="729"/>
                  </a:lnTo>
                  <a:lnTo>
                    <a:pt x="78" y="727"/>
                  </a:lnTo>
                  <a:lnTo>
                    <a:pt x="76" y="727"/>
                  </a:lnTo>
                  <a:lnTo>
                    <a:pt x="73" y="727"/>
                  </a:lnTo>
                  <a:lnTo>
                    <a:pt x="73" y="727"/>
                  </a:lnTo>
                  <a:lnTo>
                    <a:pt x="71" y="727"/>
                  </a:lnTo>
                  <a:lnTo>
                    <a:pt x="69" y="727"/>
                  </a:lnTo>
                  <a:lnTo>
                    <a:pt x="66" y="729"/>
                  </a:lnTo>
                  <a:lnTo>
                    <a:pt x="64" y="729"/>
                  </a:lnTo>
                  <a:lnTo>
                    <a:pt x="61" y="729"/>
                  </a:lnTo>
                  <a:lnTo>
                    <a:pt x="61" y="729"/>
                  </a:lnTo>
                  <a:lnTo>
                    <a:pt x="59" y="732"/>
                  </a:lnTo>
                  <a:lnTo>
                    <a:pt x="57" y="737"/>
                  </a:lnTo>
                  <a:lnTo>
                    <a:pt x="54" y="737"/>
                  </a:lnTo>
                  <a:lnTo>
                    <a:pt x="54" y="739"/>
                  </a:lnTo>
                  <a:lnTo>
                    <a:pt x="52" y="741"/>
                  </a:lnTo>
                  <a:lnTo>
                    <a:pt x="50" y="741"/>
                  </a:lnTo>
                  <a:lnTo>
                    <a:pt x="47" y="744"/>
                  </a:lnTo>
                  <a:lnTo>
                    <a:pt x="47" y="744"/>
                  </a:lnTo>
                  <a:lnTo>
                    <a:pt x="43" y="746"/>
                  </a:lnTo>
                  <a:lnTo>
                    <a:pt x="36" y="746"/>
                  </a:lnTo>
                  <a:lnTo>
                    <a:pt x="33" y="746"/>
                  </a:lnTo>
                  <a:lnTo>
                    <a:pt x="33" y="748"/>
                  </a:lnTo>
                  <a:lnTo>
                    <a:pt x="31" y="748"/>
                  </a:lnTo>
                  <a:lnTo>
                    <a:pt x="26" y="751"/>
                  </a:lnTo>
                  <a:lnTo>
                    <a:pt x="26" y="751"/>
                  </a:lnTo>
                  <a:lnTo>
                    <a:pt x="24" y="753"/>
                  </a:lnTo>
                  <a:lnTo>
                    <a:pt x="21" y="753"/>
                  </a:lnTo>
                  <a:lnTo>
                    <a:pt x="19" y="753"/>
                  </a:lnTo>
                  <a:lnTo>
                    <a:pt x="19" y="753"/>
                  </a:lnTo>
                  <a:lnTo>
                    <a:pt x="19" y="755"/>
                  </a:lnTo>
                  <a:lnTo>
                    <a:pt x="17" y="758"/>
                  </a:lnTo>
                  <a:lnTo>
                    <a:pt x="14" y="758"/>
                  </a:lnTo>
                  <a:lnTo>
                    <a:pt x="14" y="758"/>
                  </a:lnTo>
                  <a:lnTo>
                    <a:pt x="12" y="758"/>
                  </a:lnTo>
                  <a:lnTo>
                    <a:pt x="12" y="760"/>
                  </a:lnTo>
                  <a:lnTo>
                    <a:pt x="7" y="765"/>
                  </a:lnTo>
                  <a:lnTo>
                    <a:pt x="7" y="765"/>
                  </a:lnTo>
                  <a:lnTo>
                    <a:pt x="5" y="760"/>
                  </a:lnTo>
                  <a:lnTo>
                    <a:pt x="5" y="760"/>
                  </a:lnTo>
                  <a:lnTo>
                    <a:pt x="7" y="758"/>
                  </a:lnTo>
                  <a:lnTo>
                    <a:pt x="7" y="755"/>
                  </a:lnTo>
                  <a:lnTo>
                    <a:pt x="5" y="751"/>
                  </a:lnTo>
                  <a:lnTo>
                    <a:pt x="7" y="744"/>
                  </a:lnTo>
                  <a:lnTo>
                    <a:pt x="7" y="744"/>
                  </a:lnTo>
                  <a:lnTo>
                    <a:pt x="7" y="741"/>
                  </a:lnTo>
                  <a:lnTo>
                    <a:pt x="7" y="741"/>
                  </a:lnTo>
                  <a:lnTo>
                    <a:pt x="5" y="739"/>
                  </a:lnTo>
                  <a:lnTo>
                    <a:pt x="5" y="737"/>
                  </a:lnTo>
                  <a:lnTo>
                    <a:pt x="5" y="734"/>
                  </a:lnTo>
                  <a:lnTo>
                    <a:pt x="5" y="729"/>
                  </a:lnTo>
                  <a:lnTo>
                    <a:pt x="2" y="727"/>
                  </a:lnTo>
                  <a:lnTo>
                    <a:pt x="2" y="727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 cap="flat">
              <a:solidFill>
                <a:schemeClr val="bg2">
                  <a:lumMod val="7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>
                <a:solidFill>
                  <a:srgbClr val="000000"/>
                </a:solidFill>
              </a:endParaRPr>
            </a:p>
          </p:txBody>
        </p:sp>
        <p:sp>
          <p:nvSpPr>
            <p:cNvPr id="15" name="Freeform 29"/>
            <p:cNvSpPr>
              <a:spLocks noEditPoints="1"/>
            </p:cNvSpPr>
            <p:nvPr/>
          </p:nvSpPr>
          <p:spPr bwMode="gray">
            <a:xfrm>
              <a:off x="3174560" y="5217274"/>
              <a:ext cx="402406" cy="297629"/>
            </a:xfrm>
            <a:custGeom>
              <a:avLst/>
              <a:gdLst/>
              <a:ahLst/>
              <a:cxnLst>
                <a:cxn ang="0">
                  <a:pos x="12" y="295"/>
                </a:cxn>
                <a:cxn ang="0">
                  <a:pos x="45" y="274"/>
                </a:cxn>
                <a:cxn ang="0">
                  <a:pos x="83" y="267"/>
                </a:cxn>
                <a:cxn ang="0">
                  <a:pos x="85" y="241"/>
                </a:cxn>
                <a:cxn ang="0">
                  <a:pos x="61" y="241"/>
                </a:cxn>
                <a:cxn ang="0">
                  <a:pos x="35" y="243"/>
                </a:cxn>
                <a:cxn ang="0">
                  <a:pos x="12" y="212"/>
                </a:cxn>
                <a:cxn ang="0">
                  <a:pos x="54" y="198"/>
                </a:cxn>
                <a:cxn ang="0">
                  <a:pos x="85" y="196"/>
                </a:cxn>
                <a:cxn ang="0">
                  <a:pos x="111" y="182"/>
                </a:cxn>
                <a:cxn ang="0">
                  <a:pos x="149" y="172"/>
                </a:cxn>
                <a:cxn ang="0">
                  <a:pos x="177" y="170"/>
                </a:cxn>
                <a:cxn ang="0">
                  <a:pos x="220" y="165"/>
                </a:cxn>
                <a:cxn ang="0">
                  <a:pos x="269" y="151"/>
                </a:cxn>
                <a:cxn ang="0">
                  <a:pos x="328" y="115"/>
                </a:cxn>
                <a:cxn ang="0">
                  <a:pos x="331" y="87"/>
                </a:cxn>
                <a:cxn ang="0">
                  <a:pos x="340" y="59"/>
                </a:cxn>
                <a:cxn ang="0">
                  <a:pos x="350" y="30"/>
                </a:cxn>
                <a:cxn ang="0">
                  <a:pos x="376" y="9"/>
                </a:cxn>
                <a:cxn ang="0">
                  <a:pos x="399" y="11"/>
                </a:cxn>
                <a:cxn ang="0">
                  <a:pos x="402" y="40"/>
                </a:cxn>
                <a:cxn ang="0">
                  <a:pos x="428" y="56"/>
                </a:cxn>
                <a:cxn ang="0">
                  <a:pos x="458" y="61"/>
                </a:cxn>
                <a:cxn ang="0">
                  <a:pos x="484" y="61"/>
                </a:cxn>
                <a:cxn ang="0">
                  <a:pos x="487" y="108"/>
                </a:cxn>
                <a:cxn ang="0">
                  <a:pos x="394" y="208"/>
                </a:cxn>
                <a:cxn ang="0">
                  <a:pos x="373" y="257"/>
                </a:cxn>
                <a:cxn ang="0">
                  <a:pos x="373" y="269"/>
                </a:cxn>
                <a:cxn ang="0">
                  <a:pos x="364" y="290"/>
                </a:cxn>
                <a:cxn ang="0">
                  <a:pos x="236" y="288"/>
                </a:cxn>
                <a:cxn ang="0">
                  <a:pos x="227" y="274"/>
                </a:cxn>
                <a:cxn ang="0">
                  <a:pos x="224" y="252"/>
                </a:cxn>
                <a:cxn ang="0">
                  <a:pos x="210" y="274"/>
                </a:cxn>
                <a:cxn ang="0">
                  <a:pos x="215" y="269"/>
                </a:cxn>
                <a:cxn ang="0">
                  <a:pos x="217" y="278"/>
                </a:cxn>
                <a:cxn ang="0">
                  <a:pos x="203" y="293"/>
                </a:cxn>
                <a:cxn ang="0">
                  <a:pos x="198" y="293"/>
                </a:cxn>
                <a:cxn ang="0">
                  <a:pos x="111" y="304"/>
                </a:cxn>
                <a:cxn ang="0">
                  <a:pos x="168" y="300"/>
                </a:cxn>
                <a:cxn ang="0">
                  <a:pos x="137" y="281"/>
                </a:cxn>
                <a:cxn ang="0">
                  <a:pos x="128" y="283"/>
                </a:cxn>
                <a:cxn ang="0">
                  <a:pos x="102" y="293"/>
                </a:cxn>
                <a:cxn ang="0">
                  <a:pos x="80" y="290"/>
                </a:cxn>
                <a:cxn ang="0">
                  <a:pos x="73" y="288"/>
                </a:cxn>
                <a:cxn ang="0">
                  <a:pos x="66" y="288"/>
                </a:cxn>
                <a:cxn ang="0">
                  <a:pos x="54" y="293"/>
                </a:cxn>
                <a:cxn ang="0">
                  <a:pos x="26" y="302"/>
                </a:cxn>
                <a:cxn ang="0">
                  <a:pos x="24" y="323"/>
                </a:cxn>
                <a:cxn ang="0">
                  <a:pos x="33" y="321"/>
                </a:cxn>
                <a:cxn ang="0">
                  <a:pos x="31" y="330"/>
                </a:cxn>
                <a:cxn ang="0">
                  <a:pos x="43" y="335"/>
                </a:cxn>
                <a:cxn ang="0">
                  <a:pos x="19" y="340"/>
                </a:cxn>
                <a:cxn ang="0">
                  <a:pos x="406" y="215"/>
                </a:cxn>
                <a:cxn ang="0">
                  <a:pos x="206" y="297"/>
                </a:cxn>
                <a:cxn ang="0">
                  <a:pos x="43" y="300"/>
                </a:cxn>
                <a:cxn ang="0">
                  <a:pos x="118" y="295"/>
                </a:cxn>
                <a:cxn ang="0">
                  <a:pos x="38" y="319"/>
                </a:cxn>
                <a:cxn ang="0">
                  <a:pos x="220" y="300"/>
                </a:cxn>
                <a:cxn ang="0">
                  <a:pos x="106" y="293"/>
                </a:cxn>
                <a:cxn ang="0">
                  <a:pos x="73" y="316"/>
                </a:cxn>
                <a:cxn ang="0">
                  <a:pos x="76" y="309"/>
                </a:cxn>
                <a:cxn ang="0">
                  <a:pos x="92" y="309"/>
                </a:cxn>
                <a:cxn ang="0">
                  <a:pos x="87" y="316"/>
                </a:cxn>
              </a:cxnLst>
              <a:rect l="0" t="0" r="r" b="b"/>
              <a:pathLst>
                <a:path w="498" h="340">
                  <a:moveTo>
                    <a:pt x="0" y="319"/>
                  </a:moveTo>
                  <a:lnTo>
                    <a:pt x="2" y="319"/>
                  </a:lnTo>
                  <a:lnTo>
                    <a:pt x="2" y="316"/>
                  </a:lnTo>
                  <a:lnTo>
                    <a:pt x="2" y="316"/>
                  </a:lnTo>
                  <a:lnTo>
                    <a:pt x="5" y="316"/>
                  </a:lnTo>
                  <a:lnTo>
                    <a:pt x="5" y="316"/>
                  </a:lnTo>
                  <a:lnTo>
                    <a:pt x="5" y="314"/>
                  </a:lnTo>
                  <a:lnTo>
                    <a:pt x="5" y="314"/>
                  </a:lnTo>
                  <a:lnTo>
                    <a:pt x="7" y="314"/>
                  </a:lnTo>
                  <a:lnTo>
                    <a:pt x="7" y="314"/>
                  </a:lnTo>
                  <a:lnTo>
                    <a:pt x="9" y="314"/>
                  </a:lnTo>
                  <a:lnTo>
                    <a:pt x="7" y="311"/>
                  </a:lnTo>
                  <a:lnTo>
                    <a:pt x="9" y="309"/>
                  </a:lnTo>
                  <a:lnTo>
                    <a:pt x="9" y="309"/>
                  </a:lnTo>
                  <a:lnTo>
                    <a:pt x="9" y="309"/>
                  </a:lnTo>
                  <a:lnTo>
                    <a:pt x="9" y="307"/>
                  </a:lnTo>
                  <a:lnTo>
                    <a:pt x="9" y="307"/>
                  </a:lnTo>
                  <a:lnTo>
                    <a:pt x="9" y="307"/>
                  </a:lnTo>
                  <a:lnTo>
                    <a:pt x="9" y="304"/>
                  </a:lnTo>
                  <a:lnTo>
                    <a:pt x="9" y="304"/>
                  </a:lnTo>
                  <a:lnTo>
                    <a:pt x="9" y="304"/>
                  </a:lnTo>
                  <a:lnTo>
                    <a:pt x="9" y="304"/>
                  </a:lnTo>
                  <a:lnTo>
                    <a:pt x="9" y="304"/>
                  </a:lnTo>
                  <a:lnTo>
                    <a:pt x="9" y="302"/>
                  </a:lnTo>
                  <a:lnTo>
                    <a:pt x="9" y="302"/>
                  </a:lnTo>
                  <a:lnTo>
                    <a:pt x="9" y="300"/>
                  </a:lnTo>
                  <a:lnTo>
                    <a:pt x="9" y="300"/>
                  </a:lnTo>
                  <a:lnTo>
                    <a:pt x="9" y="300"/>
                  </a:lnTo>
                  <a:lnTo>
                    <a:pt x="12" y="297"/>
                  </a:lnTo>
                  <a:lnTo>
                    <a:pt x="12" y="297"/>
                  </a:lnTo>
                  <a:lnTo>
                    <a:pt x="12" y="295"/>
                  </a:lnTo>
                  <a:lnTo>
                    <a:pt x="12" y="295"/>
                  </a:lnTo>
                  <a:lnTo>
                    <a:pt x="12" y="295"/>
                  </a:lnTo>
                  <a:lnTo>
                    <a:pt x="12" y="293"/>
                  </a:lnTo>
                  <a:lnTo>
                    <a:pt x="12" y="293"/>
                  </a:lnTo>
                  <a:lnTo>
                    <a:pt x="12" y="290"/>
                  </a:lnTo>
                  <a:lnTo>
                    <a:pt x="12" y="290"/>
                  </a:lnTo>
                  <a:lnTo>
                    <a:pt x="12" y="290"/>
                  </a:lnTo>
                  <a:lnTo>
                    <a:pt x="14" y="290"/>
                  </a:lnTo>
                  <a:lnTo>
                    <a:pt x="14" y="290"/>
                  </a:lnTo>
                  <a:lnTo>
                    <a:pt x="17" y="290"/>
                  </a:lnTo>
                  <a:lnTo>
                    <a:pt x="17" y="290"/>
                  </a:lnTo>
                  <a:lnTo>
                    <a:pt x="17" y="290"/>
                  </a:lnTo>
                  <a:lnTo>
                    <a:pt x="17" y="288"/>
                  </a:lnTo>
                  <a:lnTo>
                    <a:pt x="19" y="288"/>
                  </a:lnTo>
                  <a:lnTo>
                    <a:pt x="17" y="288"/>
                  </a:lnTo>
                  <a:lnTo>
                    <a:pt x="19" y="285"/>
                  </a:lnTo>
                  <a:lnTo>
                    <a:pt x="21" y="283"/>
                  </a:lnTo>
                  <a:lnTo>
                    <a:pt x="24" y="283"/>
                  </a:lnTo>
                  <a:lnTo>
                    <a:pt x="24" y="283"/>
                  </a:lnTo>
                  <a:lnTo>
                    <a:pt x="24" y="283"/>
                  </a:lnTo>
                  <a:lnTo>
                    <a:pt x="26" y="283"/>
                  </a:lnTo>
                  <a:lnTo>
                    <a:pt x="26" y="283"/>
                  </a:lnTo>
                  <a:lnTo>
                    <a:pt x="28" y="281"/>
                  </a:lnTo>
                  <a:lnTo>
                    <a:pt x="28" y="283"/>
                  </a:lnTo>
                  <a:lnTo>
                    <a:pt x="33" y="281"/>
                  </a:lnTo>
                  <a:lnTo>
                    <a:pt x="33" y="281"/>
                  </a:lnTo>
                  <a:lnTo>
                    <a:pt x="33" y="278"/>
                  </a:lnTo>
                  <a:lnTo>
                    <a:pt x="35" y="278"/>
                  </a:lnTo>
                  <a:lnTo>
                    <a:pt x="38" y="278"/>
                  </a:lnTo>
                  <a:lnTo>
                    <a:pt x="40" y="276"/>
                  </a:lnTo>
                  <a:lnTo>
                    <a:pt x="43" y="278"/>
                  </a:lnTo>
                  <a:lnTo>
                    <a:pt x="45" y="276"/>
                  </a:lnTo>
                  <a:lnTo>
                    <a:pt x="45" y="274"/>
                  </a:lnTo>
                  <a:lnTo>
                    <a:pt x="47" y="274"/>
                  </a:lnTo>
                  <a:lnTo>
                    <a:pt x="50" y="271"/>
                  </a:lnTo>
                  <a:lnTo>
                    <a:pt x="50" y="271"/>
                  </a:lnTo>
                  <a:lnTo>
                    <a:pt x="52" y="271"/>
                  </a:lnTo>
                  <a:lnTo>
                    <a:pt x="52" y="274"/>
                  </a:lnTo>
                  <a:lnTo>
                    <a:pt x="52" y="274"/>
                  </a:lnTo>
                  <a:lnTo>
                    <a:pt x="52" y="274"/>
                  </a:lnTo>
                  <a:lnTo>
                    <a:pt x="52" y="276"/>
                  </a:lnTo>
                  <a:lnTo>
                    <a:pt x="54" y="276"/>
                  </a:lnTo>
                  <a:lnTo>
                    <a:pt x="54" y="276"/>
                  </a:lnTo>
                  <a:lnTo>
                    <a:pt x="57" y="276"/>
                  </a:lnTo>
                  <a:lnTo>
                    <a:pt x="57" y="276"/>
                  </a:lnTo>
                  <a:lnTo>
                    <a:pt x="59" y="274"/>
                  </a:lnTo>
                  <a:lnTo>
                    <a:pt x="59" y="274"/>
                  </a:lnTo>
                  <a:lnTo>
                    <a:pt x="59" y="271"/>
                  </a:lnTo>
                  <a:lnTo>
                    <a:pt x="61" y="271"/>
                  </a:lnTo>
                  <a:lnTo>
                    <a:pt x="61" y="271"/>
                  </a:lnTo>
                  <a:lnTo>
                    <a:pt x="61" y="274"/>
                  </a:lnTo>
                  <a:lnTo>
                    <a:pt x="64" y="274"/>
                  </a:lnTo>
                  <a:lnTo>
                    <a:pt x="64" y="274"/>
                  </a:lnTo>
                  <a:lnTo>
                    <a:pt x="66" y="274"/>
                  </a:lnTo>
                  <a:lnTo>
                    <a:pt x="71" y="271"/>
                  </a:lnTo>
                  <a:lnTo>
                    <a:pt x="73" y="271"/>
                  </a:lnTo>
                  <a:lnTo>
                    <a:pt x="71" y="271"/>
                  </a:lnTo>
                  <a:lnTo>
                    <a:pt x="73" y="271"/>
                  </a:lnTo>
                  <a:lnTo>
                    <a:pt x="73" y="271"/>
                  </a:lnTo>
                  <a:lnTo>
                    <a:pt x="76" y="269"/>
                  </a:lnTo>
                  <a:lnTo>
                    <a:pt x="78" y="269"/>
                  </a:lnTo>
                  <a:lnTo>
                    <a:pt x="78" y="271"/>
                  </a:lnTo>
                  <a:lnTo>
                    <a:pt x="78" y="269"/>
                  </a:lnTo>
                  <a:lnTo>
                    <a:pt x="80" y="267"/>
                  </a:lnTo>
                  <a:lnTo>
                    <a:pt x="83" y="267"/>
                  </a:lnTo>
                  <a:lnTo>
                    <a:pt x="83" y="264"/>
                  </a:lnTo>
                  <a:lnTo>
                    <a:pt x="83" y="264"/>
                  </a:lnTo>
                  <a:lnTo>
                    <a:pt x="80" y="264"/>
                  </a:lnTo>
                  <a:lnTo>
                    <a:pt x="80" y="264"/>
                  </a:lnTo>
                  <a:lnTo>
                    <a:pt x="80" y="262"/>
                  </a:lnTo>
                  <a:lnTo>
                    <a:pt x="80" y="262"/>
                  </a:lnTo>
                  <a:lnTo>
                    <a:pt x="80" y="260"/>
                  </a:lnTo>
                  <a:lnTo>
                    <a:pt x="83" y="260"/>
                  </a:lnTo>
                  <a:lnTo>
                    <a:pt x="83" y="260"/>
                  </a:lnTo>
                  <a:lnTo>
                    <a:pt x="85" y="257"/>
                  </a:lnTo>
                  <a:lnTo>
                    <a:pt x="87" y="257"/>
                  </a:lnTo>
                  <a:lnTo>
                    <a:pt x="87" y="255"/>
                  </a:lnTo>
                  <a:lnTo>
                    <a:pt x="87" y="255"/>
                  </a:lnTo>
                  <a:lnTo>
                    <a:pt x="87" y="255"/>
                  </a:lnTo>
                  <a:lnTo>
                    <a:pt x="87" y="255"/>
                  </a:lnTo>
                  <a:lnTo>
                    <a:pt x="90" y="255"/>
                  </a:lnTo>
                  <a:lnTo>
                    <a:pt x="90" y="252"/>
                  </a:lnTo>
                  <a:lnTo>
                    <a:pt x="90" y="252"/>
                  </a:lnTo>
                  <a:lnTo>
                    <a:pt x="92" y="252"/>
                  </a:lnTo>
                  <a:lnTo>
                    <a:pt x="92" y="250"/>
                  </a:lnTo>
                  <a:lnTo>
                    <a:pt x="92" y="250"/>
                  </a:lnTo>
                  <a:lnTo>
                    <a:pt x="92" y="250"/>
                  </a:lnTo>
                  <a:lnTo>
                    <a:pt x="90" y="248"/>
                  </a:lnTo>
                  <a:lnTo>
                    <a:pt x="90" y="245"/>
                  </a:lnTo>
                  <a:lnTo>
                    <a:pt x="90" y="245"/>
                  </a:lnTo>
                  <a:lnTo>
                    <a:pt x="90" y="243"/>
                  </a:lnTo>
                  <a:lnTo>
                    <a:pt x="87" y="243"/>
                  </a:lnTo>
                  <a:lnTo>
                    <a:pt x="87" y="243"/>
                  </a:lnTo>
                  <a:lnTo>
                    <a:pt x="87" y="241"/>
                  </a:lnTo>
                  <a:lnTo>
                    <a:pt x="87" y="241"/>
                  </a:lnTo>
                  <a:lnTo>
                    <a:pt x="85" y="243"/>
                  </a:lnTo>
                  <a:lnTo>
                    <a:pt x="85" y="241"/>
                  </a:lnTo>
                  <a:lnTo>
                    <a:pt x="83" y="241"/>
                  </a:lnTo>
                  <a:lnTo>
                    <a:pt x="83" y="241"/>
                  </a:lnTo>
                  <a:lnTo>
                    <a:pt x="80" y="241"/>
                  </a:lnTo>
                  <a:lnTo>
                    <a:pt x="78" y="241"/>
                  </a:lnTo>
                  <a:lnTo>
                    <a:pt x="78" y="241"/>
                  </a:lnTo>
                  <a:lnTo>
                    <a:pt x="78" y="241"/>
                  </a:lnTo>
                  <a:lnTo>
                    <a:pt x="76" y="241"/>
                  </a:lnTo>
                  <a:lnTo>
                    <a:pt x="76" y="241"/>
                  </a:lnTo>
                  <a:lnTo>
                    <a:pt x="73" y="241"/>
                  </a:lnTo>
                  <a:lnTo>
                    <a:pt x="73" y="238"/>
                  </a:lnTo>
                  <a:lnTo>
                    <a:pt x="73" y="241"/>
                  </a:lnTo>
                  <a:lnTo>
                    <a:pt x="71" y="238"/>
                  </a:lnTo>
                  <a:lnTo>
                    <a:pt x="71" y="238"/>
                  </a:lnTo>
                  <a:lnTo>
                    <a:pt x="68" y="238"/>
                  </a:lnTo>
                  <a:lnTo>
                    <a:pt x="68" y="238"/>
                  </a:lnTo>
                  <a:lnTo>
                    <a:pt x="68" y="241"/>
                  </a:lnTo>
                  <a:lnTo>
                    <a:pt x="68" y="238"/>
                  </a:lnTo>
                  <a:lnTo>
                    <a:pt x="68" y="241"/>
                  </a:lnTo>
                  <a:lnTo>
                    <a:pt x="68" y="241"/>
                  </a:lnTo>
                  <a:lnTo>
                    <a:pt x="68" y="241"/>
                  </a:lnTo>
                  <a:lnTo>
                    <a:pt x="68" y="241"/>
                  </a:lnTo>
                  <a:lnTo>
                    <a:pt x="68" y="238"/>
                  </a:lnTo>
                  <a:lnTo>
                    <a:pt x="66" y="238"/>
                  </a:lnTo>
                  <a:lnTo>
                    <a:pt x="68" y="236"/>
                  </a:lnTo>
                  <a:lnTo>
                    <a:pt x="66" y="236"/>
                  </a:lnTo>
                  <a:lnTo>
                    <a:pt x="66" y="236"/>
                  </a:lnTo>
                  <a:lnTo>
                    <a:pt x="64" y="236"/>
                  </a:lnTo>
                  <a:lnTo>
                    <a:pt x="64" y="236"/>
                  </a:lnTo>
                  <a:lnTo>
                    <a:pt x="64" y="236"/>
                  </a:lnTo>
                  <a:lnTo>
                    <a:pt x="61" y="238"/>
                  </a:lnTo>
                  <a:lnTo>
                    <a:pt x="61" y="238"/>
                  </a:lnTo>
                  <a:lnTo>
                    <a:pt x="61" y="241"/>
                  </a:lnTo>
                  <a:lnTo>
                    <a:pt x="61" y="241"/>
                  </a:lnTo>
                  <a:lnTo>
                    <a:pt x="61" y="241"/>
                  </a:lnTo>
                  <a:lnTo>
                    <a:pt x="61" y="241"/>
                  </a:lnTo>
                  <a:lnTo>
                    <a:pt x="59" y="241"/>
                  </a:lnTo>
                  <a:lnTo>
                    <a:pt x="57" y="241"/>
                  </a:lnTo>
                  <a:lnTo>
                    <a:pt x="57" y="241"/>
                  </a:lnTo>
                  <a:lnTo>
                    <a:pt x="54" y="241"/>
                  </a:lnTo>
                  <a:lnTo>
                    <a:pt x="54" y="243"/>
                  </a:lnTo>
                  <a:lnTo>
                    <a:pt x="52" y="241"/>
                  </a:lnTo>
                  <a:lnTo>
                    <a:pt x="52" y="241"/>
                  </a:lnTo>
                  <a:lnTo>
                    <a:pt x="52" y="241"/>
                  </a:lnTo>
                  <a:lnTo>
                    <a:pt x="52" y="241"/>
                  </a:lnTo>
                  <a:lnTo>
                    <a:pt x="50" y="245"/>
                  </a:lnTo>
                  <a:lnTo>
                    <a:pt x="50" y="245"/>
                  </a:lnTo>
                  <a:lnTo>
                    <a:pt x="47" y="243"/>
                  </a:lnTo>
                  <a:lnTo>
                    <a:pt x="45" y="243"/>
                  </a:lnTo>
                  <a:lnTo>
                    <a:pt x="45" y="243"/>
                  </a:lnTo>
                  <a:lnTo>
                    <a:pt x="45" y="245"/>
                  </a:lnTo>
                  <a:lnTo>
                    <a:pt x="45" y="245"/>
                  </a:lnTo>
                  <a:lnTo>
                    <a:pt x="45" y="243"/>
                  </a:lnTo>
                  <a:lnTo>
                    <a:pt x="47" y="243"/>
                  </a:lnTo>
                  <a:lnTo>
                    <a:pt x="45" y="243"/>
                  </a:lnTo>
                  <a:lnTo>
                    <a:pt x="45" y="243"/>
                  </a:lnTo>
                  <a:lnTo>
                    <a:pt x="43" y="241"/>
                  </a:lnTo>
                  <a:lnTo>
                    <a:pt x="43" y="241"/>
                  </a:lnTo>
                  <a:lnTo>
                    <a:pt x="40" y="241"/>
                  </a:lnTo>
                  <a:lnTo>
                    <a:pt x="38" y="243"/>
                  </a:lnTo>
                  <a:lnTo>
                    <a:pt x="38" y="243"/>
                  </a:lnTo>
                  <a:lnTo>
                    <a:pt x="38" y="241"/>
                  </a:lnTo>
                  <a:lnTo>
                    <a:pt x="35" y="241"/>
                  </a:lnTo>
                  <a:lnTo>
                    <a:pt x="35" y="241"/>
                  </a:lnTo>
                  <a:lnTo>
                    <a:pt x="35" y="243"/>
                  </a:lnTo>
                  <a:lnTo>
                    <a:pt x="33" y="241"/>
                  </a:lnTo>
                  <a:lnTo>
                    <a:pt x="33" y="241"/>
                  </a:lnTo>
                  <a:lnTo>
                    <a:pt x="33" y="241"/>
                  </a:lnTo>
                  <a:lnTo>
                    <a:pt x="31" y="241"/>
                  </a:lnTo>
                  <a:lnTo>
                    <a:pt x="31" y="238"/>
                  </a:lnTo>
                  <a:lnTo>
                    <a:pt x="31" y="236"/>
                  </a:lnTo>
                  <a:lnTo>
                    <a:pt x="33" y="234"/>
                  </a:lnTo>
                  <a:lnTo>
                    <a:pt x="31" y="234"/>
                  </a:lnTo>
                  <a:lnTo>
                    <a:pt x="31" y="234"/>
                  </a:lnTo>
                  <a:lnTo>
                    <a:pt x="28" y="234"/>
                  </a:lnTo>
                  <a:lnTo>
                    <a:pt x="26" y="234"/>
                  </a:lnTo>
                  <a:lnTo>
                    <a:pt x="26" y="234"/>
                  </a:lnTo>
                  <a:lnTo>
                    <a:pt x="28" y="231"/>
                  </a:lnTo>
                  <a:lnTo>
                    <a:pt x="26" y="231"/>
                  </a:lnTo>
                  <a:lnTo>
                    <a:pt x="26" y="229"/>
                  </a:lnTo>
                  <a:lnTo>
                    <a:pt x="26" y="229"/>
                  </a:lnTo>
                  <a:lnTo>
                    <a:pt x="24" y="229"/>
                  </a:lnTo>
                  <a:lnTo>
                    <a:pt x="24" y="229"/>
                  </a:lnTo>
                  <a:lnTo>
                    <a:pt x="24" y="226"/>
                  </a:lnTo>
                  <a:lnTo>
                    <a:pt x="24" y="226"/>
                  </a:lnTo>
                  <a:lnTo>
                    <a:pt x="21" y="226"/>
                  </a:lnTo>
                  <a:lnTo>
                    <a:pt x="21" y="224"/>
                  </a:lnTo>
                  <a:lnTo>
                    <a:pt x="21" y="224"/>
                  </a:lnTo>
                  <a:lnTo>
                    <a:pt x="21" y="222"/>
                  </a:lnTo>
                  <a:lnTo>
                    <a:pt x="21" y="219"/>
                  </a:lnTo>
                  <a:lnTo>
                    <a:pt x="19" y="217"/>
                  </a:lnTo>
                  <a:lnTo>
                    <a:pt x="17" y="215"/>
                  </a:lnTo>
                  <a:lnTo>
                    <a:pt x="17" y="215"/>
                  </a:lnTo>
                  <a:lnTo>
                    <a:pt x="14" y="215"/>
                  </a:lnTo>
                  <a:lnTo>
                    <a:pt x="9" y="215"/>
                  </a:lnTo>
                  <a:lnTo>
                    <a:pt x="12" y="212"/>
                  </a:lnTo>
                  <a:lnTo>
                    <a:pt x="12" y="212"/>
                  </a:lnTo>
                  <a:lnTo>
                    <a:pt x="14" y="212"/>
                  </a:lnTo>
                  <a:lnTo>
                    <a:pt x="14" y="210"/>
                  </a:lnTo>
                  <a:lnTo>
                    <a:pt x="14" y="210"/>
                  </a:lnTo>
                  <a:lnTo>
                    <a:pt x="17" y="210"/>
                  </a:lnTo>
                  <a:lnTo>
                    <a:pt x="19" y="210"/>
                  </a:lnTo>
                  <a:lnTo>
                    <a:pt x="19" y="208"/>
                  </a:lnTo>
                  <a:lnTo>
                    <a:pt x="21" y="208"/>
                  </a:lnTo>
                  <a:lnTo>
                    <a:pt x="24" y="210"/>
                  </a:lnTo>
                  <a:lnTo>
                    <a:pt x="26" y="210"/>
                  </a:lnTo>
                  <a:lnTo>
                    <a:pt x="26" y="210"/>
                  </a:lnTo>
                  <a:lnTo>
                    <a:pt x="28" y="210"/>
                  </a:lnTo>
                  <a:lnTo>
                    <a:pt x="28" y="210"/>
                  </a:lnTo>
                  <a:lnTo>
                    <a:pt x="28" y="210"/>
                  </a:lnTo>
                  <a:lnTo>
                    <a:pt x="31" y="208"/>
                  </a:lnTo>
                  <a:lnTo>
                    <a:pt x="31" y="208"/>
                  </a:lnTo>
                  <a:lnTo>
                    <a:pt x="33" y="208"/>
                  </a:lnTo>
                  <a:lnTo>
                    <a:pt x="33" y="205"/>
                  </a:lnTo>
                  <a:lnTo>
                    <a:pt x="35" y="205"/>
                  </a:lnTo>
                  <a:lnTo>
                    <a:pt x="38" y="203"/>
                  </a:lnTo>
                  <a:lnTo>
                    <a:pt x="38" y="203"/>
                  </a:lnTo>
                  <a:lnTo>
                    <a:pt x="38" y="205"/>
                  </a:lnTo>
                  <a:lnTo>
                    <a:pt x="40" y="203"/>
                  </a:lnTo>
                  <a:lnTo>
                    <a:pt x="43" y="205"/>
                  </a:lnTo>
                  <a:lnTo>
                    <a:pt x="45" y="203"/>
                  </a:lnTo>
                  <a:lnTo>
                    <a:pt x="45" y="205"/>
                  </a:lnTo>
                  <a:lnTo>
                    <a:pt x="45" y="205"/>
                  </a:lnTo>
                  <a:lnTo>
                    <a:pt x="45" y="203"/>
                  </a:lnTo>
                  <a:lnTo>
                    <a:pt x="47" y="203"/>
                  </a:lnTo>
                  <a:lnTo>
                    <a:pt x="47" y="200"/>
                  </a:lnTo>
                  <a:lnTo>
                    <a:pt x="50" y="200"/>
                  </a:lnTo>
                  <a:lnTo>
                    <a:pt x="54" y="198"/>
                  </a:lnTo>
                  <a:lnTo>
                    <a:pt x="54" y="198"/>
                  </a:lnTo>
                  <a:lnTo>
                    <a:pt x="54" y="198"/>
                  </a:lnTo>
                  <a:lnTo>
                    <a:pt x="54" y="196"/>
                  </a:lnTo>
                  <a:lnTo>
                    <a:pt x="54" y="196"/>
                  </a:lnTo>
                  <a:lnTo>
                    <a:pt x="57" y="196"/>
                  </a:lnTo>
                  <a:lnTo>
                    <a:pt x="57" y="196"/>
                  </a:lnTo>
                  <a:lnTo>
                    <a:pt x="59" y="193"/>
                  </a:lnTo>
                  <a:lnTo>
                    <a:pt x="59" y="196"/>
                  </a:lnTo>
                  <a:lnTo>
                    <a:pt x="61" y="196"/>
                  </a:lnTo>
                  <a:lnTo>
                    <a:pt x="64" y="196"/>
                  </a:lnTo>
                  <a:lnTo>
                    <a:pt x="64" y="196"/>
                  </a:lnTo>
                  <a:lnTo>
                    <a:pt x="64" y="196"/>
                  </a:lnTo>
                  <a:lnTo>
                    <a:pt x="64" y="196"/>
                  </a:lnTo>
                  <a:lnTo>
                    <a:pt x="66" y="196"/>
                  </a:lnTo>
                  <a:lnTo>
                    <a:pt x="68" y="193"/>
                  </a:lnTo>
                  <a:lnTo>
                    <a:pt x="68" y="196"/>
                  </a:lnTo>
                  <a:lnTo>
                    <a:pt x="71" y="196"/>
                  </a:lnTo>
                  <a:lnTo>
                    <a:pt x="71" y="196"/>
                  </a:lnTo>
                  <a:lnTo>
                    <a:pt x="73" y="196"/>
                  </a:lnTo>
                  <a:lnTo>
                    <a:pt x="73" y="196"/>
                  </a:lnTo>
                  <a:lnTo>
                    <a:pt x="76" y="196"/>
                  </a:lnTo>
                  <a:lnTo>
                    <a:pt x="76" y="193"/>
                  </a:lnTo>
                  <a:lnTo>
                    <a:pt x="76" y="193"/>
                  </a:lnTo>
                  <a:lnTo>
                    <a:pt x="78" y="193"/>
                  </a:lnTo>
                  <a:lnTo>
                    <a:pt x="78" y="193"/>
                  </a:lnTo>
                  <a:lnTo>
                    <a:pt x="78" y="193"/>
                  </a:lnTo>
                  <a:lnTo>
                    <a:pt x="80" y="193"/>
                  </a:lnTo>
                  <a:lnTo>
                    <a:pt x="80" y="193"/>
                  </a:lnTo>
                  <a:lnTo>
                    <a:pt x="80" y="196"/>
                  </a:lnTo>
                  <a:lnTo>
                    <a:pt x="80" y="196"/>
                  </a:lnTo>
                  <a:lnTo>
                    <a:pt x="83" y="196"/>
                  </a:lnTo>
                  <a:lnTo>
                    <a:pt x="83" y="196"/>
                  </a:lnTo>
                  <a:lnTo>
                    <a:pt x="85" y="196"/>
                  </a:lnTo>
                  <a:lnTo>
                    <a:pt x="85" y="193"/>
                  </a:lnTo>
                  <a:lnTo>
                    <a:pt x="87" y="193"/>
                  </a:lnTo>
                  <a:lnTo>
                    <a:pt x="87" y="193"/>
                  </a:lnTo>
                  <a:lnTo>
                    <a:pt x="87" y="193"/>
                  </a:lnTo>
                  <a:lnTo>
                    <a:pt x="90" y="193"/>
                  </a:lnTo>
                  <a:lnTo>
                    <a:pt x="90" y="191"/>
                  </a:lnTo>
                  <a:lnTo>
                    <a:pt x="90" y="191"/>
                  </a:lnTo>
                  <a:lnTo>
                    <a:pt x="92" y="191"/>
                  </a:lnTo>
                  <a:lnTo>
                    <a:pt x="92" y="191"/>
                  </a:lnTo>
                  <a:lnTo>
                    <a:pt x="92" y="191"/>
                  </a:lnTo>
                  <a:lnTo>
                    <a:pt x="94" y="189"/>
                  </a:lnTo>
                  <a:lnTo>
                    <a:pt x="94" y="189"/>
                  </a:lnTo>
                  <a:lnTo>
                    <a:pt x="97" y="189"/>
                  </a:lnTo>
                  <a:lnTo>
                    <a:pt x="97" y="189"/>
                  </a:lnTo>
                  <a:lnTo>
                    <a:pt x="97" y="189"/>
                  </a:lnTo>
                  <a:lnTo>
                    <a:pt x="97" y="186"/>
                  </a:lnTo>
                  <a:lnTo>
                    <a:pt x="97" y="186"/>
                  </a:lnTo>
                  <a:lnTo>
                    <a:pt x="97" y="186"/>
                  </a:lnTo>
                  <a:lnTo>
                    <a:pt x="99" y="186"/>
                  </a:lnTo>
                  <a:lnTo>
                    <a:pt x="99" y="186"/>
                  </a:lnTo>
                  <a:lnTo>
                    <a:pt x="99" y="184"/>
                  </a:lnTo>
                  <a:lnTo>
                    <a:pt x="99" y="184"/>
                  </a:lnTo>
                  <a:lnTo>
                    <a:pt x="102" y="184"/>
                  </a:lnTo>
                  <a:lnTo>
                    <a:pt x="102" y="186"/>
                  </a:lnTo>
                  <a:lnTo>
                    <a:pt x="102" y="184"/>
                  </a:lnTo>
                  <a:lnTo>
                    <a:pt x="104" y="184"/>
                  </a:lnTo>
                  <a:lnTo>
                    <a:pt x="104" y="182"/>
                  </a:lnTo>
                  <a:lnTo>
                    <a:pt x="104" y="182"/>
                  </a:lnTo>
                  <a:lnTo>
                    <a:pt x="109" y="182"/>
                  </a:lnTo>
                  <a:lnTo>
                    <a:pt x="109" y="182"/>
                  </a:lnTo>
                  <a:lnTo>
                    <a:pt x="111" y="182"/>
                  </a:lnTo>
                  <a:lnTo>
                    <a:pt x="111" y="182"/>
                  </a:lnTo>
                  <a:lnTo>
                    <a:pt x="113" y="182"/>
                  </a:lnTo>
                  <a:lnTo>
                    <a:pt x="113" y="182"/>
                  </a:lnTo>
                  <a:lnTo>
                    <a:pt x="116" y="182"/>
                  </a:lnTo>
                  <a:lnTo>
                    <a:pt x="116" y="182"/>
                  </a:lnTo>
                  <a:lnTo>
                    <a:pt x="116" y="179"/>
                  </a:lnTo>
                  <a:lnTo>
                    <a:pt x="118" y="179"/>
                  </a:lnTo>
                  <a:lnTo>
                    <a:pt x="118" y="179"/>
                  </a:lnTo>
                  <a:lnTo>
                    <a:pt x="120" y="179"/>
                  </a:lnTo>
                  <a:lnTo>
                    <a:pt x="125" y="177"/>
                  </a:lnTo>
                  <a:lnTo>
                    <a:pt x="128" y="177"/>
                  </a:lnTo>
                  <a:lnTo>
                    <a:pt x="128" y="177"/>
                  </a:lnTo>
                  <a:lnTo>
                    <a:pt x="128" y="174"/>
                  </a:lnTo>
                  <a:lnTo>
                    <a:pt x="130" y="174"/>
                  </a:lnTo>
                  <a:lnTo>
                    <a:pt x="130" y="174"/>
                  </a:lnTo>
                  <a:lnTo>
                    <a:pt x="130" y="174"/>
                  </a:lnTo>
                  <a:lnTo>
                    <a:pt x="132" y="172"/>
                  </a:lnTo>
                  <a:lnTo>
                    <a:pt x="132" y="174"/>
                  </a:lnTo>
                  <a:lnTo>
                    <a:pt x="135" y="172"/>
                  </a:lnTo>
                  <a:lnTo>
                    <a:pt x="137" y="172"/>
                  </a:lnTo>
                  <a:lnTo>
                    <a:pt x="137" y="172"/>
                  </a:lnTo>
                  <a:lnTo>
                    <a:pt x="137" y="172"/>
                  </a:lnTo>
                  <a:lnTo>
                    <a:pt x="142" y="170"/>
                  </a:lnTo>
                  <a:lnTo>
                    <a:pt x="142" y="170"/>
                  </a:lnTo>
                  <a:lnTo>
                    <a:pt x="144" y="170"/>
                  </a:lnTo>
                  <a:lnTo>
                    <a:pt x="144" y="170"/>
                  </a:lnTo>
                  <a:lnTo>
                    <a:pt x="144" y="172"/>
                  </a:lnTo>
                  <a:lnTo>
                    <a:pt x="144" y="172"/>
                  </a:lnTo>
                  <a:lnTo>
                    <a:pt x="144" y="172"/>
                  </a:lnTo>
                  <a:lnTo>
                    <a:pt x="144" y="172"/>
                  </a:lnTo>
                  <a:lnTo>
                    <a:pt x="146" y="172"/>
                  </a:lnTo>
                  <a:lnTo>
                    <a:pt x="146" y="174"/>
                  </a:lnTo>
                  <a:lnTo>
                    <a:pt x="149" y="172"/>
                  </a:lnTo>
                  <a:lnTo>
                    <a:pt x="151" y="172"/>
                  </a:lnTo>
                  <a:lnTo>
                    <a:pt x="151" y="172"/>
                  </a:lnTo>
                  <a:lnTo>
                    <a:pt x="151" y="170"/>
                  </a:lnTo>
                  <a:lnTo>
                    <a:pt x="154" y="170"/>
                  </a:lnTo>
                  <a:lnTo>
                    <a:pt x="154" y="172"/>
                  </a:lnTo>
                  <a:lnTo>
                    <a:pt x="154" y="172"/>
                  </a:lnTo>
                  <a:lnTo>
                    <a:pt x="156" y="172"/>
                  </a:lnTo>
                  <a:lnTo>
                    <a:pt x="156" y="170"/>
                  </a:lnTo>
                  <a:lnTo>
                    <a:pt x="156" y="170"/>
                  </a:lnTo>
                  <a:lnTo>
                    <a:pt x="156" y="170"/>
                  </a:lnTo>
                  <a:lnTo>
                    <a:pt x="158" y="170"/>
                  </a:lnTo>
                  <a:lnTo>
                    <a:pt x="158" y="170"/>
                  </a:lnTo>
                  <a:lnTo>
                    <a:pt x="161" y="172"/>
                  </a:lnTo>
                  <a:lnTo>
                    <a:pt x="161" y="170"/>
                  </a:lnTo>
                  <a:lnTo>
                    <a:pt x="161" y="172"/>
                  </a:lnTo>
                  <a:lnTo>
                    <a:pt x="163" y="172"/>
                  </a:lnTo>
                  <a:lnTo>
                    <a:pt x="163" y="172"/>
                  </a:lnTo>
                  <a:lnTo>
                    <a:pt x="163" y="170"/>
                  </a:lnTo>
                  <a:lnTo>
                    <a:pt x="163" y="170"/>
                  </a:lnTo>
                  <a:lnTo>
                    <a:pt x="163" y="170"/>
                  </a:lnTo>
                  <a:lnTo>
                    <a:pt x="165" y="170"/>
                  </a:lnTo>
                  <a:lnTo>
                    <a:pt x="165" y="167"/>
                  </a:lnTo>
                  <a:lnTo>
                    <a:pt x="165" y="170"/>
                  </a:lnTo>
                  <a:lnTo>
                    <a:pt x="168" y="172"/>
                  </a:lnTo>
                  <a:lnTo>
                    <a:pt x="168" y="172"/>
                  </a:lnTo>
                  <a:lnTo>
                    <a:pt x="170" y="172"/>
                  </a:lnTo>
                  <a:lnTo>
                    <a:pt x="172" y="170"/>
                  </a:lnTo>
                  <a:lnTo>
                    <a:pt x="175" y="170"/>
                  </a:lnTo>
                  <a:lnTo>
                    <a:pt x="175" y="170"/>
                  </a:lnTo>
                  <a:lnTo>
                    <a:pt x="175" y="170"/>
                  </a:lnTo>
                  <a:lnTo>
                    <a:pt x="175" y="170"/>
                  </a:lnTo>
                  <a:lnTo>
                    <a:pt x="177" y="170"/>
                  </a:lnTo>
                  <a:lnTo>
                    <a:pt x="180" y="170"/>
                  </a:lnTo>
                  <a:lnTo>
                    <a:pt x="182" y="170"/>
                  </a:lnTo>
                  <a:lnTo>
                    <a:pt x="184" y="170"/>
                  </a:lnTo>
                  <a:lnTo>
                    <a:pt x="184" y="167"/>
                  </a:lnTo>
                  <a:lnTo>
                    <a:pt x="187" y="167"/>
                  </a:lnTo>
                  <a:lnTo>
                    <a:pt x="191" y="165"/>
                  </a:lnTo>
                  <a:lnTo>
                    <a:pt x="194" y="163"/>
                  </a:lnTo>
                  <a:lnTo>
                    <a:pt x="194" y="163"/>
                  </a:lnTo>
                  <a:lnTo>
                    <a:pt x="194" y="163"/>
                  </a:lnTo>
                  <a:lnTo>
                    <a:pt x="196" y="163"/>
                  </a:lnTo>
                  <a:lnTo>
                    <a:pt x="196" y="163"/>
                  </a:lnTo>
                  <a:lnTo>
                    <a:pt x="198" y="163"/>
                  </a:lnTo>
                  <a:lnTo>
                    <a:pt x="198" y="163"/>
                  </a:lnTo>
                  <a:lnTo>
                    <a:pt x="201" y="163"/>
                  </a:lnTo>
                  <a:lnTo>
                    <a:pt x="201" y="163"/>
                  </a:lnTo>
                  <a:lnTo>
                    <a:pt x="203" y="163"/>
                  </a:lnTo>
                  <a:lnTo>
                    <a:pt x="206" y="163"/>
                  </a:lnTo>
                  <a:lnTo>
                    <a:pt x="208" y="163"/>
                  </a:lnTo>
                  <a:lnTo>
                    <a:pt x="208" y="163"/>
                  </a:lnTo>
                  <a:lnTo>
                    <a:pt x="208" y="163"/>
                  </a:lnTo>
                  <a:lnTo>
                    <a:pt x="210" y="163"/>
                  </a:lnTo>
                  <a:lnTo>
                    <a:pt x="210" y="163"/>
                  </a:lnTo>
                  <a:lnTo>
                    <a:pt x="210" y="165"/>
                  </a:lnTo>
                  <a:lnTo>
                    <a:pt x="210" y="165"/>
                  </a:lnTo>
                  <a:lnTo>
                    <a:pt x="213" y="165"/>
                  </a:lnTo>
                  <a:lnTo>
                    <a:pt x="213" y="165"/>
                  </a:lnTo>
                  <a:lnTo>
                    <a:pt x="215" y="165"/>
                  </a:lnTo>
                  <a:lnTo>
                    <a:pt x="215" y="165"/>
                  </a:lnTo>
                  <a:lnTo>
                    <a:pt x="215" y="167"/>
                  </a:lnTo>
                  <a:lnTo>
                    <a:pt x="217" y="163"/>
                  </a:lnTo>
                  <a:lnTo>
                    <a:pt x="220" y="163"/>
                  </a:lnTo>
                  <a:lnTo>
                    <a:pt x="220" y="165"/>
                  </a:lnTo>
                  <a:lnTo>
                    <a:pt x="220" y="165"/>
                  </a:lnTo>
                  <a:lnTo>
                    <a:pt x="222" y="165"/>
                  </a:lnTo>
                  <a:lnTo>
                    <a:pt x="224" y="165"/>
                  </a:lnTo>
                  <a:lnTo>
                    <a:pt x="224" y="167"/>
                  </a:lnTo>
                  <a:lnTo>
                    <a:pt x="224" y="170"/>
                  </a:lnTo>
                  <a:lnTo>
                    <a:pt x="220" y="170"/>
                  </a:lnTo>
                  <a:lnTo>
                    <a:pt x="220" y="172"/>
                  </a:lnTo>
                  <a:lnTo>
                    <a:pt x="222" y="174"/>
                  </a:lnTo>
                  <a:lnTo>
                    <a:pt x="222" y="177"/>
                  </a:lnTo>
                  <a:lnTo>
                    <a:pt x="224" y="174"/>
                  </a:lnTo>
                  <a:lnTo>
                    <a:pt x="224" y="172"/>
                  </a:lnTo>
                  <a:lnTo>
                    <a:pt x="227" y="172"/>
                  </a:lnTo>
                  <a:lnTo>
                    <a:pt x="229" y="172"/>
                  </a:lnTo>
                  <a:lnTo>
                    <a:pt x="229" y="172"/>
                  </a:lnTo>
                  <a:lnTo>
                    <a:pt x="229" y="172"/>
                  </a:lnTo>
                  <a:lnTo>
                    <a:pt x="234" y="172"/>
                  </a:lnTo>
                  <a:lnTo>
                    <a:pt x="236" y="170"/>
                  </a:lnTo>
                  <a:lnTo>
                    <a:pt x="236" y="170"/>
                  </a:lnTo>
                  <a:lnTo>
                    <a:pt x="236" y="167"/>
                  </a:lnTo>
                  <a:lnTo>
                    <a:pt x="236" y="167"/>
                  </a:lnTo>
                  <a:lnTo>
                    <a:pt x="236" y="167"/>
                  </a:lnTo>
                  <a:lnTo>
                    <a:pt x="239" y="165"/>
                  </a:lnTo>
                  <a:lnTo>
                    <a:pt x="241" y="165"/>
                  </a:lnTo>
                  <a:lnTo>
                    <a:pt x="243" y="163"/>
                  </a:lnTo>
                  <a:lnTo>
                    <a:pt x="246" y="163"/>
                  </a:lnTo>
                  <a:lnTo>
                    <a:pt x="246" y="163"/>
                  </a:lnTo>
                  <a:lnTo>
                    <a:pt x="253" y="160"/>
                  </a:lnTo>
                  <a:lnTo>
                    <a:pt x="255" y="158"/>
                  </a:lnTo>
                  <a:lnTo>
                    <a:pt x="255" y="156"/>
                  </a:lnTo>
                  <a:lnTo>
                    <a:pt x="260" y="153"/>
                  </a:lnTo>
                  <a:lnTo>
                    <a:pt x="267" y="153"/>
                  </a:lnTo>
                  <a:lnTo>
                    <a:pt x="269" y="151"/>
                  </a:lnTo>
                  <a:lnTo>
                    <a:pt x="272" y="151"/>
                  </a:lnTo>
                  <a:lnTo>
                    <a:pt x="276" y="148"/>
                  </a:lnTo>
                  <a:lnTo>
                    <a:pt x="281" y="146"/>
                  </a:lnTo>
                  <a:lnTo>
                    <a:pt x="281" y="144"/>
                  </a:lnTo>
                  <a:lnTo>
                    <a:pt x="283" y="144"/>
                  </a:lnTo>
                  <a:lnTo>
                    <a:pt x="288" y="144"/>
                  </a:lnTo>
                  <a:lnTo>
                    <a:pt x="291" y="141"/>
                  </a:lnTo>
                  <a:lnTo>
                    <a:pt x="291" y="141"/>
                  </a:lnTo>
                  <a:lnTo>
                    <a:pt x="291" y="141"/>
                  </a:lnTo>
                  <a:lnTo>
                    <a:pt x="293" y="141"/>
                  </a:lnTo>
                  <a:lnTo>
                    <a:pt x="293" y="139"/>
                  </a:lnTo>
                  <a:lnTo>
                    <a:pt x="300" y="137"/>
                  </a:lnTo>
                  <a:lnTo>
                    <a:pt x="307" y="134"/>
                  </a:lnTo>
                  <a:lnTo>
                    <a:pt x="309" y="132"/>
                  </a:lnTo>
                  <a:lnTo>
                    <a:pt x="317" y="130"/>
                  </a:lnTo>
                  <a:lnTo>
                    <a:pt x="319" y="127"/>
                  </a:lnTo>
                  <a:lnTo>
                    <a:pt x="319" y="127"/>
                  </a:lnTo>
                  <a:lnTo>
                    <a:pt x="321" y="127"/>
                  </a:lnTo>
                  <a:lnTo>
                    <a:pt x="324" y="127"/>
                  </a:lnTo>
                  <a:lnTo>
                    <a:pt x="328" y="127"/>
                  </a:lnTo>
                  <a:lnTo>
                    <a:pt x="328" y="125"/>
                  </a:lnTo>
                  <a:lnTo>
                    <a:pt x="333" y="125"/>
                  </a:lnTo>
                  <a:lnTo>
                    <a:pt x="333" y="123"/>
                  </a:lnTo>
                  <a:lnTo>
                    <a:pt x="333" y="123"/>
                  </a:lnTo>
                  <a:lnTo>
                    <a:pt x="333" y="123"/>
                  </a:lnTo>
                  <a:lnTo>
                    <a:pt x="333" y="120"/>
                  </a:lnTo>
                  <a:lnTo>
                    <a:pt x="331" y="118"/>
                  </a:lnTo>
                  <a:lnTo>
                    <a:pt x="331" y="120"/>
                  </a:lnTo>
                  <a:lnTo>
                    <a:pt x="331" y="118"/>
                  </a:lnTo>
                  <a:lnTo>
                    <a:pt x="331" y="118"/>
                  </a:lnTo>
                  <a:lnTo>
                    <a:pt x="331" y="118"/>
                  </a:lnTo>
                  <a:lnTo>
                    <a:pt x="328" y="115"/>
                  </a:lnTo>
                  <a:lnTo>
                    <a:pt x="328" y="115"/>
                  </a:lnTo>
                  <a:lnTo>
                    <a:pt x="326" y="115"/>
                  </a:lnTo>
                  <a:lnTo>
                    <a:pt x="326" y="115"/>
                  </a:lnTo>
                  <a:lnTo>
                    <a:pt x="326" y="118"/>
                  </a:lnTo>
                  <a:lnTo>
                    <a:pt x="324" y="118"/>
                  </a:lnTo>
                  <a:lnTo>
                    <a:pt x="324" y="115"/>
                  </a:lnTo>
                  <a:lnTo>
                    <a:pt x="324" y="115"/>
                  </a:lnTo>
                  <a:lnTo>
                    <a:pt x="321" y="115"/>
                  </a:lnTo>
                  <a:lnTo>
                    <a:pt x="321" y="115"/>
                  </a:lnTo>
                  <a:lnTo>
                    <a:pt x="319" y="113"/>
                  </a:lnTo>
                  <a:lnTo>
                    <a:pt x="321" y="113"/>
                  </a:lnTo>
                  <a:lnTo>
                    <a:pt x="321" y="113"/>
                  </a:lnTo>
                  <a:lnTo>
                    <a:pt x="319" y="111"/>
                  </a:lnTo>
                  <a:lnTo>
                    <a:pt x="321" y="108"/>
                  </a:lnTo>
                  <a:lnTo>
                    <a:pt x="324" y="106"/>
                  </a:lnTo>
                  <a:lnTo>
                    <a:pt x="326" y="106"/>
                  </a:lnTo>
                  <a:lnTo>
                    <a:pt x="326" y="104"/>
                  </a:lnTo>
                  <a:lnTo>
                    <a:pt x="326" y="104"/>
                  </a:lnTo>
                  <a:lnTo>
                    <a:pt x="328" y="104"/>
                  </a:lnTo>
                  <a:lnTo>
                    <a:pt x="328" y="101"/>
                  </a:lnTo>
                  <a:lnTo>
                    <a:pt x="328" y="101"/>
                  </a:lnTo>
                  <a:lnTo>
                    <a:pt x="328" y="99"/>
                  </a:lnTo>
                  <a:lnTo>
                    <a:pt x="328" y="99"/>
                  </a:lnTo>
                  <a:lnTo>
                    <a:pt x="331" y="99"/>
                  </a:lnTo>
                  <a:lnTo>
                    <a:pt x="331" y="97"/>
                  </a:lnTo>
                  <a:lnTo>
                    <a:pt x="333" y="97"/>
                  </a:lnTo>
                  <a:lnTo>
                    <a:pt x="335" y="94"/>
                  </a:lnTo>
                  <a:lnTo>
                    <a:pt x="333" y="92"/>
                  </a:lnTo>
                  <a:lnTo>
                    <a:pt x="333" y="92"/>
                  </a:lnTo>
                  <a:lnTo>
                    <a:pt x="331" y="89"/>
                  </a:lnTo>
                  <a:lnTo>
                    <a:pt x="331" y="89"/>
                  </a:lnTo>
                  <a:lnTo>
                    <a:pt x="331" y="87"/>
                  </a:lnTo>
                  <a:lnTo>
                    <a:pt x="331" y="87"/>
                  </a:lnTo>
                  <a:lnTo>
                    <a:pt x="331" y="87"/>
                  </a:lnTo>
                  <a:lnTo>
                    <a:pt x="331" y="85"/>
                  </a:lnTo>
                  <a:lnTo>
                    <a:pt x="333" y="82"/>
                  </a:lnTo>
                  <a:lnTo>
                    <a:pt x="333" y="85"/>
                  </a:lnTo>
                  <a:lnTo>
                    <a:pt x="335" y="85"/>
                  </a:lnTo>
                  <a:lnTo>
                    <a:pt x="335" y="82"/>
                  </a:lnTo>
                  <a:lnTo>
                    <a:pt x="338" y="82"/>
                  </a:lnTo>
                  <a:lnTo>
                    <a:pt x="335" y="80"/>
                  </a:lnTo>
                  <a:lnTo>
                    <a:pt x="335" y="80"/>
                  </a:lnTo>
                  <a:lnTo>
                    <a:pt x="335" y="80"/>
                  </a:lnTo>
                  <a:lnTo>
                    <a:pt x="335" y="80"/>
                  </a:lnTo>
                  <a:lnTo>
                    <a:pt x="338" y="78"/>
                  </a:lnTo>
                  <a:lnTo>
                    <a:pt x="338" y="78"/>
                  </a:lnTo>
                  <a:lnTo>
                    <a:pt x="338" y="75"/>
                  </a:lnTo>
                  <a:lnTo>
                    <a:pt x="338" y="75"/>
                  </a:lnTo>
                  <a:lnTo>
                    <a:pt x="338" y="75"/>
                  </a:lnTo>
                  <a:lnTo>
                    <a:pt x="338" y="73"/>
                  </a:lnTo>
                  <a:lnTo>
                    <a:pt x="338" y="73"/>
                  </a:lnTo>
                  <a:lnTo>
                    <a:pt x="338" y="73"/>
                  </a:lnTo>
                  <a:lnTo>
                    <a:pt x="338" y="71"/>
                  </a:lnTo>
                  <a:lnTo>
                    <a:pt x="338" y="68"/>
                  </a:lnTo>
                  <a:lnTo>
                    <a:pt x="338" y="66"/>
                  </a:lnTo>
                  <a:lnTo>
                    <a:pt x="340" y="66"/>
                  </a:lnTo>
                  <a:lnTo>
                    <a:pt x="340" y="66"/>
                  </a:lnTo>
                  <a:lnTo>
                    <a:pt x="343" y="63"/>
                  </a:lnTo>
                  <a:lnTo>
                    <a:pt x="343" y="63"/>
                  </a:lnTo>
                  <a:lnTo>
                    <a:pt x="343" y="61"/>
                  </a:lnTo>
                  <a:lnTo>
                    <a:pt x="343" y="61"/>
                  </a:lnTo>
                  <a:lnTo>
                    <a:pt x="343" y="59"/>
                  </a:lnTo>
                  <a:lnTo>
                    <a:pt x="343" y="61"/>
                  </a:lnTo>
                  <a:lnTo>
                    <a:pt x="340" y="59"/>
                  </a:lnTo>
                  <a:lnTo>
                    <a:pt x="340" y="59"/>
                  </a:lnTo>
                  <a:lnTo>
                    <a:pt x="343" y="56"/>
                  </a:lnTo>
                  <a:lnTo>
                    <a:pt x="340" y="54"/>
                  </a:lnTo>
                  <a:lnTo>
                    <a:pt x="340" y="54"/>
                  </a:lnTo>
                  <a:lnTo>
                    <a:pt x="340" y="52"/>
                  </a:lnTo>
                  <a:lnTo>
                    <a:pt x="343" y="52"/>
                  </a:lnTo>
                  <a:lnTo>
                    <a:pt x="343" y="52"/>
                  </a:lnTo>
                  <a:lnTo>
                    <a:pt x="343" y="49"/>
                  </a:lnTo>
                  <a:lnTo>
                    <a:pt x="345" y="49"/>
                  </a:lnTo>
                  <a:lnTo>
                    <a:pt x="345" y="47"/>
                  </a:lnTo>
                  <a:lnTo>
                    <a:pt x="345" y="47"/>
                  </a:lnTo>
                  <a:lnTo>
                    <a:pt x="345" y="47"/>
                  </a:lnTo>
                  <a:lnTo>
                    <a:pt x="345" y="45"/>
                  </a:lnTo>
                  <a:lnTo>
                    <a:pt x="350" y="45"/>
                  </a:lnTo>
                  <a:lnTo>
                    <a:pt x="350" y="42"/>
                  </a:lnTo>
                  <a:lnTo>
                    <a:pt x="350" y="42"/>
                  </a:lnTo>
                  <a:lnTo>
                    <a:pt x="350" y="40"/>
                  </a:lnTo>
                  <a:lnTo>
                    <a:pt x="352" y="40"/>
                  </a:lnTo>
                  <a:lnTo>
                    <a:pt x="352" y="40"/>
                  </a:lnTo>
                  <a:lnTo>
                    <a:pt x="354" y="37"/>
                  </a:lnTo>
                  <a:lnTo>
                    <a:pt x="354" y="35"/>
                  </a:lnTo>
                  <a:lnTo>
                    <a:pt x="354" y="35"/>
                  </a:lnTo>
                  <a:lnTo>
                    <a:pt x="354" y="35"/>
                  </a:lnTo>
                  <a:lnTo>
                    <a:pt x="354" y="35"/>
                  </a:lnTo>
                  <a:lnTo>
                    <a:pt x="357" y="35"/>
                  </a:lnTo>
                  <a:lnTo>
                    <a:pt x="357" y="35"/>
                  </a:lnTo>
                  <a:lnTo>
                    <a:pt x="357" y="33"/>
                  </a:lnTo>
                  <a:lnTo>
                    <a:pt x="354" y="33"/>
                  </a:lnTo>
                  <a:lnTo>
                    <a:pt x="354" y="33"/>
                  </a:lnTo>
                  <a:lnTo>
                    <a:pt x="352" y="33"/>
                  </a:lnTo>
                  <a:lnTo>
                    <a:pt x="352" y="30"/>
                  </a:lnTo>
                  <a:lnTo>
                    <a:pt x="350" y="30"/>
                  </a:lnTo>
                  <a:lnTo>
                    <a:pt x="350" y="30"/>
                  </a:lnTo>
                  <a:lnTo>
                    <a:pt x="350" y="28"/>
                  </a:lnTo>
                  <a:lnTo>
                    <a:pt x="347" y="28"/>
                  </a:lnTo>
                  <a:lnTo>
                    <a:pt x="347" y="26"/>
                  </a:lnTo>
                  <a:lnTo>
                    <a:pt x="350" y="26"/>
                  </a:lnTo>
                  <a:lnTo>
                    <a:pt x="350" y="23"/>
                  </a:lnTo>
                  <a:lnTo>
                    <a:pt x="352" y="26"/>
                  </a:lnTo>
                  <a:lnTo>
                    <a:pt x="352" y="26"/>
                  </a:lnTo>
                  <a:lnTo>
                    <a:pt x="352" y="23"/>
                  </a:lnTo>
                  <a:lnTo>
                    <a:pt x="354" y="23"/>
                  </a:lnTo>
                  <a:lnTo>
                    <a:pt x="354" y="21"/>
                  </a:lnTo>
                  <a:lnTo>
                    <a:pt x="357" y="23"/>
                  </a:lnTo>
                  <a:lnTo>
                    <a:pt x="359" y="23"/>
                  </a:lnTo>
                  <a:lnTo>
                    <a:pt x="361" y="21"/>
                  </a:lnTo>
                  <a:lnTo>
                    <a:pt x="361" y="21"/>
                  </a:lnTo>
                  <a:lnTo>
                    <a:pt x="364" y="21"/>
                  </a:lnTo>
                  <a:lnTo>
                    <a:pt x="366" y="21"/>
                  </a:lnTo>
                  <a:lnTo>
                    <a:pt x="366" y="21"/>
                  </a:lnTo>
                  <a:lnTo>
                    <a:pt x="368" y="21"/>
                  </a:lnTo>
                  <a:lnTo>
                    <a:pt x="368" y="21"/>
                  </a:lnTo>
                  <a:lnTo>
                    <a:pt x="371" y="19"/>
                  </a:lnTo>
                  <a:lnTo>
                    <a:pt x="371" y="21"/>
                  </a:lnTo>
                  <a:lnTo>
                    <a:pt x="371" y="19"/>
                  </a:lnTo>
                  <a:lnTo>
                    <a:pt x="371" y="16"/>
                  </a:lnTo>
                  <a:lnTo>
                    <a:pt x="371" y="16"/>
                  </a:lnTo>
                  <a:lnTo>
                    <a:pt x="371" y="14"/>
                  </a:lnTo>
                  <a:lnTo>
                    <a:pt x="373" y="14"/>
                  </a:lnTo>
                  <a:lnTo>
                    <a:pt x="373" y="14"/>
                  </a:lnTo>
                  <a:lnTo>
                    <a:pt x="373" y="11"/>
                  </a:lnTo>
                  <a:lnTo>
                    <a:pt x="376" y="11"/>
                  </a:lnTo>
                  <a:lnTo>
                    <a:pt x="376" y="11"/>
                  </a:lnTo>
                  <a:lnTo>
                    <a:pt x="376" y="9"/>
                  </a:lnTo>
                  <a:lnTo>
                    <a:pt x="376" y="7"/>
                  </a:lnTo>
                  <a:lnTo>
                    <a:pt x="376" y="4"/>
                  </a:lnTo>
                  <a:lnTo>
                    <a:pt x="376" y="4"/>
                  </a:lnTo>
                  <a:lnTo>
                    <a:pt x="378" y="4"/>
                  </a:lnTo>
                  <a:lnTo>
                    <a:pt x="378" y="4"/>
                  </a:lnTo>
                  <a:lnTo>
                    <a:pt x="380" y="4"/>
                  </a:lnTo>
                  <a:lnTo>
                    <a:pt x="380" y="2"/>
                  </a:lnTo>
                  <a:lnTo>
                    <a:pt x="383" y="2"/>
                  </a:lnTo>
                  <a:lnTo>
                    <a:pt x="383" y="2"/>
                  </a:lnTo>
                  <a:lnTo>
                    <a:pt x="383" y="2"/>
                  </a:lnTo>
                  <a:lnTo>
                    <a:pt x="383" y="0"/>
                  </a:lnTo>
                  <a:lnTo>
                    <a:pt x="383" y="0"/>
                  </a:lnTo>
                  <a:lnTo>
                    <a:pt x="385" y="0"/>
                  </a:lnTo>
                  <a:lnTo>
                    <a:pt x="385" y="2"/>
                  </a:lnTo>
                  <a:lnTo>
                    <a:pt x="387" y="2"/>
                  </a:lnTo>
                  <a:lnTo>
                    <a:pt x="390" y="2"/>
                  </a:lnTo>
                  <a:lnTo>
                    <a:pt x="390" y="4"/>
                  </a:lnTo>
                  <a:lnTo>
                    <a:pt x="390" y="4"/>
                  </a:lnTo>
                  <a:lnTo>
                    <a:pt x="392" y="4"/>
                  </a:lnTo>
                  <a:lnTo>
                    <a:pt x="390" y="4"/>
                  </a:lnTo>
                  <a:lnTo>
                    <a:pt x="392" y="4"/>
                  </a:lnTo>
                  <a:lnTo>
                    <a:pt x="392" y="4"/>
                  </a:lnTo>
                  <a:lnTo>
                    <a:pt x="394" y="4"/>
                  </a:lnTo>
                  <a:lnTo>
                    <a:pt x="397" y="4"/>
                  </a:lnTo>
                  <a:lnTo>
                    <a:pt x="397" y="4"/>
                  </a:lnTo>
                  <a:lnTo>
                    <a:pt x="399" y="4"/>
                  </a:lnTo>
                  <a:lnTo>
                    <a:pt x="399" y="7"/>
                  </a:lnTo>
                  <a:lnTo>
                    <a:pt x="399" y="7"/>
                  </a:lnTo>
                  <a:lnTo>
                    <a:pt x="399" y="7"/>
                  </a:lnTo>
                  <a:lnTo>
                    <a:pt x="399" y="7"/>
                  </a:lnTo>
                  <a:lnTo>
                    <a:pt x="399" y="9"/>
                  </a:lnTo>
                  <a:lnTo>
                    <a:pt x="399" y="11"/>
                  </a:lnTo>
                  <a:lnTo>
                    <a:pt x="399" y="14"/>
                  </a:lnTo>
                  <a:lnTo>
                    <a:pt x="399" y="14"/>
                  </a:lnTo>
                  <a:lnTo>
                    <a:pt x="402" y="14"/>
                  </a:lnTo>
                  <a:lnTo>
                    <a:pt x="404" y="14"/>
                  </a:lnTo>
                  <a:lnTo>
                    <a:pt x="402" y="14"/>
                  </a:lnTo>
                  <a:lnTo>
                    <a:pt x="402" y="16"/>
                  </a:lnTo>
                  <a:lnTo>
                    <a:pt x="402" y="16"/>
                  </a:lnTo>
                  <a:lnTo>
                    <a:pt x="402" y="16"/>
                  </a:lnTo>
                  <a:lnTo>
                    <a:pt x="402" y="21"/>
                  </a:lnTo>
                  <a:lnTo>
                    <a:pt x="402" y="21"/>
                  </a:lnTo>
                  <a:lnTo>
                    <a:pt x="399" y="21"/>
                  </a:lnTo>
                  <a:lnTo>
                    <a:pt x="402" y="23"/>
                  </a:lnTo>
                  <a:lnTo>
                    <a:pt x="402" y="23"/>
                  </a:lnTo>
                  <a:lnTo>
                    <a:pt x="402" y="28"/>
                  </a:lnTo>
                  <a:lnTo>
                    <a:pt x="404" y="28"/>
                  </a:lnTo>
                  <a:lnTo>
                    <a:pt x="404" y="30"/>
                  </a:lnTo>
                  <a:lnTo>
                    <a:pt x="402" y="30"/>
                  </a:lnTo>
                  <a:lnTo>
                    <a:pt x="402" y="30"/>
                  </a:lnTo>
                  <a:lnTo>
                    <a:pt x="402" y="33"/>
                  </a:lnTo>
                  <a:lnTo>
                    <a:pt x="404" y="33"/>
                  </a:lnTo>
                  <a:lnTo>
                    <a:pt x="402" y="33"/>
                  </a:lnTo>
                  <a:lnTo>
                    <a:pt x="402" y="33"/>
                  </a:lnTo>
                  <a:lnTo>
                    <a:pt x="402" y="35"/>
                  </a:lnTo>
                  <a:lnTo>
                    <a:pt x="402" y="35"/>
                  </a:lnTo>
                  <a:lnTo>
                    <a:pt x="402" y="37"/>
                  </a:lnTo>
                  <a:lnTo>
                    <a:pt x="402" y="37"/>
                  </a:lnTo>
                  <a:lnTo>
                    <a:pt x="402" y="37"/>
                  </a:lnTo>
                  <a:lnTo>
                    <a:pt x="402" y="37"/>
                  </a:lnTo>
                  <a:lnTo>
                    <a:pt x="402" y="40"/>
                  </a:lnTo>
                  <a:lnTo>
                    <a:pt x="402" y="40"/>
                  </a:lnTo>
                  <a:lnTo>
                    <a:pt x="402" y="40"/>
                  </a:lnTo>
                  <a:lnTo>
                    <a:pt x="402" y="40"/>
                  </a:lnTo>
                  <a:lnTo>
                    <a:pt x="402" y="42"/>
                  </a:lnTo>
                  <a:lnTo>
                    <a:pt x="402" y="45"/>
                  </a:lnTo>
                  <a:lnTo>
                    <a:pt x="402" y="45"/>
                  </a:lnTo>
                  <a:lnTo>
                    <a:pt x="402" y="45"/>
                  </a:lnTo>
                  <a:lnTo>
                    <a:pt x="404" y="45"/>
                  </a:lnTo>
                  <a:lnTo>
                    <a:pt x="404" y="45"/>
                  </a:lnTo>
                  <a:lnTo>
                    <a:pt x="402" y="47"/>
                  </a:lnTo>
                  <a:lnTo>
                    <a:pt x="402" y="47"/>
                  </a:lnTo>
                  <a:lnTo>
                    <a:pt x="404" y="47"/>
                  </a:lnTo>
                  <a:lnTo>
                    <a:pt x="404" y="47"/>
                  </a:lnTo>
                  <a:lnTo>
                    <a:pt x="406" y="47"/>
                  </a:lnTo>
                  <a:lnTo>
                    <a:pt x="406" y="47"/>
                  </a:lnTo>
                  <a:lnTo>
                    <a:pt x="409" y="47"/>
                  </a:lnTo>
                  <a:lnTo>
                    <a:pt x="409" y="47"/>
                  </a:lnTo>
                  <a:lnTo>
                    <a:pt x="409" y="47"/>
                  </a:lnTo>
                  <a:lnTo>
                    <a:pt x="409" y="47"/>
                  </a:lnTo>
                  <a:lnTo>
                    <a:pt x="409" y="47"/>
                  </a:lnTo>
                  <a:lnTo>
                    <a:pt x="411" y="49"/>
                  </a:lnTo>
                  <a:lnTo>
                    <a:pt x="411" y="49"/>
                  </a:lnTo>
                  <a:lnTo>
                    <a:pt x="411" y="49"/>
                  </a:lnTo>
                  <a:lnTo>
                    <a:pt x="413" y="49"/>
                  </a:lnTo>
                  <a:lnTo>
                    <a:pt x="413" y="49"/>
                  </a:lnTo>
                  <a:lnTo>
                    <a:pt x="416" y="52"/>
                  </a:lnTo>
                  <a:lnTo>
                    <a:pt x="418" y="49"/>
                  </a:lnTo>
                  <a:lnTo>
                    <a:pt x="420" y="52"/>
                  </a:lnTo>
                  <a:lnTo>
                    <a:pt x="420" y="52"/>
                  </a:lnTo>
                  <a:lnTo>
                    <a:pt x="420" y="54"/>
                  </a:lnTo>
                  <a:lnTo>
                    <a:pt x="423" y="54"/>
                  </a:lnTo>
                  <a:lnTo>
                    <a:pt x="423" y="52"/>
                  </a:lnTo>
                  <a:lnTo>
                    <a:pt x="423" y="54"/>
                  </a:lnTo>
                  <a:lnTo>
                    <a:pt x="428" y="54"/>
                  </a:lnTo>
                  <a:lnTo>
                    <a:pt x="428" y="56"/>
                  </a:lnTo>
                  <a:lnTo>
                    <a:pt x="428" y="54"/>
                  </a:lnTo>
                  <a:lnTo>
                    <a:pt x="430" y="54"/>
                  </a:lnTo>
                  <a:lnTo>
                    <a:pt x="430" y="54"/>
                  </a:lnTo>
                  <a:lnTo>
                    <a:pt x="432" y="54"/>
                  </a:lnTo>
                  <a:lnTo>
                    <a:pt x="432" y="54"/>
                  </a:lnTo>
                  <a:lnTo>
                    <a:pt x="432" y="56"/>
                  </a:lnTo>
                  <a:lnTo>
                    <a:pt x="435" y="56"/>
                  </a:lnTo>
                  <a:lnTo>
                    <a:pt x="437" y="59"/>
                  </a:lnTo>
                  <a:lnTo>
                    <a:pt x="437" y="59"/>
                  </a:lnTo>
                  <a:lnTo>
                    <a:pt x="439" y="59"/>
                  </a:lnTo>
                  <a:lnTo>
                    <a:pt x="439" y="56"/>
                  </a:lnTo>
                  <a:lnTo>
                    <a:pt x="442" y="56"/>
                  </a:lnTo>
                  <a:lnTo>
                    <a:pt x="442" y="56"/>
                  </a:lnTo>
                  <a:lnTo>
                    <a:pt x="442" y="56"/>
                  </a:lnTo>
                  <a:lnTo>
                    <a:pt x="442" y="56"/>
                  </a:lnTo>
                  <a:lnTo>
                    <a:pt x="444" y="56"/>
                  </a:lnTo>
                  <a:lnTo>
                    <a:pt x="444" y="56"/>
                  </a:lnTo>
                  <a:lnTo>
                    <a:pt x="446" y="56"/>
                  </a:lnTo>
                  <a:lnTo>
                    <a:pt x="446" y="56"/>
                  </a:lnTo>
                  <a:lnTo>
                    <a:pt x="446" y="56"/>
                  </a:lnTo>
                  <a:lnTo>
                    <a:pt x="446" y="56"/>
                  </a:lnTo>
                  <a:lnTo>
                    <a:pt x="451" y="59"/>
                  </a:lnTo>
                  <a:lnTo>
                    <a:pt x="451" y="59"/>
                  </a:lnTo>
                  <a:lnTo>
                    <a:pt x="451" y="59"/>
                  </a:lnTo>
                  <a:lnTo>
                    <a:pt x="454" y="59"/>
                  </a:lnTo>
                  <a:lnTo>
                    <a:pt x="454" y="59"/>
                  </a:lnTo>
                  <a:lnTo>
                    <a:pt x="454" y="59"/>
                  </a:lnTo>
                  <a:lnTo>
                    <a:pt x="456" y="61"/>
                  </a:lnTo>
                  <a:lnTo>
                    <a:pt x="456" y="61"/>
                  </a:lnTo>
                  <a:lnTo>
                    <a:pt x="458" y="61"/>
                  </a:lnTo>
                  <a:lnTo>
                    <a:pt x="458" y="61"/>
                  </a:lnTo>
                  <a:lnTo>
                    <a:pt x="458" y="61"/>
                  </a:lnTo>
                  <a:lnTo>
                    <a:pt x="458" y="61"/>
                  </a:lnTo>
                  <a:lnTo>
                    <a:pt x="461" y="61"/>
                  </a:lnTo>
                  <a:lnTo>
                    <a:pt x="461" y="59"/>
                  </a:lnTo>
                  <a:lnTo>
                    <a:pt x="463" y="59"/>
                  </a:lnTo>
                  <a:lnTo>
                    <a:pt x="463" y="59"/>
                  </a:lnTo>
                  <a:lnTo>
                    <a:pt x="465" y="59"/>
                  </a:lnTo>
                  <a:lnTo>
                    <a:pt x="465" y="61"/>
                  </a:lnTo>
                  <a:lnTo>
                    <a:pt x="465" y="61"/>
                  </a:lnTo>
                  <a:lnTo>
                    <a:pt x="465" y="61"/>
                  </a:lnTo>
                  <a:lnTo>
                    <a:pt x="468" y="61"/>
                  </a:lnTo>
                  <a:lnTo>
                    <a:pt x="468" y="61"/>
                  </a:lnTo>
                  <a:lnTo>
                    <a:pt x="468" y="61"/>
                  </a:lnTo>
                  <a:lnTo>
                    <a:pt x="470" y="61"/>
                  </a:lnTo>
                  <a:lnTo>
                    <a:pt x="470" y="63"/>
                  </a:lnTo>
                  <a:lnTo>
                    <a:pt x="470" y="61"/>
                  </a:lnTo>
                  <a:lnTo>
                    <a:pt x="470" y="61"/>
                  </a:lnTo>
                  <a:lnTo>
                    <a:pt x="470" y="61"/>
                  </a:lnTo>
                  <a:lnTo>
                    <a:pt x="470" y="61"/>
                  </a:lnTo>
                  <a:lnTo>
                    <a:pt x="472" y="61"/>
                  </a:lnTo>
                  <a:lnTo>
                    <a:pt x="470" y="61"/>
                  </a:lnTo>
                  <a:lnTo>
                    <a:pt x="472" y="61"/>
                  </a:lnTo>
                  <a:lnTo>
                    <a:pt x="472" y="61"/>
                  </a:lnTo>
                  <a:lnTo>
                    <a:pt x="475" y="61"/>
                  </a:lnTo>
                  <a:lnTo>
                    <a:pt x="475" y="61"/>
                  </a:lnTo>
                  <a:lnTo>
                    <a:pt x="477" y="61"/>
                  </a:lnTo>
                  <a:lnTo>
                    <a:pt x="477" y="61"/>
                  </a:lnTo>
                  <a:lnTo>
                    <a:pt x="482" y="59"/>
                  </a:lnTo>
                  <a:lnTo>
                    <a:pt x="482" y="59"/>
                  </a:lnTo>
                  <a:lnTo>
                    <a:pt x="482" y="59"/>
                  </a:lnTo>
                  <a:lnTo>
                    <a:pt x="484" y="59"/>
                  </a:lnTo>
                  <a:lnTo>
                    <a:pt x="484" y="61"/>
                  </a:lnTo>
                  <a:lnTo>
                    <a:pt x="484" y="61"/>
                  </a:lnTo>
                  <a:lnTo>
                    <a:pt x="487" y="61"/>
                  </a:lnTo>
                  <a:lnTo>
                    <a:pt x="489" y="63"/>
                  </a:lnTo>
                  <a:lnTo>
                    <a:pt x="491" y="63"/>
                  </a:lnTo>
                  <a:lnTo>
                    <a:pt x="491" y="63"/>
                  </a:lnTo>
                  <a:lnTo>
                    <a:pt x="494" y="63"/>
                  </a:lnTo>
                  <a:lnTo>
                    <a:pt x="494" y="66"/>
                  </a:lnTo>
                  <a:lnTo>
                    <a:pt x="494" y="68"/>
                  </a:lnTo>
                  <a:lnTo>
                    <a:pt x="494" y="68"/>
                  </a:lnTo>
                  <a:lnTo>
                    <a:pt x="496" y="68"/>
                  </a:lnTo>
                  <a:lnTo>
                    <a:pt x="496" y="68"/>
                  </a:lnTo>
                  <a:lnTo>
                    <a:pt x="496" y="68"/>
                  </a:lnTo>
                  <a:lnTo>
                    <a:pt x="496" y="68"/>
                  </a:lnTo>
                  <a:lnTo>
                    <a:pt x="496" y="68"/>
                  </a:lnTo>
                  <a:lnTo>
                    <a:pt x="498" y="68"/>
                  </a:lnTo>
                  <a:lnTo>
                    <a:pt x="498" y="71"/>
                  </a:lnTo>
                  <a:lnTo>
                    <a:pt x="498" y="71"/>
                  </a:lnTo>
                  <a:lnTo>
                    <a:pt x="498" y="71"/>
                  </a:lnTo>
                  <a:lnTo>
                    <a:pt x="498" y="75"/>
                  </a:lnTo>
                  <a:lnTo>
                    <a:pt x="498" y="78"/>
                  </a:lnTo>
                  <a:lnTo>
                    <a:pt x="498" y="78"/>
                  </a:lnTo>
                  <a:lnTo>
                    <a:pt x="496" y="82"/>
                  </a:lnTo>
                  <a:lnTo>
                    <a:pt x="496" y="82"/>
                  </a:lnTo>
                  <a:lnTo>
                    <a:pt x="494" y="82"/>
                  </a:lnTo>
                  <a:lnTo>
                    <a:pt x="494" y="85"/>
                  </a:lnTo>
                  <a:lnTo>
                    <a:pt x="491" y="89"/>
                  </a:lnTo>
                  <a:lnTo>
                    <a:pt x="489" y="89"/>
                  </a:lnTo>
                  <a:lnTo>
                    <a:pt x="487" y="92"/>
                  </a:lnTo>
                  <a:lnTo>
                    <a:pt x="484" y="94"/>
                  </a:lnTo>
                  <a:lnTo>
                    <a:pt x="484" y="97"/>
                  </a:lnTo>
                  <a:lnTo>
                    <a:pt x="484" y="101"/>
                  </a:lnTo>
                  <a:lnTo>
                    <a:pt x="487" y="106"/>
                  </a:lnTo>
                  <a:lnTo>
                    <a:pt x="487" y="108"/>
                  </a:lnTo>
                  <a:lnTo>
                    <a:pt x="489" y="108"/>
                  </a:lnTo>
                  <a:lnTo>
                    <a:pt x="491" y="108"/>
                  </a:lnTo>
                  <a:lnTo>
                    <a:pt x="491" y="111"/>
                  </a:lnTo>
                  <a:lnTo>
                    <a:pt x="491" y="108"/>
                  </a:lnTo>
                  <a:lnTo>
                    <a:pt x="491" y="111"/>
                  </a:lnTo>
                  <a:lnTo>
                    <a:pt x="491" y="120"/>
                  </a:lnTo>
                  <a:lnTo>
                    <a:pt x="491" y="125"/>
                  </a:lnTo>
                  <a:lnTo>
                    <a:pt x="494" y="134"/>
                  </a:lnTo>
                  <a:lnTo>
                    <a:pt x="496" y="151"/>
                  </a:lnTo>
                  <a:lnTo>
                    <a:pt x="496" y="153"/>
                  </a:lnTo>
                  <a:lnTo>
                    <a:pt x="496" y="158"/>
                  </a:lnTo>
                  <a:lnTo>
                    <a:pt x="496" y="160"/>
                  </a:lnTo>
                  <a:lnTo>
                    <a:pt x="494" y="163"/>
                  </a:lnTo>
                  <a:lnTo>
                    <a:pt x="494" y="163"/>
                  </a:lnTo>
                  <a:lnTo>
                    <a:pt x="487" y="167"/>
                  </a:lnTo>
                  <a:lnTo>
                    <a:pt x="484" y="170"/>
                  </a:lnTo>
                  <a:lnTo>
                    <a:pt x="477" y="172"/>
                  </a:lnTo>
                  <a:lnTo>
                    <a:pt x="475" y="177"/>
                  </a:lnTo>
                  <a:lnTo>
                    <a:pt x="468" y="179"/>
                  </a:lnTo>
                  <a:lnTo>
                    <a:pt x="463" y="179"/>
                  </a:lnTo>
                  <a:lnTo>
                    <a:pt x="456" y="182"/>
                  </a:lnTo>
                  <a:lnTo>
                    <a:pt x="439" y="186"/>
                  </a:lnTo>
                  <a:lnTo>
                    <a:pt x="432" y="189"/>
                  </a:lnTo>
                  <a:lnTo>
                    <a:pt x="425" y="191"/>
                  </a:lnTo>
                  <a:lnTo>
                    <a:pt x="420" y="193"/>
                  </a:lnTo>
                  <a:lnTo>
                    <a:pt x="418" y="196"/>
                  </a:lnTo>
                  <a:lnTo>
                    <a:pt x="413" y="196"/>
                  </a:lnTo>
                  <a:lnTo>
                    <a:pt x="406" y="200"/>
                  </a:lnTo>
                  <a:lnTo>
                    <a:pt x="399" y="205"/>
                  </a:lnTo>
                  <a:lnTo>
                    <a:pt x="399" y="205"/>
                  </a:lnTo>
                  <a:lnTo>
                    <a:pt x="397" y="208"/>
                  </a:lnTo>
                  <a:lnTo>
                    <a:pt x="394" y="208"/>
                  </a:lnTo>
                  <a:lnTo>
                    <a:pt x="394" y="210"/>
                  </a:lnTo>
                  <a:lnTo>
                    <a:pt x="397" y="210"/>
                  </a:lnTo>
                  <a:lnTo>
                    <a:pt x="394" y="210"/>
                  </a:lnTo>
                  <a:lnTo>
                    <a:pt x="397" y="212"/>
                  </a:lnTo>
                  <a:lnTo>
                    <a:pt x="394" y="215"/>
                  </a:lnTo>
                  <a:lnTo>
                    <a:pt x="392" y="215"/>
                  </a:lnTo>
                  <a:lnTo>
                    <a:pt x="390" y="215"/>
                  </a:lnTo>
                  <a:lnTo>
                    <a:pt x="387" y="217"/>
                  </a:lnTo>
                  <a:lnTo>
                    <a:pt x="385" y="219"/>
                  </a:lnTo>
                  <a:lnTo>
                    <a:pt x="385" y="222"/>
                  </a:lnTo>
                  <a:lnTo>
                    <a:pt x="385" y="224"/>
                  </a:lnTo>
                  <a:lnTo>
                    <a:pt x="383" y="224"/>
                  </a:lnTo>
                  <a:lnTo>
                    <a:pt x="383" y="224"/>
                  </a:lnTo>
                  <a:lnTo>
                    <a:pt x="380" y="224"/>
                  </a:lnTo>
                  <a:lnTo>
                    <a:pt x="380" y="226"/>
                  </a:lnTo>
                  <a:lnTo>
                    <a:pt x="378" y="229"/>
                  </a:lnTo>
                  <a:lnTo>
                    <a:pt x="376" y="231"/>
                  </a:lnTo>
                  <a:lnTo>
                    <a:pt x="376" y="231"/>
                  </a:lnTo>
                  <a:lnTo>
                    <a:pt x="376" y="231"/>
                  </a:lnTo>
                  <a:lnTo>
                    <a:pt x="373" y="231"/>
                  </a:lnTo>
                  <a:lnTo>
                    <a:pt x="373" y="231"/>
                  </a:lnTo>
                  <a:lnTo>
                    <a:pt x="371" y="234"/>
                  </a:lnTo>
                  <a:lnTo>
                    <a:pt x="368" y="234"/>
                  </a:lnTo>
                  <a:lnTo>
                    <a:pt x="368" y="241"/>
                  </a:lnTo>
                  <a:lnTo>
                    <a:pt x="366" y="241"/>
                  </a:lnTo>
                  <a:lnTo>
                    <a:pt x="366" y="245"/>
                  </a:lnTo>
                  <a:lnTo>
                    <a:pt x="366" y="248"/>
                  </a:lnTo>
                  <a:lnTo>
                    <a:pt x="366" y="248"/>
                  </a:lnTo>
                  <a:lnTo>
                    <a:pt x="368" y="255"/>
                  </a:lnTo>
                  <a:lnTo>
                    <a:pt x="368" y="257"/>
                  </a:lnTo>
                  <a:lnTo>
                    <a:pt x="373" y="257"/>
                  </a:lnTo>
                  <a:lnTo>
                    <a:pt x="373" y="257"/>
                  </a:lnTo>
                  <a:lnTo>
                    <a:pt x="373" y="260"/>
                  </a:lnTo>
                  <a:lnTo>
                    <a:pt x="376" y="262"/>
                  </a:lnTo>
                  <a:lnTo>
                    <a:pt x="378" y="262"/>
                  </a:lnTo>
                  <a:lnTo>
                    <a:pt x="378" y="262"/>
                  </a:lnTo>
                  <a:lnTo>
                    <a:pt x="378" y="260"/>
                  </a:lnTo>
                  <a:lnTo>
                    <a:pt x="380" y="260"/>
                  </a:lnTo>
                  <a:lnTo>
                    <a:pt x="380" y="260"/>
                  </a:lnTo>
                  <a:lnTo>
                    <a:pt x="380" y="260"/>
                  </a:lnTo>
                  <a:lnTo>
                    <a:pt x="383" y="260"/>
                  </a:lnTo>
                  <a:lnTo>
                    <a:pt x="383" y="257"/>
                  </a:lnTo>
                  <a:lnTo>
                    <a:pt x="383" y="260"/>
                  </a:lnTo>
                  <a:lnTo>
                    <a:pt x="383" y="257"/>
                  </a:lnTo>
                  <a:lnTo>
                    <a:pt x="383" y="260"/>
                  </a:lnTo>
                  <a:lnTo>
                    <a:pt x="383" y="260"/>
                  </a:lnTo>
                  <a:lnTo>
                    <a:pt x="385" y="260"/>
                  </a:lnTo>
                  <a:lnTo>
                    <a:pt x="383" y="262"/>
                  </a:lnTo>
                  <a:lnTo>
                    <a:pt x="383" y="262"/>
                  </a:lnTo>
                  <a:lnTo>
                    <a:pt x="383" y="262"/>
                  </a:lnTo>
                  <a:lnTo>
                    <a:pt x="383" y="262"/>
                  </a:lnTo>
                  <a:lnTo>
                    <a:pt x="380" y="262"/>
                  </a:lnTo>
                  <a:lnTo>
                    <a:pt x="383" y="264"/>
                  </a:lnTo>
                  <a:lnTo>
                    <a:pt x="380" y="262"/>
                  </a:lnTo>
                  <a:lnTo>
                    <a:pt x="380" y="264"/>
                  </a:lnTo>
                  <a:lnTo>
                    <a:pt x="380" y="264"/>
                  </a:lnTo>
                  <a:lnTo>
                    <a:pt x="378" y="262"/>
                  </a:lnTo>
                  <a:lnTo>
                    <a:pt x="376" y="264"/>
                  </a:lnTo>
                  <a:lnTo>
                    <a:pt x="376" y="264"/>
                  </a:lnTo>
                  <a:lnTo>
                    <a:pt x="376" y="267"/>
                  </a:lnTo>
                  <a:lnTo>
                    <a:pt x="376" y="267"/>
                  </a:lnTo>
                  <a:lnTo>
                    <a:pt x="376" y="269"/>
                  </a:lnTo>
                  <a:lnTo>
                    <a:pt x="373" y="267"/>
                  </a:lnTo>
                  <a:lnTo>
                    <a:pt x="373" y="269"/>
                  </a:lnTo>
                  <a:lnTo>
                    <a:pt x="371" y="269"/>
                  </a:lnTo>
                  <a:lnTo>
                    <a:pt x="368" y="271"/>
                  </a:lnTo>
                  <a:lnTo>
                    <a:pt x="368" y="274"/>
                  </a:lnTo>
                  <a:lnTo>
                    <a:pt x="368" y="274"/>
                  </a:lnTo>
                  <a:lnTo>
                    <a:pt x="368" y="274"/>
                  </a:lnTo>
                  <a:lnTo>
                    <a:pt x="368" y="274"/>
                  </a:lnTo>
                  <a:lnTo>
                    <a:pt x="368" y="276"/>
                  </a:lnTo>
                  <a:lnTo>
                    <a:pt x="368" y="276"/>
                  </a:lnTo>
                  <a:lnTo>
                    <a:pt x="366" y="276"/>
                  </a:lnTo>
                  <a:lnTo>
                    <a:pt x="366" y="278"/>
                  </a:lnTo>
                  <a:lnTo>
                    <a:pt x="366" y="276"/>
                  </a:lnTo>
                  <a:lnTo>
                    <a:pt x="366" y="276"/>
                  </a:lnTo>
                  <a:lnTo>
                    <a:pt x="364" y="278"/>
                  </a:lnTo>
                  <a:lnTo>
                    <a:pt x="364" y="278"/>
                  </a:lnTo>
                  <a:lnTo>
                    <a:pt x="361" y="281"/>
                  </a:lnTo>
                  <a:lnTo>
                    <a:pt x="361" y="283"/>
                  </a:lnTo>
                  <a:lnTo>
                    <a:pt x="364" y="285"/>
                  </a:lnTo>
                  <a:lnTo>
                    <a:pt x="364" y="285"/>
                  </a:lnTo>
                  <a:lnTo>
                    <a:pt x="364" y="285"/>
                  </a:lnTo>
                  <a:lnTo>
                    <a:pt x="364" y="288"/>
                  </a:lnTo>
                  <a:lnTo>
                    <a:pt x="366" y="285"/>
                  </a:lnTo>
                  <a:lnTo>
                    <a:pt x="366" y="285"/>
                  </a:lnTo>
                  <a:lnTo>
                    <a:pt x="366" y="285"/>
                  </a:lnTo>
                  <a:lnTo>
                    <a:pt x="366" y="288"/>
                  </a:lnTo>
                  <a:lnTo>
                    <a:pt x="366" y="288"/>
                  </a:lnTo>
                  <a:lnTo>
                    <a:pt x="366" y="288"/>
                  </a:lnTo>
                  <a:lnTo>
                    <a:pt x="366" y="288"/>
                  </a:lnTo>
                  <a:lnTo>
                    <a:pt x="366" y="288"/>
                  </a:lnTo>
                  <a:lnTo>
                    <a:pt x="364" y="288"/>
                  </a:lnTo>
                  <a:lnTo>
                    <a:pt x="366" y="288"/>
                  </a:lnTo>
                  <a:lnTo>
                    <a:pt x="364" y="288"/>
                  </a:lnTo>
                  <a:lnTo>
                    <a:pt x="364" y="290"/>
                  </a:lnTo>
                  <a:lnTo>
                    <a:pt x="366" y="290"/>
                  </a:lnTo>
                  <a:lnTo>
                    <a:pt x="366" y="290"/>
                  </a:lnTo>
                  <a:lnTo>
                    <a:pt x="366" y="293"/>
                  </a:lnTo>
                  <a:lnTo>
                    <a:pt x="364" y="290"/>
                  </a:lnTo>
                  <a:lnTo>
                    <a:pt x="361" y="290"/>
                  </a:lnTo>
                  <a:lnTo>
                    <a:pt x="364" y="288"/>
                  </a:lnTo>
                  <a:lnTo>
                    <a:pt x="361" y="288"/>
                  </a:lnTo>
                  <a:lnTo>
                    <a:pt x="357" y="285"/>
                  </a:lnTo>
                  <a:lnTo>
                    <a:pt x="331" y="283"/>
                  </a:lnTo>
                  <a:lnTo>
                    <a:pt x="321" y="283"/>
                  </a:lnTo>
                  <a:lnTo>
                    <a:pt x="312" y="283"/>
                  </a:lnTo>
                  <a:lnTo>
                    <a:pt x="307" y="283"/>
                  </a:lnTo>
                  <a:lnTo>
                    <a:pt x="305" y="283"/>
                  </a:lnTo>
                  <a:lnTo>
                    <a:pt x="302" y="283"/>
                  </a:lnTo>
                  <a:lnTo>
                    <a:pt x="293" y="283"/>
                  </a:lnTo>
                  <a:lnTo>
                    <a:pt x="286" y="283"/>
                  </a:lnTo>
                  <a:lnTo>
                    <a:pt x="281" y="283"/>
                  </a:lnTo>
                  <a:lnTo>
                    <a:pt x="281" y="285"/>
                  </a:lnTo>
                  <a:lnTo>
                    <a:pt x="281" y="288"/>
                  </a:lnTo>
                  <a:lnTo>
                    <a:pt x="279" y="288"/>
                  </a:lnTo>
                  <a:lnTo>
                    <a:pt x="279" y="288"/>
                  </a:lnTo>
                  <a:lnTo>
                    <a:pt x="276" y="285"/>
                  </a:lnTo>
                  <a:lnTo>
                    <a:pt x="265" y="288"/>
                  </a:lnTo>
                  <a:lnTo>
                    <a:pt x="255" y="288"/>
                  </a:lnTo>
                  <a:lnTo>
                    <a:pt x="250" y="288"/>
                  </a:lnTo>
                  <a:lnTo>
                    <a:pt x="246" y="288"/>
                  </a:lnTo>
                  <a:lnTo>
                    <a:pt x="241" y="288"/>
                  </a:lnTo>
                  <a:lnTo>
                    <a:pt x="239" y="288"/>
                  </a:lnTo>
                  <a:lnTo>
                    <a:pt x="239" y="288"/>
                  </a:lnTo>
                  <a:lnTo>
                    <a:pt x="236" y="288"/>
                  </a:lnTo>
                  <a:lnTo>
                    <a:pt x="236" y="290"/>
                  </a:lnTo>
                  <a:lnTo>
                    <a:pt x="236" y="288"/>
                  </a:lnTo>
                  <a:lnTo>
                    <a:pt x="234" y="288"/>
                  </a:lnTo>
                  <a:lnTo>
                    <a:pt x="234" y="290"/>
                  </a:lnTo>
                  <a:lnTo>
                    <a:pt x="234" y="288"/>
                  </a:lnTo>
                  <a:lnTo>
                    <a:pt x="234" y="288"/>
                  </a:lnTo>
                  <a:lnTo>
                    <a:pt x="234" y="288"/>
                  </a:lnTo>
                  <a:lnTo>
                    <a:pt x="229" y="285"/>
                  </a:lnTo>
                  <a:lnTo>
                    <a:pt x="227" y="285"/>
                  </a:lnTo>
                  <a:lnTo>
                    <a:pt x="224" y="285"/>
                  </a:lnTo>
                  <a:lnTo>
                    <a:pt x="224" y="283"/>
                  </a:lnTo>
                  <a:lnTo>
                    <a:pt x="222" y="283"/>
                  </a:lnTo>
                  <a:lnTo>
                    <a:pt x="224" y="283"/>
                  </a:lnTo>
                  <a:lnTo>
                    <a:pt x="224" y="281"/>
                  </a:lnTo>
                  <a:lnTo>
                    <a:pt x="224" y="283"/>
                  </a:lnTo>
                  <a:lnTo>
                    <a:pt x="227" y="283"/>
                  </a:lnTo>
                  <a:lnTo>
                    <a:pt x="224" y="283"/>
                  </a:lnTo>
                  <a:lnTo>
                    <a:pt x="227" y="283"/>
                  </a:lnTo>
                  <a:lnTo>
                    <a:pt x="227" y="283"/>
                  </a:lnTo>
                  <a:lnTo>
                    <a:pt x="227" y="283"/>
                  </a:lnTo>
                  <a:lnTo>
                    <a:pt x="227" y="281"/>
                  </a:lnTo>
                  <a:lnTo>
                    <a:pt x="227" y="281"/>
                  </a:lnTo>
                  <a:lnTo>
                    <a:pt x="224" y="281"/>
                  </a:lnTo>
                  <a:lnTo>
                    <a:pt x="224" y="281"/>
                  </a:lnTo>
                  <a:lnTo>
                    <a:pt x="224" y="281"/>
                  </a:lnTo>
                  <a:lnTo>
                    <a:pt x="222" y="278"/>
                  </a:lnTo>
                  <a:lnTo>
                    <a:pt x="224" y="278"/>
                  </a:lnTo>
                  <a:lnTo>
                    <a:pt x="224" y="278"/>
                  </a:lnTo>
                  <a:lnTo>
                    <a:pt x="222" y="276"/>
                  </a:lnTo>
                  <a:lnTo>
                    <a:pt x="224" y="276"/>
                  </a:lnTo>
                  <a:lnTo>
                    <a:pt x="224" y="276"/>
                  </a:lnTo>
                  <a:lnTo>
                    <a:pt x="224" y="276"/>
                  </a:lnTo>
                  <a:lnTo>
                    <a:pt x="227" y="274"/>
                  </a:lnTo>
                  <a:lnTo>
                    <a:pt x="227" y="274"/>
                  </a:lnTo>
                  <a:lnTo>
                    <a:pt x="229" y="271"/>
                  </a:lnTo>
                  <a:lnTo>
                    <a:pt x="227" y="271"/>
                  </a:lnTo>
                  <a:lnTo>
                    <a:pt x="227" y="269"/>
                  </a:lnTo>
                  <a:lnTo>
                    <a:pt x="229" y="269"/>
                  </a:lnTo>
                  <a:lnTo>
                    <a:pt x="231" y="267"/>
                  </a:lnTo>
                  <a:lnTo>
                    <a:pt x="229" y="264"/>
                  </a:lnTo>
                  <a:lnTo>
                    <a:pt x="229" y="264"/>
                  </a:lnTo>
                  <a:lnTo>
                    <a:pt x="231" y="262"/>
                  </a:lnTo>
                  <a:lnTo>
                    <a:pt x="231" y="262"/>
                  </a:lnTo>
                  <a:lnTo>
                    <a:pt x="231" y="262"/>
                  </a:lnTo>
                  <a:lnTo>
                    <a:pt x="236" y="260"/>
                  </a:lnTo>
                  <a:lnTo>
                    <a:pt x="236" y="257"/>
                  </a:lnTo>
                  <a:lnTo>
                    <a:pt x="236" y="255"/>
                  </a:lnTo>
                  <a:lnTo>
                    <a:pt x="236" y="255"/>
                  </a:lnTo>
                  <a:lnTo>
                    <a:pt x="236" y="255"/>
                  </a:lnTo>
                  <a:lnTo>
                    <a:pt x="236" y="252"/>
                  </a:lnTo>
                  <a:lnTo>
                    <a:pt x="236" y="252"/>
                  </a:lnTo>
                  <a:lnTo>
                    <a:pt x="236" y="252"/>
                  </a:lnTo>
                  <a:lnTo>
                    <a:pt x="236" y="252"/>
                  </a:lnTo>
                  <a:lnTo>
                    <a:pt x="234" y="252"/>
                  </a:lnTo>
                  <a:lnTo>
                    <a:pt x="234" y="250"/>
                  </a:lnTo>
                  <a:lnTo>
                    <a:pt x="234" y="252"/>
                  </a:lnTo>
                  <a:lnTo>
                    <a:pt x="234" y="250"/>
                  </a:lnTo>
                  <a:lnTo>
                    <a:pt x="231" y="250"/>
                  </a:lnTo>
                  <a:lnTo>
                    <a:pt x="229" y="250"/>
                  </a:lnTo>
                  <a:lnTo>
                    <a:pt x="229" y="250"/>
                  </a:lnTo>
                  <a:lnTo>
                    <a:pt x="227" y="250"/>
                  </a:lnTo>
                  <a:lnTo>
                    <a:pt x="227" y="250"/>
                  </a:lnTo>
                  <a:lnTo>
                    <a:pt x="227" y="252"/>
                  </a:lnTo>
                  <a:lnTo>
                    <a:pt x="227" y="252"/>
                  </a:lnTo>
                  <a:lnTo>
                    <a:pt x="224" y="252"/>
                  </a:lnTo>
                  <a:lnTo>
                    <a:pt x="224" y="252"/>
                  </a:lnTo>
                  <a:lnTo>
                    <a:pt x="224" y="255"/>
                  </a:lnTo>
                  <a:lnTo>
                    <a:pt x="224" y="255"/>
                  </a:lnTo>
                  <a:lnTo>
                    <a:pt x="222" y="255"/>
                  </a:lnTo>
                  <a:lnTo>
                    <a:pt x="220" y="252"/>
                  </a:lnTo>
                  <a:lnTo>
                    <a:pt x="220" y="255"/>
                  </a:lnTo>
                  <a:lnTo>
                    <a:pt x="220" y="255"/>
                  </a:lnTo>
                  <a:lnTo>
                    <a:pt x="217" y="255"/>
                  </a:lnTo>
                  <a:lnTo>
                    <a:pt x="213" y="255"/>
                  </a:lnTo>
                  <a:lnTo>
                    <a:pt x="213" y="257"/>
                  </a:lnTo>
                  <a:lnTo>
                    <a:pt x="213" y="257"/>
                  </a:lnTo>
                  <a:lnTo>
                    <a:pt x="210" y="257"/>
                  </a:lnTo>
                  <a:lnTo>
                    <a:pt x="210" y="257"/>
                  </a:lnTo>
                  <a:lnTo>
                    <a:pt x="210" y="260"/>
                  </a:lnTo>
                  <a:lnTo>
                    <a:pt x="208" y="260"/>
                  </a:lnTo>
                  <a:lnTo>
                    <a:pt x="210" y="260"/>
                  </a:lnTo>
                  <a:lnTo>
                    <a:pt x="208" y="260"/>
                  </a:lnTo>
                  <a:lnTo>
                    <a:pt x="208" y="260"/>
                  </a:lnTo>
                  <a:lnTo>
                    <a:pt x="208" y="260"/>
                  </a:lnTo>
                  <a:lnTo>
                    <a:pt x="206" y="262"/>
                  </a:lnTo>
                  <a:lnTo>
                    <a:pt x="206" y="262"/>
                  </a:lnTo>
                  <a:lnTo>
                    <a:pt x="203" y="264"/>
                  </a:lnTo>
                  <a:lnTo>
                    <a:pt x="206" y="264"/>
                  </a:lnTo>
                  <a:lnTo>
                    <a:pt x="203" y="267"/>
                  </a:lnTo>
                  <a:lnTo>
                    <a:pt x="203" y="267"/>
                  </a:lnTo>
                  <a:lnTo>
                    <a:pt x="203" y="269"/>
                  </a:lnTo>
                  <a:lnTo>
                    <a:pt x="206" y="267"/>
                  </a:lnTo>
                  <a:lnTo>
                    <a:pt x="206" y="269"/>
                  </a:lnTo>
                  <a:lnTo>
                    <a:pt x="206" y="269"/>
                  </a:lnTo>
                  <a:lnTo>
                    <a:pt x="208" y="271"/>
                  </a:lnTo>
                  <a:lnTo>
                    <a:pt x="208" y="271"/>
                  </a:lnTo>
                  <a:lnTo>
                    <a:pt x="210" y="274"/>
                  </a:lnTo>
                  <a:lnTo>
                    <a:pt x="210" y="274"/>
                  </a:lnTo>
                  <a:lnTo>
                    <a:pt x="210" y="271"/>
                  </a:lnTo>
                  <a:lnTo>
                    <a:pt x="208" y="269"/>
                  </a:lnTo>
                  <a:lnTo>
                    <a:pt x="208" y="269"/>
                  </a:lnTo>
                  <a:lnTo>
                    <a:pt x="208" y="269"/>
                  </a:lnTo>
                  <a:lnTo>
                    <a:pt x="206" y="267"/>
                  </a:lnTo>
                  <a:lnTo>
                    <a:pt x="208" y="267"/>
                  </a:lnTo>
                  <a:lnTo>
                    <a:pt x="208" y="267"/>
                  </a:lnTo>
                  <a:lnTo>
                    <a:pt x="208" y="267"/>
                  </a:lnTo>
                  <a:lnTo>
                    <a:pt x="208" y="267"/>
                  </a:lnTo>
                  <a:lnTo>
                    <a:pt x="210" y="264"/>
                  </a:lnTo>
                  <a:lnTo>
                    <a:pt x="210" y="264"/>
                  </a:lnTo>
                  <a:lnTo>
                    <a:pt x="213" y="264"/>
                  </a:lnTo>
                  <a:lnTo>
                    <a:pt x="215" y="264"/>
                  </a:lnTo>
                  <a:lnTo>
                    <a:pt x="215" y="264"/>
                  </a:lnTo>
                  <a:lnTo>
                    <a:pt x="217" y="264"/>
                  </a:lnTo>
                  <a:lnTo>
                    <a:pt x="215" y="264"/>
                  </a:lnTo>
                  <a:lnTo>
                    <a:pt x="217" y="264"/>
                  </a:lnTo>
                  <a:lnTo>
                    <a:pt x="217" y="264"/>
                  </a:lnTo>
                  <a:lnTo>
                    <a:pt x="217" y="262"/>
                  </a:lnTo>
                  <a:lnTo>
                    <a:pt x="217" y="264"/>
                  </a:lnTo>
                  <a:lnTo>
                    <a:pt x="220" y="262"/>
                  </a:lnTo>
                  <a:lnTo>
                    <a:pt x="220" y="262"/>
                  </a:lnTo>
                  <a:lnTo>
                    <a:pt x="220" y="264"/>
                  </a:lnTo>
                  <a:lnTo>
                    <a:pt x="220" y="264"/>
                  </a:lnTo>
                  <a:lnTo>
                    <a:pt x="217" y="267"/>
                  </a:lnTo>
                  <a:lnTo>
                    <a:pt x="217" y="267"/>
                  </a:lnTo>
                  <a:lnTo>
                    <a:pt x="217" y="269"/>
                  </a:lnTo>
                  <a:lnTo>
                    <a:pt x="220" y="269"/>
                  </a:lnTo>
                  <a:lnTo>
                    <a:pt x="217" y="269"/>
                  </a:lnTo>
                  <a:lnTo>
                    <a:pt x="217" y="269"/>
                  </a:lnTo>
                  <a:lnTo>
                    <a:pt x="217" y="271"/>
                  </a:lnTo>
                  <a:lnTo>
                    <a:pt x="215" y="269"/>
                  </a:lnTo>
                  <a:lnTo>
                    <a:pt x="215" y="269"/>
                  </a:lnTo>
                  <a:lnTo>
                    <a:pt x="213" y="269"/>
                  </a:lnTo>
                  <a:lnTo>
                    <a:pt x="210" y="269"/>
                  </a:lnTo>
                  <a:lnTo>
                    <a:pt x="210" y="271"/>
                  </a:lnTo>
                  <a:lnTo>
                    <a:pt x="210" y="271"/>
                  </a:lnTo>
                  <a:lnTo>
                    <a:pt x="210" y="271"/>
                  </a:lnTo>
                  <a:lnTo>
                    <a:pt x="210" y="271"/>
                  </a:lnTo>
                  <a:lnTo>
                    <a:pt x="213" y="271"/>
                  </a:lnTo>
                  <a:lnTo>
                    <a:pt x="210" y="271"/>
                  </a:lnTo>
                  <a:lnTo>
                    <a:pt x="210" y="271"/>
                  </a:lnTo>
                  <a:lnTo>
                    <a:pt x="210" y="271"/>
                  </a:lnTo>
                  <a:lnTo>
                    <a:pt x="210" y="274"/>
                  </a:lnTo>
                  <a:lnTo>
                    <a:pt x="215" y="274"/>
                  </a:lnTo>
                  <a:lnTo>
                    <a:pt x="213" y="274"/>
                  </a:lnTo>
                  <a:lnTo>
                    <a:pt x="213" y="274"/>
                  </a:lnTo>
                  <a:lnTo>
                    <a:pt x="213" y="274"/>
                  </a:lnTo>
                  <a:lnTo>
                    <a:pt x="210" y="274"/>
                  </a:lnTo>
                  <a:lnTo>
                    <a:pt x="210" y="276"/>
                  </a:lnTo>
                  <a:lnTo>
                    <a:pt x="213" y="276"/>
                  </a:lnTo>
                  <a:lnTo>
                    <a:pt x="215" y="274"/>
                  </a:lnTo>
                  <a:lnTo>
                    <a:pt x="215" y="276"/>
                  </a:lnTo>
                  <a:lnTo>
                    <a:pt x="213" y="278"/>
                  </a:lnTo>
                  <a:lnTo>
                    <a:pt x="215" y="278"/>
                  </a:lnTo>
                  <a:lnTo>
                    <a:pt x="215" y="278"/>
                  </a:lnTo>
                  <a:lnTo>
                    <a:pt x="217" y="278"/>
                  </a:lnTo>
                  <a:lnTo>
                    <a:pt x="217" y="278"/>
                  </a:lnTo>
                  <a:lnTo>
                    <a:pt x="217" y="278"/>
                  </a:lnTo>
                  <a:lnTo>
                    <a:pt x="217" y="278"/>
                  </a:lnTo>
                  <a:lnTo>
                    <a:pt x="217" y="278"/>
                  </a:lnTo>
                  <a:lnTo>
                    <a:pt x="220" y="278"/>
                  </a:lnTo>
                  <a:lnTo>
                    <a:pt x="217" y="278"/>
                  </a:lnTo>
                  <a:lnTo>
                    <a:pt x="217" y="278"/>
                  </a:lnTo>
                  <a:lnTo>
                    <a:pt x="217" y="278"/>
                  </a:lnTo>
                  <a:lnTo>
                    <a:pt x="220" y="278"/>
                  </a:lnTo>
                  <a:lnTo>
                    <a:pt x="220" y="281"/>
                  </a:lnTo>
                  <a:lnTo>
                    <a:pt x="217" y="281"/>
                  </a:lnTo>
                  <a:lnTo>
                    <a:pt x="217" y="281"/>
                  </a:lnTo>
                  <a:lnTo>
                    <a:pt x="217" y="281"/>
                  </a:lnTo>
                  <a:lnTo>
                    <a:pt x="220" y="281"/>
                  </a:lnTo>
                  <a:lnTo>
                    <a:pt x="217" y="283"/>
                  </a:lnTo>
                  <a:lnTo>
                    <a:pt x="220" y="283"/>
                  </a:lnTo>
                  <a:lnTo>
                    <a:pt x="217" y="283"/>
                  </a:lnTo>
                  <a:lnTo>
                    <a:pt x="217" y="283"/>
                  </a:lnTo>
                  <a:lnTo>
                    <a:pt x="217" y="285"/>
                  </a:lnTo>
                  <a:lnTo>
                    <a:pt x="217" y="285"/>
                  </a:lnTo>
                  <a:lnTo>
                    <a:pt x="220" y="283"/>
                  </a:lnTo>
                  <a:lnTo>
                    <a:pt x="220" y="283"/>
                  </a:lnTo>
                  <a:lnTo>
                    <a:pt x="220" y="283"/>
                  </a:lnTo>
                  <a:lnTo>
                    <a:pt x="220" y="285"/>
                  </a:lnTo>
                  <a:lnTo>
                    <a:pt x="220" y="285"/>
                  </a:lnTo>
                  <a:lnTo>
                    <a:pt x="220" y="285"/>
                  </a:lnTo>
                  <a:lnTo>
                    <a:pt x="220" y="288"/>
                  </a:lnTo>
                  <a:lnTo>
                    <a:pt x="220" y="288"/>
                  </a:lnTo>
                  <a:lnTo>
                    <a:pt x="217" y="288"/>
                  </a:lnTo>
                  <a:lnTo>
                    <a:pt x="217" y="290"/>
                  </a:lnTo>
                  <a:lnTo>
                    <a:pt x="217" y="290"/>
                  </a:lnTo>
                  <a:lnTo>
                    <a:pt x="217" y="290"/>
                  </a:lnTo>
                  <a:lnTo>
                    <a:pt x="215" y="290"/>
                  </a:lnTo>
                  <a:lnTo>
                    <a:pt x="213" y="290"/>
                  </a:lnTo>
                  <a:lnTo>
                    <a:pt x="208" y="293"/>
                  </a:lnTo>
                  <a:lnTo>
                    <a:pt x="206" y="293"/>
                  </a:lnTo>
                  <a:lnTo>
                    <a:pt x="203" y="293"/>
                  </a:lnTo>
                  <a:lnTo>
                    <a:pt x="203" y="293"/>
                  </a:lnTo>
                  <a:lnTo>
                    <a:pt x="203" y="293"/>
                  </a:lnTo>
                  <a:lnTo>
                    <a:pt x="201" y="293"/>
                  </a:lnTo>
                  <a:lnTo>
                    <a:pt x="201" y="293"/>
                  </a:lnTo>
                  <a:lnTo>
                    <a:pt x="198" y="290"/>
                  </a:lnTo>
                  <a:lnTo>
                    <a:pt x="198" y="290"/>
                  </a:lnTo>
                  <a:lnTo>
                    <a:pt x="198" y="290"/>
                  </a:lnTo>
                  <a:lnTo>
                    <a:pt x="196" y="290"/>
                  </a:lnTo>
                  <a:lnTo>
                    <a:pt x="194" y="288"/>
                  </a:lnTo>
                  <a:lnTo>
                    <a:pt x="191" y="288"/>
                  </a:lnTo>
                  <a:lnTo>
                    <a:pt x="191" y="288"/>
                  </a:lnTo>
                  <a:lnTo>
                    <a:pt x="189" y="290"/>
                  </a:lnTo>
                  <a:lnTo>
                    <a:pt x="189" y="288"/>
                  </a:lnTo>
                  <a:lnTo>
                    <a:pt x="189" y="290"/>
                  </a:lnTo>
                  <a:lnTo>
                    <a:pt x="189" y="290"/>
                  </a:lnTo>
                  <a:lnTo>
                    <a:pt x="189" y="290"/>
                  </a:lnTo>
                  <a:lnTo>
                    <a:pt x="187" y="290"/>
                  </a:lnTo>
                  <a:lnTo>
                    <a:pt x="189" y="290"/>
                  </a:lnTo>
                  <a:lnTo>
                    <a:pt x="189" y="290"/>
                  </a:lnTo>
                  <a:lnTo>
                    <a:pt x="191" y="290"/>
                  </a:lnTo>
                  <a:lnTo>
                    <a:pt x="191" y="290"/>
                  </a:lnTo>
                  <a:lnTo>
                    <a:pt x="191" y="290"/>
                  </a:lnTo>
                  <a:lnTo>
                    <a:pt x="191" y="290"/>
                  </a:lnTo>
                  <a:lnTo>
                    <a:pt x="191" y="290"/>
                  </a:lnTo>
                  <a:lnTo>
                    <a:pt x="194" y="290"/>
                  </a:lnTo>
                  <a:lnTo>
                    <a:pt x="196" y="290"/>
                  </a:lnTo>
                  <a:lnTo>
                    <a:pt x="194" y="290"/>
                  </a:lnTo>
                  <a:lnTo>
                    <a:pt x="196" y="290"/>
                  </a:lnTo>
                  <a:lnTo>
                    <a:pt x="196" y="290"/>
                  </a:lnTo>
                  <a:lnTo>
                    <a:pt x="194" y="290"/>
                  </a:lnTo>
                  <a:lnTo>
                    <a:pt x="194" y="290"/>
                  </a:lnTo>
                  <a:lnTo>
                    <a:pt x="198" y="290"/>
                  </a:lnTo>
                  <a:lnTo>
                    <a:pt x="198" y="290"/>
                  </a:lnTo>
                  <a:lnTo>
                    <a:pt x="198" y="293"/>
                  </a:lnTo>
                  <a:lnTo>
                    <a:pt x="201" y="293"/>
                  </a:lnTo>
                  <a:lnTo>
                    <a:pt x="201" y="293"/>
                  </a:lnTo>
                  <a:lnTo>
                    <a:pt x="203" y="293"/>
                  </a:lnTo>
                  <a:lnTo>
                    <a:pt x="201" y="293"/>
                  </a:lnTo>
                  <a:lnTo>
                    <a:pt x="194" y="293"/>
                  </a:lnTo>
                  <a:lnTo>
                    <a:pt x="184" y="295"/>
                  </a:lnTo>
                  <a:lnTo>
                    <a:pt x="182" y="295"/>
                  </a:lnTo>
                  <a:lnTo>
                    <a:pt x="180" y="297"/>
                  </a:lnTo>
                  <a:lnTo>
                    <a:pt x="180" y="297"/>
                  </a:lnTo>
                  <a:lnTo>
                    <a:pt x="180" y="297"/>
                  </a:lnTo>
                  <a:lnTo>
                    <a:pt x="177" y="297"/>
                  </a:lnTo>
                  <a:lnTo>
                    <a:pt x="175" y="297"/>
                  </a:lnTo>
                  <a:lnTo>
                    <a:pt x="175" y="297"/>
                  </a:lnTo>
                  <a:lnTo>
                    <a:pt x="172" y="300"/>
                  </a:lnTo>
                  <a:lnTo>
                    <a:pt x="170" y="300"/>
                  </a:lnTo>
                  <a:lnTo>
                    <a:pt x="170" y="302"/>
                  </a:lnTo>
                  <a:lnTo>
                    <a:pt x="170" y="302"/>
                  </a:lnTo>
                  <a:lnTo>
                    <a:pt x="170" y="302"/>
                  </a:lnTo>
                  <a:lnTo>
                    <a:pt x="168" y="302"/>
                  </a:lnTo>
                  <a:lnTo>
                    <a:pt x="168" y="302"/>
                  </a:lnTo>
                  <a:lnTo>
                    <a:pt x="168" y="302"/>
                  </a:lnTo>
                  <a:lnTo>
                    <a:pt x="168" y="300"/>
                  </a:lnTo>
                  <a:lnTo>
                    <a:pt x="165" y="300"/>
                  </a:lnTo>
                  <a:lnTo>
                    <a:pt x="165" y="300"/>
                  </a:lnTo>
                  <a:lnTo>
                    <a:pt x="156" y="300"/>
                  </a:lnTo>
                  <a:lnTo>
                    <a:pt x="142" y="300"/>
                  </a:lnTo>
                  <a:lnTo>
                    <a:pt x="132" y="302"/>
                  </a:lnTo>
                  <a:lnTo>
                    <a:pt x="118" y="304"/>
                  </a:lnTo>
                  <a:lnTo>
                    <a:pt x="116" y="304"/>
                  </a:lnTo>
                  <a:lnTo>
                    <a:pt x="113" y="304"/>
                  </a:lnTo>
                  <a:lnTo>
                    <a:pt x="113" y="304"/>
                  </a:lnTo>
                  <a:lnTo>
                    <a:pt x="111" y="304"/>
                  </a:lnTo>
                  <a:lnTo>
                    <a:pt x="111" y="302"/>
                  </a:lnTo>
                  <a:lnTo>
                    <a:pt x="111" y="302"/>
                  </a:lnTo>
                  <a:lnTo>
                    <a:pt x="111" y="302"/>
                  </a:lnTo>
                  <a:lnTo>
                    <a:pt x="113" y="302"/>
                  </a:lnTo>
                  <a:lnTo>
                    <a:pt x="113" y="300"/>
                  </a:lnTo>
                  <a:lnTo>
                    <a:pt x="113" y="300"/>
                  </a:lnTo>
                  <a:lnTo>
                    <a:pt x="116" y="300"/>
                  </a:lnTo>
                  <a:lnTo>
                    <a:pt x="116" y="297"/>
                  </a:lnTo>
                  <a:lnTo>
                    <a:pt x="118" y="297"/>
                  </a:lnTo>
                  <a:lnTo>
                    <a:pt x="120" y="297"/>
                  </a:lnTo>
                  <a:lnTo>
                    <a:pt x="120" y="300"/>
                  </a:lnTo>
                  <a:lnTo>
                    <a:pt x="123" y="300"/>
                  </a:lnTo>
                  <a:lnTo>
                    <a:pt x="125" y="300"/>
                  </a:lnTo>
                  <a:lnTo>
                    <a:pt x="128" y="300"/>
                  </a:lnTo>
                  <a:lnTo>
                    <a:pt x="128" y="300"/>
                  </a:lnTo>
                  <a:lnTo>
                    <a:pt x="128" y="297"/>
                  </a:lnTo>
                  <a:lnTo>
                    <a:pt x="128" y="297"/>
                  </a:lnTo>
                  <a:lnTo>
                    <a:pt x="128" y="297"/>
                  </a:lnTo>
                  <a:lnTo>
                    <a:pt x="125" y="295"/>
                  </a:lnTo>
                  <a:lnTo>
                    <a:pt x="125" y="295"/>
                  </a:lnTo>
                  <a:lnTo>
                    <a:pt x="125" y="295"/>
                  </a:lnTo>
                  <a:lnTo>
                    <a:pt x="128" y="297"/>
                  </a:lnTo>
                  <a:lnTo>
                    <a:pt x="130" y="297"/>
                  </a:lnTo>
                  <a:lnTo>
                    <a:pt x="135" y="300"/>
                  </a:lnTo>
                  <a:lnTo>
                    <a:pt x="139" y="300"/>
                  </a:lnTo>
                  <a:lnTo>
                    <a:pt x="151" y="300"/>
                  </a:lnTo>
                  <a:lnTo>
                    <a:pt x="156" y="297"/>
                  </a:lnTo>
                  <a:lnTo>
                    <a:pt x="163" y="297"/>
                  </a:lnTo>
                  <a:lnTo>
                    <a:pt x="163" y="297"/>
                  </a:lnTo>
                  <a:lnTo>
                    <a:pt x="163" y="297"/>
                  </a:lnTo>
                  <a:lnTo>
                    <a:pt x="168" y="300"/>
                  </a:lnTo>
                  <a:lnTo>
                    <a:pt x="168" y="300"/>
                  </a:lnTo>
                  <a:lnTo>
                    <a:pt x="170" y="300"/>
                  </a:lnTo>
                  <a:lnTo>
                    <a:pt x="170" y="297"/>
                  </a:lnTo>
                  <a:lnTo>
                    <a:pt x="168" y="297"/>
                  </a:lnTo>
                  <a:lnTo>
                    <a:pt x="168" y="300"/>
                  </a:lnTo>
                  <a:lnTo>
                    <a:pt x="168" y="297"/>
                  </a:lnTo>
                  <a:lnTo>
                    <a:pt x="165" y="297"/>
                  </a:lnTo>
                  <a:lnTo>
                    <a:pt x="165" y="297"/>
                  </a:lnTo>
                  <a:lnTo>
                    <a:pt x="165" y="297"/>
                  </a:lnTo>
                  <a:lnTo>
                    <a:pt x="163" y="295"/>
                  </a:lnTo>
                  <a:lnTo>
                    <a:pt x="161" y="293"/>
                  </a:lnTo>
                  <a:lnTo>
                    <a:pt x="161" y="293"/>
                  </a:lnTo>
                  <a:lnTo>
                    <a:pt x="158" y="293"/>
                  </a:lnTo>
                  <a:lnTo>
                    <a:pt x="158" y="293"/>
                  </a:lnTo>
                  <a:lnTo>
                    <a:pt x="156" y="293"/>
                  </a:lnTo>
                  <a:lnTo>
                    <a:pt x="156" y="290"/>
                  </a:lnTo>
                  <a:lnTo>
                    <a:pt x="154" y="290"/>
                  </a:lnTo>
                  <a:lnTo>
                    <a:pt x="154" y="290"/>
                  </a:lnTo>
                  <a:lnTo>
                    <a:pt x="154" y="290"/>
                  </a:lnTo>
                  <a:lnTo>
                    <a:pt x="151" y="290"/>
                  </a:lnTo>
                  <a:lnTo>
                    <a:pt x="151" y="290"/>
                  </a:lnTo>
                  <a:lnTo>
                    <a:pt x="149" y="288"/>
                  </a:lnTo>
                  <a:lnTo>
                    <a:pt x="149" y="288"/>
                  </a:lnTo>
                  <a:lnTo>
                    <a:pt x="149" y="288"/>
                  </a:lnTo>
                  <a:lnTo>
                    <a:pt x="146" y="285"/>
                  </a:lnTo>
                  <a:lnTo>
                    <a:pt x="144" y="283"/>
                  </a:lnTo>
                  <a:lnTo>
                    <a:pt x="144" y="283"/>
                  </a:lnTo>
                  <a:lnTo>
                    <a:pt x="142" y="283"/>
                  </a:lnTo>
                  <a:lnTo>
                    <a:pt x="142" y="283"/>
                  </a:lnTo>
                  <a:lnTo>
                    <a:pt x="142" y="281"/>
                  </a:lnTo>
                  <a:lnTo>
                    <a:pt x="142" y="281"/>
                  </a:lnTo>
                  <a:lnTo>
                    <a:pt x="139" y="281"/>
                  </a:lnTo>
                  <a:lnTo>
                    <a:pt x="137" y="281"/>
                  </a:lnTo>
                  <a:lnTo>
                    <a:pt x="137" y="281"/>
                  </a:lnTo>
                  <a:lnTo>
                    <a:pt x="137" y="281"/>
                  </a:lnTo>
                  <a:lnTo>
                    <a:pt x="135" y="281"/>
                  </a:lnTo>
                  <a:lnTo>
                    <a:pt x="137" y="281"/>
                  </a:lnTo>
                  <a:lnTo>
                    <a:pt x="135" y="283"/>
                  </a:lnTo>
                  <a:lnTo>
                    <a:pt x="132" y="283"/>
                  </a:lnTo>
                  <a:lnTo>
                    <a:pt x="132" y="281"/>
                  </a:lnTo>
                  <a:lnTo>
                    <a:pt x="135" y="281"/>
                  </a:lnTo>
                  <a:lnTo>
                    <a:pt x="135" y="281"/>
                  </a:lnTo>
                  <a:lnTo>
                    <a:pt x="135" y="278"/>
                  </a:lnTo>
                  <a:lnTo>
                    <a:pt x="132" y="278"/>
                  </a:lnTo>
                  <a:lnTo>
                    <a:pt x="130" y="281"/>
                  </a:lnTo>
                  <a:lnTo>
                    <a:pt x="128" y="281"/>
                  </a:lnTo>
                  <a:lnTo>
                    <a:pt x="128" y="281"/>
                  </a:lnTo>
                  <a:lnTo>
                    <a:pt x="130" y="283"/>
                  </a:lnTo>
                  <a:lnTo>
                    <a:pt x="128" y="283"/>
                  </a:lnTo>
                  <a:lnTo>
                    <a:pt x="128" y="285"/>
                  </a:lnTo>
                  <a:lnTo>
                    <a:pt x="130" y="285"/>
                  </a:lnTo>
                  <a:lnTo>
                    <a:pt x="128" y="285"/>
                  </a:lnTo>
                  <a:lnTo>
                    <a:pt x="128" y="285"/>
                  </a:lnTo>
                  <a:lnTo>
                    <a:pt x="125" y="288"/>
                  </a:lnTo>
                  <a:lnTo>
                    <a:pt x="125" y="288"/>
                  </a:lnTo>
                  <a:lnTo>
                    <a:pt x="125" y="285"/>
                  </a:lnTo>
                  <a:lnTo>
                    <a:pt x="125" y="285"/>
                  </a:lnTo>
                  <a:lnTo>
                    <a:pt x="125" y="283"/>
                  </a:lnTo>
                  <a:lnTo>
                    <a:pt x="123" y="283"/>
                  </a:lnTo>
                  <a:lnTo>
                    <a:pt x="123" y="285"/>
                  </a:lnTo>
                  <a:lnTo>
                    <a:pt x="123" y="283"/>
                  </a:lnTo>
                  <a:lnTo>
                    <a:pt x="125" y="283"/>
                  </a:lnTo>
                  <a:lnTo>
                    <a:pt x="125" y="283"/>
                  </a:lnTo>
                  <a:lnTo>
                    <a:pt x="125" y="283"/>
                  </a:lnTo>
                  <a:lnTo>
                    <a:pt x="128" y="283"/>
                  </a:lnTo>
                  <a:lnTo>
                    <a:pt x="128" y="283"/>
                  </a:lnTo>
                  <a:lnTo>
                    <a:pt x="128" y="283"/>
                  </a:lnTo>
                  <a:lnTo>
                    <a:pt x="128" y="281"/>
                  </a:lnTo>
                  <a:lnTo>
                    <a:pt x="128" y="281"/>
                  </a:lnTo>
                  <a:lnTo>
                    <a:pt x="125" y="283"/>
                  </a:lnTo>
                  <a:lnTo>
                    <a:pt x="120" y="283"/>
                  </a:lnTo>
                  <a:lnTo>
                    <a:pt x="120" y="283"/>
                  </a:lnTo>
                  <a:lnTo>
                    <a:pt x="118" y="283"/>
                  </a:lnTo>
                  <a:lnTo>
                    <a:pt x="118" y="283"/>
                  </a:lnTo>
                  <a:lnTo>
                    <a:pt x="116" y="283"/>
                  </a:lnTo>
                  <a:lnTo>
                    <a:pt x="116" y="283"/>
                  </a:lnTo>
                  <a:lnTo>
                    <a:pt x="113" y="283"/>
                  </a:lnTo>
                  <a:lnTo>
                    <a:pt x="113" y="283"/>
                  </a:lnTo>
                  <a:lnTo>
                    <a:pt x="111" y="285"/>
                  </a:lnTo>
                  <a:lnTo>
                    <a:pt x="111" y="285"/>
                  </a:lnTo>
                  <a:lnTo>
                    <a:pt x="111" y="288"/>
                  </a:lnTo>
                  <a:lnTo>
                    <a:pt x="109" y="288"/>
                  </a:lnTo>
                  <a:lnTo>
                    <a:pt x="109" y="290"/>
                  </a:lnTo>
                  <a:lnTo>
                    <a:pt x="106" y="290"/>
                  </a:lnTo>
                  <a:lnTo>
                    <a:pt x="106" y="290"/>
                  </a:lnTo>
                  <a:lnTo>
                    <a:pt x="109" y="288"/>
                  </a:lnTo>
                  <a:lnTo>
                    <a:pt x="106" y="285"/>
                  </a:lnTo>
                  <a:lnTo>
                    <a:pt x="109" y="285"/>
                  </a:lnTo>
                  <a:lnTo>
                    <a:pt x="106" y="283"/>
                  </a:lnTo>
                  <a:lnTo>
                    <a:pt x="106" y="285"/>
                  </a:lnTo>
                  <a:lnTo>
                    <a:pt x="104" y="285"/>
                  </a:lnTo>
                  <a:lnTo>
                    <a:pt x="102" y="288"/>
                  </a:lnTo>
                  <a:lnTo>
                    <a:pt x="102" y="288"/>
                  </a:lnTo>
                  <a:lnTo>
                    <a:pt x="104" y="288"/>
                  </a:lnTo>
                  <a:lnTo>
                    <a:pt x="102" y="290"/>
                  </a:lnTo>
                  <a:lnTo>
                    <a:pt x="102" y="290"/>
                  </a:lnTo>
                  <a:lnTo>
                    <a:pt x="102" y="293"/>
                  </a:lnTo>
                  <a:lnTo>
                    <a:pt x="99" y="295"/>
                  </a:lnTo>
                  <a:lnTo>
                    <a:pt x="94" y="297"/>
                  </a:lnTo>
                  <a:lnTo>
                    <a:pt x="94" y="297"/>
                  </a:lnTo>
                  <a:lnTo>
                    <a:pt x="94" y="297"/>
                  </a:lnTo>
                  <a:lnTo>
                    <a:pt x="92" y="297"/>
                  </a:lnTo>
                  <a:lnTo>
                    <a:pt x="92" y="297"/>
                  </a:lnTo>
                  <a:lnTo>
                    <a:pt x="92" y="297"/>
                  </a:lnTo>
                  <a:lnTo>
                    <a:pt x="92" y="297"/>
                  </a:lnTo>
                  <a:lnTo>
                    <a:pt x="92" y="297"/>
                  </a:lnTo>
                  <a:lnTo>
                    <a:pt x="90" y="297"/>
                  </a:lnTo>
                  <a:lnTo>
                    <a:pt x="92" y="297"/>
                  </a:lnTo>
                  <a:lnTo>
                    <a:pt x="92" y="297"/>
                  </a:lnTo>
                  <a:lnTo>
                    <a:pt x="90" y="300"/>
                  </a:lnTo>
                  <a:lnTo>
                    <a:pt x="90" y="297"/>
                  </a:lnTo>
                  <a:lnTo>
                    <a:pt x="90" y="300"/>
                  </a:lnTo>
                  <a:lnTo>
                    <a:pt x="87" y="300"/>
                  </a:lnTo>
                  <a:lnTo>
                    <a:pt x="90" y="297"/>
                  </a:lnTo>
                  <a:lnTo>
                    <a:pt x="87" y="297"/>
                  </a:lnTo>
                  <a:lnTo>
                    <a:pt x="83" y="300"/>
                  </a:lnTo>
                  <a:lnTo>
                    <a:pt x="83" y="300"/>
                  </a:lnTo>
                  <a:lnTo>
                    <a:pt x="83" y="300"/>
                  </a:lnTo>
                  <a:lnTo>
                    <a:pt x="83" y="297"/>
                  </a:lnTo>
                  <a:lnTo>
                    <a:pt x="80" y="300"/>
                  </a:lnTo>
                  <a:lnTo>
                    <a:pt x="80" y="297"/>
                  </a:lnTo>
                  <a:lnTo>
                    <a:pt x="83" y="297"/>
                  </a:lnTo>
                  <a:lnTo>
                    <a:pt x="83" y="295"/>
                  </a:lnTo>
                  <a:lnTo>
                    <a:pt x="85" y="295"/>
                  </a:lnTo>
                  <a:lnTo>
                    <a:pt x="85" y="293"/>
                  </a:lnTo>
                  <a:lnTo>
                    <a:pt x="83" y="293"/>
                  </a:lnTo>
                  <a:lnTo>
                    <a:pt x="83" y="293"/>
                  </a:lnTo>
                  <a:lnTo>
                    <a:pt x="80" y="293"/>
                  </a:lnTo>
                  <a:lnTo>
                    <a:pt x="80" y="290"/>
                  </a:lnTo>
                  <a:lnTo>
                    <a:pt x="80" y="293"/>
                  </a:lnTo>
                  <a:lnTo>
                    <a:pt x="80" y="293"/>
                  </a:lnTo>
                  <a:lnTo>
                    <a:pt x="78" y="293"/>
                  </a:lnTo>
                  <a:lnTo>
                    <a:pt x="78" y="293"/>
                  </a:lnTo>
                  <a:lnTo>
                    <a:pt x="78" y="295"/>
                  </a:lnTo>
                  <a:lnTo>
                    <a:pt x="78" y="293"/>
                  </a:lnTo>
                  <a:lnTo>
                    <a:pt x="76" y="295"/>
                  </a:lnTo>
                  <a:lnTo>
                    <a:pt x="76" y="295"/>
                  </a:lnTo>
                  <a:lnTo>
                    <a:pt x="76" y="295"/>
                  </a:lnTo>
                  <a:lnTo>
                    <a:pt x="73" y="295"/>
                  </a:lnTo>
                  <a:lnTo>
                    <a:pt x="76" y="293"/>
                  </a:lnTo>
                  <a:lnTo>
                    <a:pt x="73" y="293"/>
                  </a:lnTo>
                  <a:lnTo>
                    <a:pt x="73" y="293"/>
                  </a:lnTo>
                  <a:lnTo>
                    <a:pt x="73" y="293"/>
                  </a:lnTo>
                  <a:lnTo>
                    <a:pt x="73" y="293"/>
                  </a:lnTo>
                  <a:lnTo>
                    <a:pt x="73" y="293"/>
                  </a:lnTo>
                  <a:lnTo>
                    <a:pt x="71" y="293"/>
                  </a:lnTo>
                  <a:lnTo>
                    <a:pt x="71" y="295"/>
                  </a:lnTo>
                  <a:lnTo>
                    <a:pt x="71" y="295"/>
                  </a:lnTo>
                  <a:lnTo>
                    <a:pt x="71" y="295"/>
                  </a:lnTo>
                  <a:lnTo>
                    <a:pt x="71" y="295"/>
                  </a:lnTo>
                  <a:lnTo>
                    <a:pt x="68" y="297"/>
                  </a:lnTo>
                  <a:lnTo>
                    <a:pt x="68" y="295"/>
                  </a:lnTo>
                  <a:lnTo>
                    <a:pt x="68" y="295"/>
                  </a:lnTo>
                  <a:lnTo>
                    <a:pt x="68" y="293"/>
                  </a:lnTo>
                  <a:lnTo>
                    <a:pt x="68" y="293"/>
                  </a:lnTo>
                  <a:lnTo>
                    <a:pt x="68" y="290"/>
                  </a:lnTo>
                  <a:lnTo>
                    <a:pt x="71" y="290"/>
                  </a:lnTo>
                  <a:lnTo>
                    <a:pt x="71" y="290"/>
                  </a:lnTo>
                  <a:lnTo>
                    <a:pt x="73" y="290"/>
                  </a:lnTo>
                  <a:lnTo>
                    <a:pt x="73" y="290"/>
                  </a:lnTo>
                  <a:lnTo>
                    <a:pt x="73" y="288"/>
                  </a:lnTo>
                  <a:lnTo>
                    <a:pt x="73" y="288"/>
                  </a:lnTo>
                  <a:lnTo>
                    <a:pt x="76" y="288"/>
                  </a:lnTo>
                  <a:lnTo>
                    <a:pt x="76" y="285"/>
                  </a:lnTo>
                  <a:lnTo>
                    <a:pt x="73" y="288"/>
                  </a:lnTo>
                  <a:lnTo>
                    <a:pt x="73" y="285"/>
                  </a:lnTo>
                  <a:lnTo>
                    <a:pt x="71" y="288"/>
                  </a:lnTo>
                  <a:lnTo>
                    <a:pt x="71" y="288"/>
                  </a:lnTo>
                  <a:lnTo>
                    <a:pt x="71" y="288"/>
                  </a:lnTo>
                  <a:lnTo>
                    <a:pt x="71" y="285"/>
                  </a:lnTo>
                  <a:lnTo>
                    <a:pt x="71" y="285"/>
                  </a:lnTo>
                  <a:lnTo>
                    <a:pt x="71" y="285"/>
                  </a:lnTo>
                  <a:lnTo>
                    <a:pt x="71" y="285"/>
                  </a:lnTo>
                  <a:lnTo>
                    <a:pt x="71" y="283"/>
                  </a:lnTo>
                  <a:lnTo>
                    <a:pt x="73" y="283"/>
                  </a:lnTo>
                  <a:lnTo>
                    <a:pt x="71" y="283"/>
                  </a:lnTo>
                  <a:lnTo>
                    <a:pt x="71" y="283"/>
                  </a:lnTo>
                  <a:lnTo>
                    <a:pt x="71" y="281"/>
                  </a:lnTo>
                  <a:lnTo>
                    <a:pt x="71" y="283"/>
                  </a:lnTo>
                  <a:lnTo>
                    <a:pt x="71" y="281"/>
                  </a:lnTo>
                  <a:lnTo>
                    <a:pt x="68" y="281"/>
                  </a:lnTo>
                  <a:lnTo>
                    <a:pt x="68" y="283"/>
                  </a:lnTo>
                  <a:lnTo>
                    <a:pt x="68" y="281"/>
                  </a:lnTo>
                  <a:lnTo>
                    <a:pt x="66" y="281"/>
                  </a:lnTo>
                  <a:lnTo>
                    <a:pt x="68" y="283"/>
                  </a:lnTo>
                  <a:lnTo>
                    <a:pt x="66" y="283"/>
                  </a:lnTo>
                  <a:lnTo>
                    <a:pt x="68" y="283"/>
                  </a:lnTo>
                  <a:lnTo>
                    <a:pt x="66" y="283"/>
                  </a:lnTo>
                  <a:lnTo>
                    <a:pt x="66" y="285"/>
                  </a:lnTo>
                  <a:lnTo>
                    <a:pt x="66" y="283"/>
                  </a:lnTo>
                  <a:lnTo>
                    <a:pt x="68" y="285"/>
                  </a:lnTo>
                  <a:lnTo>
                    <a:pt x="68" y="285"/>
                  </a:lnTo>
                  <a:lnTo>
                    <a:pt x="66" y="288"/>
                  </a:lnTo>
                  <a:lnTo>
                    <a:pt x="66" y="288"/>
                  </a:lnTo>
                  <a:lnTo>
                    <a:pt x="66" y="288"/>
                  </a:lnTo>
                  <a:lnTo>
                    <a:pt x="64" y="288"/>
                  </a:lnTo>
                  <a:lnTo>
                    <a:pt x="64" y="288"/>
                  </a:lnTo>
                  <a:lnTo>
                    <a:pt x="64" y="288"/>
                  </a:lnTo>
                  <a:lnTo>
                    <a:pt x="64" y="288"/>
                  </a:lnTo>
                  <a:lnTo>
                    <a:pt x="64" y="285"/>
                  </a:lnTo>
                  <a:lnTo>
                    <a:pt x="61" y="285"/>
                  </a:lnTo>
                  <a:lnTo>
                    <a:pt x="61" y="283"/>
                  </a:lnTo>
                  <a:lnTo>
                    <a:pt x="61" y="285"/>
                  </a:lnTo>
                  <a:lnTo>
                    <a:pt x="59" y="285"/>
                  </a:lnTo>
                  <a:lnTo>
                    <a:pt x="59" y="288"/>
                  </a:lnTo>
                  <a:lnTo>
                    <a:pt x="59" y="285"/>
                  </a:lnTo>
                  <a:lnTo>
                    <a:pt x="59" y="288"/>
                  </a:lnTo>
                  <a:lnTo>
                    <a:pt x="59" y="288"/>
                  </a:lnTo>
                  <a:lnTo>
                    <a:pt x="59" y="288"/>
                  </a:lnTo>
                  <a:lnTo>
                    <a:pt x="59" y="290"/>
                  </a:lnTo>
                  <a:lnTo>
                    <a:pt x="59" y="290"/>
                  </a:lnTo>
                  <a:lnTo>
                    <a:pt x="59" y="290"/>
                  </a:lnTo>
                  <a:lnTo>
                    <a:pt x="57" y="290"/>
                  </a:lnTo>
                  <a:lnTo>
                    <a:pt x="59" y="290"/>
                  </a:lnTo>
                  <a:lnTo>
                    <a:pt x="59" y="293"/>
                  </a:lnTo>
                  <a:lnTo>
                    <a:pt x="57" y="293"/>
                  </a:lnTo>
                  <a:lnTo>
                    <a:pt x="57" y="293"/>
                  </a:lnTo>
                  <a:lnTo>
                    <a:pt x="57" y="295"/>
                  </a:lnTo>
                  <a:lnTo>
                    <a:pt x="59" y="295"/>
                  </a:lnTo>
                  <a:lnTo>
                    <a:pt x="57" y="295"/>
                  </a:lnTo>
                  <a:lnTo>
                    <a:pt x="54" y="293"/>
                  </a:lnTo>
                  <a:lnTo>
                    <a:pt x="54" y="295"/>
                  </a:lnTo>
                  <a:lnTo>
                    <a:pt x="54" y="293"/>
                  </a:lnTo>
                  <a:lnTo>
                    <a:pt x="54" y="293"/>
                  </a:lnTo>
                  <a:lnTo>
                    <a:pt x="54" y="293"/>
                  </a:lnTo>
                  <a:lnTo>
                    <a:pt x="54" y="293"/>
                  </a:lnTo>
                  <a:lnTo>
                    <a:pt x="52" y="293"/>
                  </a:lnTo>
                  <a:lnTo>
                    <a:pt x="52" y="293"/>
                  </a:lnTo>
                  <a:lnTo>
                    <a:pt x="52" y="295"/>
                  </a:lnTo>
                  <a:lnTo>
                    <a:pt x="50" y="297"/>
                  </a:lnTo>
                  <a:lnTo>
                    <a:pt x="50" y="295"/>
                  </a:lnTo>
                  <a:lnTo>
                    <a:pt x="47" y="295"/>
                  </a:lnTo>
                  <a:lnTo>
                    <a:pt x="45" y="295"/>
                  </a:lnTo>
                  <a:lnTo>
                    <a:pt x="43" y="297"/>
                  </a:lnTo>
                  <a:lnTo>
                    <a:pt x="43" y="297"/>
                  </a:lnTo>
                  <a:lnTo>
                    <a:pt x="40" y="297"/>
                  </a:lnTo>
                  <a:lnTo>
                    <a:pt x="40" y="297"/>
                  </a:lnTo>
                  <a:lnTo>
                    <a:pt x="40" y="300"/>
                  </a:lnTo>
                  <a:lnTo>
                    <a:pt x="38" y="300"/>
                  </a:lnTo>
                  <a:lnTo>
                    <a:pt x="38" y="300"/>
                  </a:lnTo>
                  <a:lnTo>
                    <a:pt x="38" y="300"/>
                  </a:lnTo>
                  <a:lnTo>
                    <a:pt x="38" y="297"/>
                  </a:lnTo>
                  <a:lnTo>
                    <a:pt x="38" y="297"/>
                  </a:lnTo>
                  <a:lnTo>
                    <a:pt x="35" y="300"/>
                  </a:lnTo>
                  <a:lnTo>
                    <a:pt x="35" y="297"/>
                  </a:lnTo>
                  <a:lnTo>
                    <a:pt x="35" y="300"/>
                  </a:lnTo>
                  <a:lnTo>
                    <a:pt x="35" y="297"/>
                  </a:lnTo>
                  <a:lnTo>
                    <a:pt x="35" y="297"/>
                  </a:lnTo>
                  <a:lnTo>
                    <a:pt x="33" y="300"/>
                  </a:lnTo>
                  <a:lnTo>
                    <a:pt x="33" y="297"/>
                  </a:lnTo>
                  <a:lnTo>
                    <a:pt x="31" y="297"/>
                  </a:lnTo>
                  <a:lnTo>
                    <a:pt x="31" y="300"/>
                  </a:lnTo>
                  <a:lnTo>
                    <a:pt x="28" y="300"/>
                  </a:lnTo>
                  <a:lnTo>
                    <a:pt x="28" y="300"/>
                  </a:lnTo>
                  <a:lnTo>
                    <a:pt x="28" y="300"/>
                  </a:lnTo>
                  <a:lnTo>
                    <a:pt x="26" y="300"/>
                  </a:lnTo>
                  <a:lnTo>
                    <a:pt x="26" y="302"/>
                  </a:lnTo>
                  <a:lnTo>
                    <a:pt x="26" y="302"/>
                  </a:lnTo>
                  <a:lnTo>
                    <a:pt x="26" y="302"/>
                  </a:lnTo>
                  <a:lnTo>
                    <a:pt x="26" y="304"/>
                  </a:lnTo>
                  <a:lnTo>
                    <a:pt x="26" y="304"/>
                  </a:lnTo>
                  <a:lnTo>
                    <a:pt x="26" y="304"/>
                  </a:lnTo>
                  <a:lnTo>
                    <a:pt x="24" y="304"/>
                  </a:lnTo>
                  <a:lnTo>
                    <a:pt x="24" y="307"/>
                  </a:lnTo>
                  <a:lnTo>
                    <a:pt x="26" y="309"/>
                  </a:lnTo>
                  <a:lnTo>
                    <a:pt x="26" y="309"/>
                  </a:lnTo>
                  <a:lnTo>
                    <a:pt x="26" y="309"/>
                  </a:lnTo>
                  <a:lnTo>
                    <a:pt x="26" y="309"/>
                  </a:lnTo>
                  <a:lnTo>
                    <a:pt x="24" y="309"/>
                  </a:lnTo>
                  <a:lnTo>
                    <a:pt x="24" y="309"/>
                  </a:lnTo>
                  <a:lnTo>
                    <a:pt x="24" y="311"/>
                  </a:lnTo>
                  <a:lnTo>
                    <a:pt x="26" y="311"/>
                  </a:lnTo>
                  <a:lnTo>
                    <a:pt x="24" y="314"/>
                  </a:lnTo>
                  <a:lnTo>
                    <a:pt x="24" y="314"/>
                  </a:lnTo>
                  <a:lnTo>
                    <a:pt x="24" y="314"/>
                  </a:lnTo>
                  <a:lnTo>
                    <a:pt x="24" y="314"/>
                  </a:lnTo>
                  <a:lnTo>
                    <a:pt x="24" y="316"/>
                  </a:lnTo>
                  <a:lnTo>
                    <a:pt x="24" y="316"/>
                  </a:lnTo>
                  <a:lnTo>
                    <a:pt x="21" y="316"/>
                  </a:lnTo>
                  <a:lnTo>
                    <a:pt x="24" y="316"/>
                  </a:lnTo>
                  <a:lnTo>
                    <a:pt x="24" y="316"/>
                  </a:lnTo>
                  <a:lnTo>
                    <a:pt x="24" y="316"/>
                  </a:lnTo>
                  <a:lnTo>
                    <a:pt x="21" y="316"/>
                  </a:lnTo>
                  <a:lnTo>
                    <a:pt x="21" y="319"/>
                  </a:lnTo>
                  <a:lnTo>
                    <a:pt x="24" y="319"/>
                  </a:lnTo>
                  <a:lnTo>
                    <a:pt x="24" y="321"/>
                  </a:lnTo>
                  <a:lnTo>
                    <a:pt x="24" y="321"/>
                  </a:lnTo>
                  <a:lnTo>
                    <a:pt x="24" y="321"/>
                  </a:lnTo>
                  <a:lnTo>
                    <a:pt x="24" y="323"/>
                  </a:lnTo>
                  <a:lnTo>
                    <a:pt x="24" y="323"/>
                  </a:lnTo>
                  <a:lnTo>
                    <a:pt x="24" y="323"/>
                  </a:lnTo>
                  <a:lnTo>
                    <a:pt x="26" y="323"/>
                  </a:lnTo>
                  <a:lnTo>
                    <a:pt x="26" y="321"/>
                  </a:lnTo>
                  <a:lnTo>
                    <a:pt x="26" y="321"/>
                  </a:lnTo>
                  <a:lnTo>
                    <a:pt x="26" y="321"/>
                  </a:lnTo>
                  <a:lnTo>
                    <a:pt x="28" y="321"/>
                  </a:lnTo>
                  <a:lnTo>
                    <a:pt x="26" y="319"/>
                  </a:lnTo>
                  <a:lnTo>
                    <a:pt x="28" y="319"/>
                  </a:lnTo>
                  <a:lnTo>
                    <a:pt x="28" y="319"/>
                  </a:lnTo>
                  <a:lnTo>
                    <a:pt x="28" y="319"/>
                  </a:lnTo>
                  <a:lnTo>
                    <a:pt x="28" y="319"/>
                  </a:lnTo>
                  <a:lnTo>
                    <a:pt x="28" y="319"/>
                  </a:lnTo>
                  <a:lnTo>
                    <a:pt x="31" y="316"/>
                  </a:lnTo>
                  <a:lnTo>
                    <a:pt x="31" y="316"/>
                  </a:lnTo>
                  <a:lnTo>
                    <a:pt x="31" y="319"/>
                  </a:lnTo>
                  <a:lnTo>
                    <a:pt x="33" y="319"/>
                  </a:lnTo>
                  <a:lnTo>
                    <a:pt x="33" y="319"/>
                  </a:lnTo>
                  <a:lnTo>
                    <a:pt x="35" y="319"/>
                  </a:lnTo>
                  <a:lnTo>
                    <a:pt x="33" y="319"/>
                  </a:lnTo>
                  <a:lnTo>
                    <a:pt x="33" y="321"/>
                  </a:lnTo>
                  <a:lnTo>
                    <a:pt x="33" y="321"/>
                  </a:lnTo>
                  <a:lnTo>
                    <a:pt x="33" y="321"/>
                  </a:lnTo>
                  <a:lnTo>
                    <a:pt x="33" y="323"/>
                  </a:lnTo>
                  <a:lnTo>
                    <a:pt x="31" y="323"/>
                  </a:lnTo>
                  <a:lnTo>
                    <a:pt x="31" y="323"/>
                  </a:lnTo>
                  <a:lnTo>
                    <a:pt x="31" y="323"/>
                  </a:lnTo>
                  <a:lnTo>
                    <a:pt x="31" y="321"/>
                  </a:lnTo>
                  <a:lnTo>
                    <a:pt x="33" y="323"/>
                  </a:lnTo>
                  <a:lnTo>
                    <a:pt x="33" y="321"/>
                  </a:lnTo>
                  <a:lnTo>
                    <a:pt x="33" y="321"/>
                  </a:lnTo>
                  <a:lnTo>
                    <a:pt x="33" y="321"/>
                  </a:lnTo>
                  <a:lnTo>
                    <a:pt x="33" y="321"/>
                  </a:lnTo>
                  <a:lnTo>
                    <a:pt x="33" y="319"/>
                  </a:lnTo>
                  <a:lnTo>
                    <a:pt x="31" y="321"/>
                  </a:lnTo>
                  <a:lnTo>
                    <a:pt x="31" y="321"/>
                  </a:lnTo>
                  <a:lnTo>
                    <a:pt x="28" y="319"/>
                  </a:lnTo>
                  <a:lnTo>
                    <a:pt x="28" y="321"/>
                  </a:lnTo>
                  <a:lnTo>
                    <a:pt x="28" y="323"/>
                  </a:lnTo>
                  <a:lnTo>
                    <a:pt x="28" y="321"/>
                  </a:lnTo>
                  <a:lnTo>
                    <a:pt x="31" y="321"/>
                  </a:lnTo>
                  <a:lnTo>
                    <a:pt x="28" y="323"/>
                  </a:lnTo>
                  <a:lnTo>
                    <a:pt x="28" y="323"/>
                  </a:lnTo>
                  <a:lnTo>
                    <a:pt x="26" y="323"/>
                  </a:lnTo>
                  <a:lnTo>
                    <a:pt x="26" y="323"/>
                  </a:lnTo>
                  <a:lnTo>
                    <a:pt x="26" y="323"/>
                  </a:lnTo>
                  <a:lnTo>
                    <a:pt x="26" y="323"/>
                  </a:lnTo>
                  <a:lnTo>
                    <a:pt x="26" y="326"/>
                  </a:lnTo>
                  <a:lnTo>
                    <a:pt x="26" y="326"/>
                  </a:lnTo>
                  <a:lnTo>
                    <a:pt x="28" y="323"/>
                  </a:lnTo>
                  <a:lnTo>
                    <a:pt x="28" y="326"/>
                  </a:lnTo>
                  <a:lnTo>
                    <a:pt x="28" y="326"/>
                  </a:lnTo>
                  <a:lnTo>
                    <a:pt x="28" y="323"/>
                  </a:lnTo>
                  <a:lnTo>
                    <a:pt x="31" y="323"/>
                  </a:lnTo>
                  <a:lnTo>
                    <a:pt x="33" y="323"/>
                  </a:lnTo>
                  <a:lnTo>
                    <a:pt x="33" y="323"/>
                  </a:lnTo>
                  <a:lnTo>
                    <a:pt x="35" y="323"/>
                  </a:lnTo>
                  <a:lnTo>
                    <a:pt x="33" y="323"/>
                  </a:lnTo>
                  <a:lnTo>
                    <a:pt x="33" y="328"/>
                  </a:lnTo>
                  <a:lnTo>
                    <a:pt x="28" y="330"/>
                  </a:lnTo>
                  <a:lnTo>
                    <a:pt x="28" y="330"/>
                  </a:lnTo>
                  <a:lnTo>
                    <a:pt x="33" y="333"/>
                  </a:lnTo>
                  <a:lnTo>
                    <a:pt x="31" y="330"/>
                  </a:lnTo>
                  <a:lnTo>
                    <a:pt x="31" y="330"/>
                  </a:lnTo>
                  <a:lnTo>
                    <a:pt x="33" y="330"/>
                  </a:lnTo>
                  <a:lnTo>
                    <a:pt x="33" y="328"/>
                  </a:lnTo>
                  <a:lnTo>
                    <a:pt x="35" y="326"/>
                  </a:lnTo>
                  <a:lnTo>
                    <a:pt x="38" y="323"/>
                  </a:lnTo>
                  <a:lnTo>
                    <a:pt x="38" y="323"/>
                  </a:lnTo>
                  <a:lnTo>
                    <a:pt x="40" y="323"/>
                  </a:lnTo>
                  <a:lnTo>
                    <a:pt x="43" y="321"/>
                  </a:lnTo>
                  <a:lnTo>
                    <a:pt x="43" y="321"/>
                  </a:lnTo>
                  <a:lnTo>
                    <a:pt x="43" y="321"/>
                  </a:lnTo>
                  <a:lnTo>
                    <a:pt x="43" y="323"/>
                  </a:lnTo>
                  <a:lnTo>
                    <a:pt x="40" y="323"/>
                  </a:lnTo>
                  <a:lnTo>
                    <a:pt x="40" y="326"/>
                  </a:lnTo>
                  <a:lnTo>
                    <a:pt x="38" y="326"/>
                  </a:lnTo>
                  <a:lnTo>
                    <a:pt x="40" y="328"/>
                  </a:lnTo>
                  <a:lnTo>
                    <a:pt x="43" y="328"/>
                  </a:lnTo>
                  <a:lnTo>
                    <a:pt x="43" y="328"/>
                  </a:lnTo>
                  <a:lnTo>
                    <a:pt x="43" y="328"/>
                  </a:lnTo>
                  <a:lnTo>
                    <a:pt x="45" y="328"/>
                  </a:lnTo>
                  <a:lnTo>
                    <a:pt x="47" y="328"/>
                  </a:lnTo>
                  <a:lnTo>
                    <a:pt x="47" y="328"/>
                  </a:lnTo>
                  <a:lnTo>
                    <a:pt x="47" y="328"/>
                  </a:lnTo>
                  <a:lnTo>
                    <a:pt x="50" y="330"/>
                  </a:lnTo>
                  <a:lnTo>
                    <a:pt x="50" y="330"/>
                  </a:lnTo>
                  <a:lnTo>
                    <a:pt x="50" y="330"/>
                  </a:lnTo>
                  <a:lnTo>
                    <a:pt x="50" y="333"/>
                  </a:lnTo>
                  <a:lnTo>
                    <a:pt x="47" y="330"/>
                  </a:lnTo>
                  <a:lnTo>
                    <a:pt x="45" y="330"/>
                  </a:lnTo>
                  <a:lnTo>
                    <a:pt x="45" y="330"/>
                  </a:lnTo>
                  <a:lnTo>
                    <a:pt x="45" y="333"/>
                  </a:lnTo>
                  <a:lnTo>
                    <a:pt x="43" y="333"/>
                  </a:lnTo>
                  <a:lnTo>
                    <a:pt x="43" y="333"/>
                  </a:lnTo>
                  <a:lnTo>
                    <a:pt x="43" y="335"/>
                  </a:lnTo>
                  <a:lnTo>
                    <a:pt x="43" y="335"/>
                  </a:lnTo>
                  <a:lnTo>
                    <a:pt x="38" y="337"/>
                  </a:lnTo>
                  <a:lnTo>
                    <a:pt x="38" y="340"/>
                  </a:lnTo>
                  <a:lnTo>
                    <a:pt x="38" y="340"/>
                  </a:lnTo>
                  <a:lnTo>
                    <a:pt x="35" y="340"/>
                  </a:lnTo>
                  <a:lnTo>
                    <a:pt x="35" y="337"/>
                  </a:lnTo>
                  <a:lnTo>
                    <a:pt x="35" y="337"/>
                  </a:lnTo>
                  <a:lnTo>
                    <a:pt x="35" y="337"/>
                  </a:lnTo>
                  <a:lnTo>
                    <a:pt x="35" y="337"/>
                  </a:lnTo>
                  <a:lnTo>
                    <a:pt x="33" y="337"/>
                  </a:lnTo>
                  <a:lnTo>
                    <a:pt x="33" y="337"/>
                  </a:lnTo>
                  <a:lnTo>
                    <a:pt x="33" y="337"/>
                  </a:lnTo>
                  <a:lnTo>
                    <a:pt x="33" y="335"/>
                  </a:lnTo>
                  <a:lnTo>
                    <a:pt x="33" y="335"/>
                  </a:lnTo>
                  <a:lnTo>
                    <a:pt x="31" y="335"/>
                  </a:lnTo>
                  <a:lnTo>
                    <a:pt x="31" y="337"/>
                  </a:lnTo>
                  <a:lnTo>
                    <a:pt x="28" y="337"/>
                  </a:lnTo>
                  <a:lnTo>
                    <a:pt x="28" y="337"/>
                  </a:lnTo>
                  <a:lnTo>
                    <a:pt x="28" y="337"/>
                  </a:lnTo>
                  <a:lnTo>
                    <a:pt x="26" y="335"/>
                  </a:lnTo>
                  <a:lnTo>
                    <a:pt x="26" y="337"/>
                  </a:lnTo>
                  <a:lnTo>
                    <a:pt x="26" y="337"/>
                  </a:lnTo>
                  <a:lnTo>
                    <a:pt x="26" y="337"/>
                  </a:lnTo>
                  <a:lnTo>
                    <a:pt x="24" y="337"/>
                  </a:lnTo>
                  <a:lnTo>
                    <a:pt x="21" y="337"/>
                  </a:lnTo>
                  <a:lnTo>
                    <a:pt x="21" y="337"/>
                  </a:lnTo>
                  <a:lnTo>
                    <a:pt x="21" y="340"/>
                  </a:lnTo>
                  <a:lnTo>
                    <a:pt x="21" y="337"/>
                  </a:lnTo>
                  <a:lnTo>
                    <a:pt x="21" y="337"/>
                  </a:lnTo>
                  <a:lnTo>
                    <a:pt x="19" y="340"/>
                  </a:lnTo>
                  <a:lnTo>
                    <a:pt x="21" y="340"/>
                  </a:lnTo>
                  <a:lnTo>
                    <a:pt x="19" y="340"/>
                  </a:lnTo>
                  <a:lnTo>
                    <a:pt x="19" y="337"/>
                  </a:lnTo>
                  <a:lnTo>
                    <a:pt x="19" y="337"/>
                  </a:lnTo>
                  <a:lnTo>
                    <a:pt x="17" y="337"/>
                  </a:lnTo>
                  <a:lnTo>
                    <a:pt x="14" y="335"/>
                  </a:lnTo>
                  <a:lnTo>
                    <a:pt x="14" y="335"/>
                  </a:lnTo>
                  <a:lnTo>
                    <a:pt x="14" y="335"/>
                  </a:lnTo>
                  <a:lnTo>
                    <a:pt x="14" y="333"/>
                  </a:lnTo>
                  <a:lnTo>
                    <a:pt x="14" y="333"/>
                  </a:lnTo>
                  <a:lnTo>
                    <a:pt x="14" y="330"/>
                  </a:lnTo>
                  <a:lnTo>
                    <a:pt x="9" y="330"/>
                  </a:lnTo>
                  <a:lnTo>
                    <a:pt x="9" y="328"/>
                  </a:lnTo>
                  <a:lnTo>
                    <a:pt x="7" y="330"/>
                  </a:lnTo>
                  <a:lnTo>
                    <a:pt x="9" y="328"/>
                  </a:lnTo>
                  <a:lnTo>
                    <a:pt x="7" y="328"/>
                  </a:lnTo>
                  <a:lnTo>
                    <a:pt x="7" y="328"/>
                  </a:lnTo>
                  <a:lnTo>
                    <a:pt x="7" y="326"/>
                  </a:lnTo>
                  <a:lnTo>
                    <a:pt x="7" y="326"/>
                  </a:lnTo>
                  <a:lnTo>
                    <a:pt x="5" y="326"/>
                  </a:lnTo>
                  <a:lnTo>
                    <a:pt x="2" y="326"/>
                  </a:lnTo>
                  <a:lnTo>
                    <a:pt x="2" y="323"/>
                  </a:lnTo>
                  <a:lnTo>
                    <a:pt x="0" y="323"/>
                  </a:lnTo>
                  <a:lnTo>
                    <a:pt x="0" y="321"/>
                  </a:lnTo>
                  <a:lnTo>
                    <a:pt x="0" y="321"/>
                  </a:lnTo>
                  <a:lnTo>
                    <a:pt x="0" y="319"/>
                  </a:lnTo>
                  <a:close/>
                  <a:moveTo>
                    <a:pt x="406" y="215"/>
                  </a:moveTo>
                  <a:lnTo>
                    <a:pt x="406" y="212"/>
                  </a:lnTo>
                  <a:lnTo>
                    <a:pt x="406" y="212"/>
                  </a:lnTo>
                  <a:lnTo>
                    <a:pt x="406" y="215"/>
                  </a:lnTo>
                  <a:lnTo>
                    <a:pt x="406" y="215"/>
                  </a:lnTo>
                  <a:close/>
                  <a:moveTo>
                    <a:pt x="404" y="215"/>
                  </a:moveTo>
                  <a:lnTo>
                    <a:pt x="404" y="215"/>
                  </a:lnTo>
                  <a:lnTo>
                    <a:pt x="406" y="215"/>
                  </a:lnTo>
                  <a:lnTo>
                    <a:pt x="404" y="215"/>
                  </a:lnTo>
                  <a:lnTo>
                    <a:pt x="406" y="215"/>
                  </a:lnTo>
                  <a:lnTo>
                    <a:pt x="404" y="215"/>
                  </a:lnTo>
                  <a:lnTo>
                    <a:pt x="404" y="215"/>
                  </a:lnTo>
                  <a:close/>
                  <a:moveTo>
                    <a:pt x="215" y="297"/>
                  </a:moveTo>
                  <a:lnTo>
                    <a:pt x="215" y="295"/>
                  </a:lnTo>
                  <a:lnTo>
                    <a:pt x="215" y="297"/>
                  </a:lnTo>
                  <a:close/>
                  <a:moveTo>
                    <a:pt x="175" y="300"/>
                  </a:moveTo>
                  <a:lnTo>
                    <a:pt x="175" y="300"/>
                  </a:lnTo>
                  <a:lnTo>
                    <a:pt x="175" y="300"/>
                  </a:lnTo>
                  <a:close/>
                  <a:moveTo>
                    <a:pt x="99" y="295"/>
                  </a:moveTo>
                  <a:lnTo>
                    <a:pt x="99" y="295"/>
                  </a:lnTo>
                  <a:lnTo>
                    <a:pt x="99" y="295"/>
                  </a:lnTo>
                  <a:close/>
                  <a:moveTo>
                    <a:pt x="26" y="307"/>
                  </a:moveTo>
                  <a:lnTo>
                    <a:pt x="26" y="307"/>
                  </a:lnTo>
                  <a:lnTo>
                    <a:pt x="28" y="307"/>
                  </a:lnTo>
                  <a:lnTo>
                    <a:pt x="26" y="307"/>
                  </a:lnTo>
                  <a:lnTo>
                    <a:pt x="26" y="307"/>
                  </a:lnTo>
                  <a:close/>
                  <a:moveTo>
                    <a:pt x="130" y="285"/>
                  </a:moveTo>
                  <a:lnTo>
                    <a:pt x="130" y="283"/>
                  </a:lnTo>
                  <a:lnTo>
                    <a:pt x="130" y="285"/>
                  </a:lnTo>
                  <a:lnTo>
                    <a:pt x="132" y="285"/>
                  </a:lnTo>
                  <a:lnTo>
                    <a:pt x="132" y="285"/>
                  </a:lnTo>
                  <a:lnTo>
                    <a:pt x="130" y="285"/>
                  </a:lnTo>
                  <a:lnTo>
                    <a:pt x="132" y="285"/>
                  </a:lnTo>
                  <a:lnTo>
                    <a:pt x="130" y="285"/>
                  </a:lnTo>
                  <a:lnTo>
                    <a:pt x="130" y="285"/>
                  </a:lnTo>
                  <a:close/>
                  <a:moveTo>
                    <a:pt x="118" y="285"/>
                  </a:moveTo>
                  <a:lnTo>
                    <a:pt x="118" y="283"/>
                  </a:lnTo>
                  <a:lnTo>
                    <a:pt x="118" y="283"/>
                  </a:lnTo>
                  <a:lnTo>
                    <a:pt x="118" y="285"/>
                  </a:lnTo>
                  <a:close/>
                  <a:moveTo>
                    <a:pt x="206" y="297"/>
                  </a:moveTo>
                  <a:lnTo>
                    <a:pt x="203" y="297"/>
                  </a:lnTo>
                  <a:lnTo>
                    <a:pt x="203" y="295"/>
                  </a:lnTo>
                  <a:lnTo>
                    <a:pt x="206" y="295"/>
                  </a:lnTo>
                  <a:lnTo>
                    <a:pt x="206" y="297"/>
                  </a:lnTo>
                  <a:close/>
                  <a:moveTo>
                    <a:pt x="26" y="307"/>
                  </a:moveTo>
                  <a:lnTo>
                    <a:pt x="26" y="307"/>
                  </a:lnTo>
                  <a:lnTo>
                    <a:pt x="26" y="307"/>
                  </a:lnTo>
                  <a:close/>
                  <a:moveTo>
                    <a:pt x="28" y="323"/>
                  </a:moveTo>
                  <a:lnTo>
                    <a:pt x="28" y="323"/>
                  </a:lnTo>
                  <a:lnTo>
                    <a:pt x="26" y="323"/>
                  </a:lnTo>
                  <a:lnTo>
                    <a:pt x="28" y="323"/>
                  </a:lnTo>
                  <a:lnTo>
                    <a:pt x="28" y="323"/>
                  </a:lnTo>
                  <a:close/>
                  <a:moveTo>
                    <a:pt x="26" y="316"/>
                  </a:moveTo>
                  <a:lnTo>
                    <a:pt x="26" y="316"/>
                  </a:lnTo>
                  <a:lnTo>
                    <a:pt x="26" y="316"/>
                  </a:lnTo>
                  <a:close/>
                  <a:moveTo>
                    <a:pt x="40" y="328"/>
                  </a:moveTo>
                  <a:lnTo>
                    <a:pt x="40" y="326"/>
                  </a:lnTo>
                  <a:lnTo>
                    <a:pt x="40" y="328"/>
                  </a:lnTo>
                  <a:close/>
                  <a:moveTo>
                    <a:pt x="38" y="304"/>
                  </a:moveTo>
                  <a:lnTo>
                    <a:pt x="38" y="304"/>
                  </a:lnTo>
                  <a:lnTo>
                    <a:pt x="38" y="304"/>
                  </a:lnTo>
                  <a:lnTo>
                    <a:pt x="38" y="304"/>
                  </a:lnTo>
                  <a:lnTo>
                    <a:pt x="38" y="304"/>
                  </a:lnTo>
                  <a:close/>
                  <a:moveTo>
                    <a:pt x="43" y="300"/>
                  </a:moveTo>
                  <a:lnTo>
                    <a:pt x="43" y="300"/>
                  </a:lnTo>
                  <a:lnTo>
                    <a:pt x="43" y="300"/>
                  </a:lnTo>
                  <a:lnTo>
                    <a:pt x="43" y="300"/>
                  </a:lnTo>
                  <a:lnTo>
                    <a:pt x="43" y="300"/>
                  </a:lnTo>
                  <a:lnTo>
                    <a:pt x="43" y="300"/>
                  </a:lnTo>
                  <a:lnTo>
                    <a:pt x="43" y="300"/>
                  </a:lnTo>
                  <a:lnTo>
                    <a:pt x="43" y="300"/>
                  </a:lnTo>
                  <a:lnTo>
                    <a:pt x="43" y="300"/>
                  </a:lnTo>
                  <a:lnTo>
                    <a:pt x="43" y="300"/>
                  </a:lnTo>
                  <a:lnTo>
                    <a:pt x="43" y="300"/>
                  </a:lnTo>
                  <a:lnTo>
                    <a:pt x="43" y="300"/>
                  </a:lnTo>
                  <a:lnTo>
                    <a:pt x="43" y="300"/>
                  </a:lnTo>
                  <a:close/>
                  <a:moveTo>
                    <a:pt x="118" y="288"/>
                  </a:moveTo>
                  <a:lnTo>
                    <a:pt x="120" y="288"/>
                  </a:lnTo>
                  <a:lnTo>
                    <a:pt x="118" y="288"/>
                  </a:lnTo>
                  <a:close/>
                  <a:moveTo>
                    <a:pt x="33" y="300"/>
                  </a:moveTo>
                  <a:lnTo>
                    <a:pt x="33" y="300"/>
                  </a:lnTo>
                  <a:lnTo>
                    <a:pt x="35" y="300"/>
                  </a:lnTo>
                  <a:lnTo>
                    <a:pt x="33" y="300"/>
                  </a:lnTo>
                  <a:lnTo>
                    <a:pt x="33" y="300"/>
                  </a:lnTo>
                  <a:lnTo>
                    <a:pt x="33" y="300"/>
                  </a:lnTo>
                  <a:lnTo>
                    <a:pt x="33" y="302"/>
                  </a:lnTo>
                  <a:lnTo>
                    <a:pt x="33" y="300"/>
                  </a:lnTo>
                  <a:lnTo>
                    <a:pt x="33" y="300"/>
                  </a:lnTo>
                  <a:close/>
                  <a:moveTo>
                    <a:pt x="168" y="302"/>
                  </a:moveTo>
                  <a:lnTo>
                    <a:pt x="170" y="302"/>
                  </a:lnTo>
                  <a:lnTo>
                    <a:pt x="168" y="302"/>
                  </a:lnTo>
                  <a:close/>
                  <a:moveTo>
                    <a:pt x="97" y="297"/>
                  </a:moveTo>
                  <a:lnTo>
                    <a:pt x="97" y="297"/>
                  </a:lnTo>
                  <a:lnTo>
                    <a:pt x="97" y="297"/>
                  </a:lnTo>
                  <a:lnTo>
                    <a:pt x="97" y="297"/>
                  </a:lnTo>
                  <a:lnTo>
                    <a:pt x="97" y="297"/>
                  </a:lnTo>
                  <a:close/>
                  <a:moveTo>
                    <a:pt x="201" y="297"/>
                  </a:moveTo>
                  <a:lnTo>
                    <a:pt x="201" y="297"/>
                  </a:lnTo>
                  <a:lnTo>
                    <a:pt x="201" y="297"/>
                  </a:lnTo>
                  <a:lnTo>
                    <a:pt x="201" y="297"/>
                  </a:lnTo>
                  <a:lnTo>
                    <a:pt x="201" y="297"/>
                  </a:lnTo>
                  <a:close/>
                  <a:moveTo>
                    <a:pt x="118" y="295"/>
                  </a:moveTo>
                  <a:lnTo>
                    <a:pt x="118" y="295"/>
                  </a:lnTo>
                  <a:lnTo>
                    <a:pt x="118" y="295"/>
                  </a:lnTo>
                  <a:close/>
                  <a:moveTo>
                    <a:pt x="215" y="295"/>
                  </a:moveTo>
                  <a:lnTo>
                    <a:pt x="215" y="295"/>
                  </a:lnTo>
                  <a:lnTo>
                    <a:pt x="215" y="295"/>
                  </a:lnTo>
                  <a:close/>
                  <a:moveTo>
                    <a:pt x="40" y="337"/>
                  </a:moveTo>
                  <a:lnTo>
                    <a:pt x="40" y="337"/>
                  </a:lnTo>
                  <a:lnTo>
                    <a:pt x="43" y="337"/>
                  </a:lnTo>
                  <a:lnTo>
                    <a:pt x="40" y="337"/>
                  </a:lnTo>
                  <a:lnTo>
                    <a:pt x="40" y="337"/>
                  </a:lnTo>
                  <a:close/>
                  <a:moveTo>
                    <a:pt x="28" y="314"/>
                  </a:moveTo>
                  <a:lnTo>
                    <a:pt x="28" y="314"/>
                  </a:lnTo>
                  <a:lnTo>
                    <a:pt x="28" y="314"/>
                  </a:lnTo>
                  <a:lnTo>
                    <a:pt x="28" y="314"/>
                  </a:lnTo>
                  <a:lnTo>
                    <a:pt x="28" y="314"/>
                  </a:lnTo>
                  <a:close/>
                  <a:moveTo>
                    <a:pt x="120" y="295"/>
                  </a:moveTo>
                  <a:lnTo>
                    <a:pt x="120" y="295"/>
                  </a:lnTo>
                  <a:lnTo>
                    <a:pt x="120" y="295"/>
                  </a:lnTo>
                  <a:close/>
                  <a:moveTo>
                    <a:pt x="125" y="290"/>
                  </a:moveTo>
                  <a:lnTo>
                    <a:pt x="125" y="290"/>
                  </a:lnTo>
                  <a:lnTo>
                    <a:pt x="125" y="290"/>
                  </a:lnTo>
                  <a:lnTo>
                    <a:pt x="125" y="290"/>
                  </a:lnTo>
                  <a:lnTo>
                    <a:pt x="125" y="290"/>
                  </a:lnTo>
                  <a:close/>
                  <a:moveTo>
                    <a:pt x="215" y="297"/>
                  </a:moveTo>
                  <a:lnTo>
                    <a:pt x="215" y="297"/>
                  </a:lnTo>
                  <a:lnTo>
                    <a:pt x="215" y="297"/>
                  </a:lnTo>
                  <a:lnTo>
                    <a:pt x="215" y="297"/>
                  </a:lnTo>
                  <a:lnTo>
                    <a:pt x="215" y="297"/>
                  </a:lnTo>
                  <a:close/>
                  <a:moveTo>
                    <a:pt x="28" y="316"/>
                  </a:moveTo>
                  <a:lnTo>
                    <a:pt x="28" y="316"/>
                  </a:lnTo>
                  <a:lnTo>
                    <a:pt x="28" y="316"/>
                  </a:lnTo>
                  <a:lnTo>
                    <a:pt x="28" y="316"/>
                  </a:lnTo>
                  <a:lnTo>
                    <a:pt x="28" y="316"/>
                  </a:lnTo>
                  <a:close/>
                  <a:moveTo>
                    <a:pt x="38" y="319"/>
                  </a:moveTo>
                  <a:lnTo>
                    <a:pt x="40" y="319"/>
                  </a:lnTo>
                  <a:lnTo>
                    <a:pt x="40" y="319"/>
                  </a:lnTo>
                  <a:lnTo>
                    <a:pt x="38" y="319"/>
                  </a:lnTo>
                  <a:lnTo>
                    <a:pt x="38" y="319"/>
                  </a:lnTo>
                  <a:lnTo>
                    <a:pt x="38" y="321"/>
                  </a:lnTo>
                  <a:lnTo>
                    <a:pt x="35" y="321"/>
                  </a:lnTo>
                  <a:lnTo>
                    <a:pt x="35" y="321"/>
                  </a:lnTo>
                  <a:lnTo>
                    <a:pt x="35" y="321"/>
                  </a:lnTo>
                  <a:lnTo>
                    <a:pt x="38" y="319"/>
                  </a:lnTo>
                  <a:lnTo>
                    <a:pt x="38" y="319"/>
                  </a:lnTo>
                  <a:lnTo>
                    <a:pt x="38" y="319"/>
                  </a:lnTo>
                  <a:close/>
                  <a:moveTo>
                    <a:pt x="35" y="300"/>
                  </a:moveTo>
                  <a:lnTo>
                    <a:pt x="35" y="300"/>
                  </a:lnTo>
                  <a:lnTo>
                    <a:pt x="35" y="300"/>
                  </a:lnTo>
                  <a:lnTo>
                    <a:pt x="35" y="300"/>
                  </a:lnTo>
                  <a:lnTo>
                    <a:pt x="38" y="300"/>
                  </a:lnTo>
                  <a:lnTo>
                    <a:pt x="35" y="300"/>
                  </a:lnTo>
                  <a:lnTo>
                    <a:pt x="35" y="300"/>
                  </a:lnTo>
                  <a:lnTo>
                    <a:pt x="35" y="300"/>
                  </a:lnTo>
                  <a:close/>
                  <a:moveTo>
                    <a:pt x="175" y="300"/>
                  </a:moveTo>
                  <a:lnTo>
                    <a:pt x="175" y="300"/>
                  </a:lnTo>
                  <a:lnTo>
                    <a:pt x="175" y="300"/>
                  </a:lnTo>
                  <a:close/>
                  <a:moveTo>
                    <a:pt x="40" y="316"/>
                  </a:moveTo>
                  <a:lnTo>
                    <a:pt x="40" y="316"/>
                  </a:lnTo>
                  <a:lnTo>
                    <a:pt x="40" y="316"/>
                  </a:lnTo>
                  <a:lnTo>
                    <a:pt x="40" y="316"/>
                  </a:lnTo>
                  <a:lnTo>
                    <a:pt x="40" y="316"/>
                  </a:lnTo>
                  <a:close/>
                  <a:moveTo>
                    <a:pt x="220" y="300"/>
                  </a:moveTo>
                  <a:lnTo>
                    <a:pt x="222" y="300"/>
                  </a:lnTo>
                  <a:lnTo>
                    <a:pt x="222" y="300"/>
                  </a:lnTo>
                  <a:lnTo>
                    <a:pt x="222" y="300"/>
                  </a:lnTo>
                  <a:lnTo>
                    <a:pt x="220" y="300"/>
                  </a:lnTo>
                  <a:close/>
                  <a:moveTo>
                    <a:pt x="125" y="290"/>
                  </a:moveTo>
                  <a:lnTo>
                    <a:pt x="125" y="290"/>
                  </a:lnTo>
                  <a:lnTo>
                    <a:pt x="125" y="290"/>
                  </a:lnTo>
                  <a:close/>
                  <a:moveTo>
                    <a:pt x="97" y="297"/>
                  </a:moveTo>
                  <a:lnTo>
                    <a:pt x="97" y="297"/>
                  </a:lnTo>
                  <a:lnTo>
                    <a:pt x="97" y="297"/>
                  </a:lnTo>
                  <a:lnTo>
                    <a:pt x="97" y="297"/>
                  </a:lnTo>
                  <a:close/>
                  <a:moveTo>
                    <a:pt x="215" y="300"/>
                  </a:moveTo>
                  <a:lnTo>
                    <a:pt x="215" y="300"/>
                  </a:lnTo>
                  <a:lnTo>
                    <a:pt x="215" y="302"/>
                  </a:lnTo>
                  <a:lnTo>
                    <a:pt x="215" y="302"/>
                  </a:lnTo>
                  <a:lnTo>
                    <a:pt x="215" y="300"/>
                  </a:lnTo>
                  <a:close/>
                  <a:moveTo>
                    <a:pt x="31" y="302"/>
                  </a:moveTo>
                  <a:lnTo>
                    <a:pt x="31" y="300"/>
                  </a:lnTo>
                  <a:lnTo>
                    <a:pt x="33" y="300"/>
                  </a:lnTo>
                  <a:lnTo>
                    <a:pt x="33" y="302"/>
                  </a:lnTo>
                  <a:lnTo>
                    <a:pt x="33" y="300"/>
                  </a:lnTo>
                  <a:lnTo>
                    <a:pt x="33" y="302"/>
                  </a:lnTo>
                  <a:lnTo>
                    <a:pt x="31" y="302"/>
                  </a:lnTo>
                  <a:close/>
                  <a:moveTo>
                    <a:pt x="227" y="262"/>
                  </a:moveTo>
                  <a:lnTo>
                    <a:pt x="227" y="260"/>
                  </a:lnTo>
                  <a:lnTo>
                    <a:pt x="227" y="260"/>
                  </a:lnTo>
                  <a:lnTo>
                    <a:pt x="227" y="260"/>
                  </a:lnTo>
                  <a:lnTo>
                    <a:pt x="227" y="260"/>
                  </a:lnTo>
                  <a:lnTo>
                    <a:pt x="227" y="262"/>
                  </a:lnTo>
                  <a:lnTo>
                    <a:pt x="227" y="262"/>
                  </a:lnTo>
                  <a:close/>
                  <a:moveTo>
                    <a:pt x="26" y="314"/>
                  </a:moveTo>
                  <a:lnTo>
                    <a:pt x="26" y="311"/>
                  </a:lnTo>
                  <a:lnTo>
                    <a:pt x="26" y="314"/>
                  </a:lnTo>
                  <a:lnTo>
                    <a:pt x="26" y="314"/>
                  </a:lnTo>
                  <a:lnTo>
                    <a:pt x="26" y="314"/>
                  </a:lnTo>
                  <a:close/>
                  <a:moveTo>
                    <a:pt x="106" y="293"/>
                  </a:moveTo>
                  <a:lnTo>
                    <a:pt x="106" y="293"/>
                  </a:lnTo>
                  <a:lnTo>
                    <a:pt x="109" y="290"/>
                  </a:lnTo>
                  <a:lnTo>
                    <a:pt x="109" y="293"/>
                  </a:lnTo>
                  <a:lnTo>
                    <a:pt x="109" y="293"/>
                  </a:lnTo>
                  <a:lnTo>
                    <a:pt x="109" y="293"/>
                  </a:lnTo>
                  <a:lnTo>
                    <a:pt x="106" y="293"/>
                  </a:lnTo>
                  <a:lnTo>
                    <a:pt x="106" y="293"/>
                  </a:lnTo>
                  <a:close/>
                  <a:moveTo>
                    <a:pt x="120" y="293"/>
                  </a:moveTo>
                  <a:lnTo>
                    <a:pt x="120" y="293"/>
                  </a:lnTo>
                  <a:lnTo>
                    <a:pt x="120" y="290"/>
                  </a:lnTo>
                  <a:lnTo>
                    <a:pt x="123" y="290"/>
                  </a:lnTo>
                  <a:lnTo>
                    <a:pt x="123" y="290"/>
                  </a:lnTo>
                  <a:lnTo>
                    <a:pt x="123" y="290"/>
                  </a:lnTo>
                  <a:lnTo>
                    <a:pt x="123" y="293"/>
                  </a:lnTo>
                  <a:lnTo>
                    <a:pt x="120" y="293"/>
                  </a:lnTo>
                  <a:lnTo>
                    <a:pt x="120" y="293"/>
                  </a:lnTo>
                  <a:close/>
                  <a:moveTo>
                    <a:pt x="210" y="274"/>
                  </a:moveTo>
                  <a:lnTo>
                    <a:pt x="210" y="274"/>
                  </a:lnTo>
                  <a:lnTo>
                    <a:pt x="210" y="276"/>
                  </a:lnTo>
                  <a:lnTo>
                    <a:pt x="210" y="274"/>
                  </a:lnTo>
                  <a:lnTo>
                    <a:pt x="210" y="274"/>
                  </a:lnTo>
                  <a:lnTo>
                    <a:pt x="210" y="274"/>
                  </a:lnTo>
                  <a:close/>
                  <a:moveTo>
                    <a:pt x="80" y="319"/>
                  </a:moveTo>
                  <a:lnTo>
                    <a:pt x="80" y="319"/>
                  </a:lnTo>
                  <a:lnTo>
                    <a:pt x="80" y="319"/>
                  </a:lnTo>
                  <a:lnTo>
                    <a:pt x="80" y="316"/>
                  </a:lnTo>
                  <a:lnTo>
                    <a:pt x="78" y="319"/>
                  </a:lnTo>
                  <a:lnTo>
                    <a:pt x="80" y="316"/>
                  </a:lnTo>
                  <a:lnTo>
                    <a:pt x="78" y="316"/>
                  </a:lnTo>
                  <a:lnTo>
                    <a:pt x="78" y="316"/>
                  </a:lnTo>
                  <a:lnTo>
                    <a:pt x="73" y="316"/>
                  </a:lnTo>
                  <a:lnTo>
                    <a:pt x="73" y="316"/>
                  </a:lnTo>
                  <a:lnTo>
                    <a:pt x="73" y="316"/>
                  </a:lnTo>
                  <a:lnTo>
                    <a:pt x="71" y="319"/>
                  </a:lnTo>
                  <a:lnTo>
                    <a:pt x="71" y="321"/>
                  </a:lnTo>
                  <a:lnTo>
                    <a:pt x="68" y="321"/>
                  </a:lnTo>
                  <a:lnTo>
                    <a:pt x="71" y="321"/>
                  </a:lnTo>
                  <a:lnTo>
                    <a:pt x="68" y="321"/>
                  </a:lnTo>
                  <a:lnTo>
                    <a:pt x="68" y="319"/>
                  </a:lnTo>
                  <a:lnTo>
                    <a:pt x="68" y="319"/>
                  </a:lnTo>
                  <a:lnTo>
                    <a:pt x="71" y="316"/>
                  </a:lnTo>
                  <a:lnTo>
                    <a:pt x="71" y="316"/>
                  </a:lnTo>
                  <a:lnTo>
                    <a:pt x="68" y="316"/>
                  </a:lnTo>
                  <a:lnTo>
                    <a:pt x="68" y="316"/>
                  </a:lnTo>
                  <a:lnTo>
                    <a:pt x="68" y="316"/>
                  </a:lnTo>
                  <a:lnTo>
                    <a:pt x="66" y="316"/>
                  </a:lnTo>
                  <a:lnTo>
                    <a:pt x="64" y="316"/>
                  </a:lnTo>
                  <a:lnTo>
                    <a:pt x="64" y="314"/>
                  </a:lnTo>
                  <a:lnTo>
                    <a:pt x="66" y="314"/>
                  </a:lnTo>
                  <a:lnTo>
                    <a:pt x="68" y="314"/>
                  </a:lnTo>
                  <a:lnTo>
                    <a:pt x="68" y="314"/>
                  </a:lnTo>
                  <a:lnTo>
                    <a:pt x="68" y="314"/>
                  </a:lnTo>
                  <a:lnTo>
                    <a:pt x="71" y="311"/>
                  </a:lnTo>
                  <a:lnTo>
                    <a:pt x="71" y="311"/>
                  </a:lnTo>
                  <a:lnTo>
                    <a:pt x="73" y="311"/>
                  </a:lnTo>
                  <a:lnTo>
                    <a:pt x="71" y="309"/>
                  </a:lnTo>
                  <a:lnTo>
                    <a:pt x="73" y="309"/>
                  </a:lnTo>
                  <a:lnTo>
                    <a:pt x="73" y="309"/>
                  </a:lnTo>
                  <a:lnTo>
                    <a:pt x="73" y="309"/>
                  </a:lnTo>
                  <a:lnTo>
                    <a:pt x="73" y="309"/>
                  </a:lnTo>
                  <a:lnTo>
                    <a:pt x="76" y="307"/>
                  </a:lnTo>
                  <a:lnTo>
                    <a:pt x="76" y="309"/>
                  </a:lnTo>
                  <a:lnTo>
                    <a:pt x="76" y="309"/>
                  </a:lnTo>
                  <a:lnTo>
                    <a:pt x="76" y="309"/>
                  </a:lnTo>
                  <a:lnTo>
                    <a:pt x="78" y="309"/>
                  </a:lnTo>
                  <a:lnTo>
                    <a:pt x="78" y="309"/>
                  </a:lnTo>
                  <a:lnTo>
                    <a:pt x="78" y="309"/>
                  </a:lnTo>
                  <a:lnTo>
                    <a:pt x="78" y="307"/>
                  </a:lnTo>
                  <a:lnTo>
                    <a:pt x="80" y="307"/>
                  </a:lnTo>
                  <a:lnTo>
                    <a:pt x="80" y="307"/>
                  </a:lnTo>
                  <a:lnTo>
                    <a:pt x="80" y="307"/>
                  </a:lnTo>
                  <a:lnTo>
                    <a:pt x="80" y="304"/>
                  </a:lnTo>
                  <a:lnTo>
                    <a:pt x="80" y="304"/>
                  </a:lnTo>
                  <a:lnTo>
                    <a:pt x="83" y="304"/>
                  </a:lnTo>
                  <a:lnTo>
                    <a:pt x="83" y="304"/>
                  </a:lnTo>
                  <a:lnTo>
                    <a:pt x="83" y="304"/>
                  </a:lnTo>
                  <a:lnTo>
                    <a:pt x="83" y="304"/>
                  </a:lnTo>
                  <a:lnTo>
                    <a:pt x="87" y="304"/>
                  </a:lnTo>
                  <a:lnTo>
                    <a:pt x="87" y="304"/>
                  </a:lnTo>
                  <a:lnTo>
                    <a:pt x="87" y="304"/>
                  </a:lnTo>
                  <a:lnTo>
                    <a:pt x="87" y="307"/>
                  </a:lnTo>
                  <a:lnTo>
                    <a:pt x="90" y="307"/>
                  </a:lnTo>
                  <a:lnTo>
                    <a:pt x="87" y="307"/>
                  </a:lnTo>
                  <a:lnTo>
                    <a:pt x="87" y="307"/>
                  </a:lnTo>
                  <a:lnTo>
                    <a:pt x="85" y="307"/>
                  </a:lnTo>
                  <a:lnTo>
                    <a:pt x="85" y="307"/>
                  </a:lnTo>
                  <a:lnTo>
                    <a:pt x="87" y="307"/>
                  </a:lnTo>
                  <a:lnTo>
                    <a:pt x="87" y="307"/>
                  </a:lnTo>
                  <a:lnTo>
                    <a:pt x="87" y="307"/>
                  </a:lnTo>
                  <a:lnTo>
                    <a:pt x="87" y="307"/>
                  </a:lnTo>
                  <a:lnTo>
                    <a:pt x="90" y="307"/>
                  </a:lnTo>
                  <a:lnTo>
                    <a:pt x="92" y="307"/>
                  </a:lnTo>
                  <a:lnTo>
                    <a:pt x="92" y="309"/>
                  </a:lnTo>
                  <a:lnTo>
                    <a:pt x="92" y="309"/>
                  </a:lnTo>
                  <a:lnTo>
                    <a:pt x="92" y="309"/>
                  </a:lnTo>
                  <a:lnTo>
                    <a:pt x="92" y="309"/>
                  </a:lnTo>
                  <a:lnTo>
                    <a:pt x="92" y="309"/>
                  </a:lnTo>
                  <a:lnTo>
                    <a:pt x="94" y="309"/>
                  </a:lnTo>
                  <a:lnTo>
                    <a:pt x="94" y="309"/>
                  </a:lnTo>
                  <a:lnTo>
                    <a:pt x="97" y="307"/>
                  </a:lnTo>
                  <a:lnTo>
                    <a:pt x="97" y="309"/>
                  </a:lnTo>
                  <a:lnTo>
                    <a:pt x="97" y="309"/>
                  </a:lnTo>
                  <a:lnTo>
                    <a:pt x="94" y="309"/>
                  </a:lnTo>
                  <a:lnTo>
                    <a:pt x="97" y="311"/>
                  </a:lnTo>
                  <a:lnTo>
                    <a:pt x="94" y="314"/>
                  </a:lnTo>
                  <a:lnTo>
                    <a:pt x="97" y="314"/>
                  </a:lnTo>
                  <a:lnTo>
                    <a:pt x="97" y="314"/>
                  </a:lnTo>
                  <a:lnTo>
                    <a:pt x="99" y="311"/>
                  </a:lnTo>
                  <a:lnTo>
                    <a:pt x="99" y="311"/>
                  </a:lnTo>
                  <a:lnTo>
                    <a:pt x="99" y="314"/>
                  </a:lnTo>
                  <a:lnTo>
                    <a:pt x="102" y="314"/>
                  </a:lnTo>
                  <a:lnTo>
                    <a:pt x="102" y="316"/>
                  </a:lnTo>
                  <a:lnTo>
                    <a:pt x="99" y="316"/>
                  </a:lnTo>
                  <a:lnTo>
                    <a:pt x="99" y="316"/>
                  </a:lnTo>
                  <a:lnTo>
                    <a:pt x="97" y="316"/>
                  </a:lnTo>
                  <a:lnTo>
                    <a:pt x="97" y="316"/>
                  </a:lnTo>
                  <a:lnTo>
                    <a:pt x="97" y="314"/>
                  </a:lnTo>
                  <a:lnTo>
                    <a:pt x="97" y="314"/>
                  </a:lnTo>
                  <a:lnTo>
                    <a:pt x="92" y="314"/>
                  </a:lnTo>
                  <a:lnTo>
                    <a:pt x="92" y="316"/>
                  </a:lnTo>
                  <a:lnTo>
                    <a:pt x="90" y="316"/>
                  </a:lnTo>
                  <a:lnTo>
                    <a:pt x="90" y="316"/>
                  </a:lnTo>
                  <a:lnTo>
                    <a:pt x="90" y="316"/>
                  </a:lnTo>
                  <a:lnTo>
                    <a:pt x="90" y="316"/>
                  </a:lnTo>
                  <a:lnTo>
                    <a:pt x="90" y="319"/>
                  </a:lnTo>
                  <a:lnTo>
                    <a:pt x="87" y="319"/>
                  </a:lnTo>
                  <a:lnTo>
                    <a:pt x="87" y="319"/>
                  </a:lnTo>
                  <a:lnTo>
                    <a:pt x="87" y="316"/>
                  </a:lnTo>
                  <a:lnTo>
                    <a:pt x="85" y="319"/>
                  </a:lnTo>
                  <a:lnTo>
                    <a:pt x="83" y="319"/>
                  </a:lnTo>
                  <a:lnTo>
                    <a:pt x="83" y="319"/>
                  </a:lnTo>
                  <a:lnTo>
                    <a:pt x="80" y="319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 cap="flat">
              <a:solidFill>
                <a:schemeClr val="bg2">
                  <a:lumMod val="7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>
                <a:solidFill>
                  <a:srgbClr val="000000"/>
                </a:solidFill>
              </a:endParaRPr>
            </a:p>
          </p:txBody>
        </p:sp>
        <p:sp>
          <p:nvSpPr>
            <p:cNvPr id="17" name="Freeform 19"/>
            <p:cNvSpPr>
              <a:spLocks/>
            </p:cNvSpPr>
            <p:nvPr/>
          </p:nvSpPr>
          <p:spPr bwMode="gray">
            <a:xfrm>
              <a:off x="2311018" y="4260261"/>
              <a:ext cx="752289" cy="814103"/>
            </a:xfrm>
            <a:custGeom>
              <a:avLst/>
              <a:gdLst/>
              <a:ahLst/>
              <a:cxnLst>
                <a:cxn ang="0">
                  <a:pos x="7" y="640"/>
                </a:cxn>
                <a:cxn ang="0">
                  <a:pos x="24" y="607"/>
                </a:cxn>
                <a:cxn ang="0">
                  <a:pos x="40" y="583"/>
                </a:cxn>
                <a:cxn ang="0">
                  <a:pos x="66" y="552"/>
                </a:cxn>
                <a:cxn ang="0">
                  <a:pos x="71" y="519"/>
                </a:cxn>
                <a:cxn ang="0">
                  <a:pos x="118" y="477"/>
                </a:cxn>
                <a:cxn ang="0">
                  <a:pos x="192" y="413"/>
                </a:cxn>
                <a:cxn ang="0">
                  <a:pos x="248" y="340"/>
                </a:cxn>
                <a:cxn ang="0">
                  <a:pos x="291" y="243"/>
                </a:cxn>
                <a:cxn ang="0">
                  <a:pos x="329" y="130"/>
                </a:cxn>
                <a:cxn ang="0">
                  <a:pos x="352" y="49"/>
                </a:cxn>
                <a:cxn ang="0">
                  <a:pos x="371" y="16"/>
                </a:cxn>
                <a:cxn ang="0">
                  <a:pos x="385" y="26"/>
                </a:cxn>
                <a:cxn ang="0">
                  <a:pos x="381" y="61"/>
                </a:cxn>
                <a:cxn ang="0">
                  <a:pos x="496" y="104"/>
                </a:cxn>
                <a:cxn ang="0">
                  <a:pos x="534" y="68"/>
                </a:cxn>
                <a:cxn ang="0">
                  <a:pos x="577" y="80"/>
                </a:cxn>
                <a:cxn ang="0">
                  <a:pos x="591" y="118"/>
                </a:cxn>
                <a:cxn ang="0">
                  <a:pos x="612" y="115"/>
                </a:cxn>
                <a:cxn ang="0">
                  <a:pos x="643" y="101"/>
                </a:cxn>
                <a:cxn ang="0">
                  <a:pos x="659" y="111"/>
                </a:cxn>
                <a:cxn ang="0">
                  <a:pos x="711" y="127"/>
                </a:cxn>
                <a:cxn ang="0">
                  <a:pos x="730" y="104"/>
                </a:cxn>
                <a:cxn ang="0">
                  <a:pos x="775" y="108"/>
                </a:cxn>
                <a:cxn ang="0">
                  <a:pos x="813" y="87"/>
                </a:cxn>
                <a:cxn ang="0">
                  <a:pos x="884" y="78"/>
                </a:cxn>
                <a:cxn ang="0">
                  <a:pos x="881" y="104"/>
                </a:cxn>
                <a:cxn ang="0">
                  <a:pos x="893" y="141"/>
                </a:cxn>
                <a:cxn ang="0">
                  <a:pos x="893" y="207"/>
                </a:cxn>
                <a:cxn ang="0">
                  <a:pos x="929" y="257"/>
                </a:cxn>
                <a:cxn ang="0">
                  <a:pos x="922" y="295"/>
                </a:cxn>
                <a:cxn ang="0">
                  <a:pos x="893" y="333"/>
                </a:cxn>
                <a:cxn ang="0">
                  <a:pos x="853" y="319"/>
                </a:cxn>
                <a:cxn ang="0">
                  <a:pos x="806" y="359"/>
                </a:cxn>
                <a:cxn ang="0">
                  <a:pos x="818" y="456"/>
                </a:cxn>
                <a:cxn ang="0">
                  <a:pos x="761" y="474"/>
                </a:cxn>
                <a:cxn ang="0">
                  <a:pos x="747" y="458"/>
                </a:cxn>
                <a:cxn ang="0">
                  <a:pos x="740" y="408"/>
                </a:cxn>
                <a:cxn ang="0">
                  <a:pos x="631" y="479"/>
                </a:cxn>
                <a:cxn ang="0">
                  <a:pos x="752" y="505"/>
                </a:cxn>
                <a:cxn ang="0">
                  <a:pos x="747" y="550"/>
                </a:cxn>
                <a:cxn ang="0">
                  <a:pos x="766" y="574"/>
                </a:cxn>
                <a:cxn ang="0">
                  <a:pos x="775" y="604"/>
                </a:cxn>
                <a:cxn ang="0">
                  <a:pos x="759" y="616"/>
                </a:cxn>
                <a:cxn ang="0">
                  <a:pos x="740" y="640"/>
                </a:cxn>
                <a:cxn ang="0">
                  <a:pos x="726" y="661"/>
                </a:cxn>
                <a:cxn ang="0">
                  <a:pos x="752" y="704"/>
                </a:cxn>
                <a:cxn ang="0">
                  <a:pos x="756" y="741"/>
                </a:cxn>
                <a:cxn ang="0">
                  <a:pos x="726" y="763"/>
                </a:cxn>
                <a:cxn ang="0">
                  <a:pos x="700" y="789"/>
                </a:cxn>
                <a:cxn ang="0">
                  <a:pos x="662" y="789"/>
                </a:cxn>
                <a:cxn ang="0">
                  <a:pos x="600" y="779"/>
                </a:cxn>
                <a:cxn ang="0">
                  <a:pos x="525" y="786"/>
                </a:cxn>
                <a:cxn ang="0">
                  <a:pos x="470" y="805"/>
                </a:cxn>
                <a:cxn ang="0">
                  <a:pos x="376" y="824"/>
                </a:cxn>
                <a:cxn ang="0">
                  <a:pos x="303" y="919"/>
                </a:cxn>
                <a:cxn ang="0">
                  <a:pos x="258" y="900"/>
                </a:cxn>
                <a:cxn ang="0">
                  <a:pos x="208" y="883"/>
                </a:cxn>
                <a:cxn ang="0">
                  <a:pos x="166" y="862"/>
                </a:cxn>
                <a:cxn ang="0">
                  <a:pos x="137" y="845"/>
                </a:cxn>
                <a:cxn ang="0">
                  <a:pos x="78" y="824"/>
                </a:cxn>
                <a:cxn ang="0">
                  <a:pos x="36" y="774"/>
                </a:cxn>
                <a:cxn ang="0">
                  <a:pos x="5" y="699"/>
                </a:cxn>
              </a:cxnLst>
              <a:rect l="0" t="0" r="r" b="b"/>
              <a:pathLst>
                <a:path w="931" h="930">
                  <a:moveTo>
                    <a:pt x="3" y="668"/>
                  </a:moveTo>
                  <a:lnTo>
                    <a:pt x="3" y="668"/>
                  </a:lnTo>
                  <a:lnTo>
                    <a:pt x="3" y="666"/>
                  </a:lnTo>
                  <a:lnTo>
                    <a:pt x="3" y="666"/>
                  </a:lnTo>
                  <a:lnTo>
                    <a:pt x="3" y="663"/>
                  </a:lnTo>
                  <a:lnTo>
                    <a:pt x="3" y="666"/>
                  </a:lnTo>
                  <a:lnTo>
                    <a:pt x="3" y="663"/>
                  </a:lnTo>
                  <a:lnTo>
                    <a:pt x="3" y="663"/>
                  </a:lnTo>
                  <a:lnTo>
                    <a:pt x="3" y="661"/>
                  </a:lnTo>
                  <a:lnTo>
                    <a:pt x="3" y="661"/>
                  </a:lnTo>
                  <a:lnTo>
                    <a:pt x="3" y="661"/>
                  </a:lnTo>
                  <a:lnTo>
                    <a:pt x="3" y="659"/>
                  </a:lnTo>
                  <a:lnTo>
                    <a:pt x="3" y="659"/>
                  </a:lnTo>
                  <a:lnTo>
                    <a:pt x="5" y="659"/>
                  </a:lnTo>
                  <a:lnTo>
                    <a:pt x="5" y="656"/>
                  </a:lnTo>
                  <a:lnTo>
                    <a:pt x="5" y="656"/>
                  </a:lnTo>
                  <a:lnTo>
                    <a:pt x="5" y="656"/>
                  </a:lnTo>
                  <a:lnTo>
                    <a:pt x="7" y="656"/>
                  </a:lnTo>
                  <a:lnTo>
                    <a:pt x="7" y="656"/>
                  </a:lnTo>
                  <a:lnTo>
                    <a:pt x="5" y="656"/>
                  </a:lnTo>
                  <a:lnTo>
                    <a:pt x="7" y="654"/>
                  </a:lnTo>
                  <a:lnTo>
                    <a:pt x="7" y="654"/>
                  </a:lnTo>
                  <a:lnTo>
                    <a:pt x="7" y="654"/>
                  </a:lnTo>
                  <a:lnTo>
                    <a:pt x="7" y="654"/>
                  </a:lnTo>
                  <a:lnTo>
                    <a:pt x="7" y="652"/>
                  </a:lnTo>
                  <a:lnTo>
                    <a:pt x="7" y="652"/>
                  </a:lnTo>
                  <a:lnTo>
                    <a:pt x="7" y="652"/>
                  </a:lnTo>
                  <a:lnTo>
                    <a:pt x="7" y="652"/>
                  </a:lnTo>
                  <a:lnTo>
                    <a:pt x="7" y="652"/>
                  </a:lnTo>
                  <a:lnTo>
                    <a:pt x="7" y="649"/>
                  </a:lnTo>
                  <a:lnTo>
                    <a:pt x="7" y="649"/>
                  </a:lnTo>
                  <a:lnTo>
                    <a:pt x="7" y="649"/>
                  </a:lnTo>
                  <a:lnTo>
                    <a:pt x="7" y="649"/>
                  </a:lnTo>
                  <a:lnTo>
                    <a:pt x="7" y="649"/>
                  </a:lnTo>
                  <a:lnTo>
                    <a:pt x="7" y="647"/>
                  </a:lnTo>
                  <a:lnTo>
                    <a:pt x="7" y="647"/>
                  </a:lnTo>
                  <a:lnTo>
                    <a:pt x="5" y="647"/>
                  </a:lnTo>
                  <a:lnTo>
                    <a:pt x="5" y="647"/>
                  </a:lnTo>
                  <a:lnTo>
                    <a:pt x="5" y="644"/>
                  </a:lnTo>
                  <a:lnTo>
                    <a:pt x="7" y="644"/>
                  </a:lnTo>
                  <a:lnTo>
                    <a:pt x="5" y="644"/>
                  </a:lnTo>
                  <a:lnTo>
                    <a:pt x="5" y="642"/>
                  </a:lnTo>
                  <a:lnTo>
                    <a:pt x="5" y="644"/>
                  </a:lnTo>
                  <a:lnTo>
                    <a:pt x="5" y="642"/>
                  </a:lnTo>
                  <a:lnTo>
                    <a:pt x="5" y="642"/>
                  </a:lnTo>
                  <a:lnTo>
                    <a:pt x="7" y="642"/>
                  </a:lnTo>
                  <a:lnTo>
                    <a:pt x="7" y="640"/>
                  </a:lnTo>
                  <a:lnTo>
                    <a:pt x="7" y="640"/>
                  </a:lnTo>
                  <a:lnTo>
                    <a:pt x="7" y="637"/>
                  </a:lnTo>
                  <a:lnTo>
                    <a:pt x="10" y="637"/>
                  </a:lnTo>
                  <a:lnTo>
                    <a:pt x="10" y="635"/>
                  </a:lnTo>
                  <a:lnTo>
                    <a:pt x="10" y="635"/>
                  </a:lnTo>
                  <a:lnTo>
                    <a:pt x="10" y="633"/>
                  </a:lnTo>
                  <a:lnTo>
                    <a:pt x="12" y="633"/>
                  </a:lnTo>
                  <a:lnTo>
                    <a:pt x="12" y="630"/>
                  </a:lnTo>
                  <a:lnTo>
                    <a:pt x="12" y="630"/>
                  </a:lnTo>
                  <a:lnTo>
                    <a:pt x="12" y="628"/>
                  </a:lnTo>
                  <a:lnTo>
                    <a:pt x="12" y="626"/>
                  </a:lnTo>
                  <a:lnTo>
                    <a:pt x="12" y="626"/>
                  </a:lnTo>
                  <a:lnTo>
                    <a:pt x="14" y="626"/>
                  </a:lnTo>
                  <a:lnTo>
                    <a:pt x="14" y="623"/>
                  </a:lnTo>
                  <a:lnTo>
                    <a:pt x="17" y="623"/>
                  </a:lnTo>
                  <a:lnTo>
                    <a:pt x="17" y="623"/>
                  </a:lnTo>
                  <a:lnTo>
                    <a:pt x="17" y="623"/>
                  </a:lnTo>
                  <a:lnTo>
                    <a:pt x="17" y="621"/>
                  </a:lnTo>
                  <a:lnTo>
                    <a:pt x="17" y="619"/>
                  </a:lnTo>
                  <a:lnTo>
                    <a:pt x="17" y="619"/>
                  </a:lnTo>
                  <a:lnTo>
                    <a:pt x="19" y="616"/>
                  </a:lnTo>
                  <a:lnTo>
                    <a:pt x="19" y="616"/>
                  </a:lnTo>
                  <a:lnTo>
                    <a:pt x="19" y="616"/>
                  </a:lnTo>
                  <a:lnTo>
                    <a:pt x="19" y="616"/>
                  </a:lnTo>
                  <a:lnTo>
                    <a:pt x="19" y="616"/>
                  </a:lnTo>
                  <a:lnTo>
                    <a:pt x="22" y="616"/>
                  </a:lnTo>
                  <a:lnTo>
                    <a:pt x="22" y="616"/>
                  </a:lnTo>
                  <a:lnTo>
                    <a:pt x="22" y="616"/>
                  </a:lnTo>
                  <a:lnTo>
                    <a:pt x="22" y="614"/>
                  </a:lnTo>
                  <a:lnTo>
                    <a:pt x="22" y="614"/>
                  </a:lnTo>
                  <a:lnTo>
                    <a:pt x="22" y="614"/>
                  </a:lnTo>
                  <a:lnTo>
                    <a:pt x="22" y="614"/>
                  </a:lnTo>
                  <a:lnTo>
                    <a:pt x="24" y="614"/>
                  </a:lnTo>
                  <a:lnTo>
                    <a:pt x="24" y="614"/>
                  </a:lnTo>
                  <a:lnTo>
                    <a:pt x="24" y="614"/>
                  </a:lnTo>
                  <a:lnTo>
                    <a:pt x="24" y="614"/>
                  </a:lnTo>
                  <a:lnTo>
                    <a:pt x="24" y="614"/>
                  </a:lnTo>
                  <a:lnTo>
                    <a:pt x="26" y="611"/>
                  </a:lnTo>
                  <a:lnTo>
                    <a:pt x="26" y="611"/>
                  </a:lnTo>
                  <a:lnTo>
                    <a:pt x="24" y="611"/>
                  </a:lnTo>
                  <a:lnTo>
                    <a:pt x="24" y="611"/>
                  </a:lnTo>
                  <a:lnTo>
                    <a:pt x="24" y="611"/>
                  </a:lnTo>
                  <a:lnTo>
                    <a:pt x="24" y="609"/>
                  </a:lnTo>
                  <a:lnTo>
                    <a:pt x="24" y="609"/>
                  </a:lnTo>
                  <a:lnTo>
                    <a:pt x="24" y="609"/>
                  </a:lnTo>
                  <a:lnTo>
                    <a:pt x="24" y="609"/>
                  </a:lnTo>
                  <a:lnTo>
                    <a:pt x="24" y="607"/>
                  </a:lnTo>
                  <a:lnTo>
                    <a:pt x="24" y="607"/>
                  </a:lnTo>
                  <a:lnTo>
                    <a:pt x="24" y="607"/>
                  </a:lnTo>
                  <a:lnTo>
                    <a:pt x="26" y="607"/>
                  </a:lnTo>
                  <a:lnTo>
                    <a:pt x="24" y="604"/>
                  </a:lnTo>
                  <a:lnTo>
                    <a:pt x="26" y="604"/>
                  </a:lnTo>
                  <a:lnTo>
                    <a:pt x="26" y="604"/>
                  </a:lnTo>
                  <a:lnTo>
                    <a:pt x="26" y="604"/>
                  </a:lnTo>
                  <a:lnTo>
                    <a:pt x="26" y="602"/>
                  </a:lnTo>
                  <a:lnTo>
                    <a:pt x="26" y="602"/>
                  </a:lnTo>
                  <a:lnTo>
                    <a:pt x="26" y="597"/>
                  </a:lnTo>
                  <a:lnTo>
                    <a:pt x="26" y="597"/>
                  </a:lnTo>
                  <a:lnTo>
                    <a:pt x="26" y="600"/>
                  </a:lnTo>
                  <a:lnTo>
                    <a:pt x="26" y="597"/>
                  </a:lnTo>
                  <a:lnTo>
                    <a:pt x="26" y="597"/>
                  </a:lnTo>
                  <a:lnTo>
                    <a:pt x="29" y="595"/>
                  </a:lnTo>
                  <a:lnTo>
                    <a:pt x="29" y="595"/>
                  </a:lnTo>
                  <a:lnTo>
                    <a:pt x="29" y="595"/>
                  </a:lnTo>
                  <a:lnTo>
                    <a:pt x="29" y="593"/>
                  </a:lnTo>
                  <a:lnTo>
                    <a:pt x="29" y="593"/>
                  </a:lnTo>
                  <a:lnTo>
                    <a:pt x="29" y="593"/>
                  </a:lnTo>
                  <a:lnTo>
                    <a:pt x="29" y="590"/>
                  </a:lnTo>
                  <a:lnTo>
                    <a:pt x="29" y="590"/>
                  </a:lnTo>
                  <a:lnTo>
                    <a:pt x="31" y="590"/>
                  </a:lnTo>
                  <a:lnTo>
                    <a:pt x="31" y="588"/>
                  </a:lnTo>
                  <a:lnTo>
                    <a:pt x="31" y="588"/>
                  </a:lnTo>
                  <a:lnTo>
                    <a:pt x="31" y="588"/>
                  </a:lnTo>
                  <a:lnTo>
                    <a:pt x="31" y="585"/>
                  </a:lnTo>
                  <a:lnTo>
                    <a:pt x="31" y="585"/>
                  </a:lnTo>
                  <a:lnTo>
                    <a:pt x="31" y="585"/>
                  </a:lnTo>
                  <a:lnTo>
                    <a:pt x="31" y="585"/>
                  </a:lnTo>
                  <a:lnTo>
                    <a:pt x="33" y="585"/>
                  </a:lnTo>
                  <a:lnTo>
                    <a:pt x="33" y="585"/>
                  </a:lnTo>
                  <a:lnTo>
                    <a:pt x="36" y="585"/>
                  </a:lnTo>
                  <a:lnTo>
                    <a:pt x="36" y="585"/>
                  </a:lnTo>
                  <a:lnTo>
                    <a:pt x="38" y="585"/>
                  </a:lnTo>
                  <a:lnTo>
                    <a:pt x="38" y="585"/>
                  </a:lnTo>
                  <a:lnTo>
                    <a:pt x="38" y="585"/>
                  </a:lnTo>
                  <a:lnTo>
                    <a:pt x="38" y="585"/>
                  </a:lnTo>
                  <a:lnTo>
                    <a:pt x="38" y="583"/>
                  </a:lnTo>
                  <a:lnTo>
                    <a:pt x="38" y="583"/>
                  </a:lnTo>
                  <a:lnTo>
                    <a:pt x="38" y="585"/>
                  </a:lnTo>
                  <a:lnTo>
                    <a:pt x="40" y="585"/>
                  </a:lnTo>
                  <a:lnTo>
                    <a:pt x="38" y="583"/>
                  </a:lnTo>
                  <a:lnTo>
                    <a:pt x="38" y="583"/>
                  </a:lnTo>
                  <a:lnTo>
                    <a:pt x="40" y="583"/>
                  </a:lnTo>
                  <a:lnTo>
                    <a:pt x="40" y="583"/>
                  </a:lnTo>
                  <a:lnTo>
                    <a:pt x="40" y="583"/>
                  </a:lnTo>
                  <a:lnTo>
                    <a:pt x="40" y="581"/>
                  </a:lnTo>
                  <a:lnTo>
                    <a:pt x="40" y="578"/>
                  </a:lnTo>
                  <a:lnTo>
                    <a:pt x="40" y="578"/>
                  </a:lnTo>
                  <a:lnTo>
                    <a:pt x="40" y="578"/>
                  </a:lnTo>
                  <a:lnTo>
                    <a:pt x="40" y="578"/>
                  </a:lnTo>
                  <a:lnTo>
                    <a:pt x="40" y="578"/>
                  </a:lnTo>
                  <a:lnTo>
                    <a:pt x="43" y="578"/>
                  </a:lnTo>
                  <a:lnTo>
                    <a:pt x="43" y="578"/>
                  </a:lnTo>
                  <a:lnTo>
                    <a:pt x="45" y="578"/>
                  </a:lnTo>
                  <a:lnTo>
                    <a:pt x="45" y="576"/>
                  </a:lnTo>
                  <a:lnTo>
                    <a:pt x="45" y="576"/>
                  </a:lnTo>
                  <a:lnTo>
                    <a:pt x="48" y="576"/>
                  </a:lnTo>
                  <a:lnTo>
                    <a:pt x="45" y="576"/>
                  </a:lnTo>
                  <a:lnTo>
                    <a:pt x="48" y="574"/>
                  </a:lnTo>
                  <a:lnTo>
                    <a:pt x="50" y="574"/>
                  </a:lnTo>
                  <a:lnTo>
                    <a:pt x="50" y="574"/>
                  </a:lnTo>
                  <a:lnTo>
                    <a:pt x="50" y="574"/>
                  </a:lnTo>
                  <a:lnTo>
                    <a:pt x="52" y="574"/>
                  </a:lnTo>
                  <a:lnTo>
                    <a:pt x="52" y="574"/>
                  </a:lnTo>
                  <a:lnTo>
                    <a:pt x="52" y="574"/>
                  </a:lnTo>
                  <a:lnTo>
                    <a:pt x="55" y="574"/>
                  </a:lnTo>
                  <a:lnTo>
                    <a:pt x="55" y="571"/>
                  </a:lnTo>
                  <a:lnTo>
                    <a:pt x="55" y="571"/>
                  </a:lnTo>
                  <a:lnTo>
                    <a:pt x="57" y="569"/>
                  </a:lnTo>
                  <a:lnTo>
                    <a:pt x="57" y="569"/>
                  </a:lnTo>
                  <a:lnTo>
                    <a:pt x="59" y="569"/>
                  </a:lnTo>
                  <a:lnTo>
                    <a:pt x="59" y="569"/>
                  </a:lnTo>
                  <a:lnTo>
                    <a:pt x="59" y="567"/>
                  </a:lnTo>
                  <a:lnTo>
                    <a:pt x="59" y="567"/>
                  </a:lnTo>
                  <a:lnTo>
                    <a:pt x="59" y="564"/>
                  </a:lnTo>
                  <a:lnTo>
                    <a:pt x="62" y="564"/>
                  </a:lnTo>
                  <a:lnTo>
                    <a:pt x="62" y="562"/>
                  </a:lnTo>
                  <a:lnTo>
                    <a:pt x="64" y="559"/>
                  </a:lnTo>
                  <a:lnTo>
                    <a:pt x="62" y="559"/>
                  </a:lnTo>
                  <a:lnTo>
                    <a:pt x="62" y="559"/>
                  </a:lnTo>
                  <a:lnTo>
                    <a:pt x="64" y="559"/>
                  </a:lnTo>
                  <a:lnTo>
                    <a:pt x="64" y="557"/>
                  </a:lnTo>
                  <a:lnTo>
                    <a:pt x="66" y="559"/>
                  </a:lnTo>
                  <a:lnTo>
                    <a:pt x="64" y="557"/>
                  </a:lnTo>
                  <a:lnTo>
                    <a:pt x="64" y="555"/>
                  </a:lnTo>
                  <a:lnTo>
                    <a:pt x="66" y="555"/>
                  </a:lnTo>
                  <a:lnTo>
                    <a:pt x="66" y="555"/>
                  </a:lnTo>
                  <a:lnTo>
                    <a:pt x="66" y="557"/>
                  </a:lnTo>
                  <a:lnTo>
                    <a:pt x="69" y="557"/>
                  </a:lnTo>
                  <a:lnTo>
                    <a:pt x="66" y="552"/>
                  </a:lnTo>
                  <a:lnTo>
                    <a:pt x="66" y="552"/>
                  </a:lnTo>
                  <a:lnTo>
                    <a:pt x="66" y="552"/>
                  </a:lnTo>
                  <a:lnTo>
                    <a:pt x="66" y="550"/>
                  </a:lnTo>
                  <a:lnTo>
                    <a:pt x="66" y="550"/>
                  </a:lnTo>
                  <a:lnTo>
                    <a:pt x="66" y="550"/>
                  </a:lnTo>
                  <a:lnTo>
                    <a:pt x="66" y="550"/>
                  </a:lnTo>
                  <a:lnTo>
                    <a:pt x="69" y="550"/>
                  </a:lnTo>
                  <a:lnTo>
                    <a:pt x="69" y="548"/>
                  </a:lnTo>
                  <a:lnTo>
                    <a:pt x="69" y="548"/>
                  </a:lnTo>
                  <a:lnTo>
                    <a:pt x="71" y="550"/>
                  </a:lnTo>
                  <a:lnTo>
                    <a:pt x="74" y="550"/>
                  </a:lnTo>
                  <a:lnTo>
                    <a:pt x="74" y="548"/>
                  </a:lnTo>
                  <a:lnTo>
                    <a:pt x="74" y="548"/>
                  </a:lnTo>
                  <a:lnTo>
                    <a:pt x="76" y="548"/>
                  </a:lnTo>
                  <a:lnTo>
                    <a:pt x="74" y="545"/>
                  </a:lnTo>
                  <a:lnTo>
                    <a:pt x="74" y="543"/>
                  </a:lnTo>
                  <a:lnTo>
                    <a:pt x="76" y="543"/>
                  </a:lnTo>
                  <a:lnTo>
                    <a:pt x="76" y="545"/>
                  </a:lnTo>
                  <a:lnTo>
                    <a:pt x="76" y="543"/>
                  </a:lnTo>
                  <a:lnTo>
                    <a:pt x="78" y="545"/>
                  </a:lnTo>
                  <a:lnTo>
                    <a:pt x="78" y="543"/>
                  </a:lnTo>
                  <a:lnTo>
                    <a:pt x="78" y="543"/>
                  </a:lnTo>
                  <a:lnTo>
                    <a:pt x="78" y="541"/>
                  </a:lnTo>
                  <a:lnTo>
                    <a:pt x="78" y="541"/>
                  </a:lnTo>
                  <a:lnTo>
                    <a:pt x="78" y="541"/>
                  </a:lnTo>
                  <a:lnTo>
                    <a:pt x="78" y="538"/>
                  </a:lnTo>
                  <a:lnTo>
                    <a:pt x="81" y="538"/>
                  </a:lnTo>
                  <a:lnTo>
                    <a:pt x="81" y="538"/>
                  </a:lnTo>
                  <a:lnTo>
                    <a:pt x="83" y="536"/>
                  </a:lnTo>
                  <a:lnTo>
                    <a:pt x="83" y="536"/>
                  </a:lnTo>
                  <a:lnTo>
                    <a:pt x="83" y="533"/>
                  </a:lnTo>
                  <a:lnTo>
                    <a:pt x="81" y="533"/>
                  </a:lnTo>
                  <a:lnTo>
                    <a:pt x="83" y="533"/>
                  </a:lnTo>
                  <a:lnTo>
                    <a:pt x="81" y="531"/>
                  </a:lnTo>
                  <a:lnTo>
                    <a:pt x="81" y="533"/>
                  </a:lnTo>
                  <a:lnTo>
                    <a:pt x="81" y="531"/>
                  </a:lnTo>
                  <a:lnTo>
                    <a:pt x="81" y="531"/>
                  </a:lnTo>
                  <a:lnTo>
                    <a:pt x="78" y="529"/>
                  </a:lnTo>
                  <a:lnTo>
                    <a:pt x="78" y="529"/>
                  </a:lnTo>
                  <a:lnTo>
                    <a:pt x="78" y="526"/>
                  </a:lnTo>
                  <a:lnTo>
                    <a:pt x="78" y="526"/>
                  </a:lnTo>
                  <a:lnTo>
                    <a:pt x="76" y="526"/>
                  </a:lnTo>
                  <a:lnTo>
                    <a:pt x="74" y="526"/>
                  </a:lnTo>
                  <a:lnTo>
                    <a:pt x="71" y="524"/>
                  </a:lnTo>
                  <a:lnTo>
                    <a:pt x="71" y="524"/>
                  </a:lnTo>
                  <a:lnTo>
                    <a:pt x="74" y="522"/>
                  </a:lnTo>
                  <a:lnTo>
                    <a:pt x="71" y="522"/>
                  </a:lnTo>
                  <a:lnTo>
                    <a:pt x="71" y="519"/>
                  </a:lnTo>
                  <a:lnTo>
                    <a:pt x="71" y="519"/>
                  </a:lnTo>
                  <a:lnTo>
                    <a:pt x="74" y="517"/>
                  </a:lnTo>
                  <a:lnTo>
                    <a:pt x="74" y="515"/>
                  </a:lnTo>
                  <a:lnTo>
                    <a:pt x="74" y="515"/>
                  </a:lnTo>
                  <a:lnTo>
                    <a:pt x="71" y="515"/>
                  </a:lnTo>
                  <a:lnTo>
                    <a:pt x="74" y="512"/>
                  </a:lnTo>
                  <a:lnTo>
                    <a:pt x="74" y="512"/>
                  </a:lnTo>
                  <a:lnTo>
                    <a:pt x="74" y="510"/>
                  </a:lnTo>
                  <a:lnTo>
                    <a:pt x="76" y="510"/>
                  </a:lnTo>
                  <a:lnTo>
                    <a:pt x="76" y="510"/>
                  </a:lnTo>
                  <a:lnTo>
                    <a:pt x="76" y="510"/>
                  </a:lnTo>
                  <a:lnTo>
                    <a:pt x="78" y="510"/>
                  </a:lnTo>
                  <a:lnTo>
                    <a:pt x="81" y="510"/>
                  </a:lnTo>
                  <a:lnTo>
                    <a:pt x="83" y="507"/>
                  </a:lnTo>
                  <a:lnTo>
                    <a:pt x="85" y="507"/>
                  </a:lnTo>
                  <a:lnTo>
                    <a:pt x="85" y="507"/>
                  </a:lnTo>
                  <a:lnTo>
                    <a:pt x="85" y="505"/>
                  </a:lnTo>
                  <a:lnTo>
                    <a:pt x="85" y="505"/>
                  </a:lnTo>
                  <a:lnTo>
                    <a:pt x="88" y="507"/>
                  </a:lnTo>
                  <a:lnTo>
                    <a:pt x="90" y="507"/>
                  </a:lnTo>
                  <a:lnTo>
                    <a:pt x="90" y="507"/>
                  </a:lnTo>
                  <a:lnTo>
                    <a:pt x="90" y="505"/>
                  </a:lnTo>
                  <a:lnTo>
                    <a:pt x="88" y="503"/>
                  </a:lnTo>
                  <a:lnTo>
                    <a:pt x="88" y="503"/>
                  </a:lnTo>
                  <a:lnTo>
                    <a:pt x="90" y="503"/>
                  </a:lnTo>
                  <a:lnTo>
                    <a:pt x="90" y="503"/>
                  </a:lnTo>
                  <a:lnTo>
                    <a:pt x="90" y="498"/>
                  </a:lnTo>
                  <a:lnTo>
                    <a:pt x="90" y="496"/>
                  </a:lnTo>
                  <a:lnTo>
                    <a:pt x="90" y="493"/>
                  </a:lnTo>
                  <a:lnTo>
                    <a:pt x="92" y="493"/>
                  </a:lnTo>
                  <a:lnTo>
                    <a:pt x="92" y="491"/>
                  </a:lnTo>
                  <a:lnTo>
                    <a:pt x="95" y="491"/>
                  </a:lnTo>
                  <a:lnTo>
                    <a:pt x="95" y="491"/>
                  </a:lnTo>
                  <a:lnTo>
                    <a:pt x="97" y="491"/>
                  </a:lnTo>
                  <a:lnTo>
                    <a:pt x="97" y="491"/>
                  </a:lnTo>
                  <a:lnTo>
                    <a:pt x="100" y="489"/>
                  </a:lnTo>
                  <a:lnTo>
                    <a:pt x="102" y="489"/>
                  </a:lnTo>
                  <a:lnTo>
                    <a:pt x="104" y="486"/>
                  </a:lnTo>
                  <a:lnTo>
                    <a:pt x="109" y="484"/>
                  </a:lnTo>
                  <a:lnTo>
                    <a:pt x="111" y="486"/>
                  </a:lnTo>
                  <a:lnTo>
                    <a:pt x="111" y="484"/>
                  </a:lnTo>
                  <a:lnTo>
                    <a:pt x="114" y="484"/>
                  </a:lnTo>
                  <a:lnTo>
                    <a:pt x="114" y="484"/>
                  </a:lnTo>
                  <a:lnTo>
                    <a:pt x="114" y="484"/>
                  </a:lnTo>
                  <a:lnTo>
                    <a:pt x="118" y="482"/>
                  </a:lnTo>
                  <a:lnTo>
                    <a:pt x="118" y="482"/>
                  </a:lnTo>
                  <a:lnTo>
                    <a:pt x="118" y="479"/>
                  </a:lnTo>
                  <a:lnTo>
                    <a:pt x="118" y="477"/>
                  </a:lnTo>
                  <a:lnTo>
                    <a:pt x="118" y="477"/>
                  </a:lnTo>
                  <a:lnTo>
                    <a:pt x="121" y="474"/>
                  </a:lnTo>
                  <a:lnTo>
                    <a:pt x="121" y="472"/>
                  </a:lnTo>
                  <a:lnTo>
                    <a:pt x="123" y="472"/>
                  </a:lnTo>
                  <a:lnTo>
                    <a:pt x="123" y="467"/>
                  </a:lnTo>
                  <a:lnTo>
                    <a:pt x="126" y="465"/>
                  </a:lnTo>
                  <a:lnTo>
                    <a:pt x="126" y="465"/>
                  </a:lnTo>
                  <a:lnTo>
                    <a:pt x="128" y="465"/>
                  </a:lnTo>
                  <a:lnTo>
                    <a:pt x="128" y="460"/>
                  </a:lnTo>
                  <a:lnTo>
                    <a:pt x="128" y="458"/>
                  </a:lnTo>
                  <a:lnTo>
                    <a:pt x="130" y="458"/>
                  </a:lnTo>
                  <a:lnTo>
                    <a:pt x="133" y="458"/>
                  </a:lnTo>
                  <a:lnTo>
                    <a:pt x="135" y="458"/>
                  </a:lnTo>
                  <a:lnTo>
                    <a:pt x="142" y="458"/>
                  </a:lnTo>
                  <a:lnTo>
                    <a:pt x="147" y="458"/>
                  </a:lnTo>
                  <a:lnTo>
                    <a:pt x="147" y="458"/>
                  </a:lnTo>
                  <a:lnTo>
                    <a:pt x="147" y="458"/>
                  </a:lnTo>
                  <a:lnTo>
                    <a:pt x="149" y="458"/>
                  </a:lnTo>
                  <a:lnTo>
                    <a:pt x="152" y="458"/>
                  </a:lnTo>
                  <a:lnTo>
                    <a:pt x="159" y="458"/>
                  </a:lnTo>
                  <a:lnTo>
                    <a:pt x="159" y="456"/>
                  </a:lnTo>
                  <a:lnTo>
                    <a:pt x="161" y="451"/>
                  </a:lnTo>
                  <a:lnTo>
                    <a:pt x="163" y="451"/>
                  </a:lnTo>
                  <a:lnTo>
                    <a:pt x="166" y="451"/>
                  </a:lnTo>
                  <a:lnTo>
                    <a:pt x="166" y="451"/>
                  </a:lnTo>
                  <a:lnTo>
                    <a:pt x="166" y="448"/>
                  </a:lnTo>
                  <a:lnTo>
                    <a:pt x="166" y="448"/>
                  </a:lnTo>
                  <a:lnTo>
                    <a:pt x="170" y="448"/>
                  </a:lnTo>
                  <a:lnTo>
                    <a:pt x="173" y="451"/>
                  </a:lnTo>
                  <a:lnTo>
                    <a:pt x="175" y="448"/>
                  </a:lnTo>
                  <a:lnTo>
                    <a:pt x="175" y="446"/>
                  </a:lnTo>
                  <a:lnTo>
                    <a:pt x="177" y="444"/>
                  </a:lnTo>
                  <a:lnTo>
                    <a:pt x="177" y="441"/>
                  </a:lnTo>
                  <a:lnTo>
                    <a:pt x="182" y="439"/>
                  </a:lnTo>
                  <a:lnTo>
                    <a:pt x="185" y="437"/>
                  </a:lnTo>
                  <a:lnTo>
                    <a:pt x="185" y="434"/>
                  </a:lnTo>
                  <a:lnTo>
                    <a:pt x="189" y="427"/>
                  </a:lnTo>
                  <a:lnTo>
                    <a:pt x="189" y="427"/>
                  </a:lnTo>
                  <a:lnTo>
                    <a:pt x="192" y="422"/>
                  </a:lnTo>
                  <a:lnTo>
                    <a:pt x="192" y="422"/>
                  </a:lnTo>
                  <a:lnTo>
                    <a:pt x="187" y="415"/>
                  </a:lnTo>
                  <a:lnTo>
                    <a:pt x="187" y="413"/>
                  </a:lnTo>
                  <a:lnTo>
                    <a:pt x="187" y="413"/>
                  </a:lnTo>
                  <a:lnTo>
                    <a:pt x="187" y="411"/>
                  </a:lnTo>
                  <a:lnTo>
                    <a:pt x="189" y="411"/>
                  </a:lnTo>
                  <a:lnTo>
                    <a:pt x="192" y="413"/>
                  </a:lnTo>
                  <a:lnTo>
                    <a:pt x="192" y="413"/>
                  </a:lnTo>
                  <a:lnTo>
                    <a:pt x="194" y="413"/>
                  </a:lnTo>
                  <a:lnTo>
                    <a:pt x="194" y="413"/>
                  </a:lnTo>
                  <a:lnTo>
                    <a:pt x="194" y="411"/>
                  </a:lnTo>
                  <a:lnTo>
                    <a:pt x="194" y="408"/>
                  </a:lnTo>
                  <a:lnTo>
                    <a:pt x="194" y="408"/>
                  </a:lnTo>
                  <a:lnTo>
                    <a:pt x="196" y="406"/>
                  </a:lnTo>
                  <a:lnTo>
                    <a:pt x="196" y="406"/>
                  </a:lnTo>
                  <a:lnTo>
                    <a:pt x="196" y="404"/>
                  </a:lnTo>
                  <a:lnTo>
                    <a:pt x="196" y="404"/>
                  </a:lnTo>
                  <a:lnTo>
                    <a:pt x="196" y="401"/>
                  </a:lnTo>
                  <a:lnTo>
                    <a:pt x="199" y="399"/>
                  </a:lnTo>
                  <a:lnTo>
                    <a:pt x="199" y="399"/>
                  </a:lnTo>
                  <a:lnTo>
                    <a:pt x="196" y="396"/>
                  </a:lnTo>
                  <a:lnTo>
                    <a:pt x="196" y="394"/>
                  </a:lnTo>
                  <a:lnTo>
                    <a:pt x="201" y="389"/>
                  </a:lnTo>
                  <a:lnTo>
                    <a:pt x="201" y="389"/>
                  </a:lnTo>
                  <a:lnTo>
                    <a:pt x="199" y="387"/>
                  </a:lnTo>
                  <a:lnTo>
                    <a:pt x="199" y="382"/>
                  </a:lnTo>
                  <a:lnTo>
                    <a:pt x="201" y="380"/>
                  </a:lnTo>
                  <a:lnTo>
                    <a:pt x="201" y="380"/>
                  </a:lnTo>
                  <a:lnTo>
                    <a:pt x="203" y="378"/>
                  </a:lnTo>
                  <a:lnTo>
                    <a:pt x="203" y="375"/>
                  </a:lnTo>
                  <a:lnTo>
                    <a:pt x="203" y="375"/>
                  </a:lnTo>
                  <a:lnTo>
                    <a:pt x="201" y="373"/>
                  </a:lnTo>
                  <a:lnTo>
                    <a:pt x="201" y="370"/>
                  </a:lnTo>
                  <a:lnTo>
                    <a:pt x="203" y="368"/>
                  </a:lnTo>
                  <a:lnTo>
                    <a:pt x="203" y="366"/>
                  </a:lnTo>
                  <a:lnTo>
                    <a:pt x="206" y="363"/>
                  </a:lnTo>
                  <a:lnTo>
                    <a:pt x="211" y="363"/>
                  </a:lnTo>
                  <a:lnTo>
                    <a:pt x="211" y="363"/>
                  </a:lnTo>
                  <a:lnTo>
                    <a:pt x="213" y="356"/>
                  </a:lnTo>
                  <a:lnTo>
                    <a:pt x="215" y="356"/>
                  </a:lnTo>
                  <a:lnTo>
                    <a:pt x="218" y="352"/>
                  </a:lnTo>
                  <a:lnTo>
                    <a:pt x="220" y="349"/>
                  </a:lnTo>
                  <a:lnTo>
                    <a:pt x="220" y="349"/>
                  </a:lnTo>
                  <a:lnTo>
                    <a:pt x="225" y="349"/>
                  </a:lnTo>
                  <a:lnTo>
                    <a:pt x="227" y="347"/>
                  </a:lnTo>
                  <a:lnTo>
                    <a:pt x="229" y="347"/>
                  </a:lnTo>
                  <a:lnTo>
                    <a:pt x="229" y="347"/>
                  </a:lnTo>
                  <a:lnTo>
                    <a:pt x="232" y="342"/>
                  </a:lnTo>
                  <a:lnTo>
                    <a:pt x="234" y="342"/>
                  </a:lnTo>
                  <a:lnTo>
                    <a:pt x="239" y="345"/>
                  </a:lnTo>
                  <a:lnTo>
                    <a:pt x="241" y="342"/>
                  </a:lnTo>
                  <a:lnTo>
                    <a:pt x="241" y="340"/>
                  </a:lnTo>
                  <a:lnTo>
                    <a:pt x="244" y="337"/>
                  </a:lnTo>
                  <a:lnTo>
                    <a:pt x="244" y="337"/>
                  </a:lnTo>
                  <a:lnTo>
                    <a:pt x="248" y="340"/>
                  </a:lnTo>
                  <a:lnTo>
                    <a:pt x="248" y="345"/>
                  </a:lnTo>
                  <a:lnTo>
                    <a:pt x="248" y="347"/>
                  </a:lnTo>
                  <a:lnTo>
                    <a:pt x="251" y="347"/>
                  </a:lnTo>
                  <a:lnTo>
                    <a:pt x="255" y="347"/>
                  </a:lnTo>
                  <a:lnTo>
                    <a:pt x="260" y="342"/>
                  </a:lnTo>
                  <a:lnTo>
                    <a:pt x="267" y="340"/>
                  </a:lnTo>
                  <a:lnTo>
                    <a:pt x="267" y="337"/>
                  </a:lnTo>
                  <a:lnTo>
                    <a:pt x="270" y="335"/>
                  </a:lnTo>
                  <a:lnTo>
                    <a:pt x="270" y="335"/>
                  </a:lnTo>
                  <a:lnTo>
                    <a:pt x="274" y="330"/>
                  </a:lnTo>
                  <a:lnTo>
                    <a:pt x="277" y="330"/>
                  </a:lnTo>
                  <a:lnTo>
                    <a:pt x="277" y="330"/>
                  </a:lnTo>
                  <a:lnTo>
                    <a:pt x="274" y="328"/>
                  </a:lnTo>
                  <a:lnTo>
                    <a:pt x="274" y="326"/>
                  </a:lnTo>
                  <a:lnTo>
                    <a:pt x="274" y="323"/>
                  </a:lnTo>
                  <a:lnTo>
                    <a:pt x="274" y="321"/>
                  </a:lnTo>
                  <a:lnTo>
                    <a:pt x="277" y="316"/>
                  </a:lnTo>
                  <a:lnTo>
                    <a:pt x="279" y="316"/>
                  </a:lnTo>
                  <a:lnTo>
                    <a:pt x="281" y="314"/>
                  </a:lnTo>
                  <a:lnTo>
                    <a:pt x="279" y="311"/>
                  </a:lnTo>
                  <a:lnTo>
                    <a:pt x="279" y="309"/>
                  </a:lnTo>
                  <a:lnTo>
                    <a:pt x="279" y="307"/>
                  </a:lnTo>
                  <a:lnTo>
                    <a:pt x="281" y="307"/>
                  </a:lnTo>
                  <a:lnTo>
                    <a:pt x="281" y="304"/>
                  </a:lnTo>
                  <a:lnTo>
                    <a:pt x="284" y="302"/>
                  </a:lnTo>
                  <a:lnTo>
                    <a:pt x="284" y="302"/>
                  </a:lnTo>
                  <a:lnTo>
                    <a:pt x="281" y="300"/>
                  </a:lnTo>
                  <a:lnTo>
                    <a:pt x="284" y="297"/>
                  </a:lnTo>
                  <a:lnTo>
                    <a:pt x="284" y="297"/>
                  </a:lnTo>
                  <a:lnTo>
                    <a:pt x="286" y="290"/>
                  </a:lnTo>
                  <a:lnTo>
                    <a:pt x="286" y="288"/>
                  </a:lnTo>
                  <a:lnTo>
                    <a:pt x="291" y="281"/>
                  </a:lnTo>
                  <a:lnTo>
                    <a:pt x="289" y="276"/>
                  </a:lnTo>
                  <a:lnTo>
                    <a:pt x="291" y="274"/>
                  </a:lnTo>
                  <a:lnTo>
                    <a:pt x="289" y="271"/>
                  </a:lnTo>
                  <a:lnTo>
                    <a:pt x="289" y="271"/>
                  </a:lnTo>
                  <a:lnTo>
                    <a:pt x="289" y="269"/>
                  </a:lnTo>
                  <a:lnTo>
                    <a:pt x="286" y="267"/>
                  </a:lnTo>
                  <a:lnTo>
                    <a:pt x="286" y="264"/>
                  </a:lnTo>
                  <a:lnTo>
                    <a:pt x="289" y="262"/>
                  </a:lnTo>
                  <a:lnTo>
                    <a:pt x="289" y="262"/>
                  </a:lnTo>
                  <a:lnTo>
                    <a:pt x="286" y="257"/>
                  </a:lnTo>
                  <a:lnTo>
                    <a:pt x="289" y="257"/>
                  </a:lnTo>
                  <a:lnTo>
                    <a:pt x="289" y="255"/>
                  </a:lnTo>
                  <a:lnTo>
                    <a:pt x="289" y="250"/>
                  </a:lnTo>
                  <a:lnTo>
                    <a:pt x="289" y="248"/>
                  </a:lnTo>
                  <a:lnTo>
                    <a:pt x="291" y="243"/>
                  </a:lnTo>
                  <a:lnTo>
                    <a:pt x="293" y="238"/>
                  </a:lnTo>
                  <a:lnTo>
                    <a:pt x="296" y="236"/>
                  </a:lnTo>
                  <a:lnTo>
                    <a:pt x="298" y="233"/>
                  </a:lnTo>
                  <a:lnTo>
                    <a:pt x="298" y="231"/>
                  </a:lnTo>
                  <a:lnTo>
                    <a:pt x="296" y="226"/>
                  </a:lnTo>
                  <a:lnTo>
                    <a:pt x="296" y="226"/>
                  </a:lnTo>
                  <a:lnTo>
                    <a:pt x="298" y="226"/>
                  </a:lnTo>
                  <a:lnTo>
                    <a:pt x="298" y="226"/>
                  </a:lnTo>
                  <a:lnTo>
                    <a:pt x="300" y="226"/>
                  </a:lnTo>
                  <a:lnTo>
                    <a:pt x="303" y="226"/>
                  </a:lnTo>
                  <a:lnTo>
                    <a:pt x="305" y="224"/>
                  </a:lnTo>
                  <a:lnTo>
                    <a:pt x="307" y="224"/>
                  </a:lnTo>
                  <a:lnTo>
                    <a:pt x="307" y="219"/>
                  </a:lnTo>
                  <a:lnTo>
                    <a:pt x="305" y="215"/>
                  </a:lnTo>
                  <a:lnTo>
                    <a:pt x="305" y="210"/>
                  </a:lnTo>
                  <a:lnTo>
                    <a:pt x="303" y="207"/>
                  </a:lnTo>
                  <a:lnTo>
                    <a:pt x="303" y="205"/>
                  </a:lnTo>
                  <a:lnTo>
                    <a:pt x="305" y="203"/>
                  </a:lnTo>
                  <a:lnTo>
                    <a:pt x="305" y="200"/>
                  </a:lnTo>
                  <a:lnTo>
                    <a:pt x="305" y="198"/>
                  </a:lnTo>
                  <a:lnTo>
                    <a:pt x="305" y="196"/>
                  </a:lnTo>
                  <a:lnTo>
                    <a:pt x="305" y="196"/>
                  </a:lnTo>
                  <a:lnTo>
                    <a:pt x="305" y="193"/>
                  </a:lnTo>
                  <a:lnTo>
                    <a:pt x="305" y="191"/>
                  </a:lnTo>
                  <a:lnTo>
                    <a:pt x="305" y="189"/>
                  </a:lnTo>
                  <a:lnTo>
                    <a:pt x="305" y="186"/>
                  </a:lnTo>
                  <a:lnTo>
                    <a:pt x="305" y="184"/>
                  </a:lnTo>
                  <a:lnTo>
                    <a:pt x="305" y="179"/>
                  </a:lnTo>
                  <a:lnTo>
                    <a:pt x="303" y="177"/>
                  </a:lnTo>
                  <a:lnTo>
                    <a:pt x="303" y="174"/>
                  </a:lnTo>
                  <a:lnTo>
                    <a:pt x="305" y="174"/>
                  </a:lnTo>
                  <a:lnTo>
                    <a:pt x="305" y="174"/>
                  </a:lnTo>
                  <a:lnTo>
                    <a:pt x="307" y="172"/>
                  </a:lnTo>
                  <a:lnTo>
                    <a:pt x="307" y="174"/>
                  </a:lnTo>
                  <a:lnTo>
                    <a:pt x="312" y="170"/>
                  </a:lnTo>
                  <a:lnTo>
                    <a:pt x="312" y="165"/>
                  </a:lnTo>
                  <a:lnTo>
                    <a:pt x="315" y="160"/>
                  </a:lnTo>
                  <a:lnTo>
                    <a:pt x="315" y="158"/>
                  </a:lnTo>
                  <a:lnTo>
                    <a:pt x="317" y="151"/>
                  </a:lnTo>
                  <a:lnTo>
                    <a:pt x="319" y="146"/>
                  </a:lnTo>
                  <a:lnTo>
                    <a:pt x="322" y="144"/>
                  </a:lnTo>
                  <a:lnTo>
                    <a:pt x="324" y="141"/>
                  </a:lnTo>
                  <a:lnTo>
                    <a:pt x="326" y="139"/>
                  </a:lnTo>
                  <a:lnTo>
                    <a:pt x="329" y="137"/>
                  </a:lnTo>
                  <a:lnTo>
                    <a:pt x="329" y="137"/>
                  </a:lnTo>
                  <a:lnTo>
                    <a:pt x="329" y="132"/>
                  </a:lnTo>
                  <a:lnTo>
                    <a:pt x="329" y="130"/>
                  </a:lnTo>
                  <a:lnTo>
                    <a:pt x="331" y="127"/>
                  </a:lnTo>
                  <a:lnTo>
                    <a:pt x="331" y="125"/>
                  </a:lnTo>
                  <a:lnTo>
                    <a:pt x="333" y="125"/>
                  </a:lnTo>
                  <a:lnTo>
                    <a:pt x="336" y="122"/>
                  </a:lnTo>
                  <a:lnTo>
                    <a:pt x="336" y="120"/>
                  </a:lnTo>
                  <a:lnTo>
                    <a:pt x="336" y="115"/>
                  </a:lnTo>
                  <a:lnTo>
                    <a:pt x="338" y="115"/>
                  </a:lnTo>
                  <a:lnTo>
                    <a:pt x="338" y="113"/>
                  </a:lnTo>
                  <a:lnTo>
                    <a:pt x="338" y="108"/>
                  </a:lnTo>
                  <a:lnTo>
                    <a:pt x="338" y="108"/>
                  </a:lnTo>
                  <a:lnTo>
                    <a:pt x="338" y="106"/>
                  </a:lnTo>
                  <a:lnTo>
                    <a:pt x="336" y="106"/>
                  </a:lnTo>
                  <a:lnTo>
                    <a:pt x="338" y="104"/>
                  </a:lnTo>
                  <a:lnTo>
                    <a:pt x="338" y="101"/>
                  </a:lnTo>
                  <a:lnTo>
                    <a:pt x="338" y="99"/>
                  </a:lnTo>
                  <a:lnTo>
                    <a:pt x="338" y="94"/>
                  </a:lnTo>
                  <a:lnTo>
                    <a:pt x="338" y="92"/>
                  </a:lnTo>
                  <a:lnTo>
                    <a:pt x="338" y="92"/>
                  </a:lnTo>
                  <a:lnTo>
                    <a:pt x="336" y="89"/>
                  </a:lnTo>
                  <a:lnTo>
                    <a:pt x="336" y="87"/>
                  </a:lnTo>
                  <a:lnTo>
                    <a:pt x="340" y="87"/>
                  </a:lnTo>
                  <a:lnTo>
                    <a:pt x="340" y="85"/>
                  </a:lnTo>
                  <a:lnTo>
                    <a:pt x="340" y="85"/>
                  </a:lnTo>
                  <a:lnTo>
                    <a:pt x="338" y="82"/>
                  </a:lnTo>
                  <a:lnTo>
                    <a:pt x="338" y="80"/>
                  </a:lnTo>
                  <a:lnTo>
                    <a:pt x="340" y="80"/>
                  </a:lnTo>
                  <a:lnTo>
                    <a:pt x="340" y="80"/>
                  </a:lnTo>
                  <a:lnTo>
                    <a:pt x="343" y="80"/>
                  </a:lnTo>
                  <a:lnTo>
                    <a:pt x="343" y="78"/>
                  </a:lnTo>
                  <a:lnTo>
                    <a:pt x="348" y="78"/>
                  </a:lnTo>
                  <a:lnTo>
                    <a:pt x="348" y="73"/>
                  </a:lnTo>
                  <a:lnTo>
                    <a:pt x="348" y="70"/>
                  </a:lnTo>
                  <a:lnTo>
                    <a:pt x="348" y="68"/>
                  </a:lnTo>
                  <a:lnTo>
                    <a:pt x="350" y="66"/>
                  </a:lnTo>
                  <a:lnTo>
                    <a:pt x="350" y="63"/>
                  </a:lnTo>
                  <a:lnTo>
                    <a:pt x="348" y="61"/>
                  </a:lnTo>
                  <a:lnTo>
                    <a:pt x="350" y="59"/>
                  </a:lnTo>
                  <a:lnTo>
                    <a:pt x="350" y="59"/>
                  </a:lnTo>
                  <a:lnTo>
                    <a:pt x="350" y="56"/>
                  </a:lnTo>
                  <a:lnTo>
                    <a:pt x="350" y="56"/>
                  </a:lnTo>
                  <a:lnTo>
                    <a:pt x="352" y="56"/>
                  </a:lnTo>
                  <a:lnTo>
                    <a:pt x="350" y="52"/>
                  </a:lnTo>
                  <a:lnTo>
                    <a:pt x="352" y="52"/>
                  </a:lnTo>
                  <a:lnTo>
                    <a:pt x="352" y="52"/>
                  </a:lnTo>
                  <a:lnTo>
                    <a:pt x="352" y="49"/>
                  </a:lnTo>
                  <a:lnTo>
                    <a:pt x="352" y="49"/>
                  </a:lnTo>
                  <a:lnTo>
                    <a:pt x="352" y="49"/>
                  </a:lnTo>
                  <a:lnTo>
                    <a:pt x="352" y="47"/>
                  </a:lnTo>
                  <a:lnTo>
                    <a:pt x="352" y="47"/>
                  </a:lnTo>
                  <a:lnTo>
                    <a:pt x="352" y="45"/>
                  </a:lnTo>
                  <a:lnTo>
                    <a:pt x="355" y="45"/>
                  </a:lnTo>
                  <a:lnTo>
                    <a:pt x="352" y="45"/>
                  </a:lnTo>
                  <a:lnTo>
                    <a:pt x="352" y="42"/>
                  </a:lnTo>
                  <a:lnTo>
                    <a:pt x="352" y="42"/>
                  </a:lnTo>
                  <a:lnTo>
                    <a:pt x="355" y="42"/>
                  </a:lnTo>
                  <a:lnTo>
                    <a:pt x="355" y="40"/>
                  </a:lnTo>
                  <a:lnTo>
                    <a:pt x="357" y="40"/>
                  </a:lnTo>
                  <a:lnTo>
                    <a:pt x="357" y="40"/>
                  </a:lnTo>
                  <a:lnTo>
                    <a:pt x="359" y="40"/>
                  </a:lnTo>
                  <a:lnTo>
                    <a:pt x="357" y="37"/>
                  </a:lnTo>
                  <a:lnTo>
                    <a:pt x="359" y="37"/>
                  </a:lnTo>
                  <a:lnTo>
                    <a:pt x="357" y="35"/>
                  </a:lnTo>
                  <a:lnTo>
                    <a:pt x="359" y="35"/>
                  </a:lnTo>
                  <a:lnTo>
                    <a:pt x="359" y="35"/>
                  </a:lnTo>
                  <a:lnTo>
                    <a:pt x="357" y="35"/>
                  </a:lnTo>
                  <a:lnTo>
                    <a:pt x="357" y="35"/>
                  </a:lnTo>
                  <a:lnTo>
                    <a:pt x="357" y="35"/>
                  </a:lnTo>
                  <a:lnTo>
                    <a:pt x="359" y="33"/>
                  </a:lnTo>
                  <a:lnTo>
                    <a:pt x="359" y="35"/>
                  </a:lnTo>
                  <a:lnTo>
                    <a:pt x="362" y="33"/>
                  </a:lnTo>
                  <a:lnTo>
                    <a:pt x="359" y="30"/>
                  </a:lnTo>
                  <a:lnTo>
                    <a:pt x="362" y="30"/>
                  </a:lnTo>
                  <a:lnTo>
                    <a:pt x="362" y="30"/>
                  </a:lnTo>
                  <a:lnTo>
                    <a:pt x="364" y="28"/>
                  </a:lnTo>
                  <a:lnTo>
                    <a:pt x="362" y="28"/>
                  </a:lnTo>
                  <a:lnTo>
                    <a:pt x="364" y="26"/>
                  </a:lnTo>
                  <a:lnTo>
                    <a:pt x="364" y="26"/>
                  </a:lnTo>
                  <a:lnTo>
                    <a:pt x="366" y="26"/>
                  </a:lnTo>
                  <a:lnTo>
                    <a:pt x="366" y="23"/>
                  </a:lnTo>
                  <a:lnTo>
                    <a:pt x="366" y="23"/>
                  </a:lnTo>
                  <a:lnTo>
                    <a:pt x="366" y="21"/>
                  </a:lnTo>
                  <a:lnTo>
                    <a:pt x="366" y="21"/>
                  </a:lnTo>
                  <a:lnTo>
                    <a:pt x="366" y="21"/>
                  </a:lnTo>
                  <a:lnTo>
                    <a:pt x="369" y="21"/>
                  </a:lnTo>
                  <a:lnTo>
                    <a:pt x="369" y="19"/>
                  </a:lnTo>
                  <a:lnTo>
                    <a:pt x="369" y="19"/>
                  </a:lnTo>
                  <a:lnTo>
                    <a:pt x="371" y="19"/>
                  </a:lnTo>
                  <a:lnTo>
                    <a:pt x="371" y="19"/>
                  </a:lnTo>
                  <a:lnTo>
                    <a:pt x="371" y="16"/>
                  </a:lnTo>
                  <a:lnTo>
                    <a:pt x="371" y="16"/>
                  </a:lnTo>
                  <a:lnTo>
                    <a:pt x="374" y="19"/>
                  </a:lnTo>
                  <a:lnTo>
                    <a:pt x="374" y="16"/>
                  </a:lnTo>
                  <a:lnTo>
                    <a:pt x="371" y="16"/>
                  </a:lnTo>
                  <a:lnTo>
                    <a:pt x="371" y="16"/>
                  </a:lnTo>
                  <a:lnTo>
                    <a:pt x="374" y="14"/>
                  </a:lnTo>
                  <a:lnTo>
                    <a:pt x="376" y="14"/>
                  </a:lnTo>
                  <a:lnTo>
                    <a:pt x="376" y="11"/>
                  </a:lnTo>
                  <a:lnTo>
                    <a:pt x="378" y="11"/>
                  </a:lnTo>
                  <a:lnTo>
                    <a:pt x="381" y="11"/>
                  </a:lnTo>
                  <a:lnTo>
                    <a:pt x="381" y="9"/>
                  </a:lnTo>
                  <a:lnTo>
                    <a:pt x="383" y="9"/>
                  </a:lnTo>
                  <a:lnTo>
                    <a:pt x="385" y="7"/>
                  </a:lnTo>
                  <a:lnTo>
                    <a:pt x="388" y="7"/>
                  </a:lnTo>
                  <a:lnTo>
                    <a:pt x="385" y="7"/>
                  </a:lnTo>
                  <a:lnTo>
                    <a:pt x="385" y="7"/>
                  </a:lnTo>
                  <a:lnTo>
                    <a:pt x="388" y="7"/>
                  </a:lnTo>
                  <a:lnTo>
                    <a:pt x="390" y="7"/>
                  </a:lnTo>
                  <a:lnTo>
                    <a:pt x="390" y="4"/>
                  </a:lnTo>
                  <a:lnTo>
                    <a:pt x="388" y="4"/>
                  </a:lnTo>
                  <a:lnTo>
                    <a:pt x="388" y="4"/>
                  </a:lnTo>
                  <a:lnTo>
                    <a:pt x="388" y="4"/>
                  </a:lnTo>
                  <a:lnTo>
                    <a:pt x="388" y="4"/>
                  </a:lnTo>
                  <a:lnTo>
                    <a:pt x="390" y="4"/>
                  </a:lnTo>
                  <a:lnTo>
                    <a:pt x="390" y="4"/>
                  </a:lnTo>
                  <a:lnTo>
                    <a:pt x="390" y="4"/>
                  </a:lnTo>
                  <a:lnTo>
                    <a:pt x="390" y="2"/>
                  </a:lnTo>
                  <a:lnTo>
                    <a:pt x="395" y="0"/>
                  </a:lnTo>
                  <a:lnTo>
                    <a:pt x="392" y="4"/>
                  </a:lnTo>
                  <a:lnTo>
                    <a:pt x="392" y="7"/>
                  </a:lnTo>
                  <a:lnTo>
                    <a:pt x="392" y="7"/>
                  </a:lnTo>
                  <a:lnTo>
                    <a:pt x="392" y="7"/>
                  </a:lnTo>
                  <a:lnTo>
                    <a:pt x="390" y="7"/>
                  </a:lnTo>
                  <a:lnTo>
                    <a:pt x="390" y="7"/>
                  </a:lnTo>
                  <a:lnTo>
                    <a:pt x="390" y="9"/>
                  </a:lnTo>
                  <a:lnTo>
                    <a:pt x="388" y="9"/>
                  </a:lnTo>
                  <a:lnTo>
                    <a:pt x="388" y="9"/>
                  </a:lnTo>
                  <a:lnTo>
                    <a:pt x="388" y="11"/>
                  </a:lnTo>
                  <a:lnTo>
                    <a:pt x="385" y="14"/>
                  </a:lnTo>
                  <a:lnTo>
                    <a:pt x="385" y="14"/>
                  </a:lnTo>
                  <a:lnTo>
                    <a:pt x="385" y="16"/>
                  </a:lnTo>
                  <a:lnTo>
                    <a:pt x="383" y="19"/>
                  </a:lnTo>
                  <a:lnTo>
                    <a:pt x="385" y="21"/>
                  </a:lnTo>
                  <a:lnTo>
                    <a:pt x="385" y="21"/>
                  </a:lnTo>
                  <a:lnTo>
                    <a:pt x="385" y="23"/>
                  </a:lnTo>
                  <a:lnTo>
                    <a:pt x="388" y="23"/>
                  </a:lnTo>
                  <a:lnTo>
                    <a:pt x="388" y="21"/>
                  </a:lnTo>
                  <a:lnTo>
                    <a:pt x="388" y="23"/>
                  </a:lnTo>
                  <a:lnTo>
                    <a:pt x="388" y="23"/>
                  </a:lnTo>
                  <a:lnTo>
                    <a:pt x="388" y="23"/>
                  </a:lnTo>
                  <a:lnTo>
                    <a:pt x="388" y="23"/>
                  </a:lnTo>
                  <a:lnTo>
                    <a:pt x="385" y="26"/>
                  </a:lnTo>
                  <a:lnTo>
                    <a:pt x="383" y="26"/>
                  </a:lnTo>
                  <a:lnTo>
                    <a:pt x="383" y="26"/>
                  </a:lnTo>
                  <a:lnTo>
                    <a:pt x="383" y="26"/>
                  </a:lnTo>
                  <a:lnTo>
                    <a:pt x="381" y="28"/>
                  </a:lnTo>
                  <a:lnTo>
                    <a:pt x="383" y="30"/>
                  </a:lnTo>
                  <a:lnTo>
                    <a:pt x="381" y="33"/>
                  </a:lnTo>
                  <a:lnTo>
                    <a:pt x="381" y="30"/>
                  </a:lnTo>
                  <a:lnTo>
                    <a:pt x="381" y="33"/>
                  </a:lnTo>
                  <a:lnTo>
                    <a:pt x="381" y="33"/>
                  </a:lnTo>
                  <a:lnTo>
                    <a:pt x="378" y="35"/>
                  </a:lnTo>
                  <a:lnTo>
                    <a:pt x="378" y="35"/>
                  </a:lnTo>
                  <a:lnTo>
                    <a:pt x="378" y="37"/>
                  </a:lnTo>
                  <a:lnTo>
                    <a:pt x="378" y="40"/>
                  </a:lnTo>
                  <a:lnTo>
                    <a:pt x="378" y="40"/>
                  </a:lnTo>
                  <a:lnTo>
                    <a:pt x="378" y="37"/>
                  </a:lnTo>
                  <a:lnTo>
                    <a:pt x="378" y="40"/>
                  </a:lnTo>
                  <a:lnTo>
                    <a:pt x="376" y="40"/>
                  </a:lnTo>
                  <a:lnTo>
                    <a:pt x="376" y="40"/>
                  </a:lnTo>
                  <a:lnTo>
                    <a:pt x="376" y="40"/>
                  </a:lnTo>
                  <a:lnTo>
                    <a:pt x="376" y="40"/>
                  </a:lnTo>
                  <a:lnTo>
                    <a:pt x="376" y="37"/>
                  </a:lnTo>
                  <a:lnTo>
                    <a:pt x="376" y="40"/>
                  </a:lnTo>
                  <a:lnTo>
                    <a:pt x="376" y="40"/>
                  </a:lnTo>
                  <a:lnTo>
                    <a:pt x="376" y="42"/>
                  </a:lnTo>
                  <a:lnTo>
                    <a:pt x="376" y="42"/>
                  </a:lnTo>
                  <a:lnTo>
                    <a:pt x="376" y="42"/>
                  </a:lnTo>
                  <a:lnTo>
                    <a:pt x="376" y="45"/>
                  </a:lnTo>
                  <a:lnTo>
                    <a:pt x="376" y="47"/>
                  </a:lnTo>
                  <a:lnTo>
                    <a:pt x="376" y="47"/>
                  </a:lnTo>
                  <a:lnTo>
                    <a:pt x="376" y="47"/>
                  </a:lnTo>
                  <a:lnTo>
                    <a:pt x="376" y="49"/>
                  </a:lnTo>
                  <a:lnTo>
                    <a:pt x="374" y="49"/>
                  </a:lnTo>
                  <a:lnTo>
                    <a:pt x="376" y="52"/>
                  </a:lnTo>
                  <a:lnTo>
                    <a:pt x="374" y="52"/>
                  </a:lnTo>
                  <a:lnTo>
                    <a:pt x="374" y="54"/>
                  </a:lnTo>
                  <a:lnTo>
                    <a:pt x="374" y="54"/>
                  </a:lnTo>
                  <a:lnTo>
                    <a:pt x="374" y="56"/>
                  </a:lnTo>
                  <a:lnTo>
                    <a:pt x="376" y="56"/>
                  </a:lnTo>
                  <a:lnTo>
                    <a:pt x="376" y="59"/>
                  </a:lnTo>
                  <a:lnTo>
                    <a:pt x="376" y="59"/>
                  </a:lnTo>
                  <a:lnTo>
                    <a:pt x="376" y="59"/>
                  </a:lnTo>
                  <a:lnTo>
                    <a:pt x="376" y="59"/>
                  </a:lnTo>
                  <a:lnTo>
                    <a:pt x="376" y="59"/>
                  </a:lnTo>
                  <a:lnTo>
                    <a:pt x="378" y="59"/>
                  </a:lnTo>
                  <a:lnTo>
                    <a:pt x="378" y="61"/>
                  </a:lnTo>
                  <a:lnTo>
                    <a:pt x="378" y="59"/>
                  </a:lnTo>
                  <a:lnTo>
                    <a:pt x="381" y="61"/>
                  </a:lnTo>
                  <a:lnTo>
                    <a:pt x="378" y="61"/>
                  </a:lnTo>
                  <a:lnTo>
                    <a:pt x="381" y="61"/>
                  </a:lnTo>
                  <a:lnTo>
                    <a:pt x="381" y="61"/>
                  </a:lnTo>
                  <a:lnTo>
                    <a:pt x="383" y="61"/>
                  </a:lnTo>
                  <a:lnTo>
                    <a:pt x="383" y="61"/>
                  </a:lnTo>
                  <a:lnTo>
                    <a:pt x="383" y="61"/>
                  </a:lnTo>
                  <a:lnTo>
                    <a:pt x="383" y="61"/>
                  </a:lnTo>
                  <a:lnTo>
                    <a:pt x="385" y="61"/>
                  </a:lnTo>
                  <a:lnTo>
                    <a:pt x="385" y="63"/>
                  </a:lnTo>
                  <a:lnTo>
                    <a:pt x="385" y="63"/>
                  </a:lnTo>
                  <a:lnTo>
                    <a:pt x="385" y="63"/>
                  </a:lnTo>
                  <a:lnTo>
                    <a:pt x="388" y="66"/>
                  </a:lnTo>
                  <a:lnTo>
                    <a:pt x="388" y="66"/>
                  </a:lnTo>
                  <a:lnTo>
                    <a:pt x="388" y="66"/>
                  </a:lnTo>
                  <a:lnTo>
                    <a:pt x="390" y="68"/>
                  </a:lnTo>
                  <a:lnTo>
                    <a:pt x="390" y="66"/>
                  </a:lnTo>
                  <a:lnTo>
                    <a:pt x="390" y="66"/>
                  </a:lnTo>
                  <a:lnTo>
                    <a:pt x="390" y="68"/>
                  </a:lnTo>
                  <a:lnTo>
                    <a:pt x="392" y="66"/>
                  </a:lnTo>
                  <a:lnTo>
                    <a:pt x="395" y="68"/>
                  </a:lnTo>
                  <a:lnTo>
                    <a:pt x="397" y="68"/>
                  </a:lnTo>
                  <a:lnTo>
                    <a:pt x="400" y="68"/>
                  </a:lnTo>
                  <a:lnTo>
                    <a:pt x="400" y="68"/>
                  </a:lnTo>
                  <a:lnTo>
                    <a:pt x="404" y="68"/>
                  </a:lnTo>
                  <a:lnTo>
                    <a:pt x="404" y="70"/>
                  </a:lnTo>
                  <a:lnTo>
                    <a:pt x="407" y="70"/>
                  </a:lnTo>
                  <a:lnTo>
                    <a:pt x="407" y="70"/>
                  </a:lnTo>
                  <a:lnTo>
                    <a:pt x="409" y="70"/>
                  </a:lnTo>
                  <a:lnTo>
                    <a:pt x="411" y="70"/>
                  </a:lnTo>
                  <a:lnTo>
                    <a:pt x="414" y="70"/>
                  </a:lnTo>
                  <a:lnTo>
                    <a:pt x="414" y="73"/>
                  </a:lnTo>
                  <a:lnTo>
                    <a:pt x="416" y="73"/>
                  </a:lnTo>
                  <a:lnTo>
                    <a:pt x="418" y="75"/>
                  </a:lnTo>
                  <a:lnTo>
                    <a:pt x="421" y="75"/>
                  </a:lnTo>
                  <a:lnTo>
                    <a:pt x="423" y="75"/>
                  </a:lnTo>
                  <a:lnTo>
                    <a:pt x="423" y="75"/>
                  </a:lnTo>
                  <a:lnTo>
                    <a:pt x="426" y="78"/>
                  </a:lnTo>
                  <a:lnTo>
                    <a:pt x="463" y="99"/>
                  </a:lnTo>
                  <a:lnTo>
                    <a:pt x="480" y="108"/>
                  </a:lnTo>
                  <a:lnTo>
                    <a:pt x="492" y="115"/>
                  </a:lnTo>
                  <a:lnTo>
                    <a:pt x="496" y="113"/>
                  </a:lnTo>
                  <a:lnTo>
                    <a:pt x="496" y="111"/>
                  </a:lnTo>
                  <a:lnTo>
                    <a:pt x="496" y="111"/>
                  </a:lnTo>
                  <a:lnTo>
                    <a:pt x="496" y="108"/>
                  </a:lnTo>
                  <a:lnTo>
                    <a:pt x="496" y="106"/>
                  </a:lnTo>
                  <a:lnTo>
                    <a:pt x="496" y="106"/>
                  </a:lnTo>
                  <a:lnTo>
                    <a:pt x="496" y="104"/>
                  </a:lnTo>
                  <a:lnTo>
                    <a:pt x="494" y="101"/>
                  </a:lnTo>
                  <a:lnTo>
                    <a:pt x="496" y="99"/>
                  </a:lnTo>
                  <a:lnTo>
                    <a:pt x="496" y="96"/>
                  </a:lnTo>
                  <a:lnTo>
                    <a:pt x="496" y="96"/>
                  </a:lnTo>
                  <a:lnTo>
                    <a:pt x="494" y="94"/>
                  </a:lnTo>
                  <a:lnTo>
                    <a:pt x="494" y="94"/>
                  </a:lnTo>
                  <a:lnTo>
                    <a:pt x="496" y="89"/>
                  </a:lnTo>
                  <a:lnTo>
                    <a:pt x="499" y="87"/>
                  </a:lnTo>
                  <a:lnTo>
                    <a:pt x="501" y="82"/>
                  </a:lnTo>
                  <a:lnTo>
                    <a:pt x="503" y="80"/>
                  </a:lnTo>
                  <a:lnTo>
                    <a:pt x="506" y="80"/>
                  </a:lnTo>
                  <a:lnTo>
                    <a:pt x="506" y="78"/>
                  </a:lnTo>
                  <a:lnTo>
                    <a:pt x="503" y="78"/>
                  </a:lnTo>
                  <a:lnTo>
                    <a:pt x="503" y="78"/>
                  </a:lnTo>
                  <a:lnTo>
                    <a:pt x="506" y="73"/>
                  </a:lnTo>
                  <a:lnTo>
                    <a:pt x="506" y="73"/>
                  </a:lnTo>
                  <a:lnTo>
                    <a:pt x="508" y="73"/>
                  </a:lnTo>
                  <a:lnTo>
                    <a:pt x="508" y="70"/>
                  </a:lnTo>
                  <a:lnTo>
                    <a:pt x="508" y="70"/>
                  </a:lnTo>
                  <a:lnTo>
                    <a:pt x="508" y="68"/>
                  </a:lnTo>
                  <a:lnTo>
                    <a:pt x="511" y="66"/>
                  </a:lnTo>
                  <a:lnTo>
                    <a:pt x="511" y="66"/>
                  </a:lnTo>
                  <a:lnTo>
                    <a:pt x="511" y="63"/>
                  </a:lnTo>
                  <a:lnTo>
                    <a:pt x="513" y="63"/>
                  </a:lnTo>
                  <a:lnTo>
                    <a:pt x="513" y="63"/>
                  </a:lnTo>
                  <a:lnTo>
                    <a:pt x="513" y="63"/>
                  </a:lnTo>
                  <a:lnTo>
                    <a:pt x="515" y="63"/>
                  </a:lnTo>
                  <a:lnTo>
                    <a:pt x="515" y="61"/>
                  </a:lnTo>
                  <a:lnTo>
                    <a:pt x="515" y="61"/>
                  </a:lnTo>
                  <a:lnTo>
                    <a:pt x="518" y="59"/>
                  </a:lnTo>
                  <a:lnTo>
                    <a:pt x="520" y="56"/>
                  </a:lnTo>
                  <a:lnTo>
                    <a:pt x="522" y="56"/>
                  </a:lnTo>
                  <a:lnTo>
                    <a:pt x="522" y="54"/>
                  </a:lnTo>
                  <a:lnTo>
                    <a:pt x="525" y="52"/>
                  </a:lnTo>
                  <a:lnTo>
                    <a:pt x="527" y="59"/>
                  </a:lnTo>
                  <a:lnTo>
                    <a:pt x="527" y="59"/>
                  </a:lnTo>
                  <a:lnTo>
                    <a:pt x="529" y="61"/>
                  </a:lnTo>
                  <a:lnTo>
                    <a:pt x="532" y="61"/>
                  </a:lnTo>
                  <a:lnTo>
                    <a:pt x="532" y="61"/>
                  </a:lnTo>
                  <a:lnTo>
                    <a:pt x="532" y="61"/>
                  </a:lnTo>
                  <a:lnTo>
                    <a:pt x="532" y="63"/>
                  </a:lnTo>
                  <a:lnTo>
                    <a:pt x="529" y="63"/>
                  </a:lnTo>
                  <a:lnTo>
                    <a:pt x="529" y="66"/>
                  </a:lnTo>
                  <a:lnTo>
                    <a:pt x="529" y="66"/>
                  </a:lnTo>
                  <a:lnTo>
                    <a:pt x="529" y="66"/>
                  </a:lnTo>
                  <a:lnTo>
                    <a:pt x="529" y="68"/>
                  </a:lnTo>
                  <a:lnTo>
                    <a:pt x="534" y="68"/>
                  </a:lnTo>
                  <a:lnTo>
                    <a:pt x="534" y="68"/>
                  </a:lnTo>
                  <a:lnTo>
                    <a:pt x="534" y="68"/>
                  </a:lnTo>
                  <a:lnTo>
                    <a:pt x="537" y="68"/>
                  </a:lnTo>
                  <a:lnTo>
                    <a:pt x="537" y="68"/>
                  </a:lnTo>
                  <a:lnTo>
                    <a:pt x="537" y="68"/>
                  </a:lnTo>
                  <a:lnTo>
                    <a:pt x="539" y="70"/>
                  </a:lnTo>
                  <a:lnTo>
                    <a:pt x="539" y="70"/>
                  </a:lnTo>
                  <a:lnTo>
                    <a:pt x="541" y="73"/>
                  </a:lnTo>
                  <a:lnTo>
                    <a:pt x="544" y="75"/>
                  </a:lnTo>
                  <a:lnTo>
                    <a:pt x="555" y="56"/>
                  </a:lnTo>
                  <a:lnTo>
                    <a:pt x="555" y="56"/>
                  </a:lnTo>
                  <a:lnTo>
                    <a:pt x="555" y="56"/>
                  </a:lnTo>
                  <a:lnTo>
                    <a:pt x="555" y="54"/>
                  </a:lnTo>
                  <a:lnTo>
                    <a:pt x="555" y="54"/>
                  </a:lnTo>
                  <a:lnTo>
                    <a:pt x="558" y="54"/>
                  </a:lnTo>
                  <a:lnTo>
                    <a:pt x="558" y="54"/>
                  </a:lnTo>
                  <a:lnTo>
                    <a:pt x="560" y="54"/>
                  </a:lnTo>
                  <a:lnTo>
                    <a:pt x="560" y="56"/>
                  </a:lnTo>
                  <a:lnTo>
                    <a:pt x="560" y="59"/>
                  </a:lnTo>
                  <a:lnTo>
                    <a:pt x="560" y="59"/>
                  </a:lnTo>
                  <a:lnTo>
                    <a:pt x="560" y="61"/>
                  </a:lnTo>
                  <a:lnTo>
                    <a:pt x="560" y="61"/>
                  </a:lnTo>
                  <a:lnTo>
                    <a:pt x="560" y="59"/>
                  </a:lnTo>
                  <a:lnTo>
                    <a:pt x="563" y="61"/>
                  </a:lnTo>
                  <a:lnTo>
                    <a:pt x="563" y="61"/>
                  </a:lnTo>
                  <a:lnTo>
                    <a:pt x="563" y="61"/>
                  </a:lnTo>
                  <a:lnTo>
                    <a:pt x="563" y="61"/>
                  </a:lnTo>
                  <a:lnTo>
                    <a:pt x="563" y="63"/>
                  </a:lnTo>
                  <a:lnTo>
                    <a:pt x="565" y="63"/>
                  </a:lnTo>
                  <a:lnTo>
                    <a:pt x="565" y="63"/>
                  </a:lnTo>
                  <a:lnTo>
                    <a:pt x="565" y="63"/>
                  </a:lnTo>
                  <a:lnTo>
                    <a:pt x="565" y="66"/>
                  </a:lnTo>
                  <a:lnTo>
                    <a:pt x="567" y="66"/>
                  </a:lnTo>
                  <a:lnTo>
                    <a:pt x="567" y="63"/>
                  </a:lnTo>
                  <a:lnTo>
                    <a:pt x="570" y="68"/>
                  </a:lnTo>
                  <a:lnTo>
                    <a:pt x="570" y="68"/>
                  </a:lnTo>
                  <a:lnTo>
                    <a:pt x="572" y="68"/>
                  </a:lnTo>
                  <a:lnTo>
                    <a:pt x="572" y="70"/>
                  </a:lnTo>
                  <a:lnTo>
                    <a:pt x="572" y="70"/>
                  </a:lnTo>
                  <a:lnTo>
                    <a:pt x="574" y="70"/>
                  </a:lnTo>
                  <a:lnTo>
                    <a:pt x="572" y="73"/>
                  </a:lnTo>
                  <a:lnTo>
                    <a:pt x="574" y="75"/>
                  </a:lnTo>
                  <a:lnTo>
                    <a:pt x="574" y="78"/>
                  </a:lnTo>
                  <a:lnTo>
                    <a:pt x="574" y="80"/>
                  </a:lnTo>
                  <a:lnTo>
                    <a:pt x="574" y="80"/>
                  </a:lnTo>
                  <a:lnTo>
                    <a:pt x="574" y="80"/>
                  </a:lnTo>
                  <a:lnTo>
                    <a:pt x="577" y="80"/>
                  </a:lnTo>
                  <a:lnTo>
                    <a:pt x="577" y="80"/>
                  </a:lnTo>
                  <a:lnTo>
                    <a:pt x="577" y="80"/>
                  </a:lnTo>
                  <a:lnTo>
                    <a:pt x="579" y="80"/>
                  </a:lnTo>
                  <a:lnTo>
                    <a:pt x="579" y="80"/>
                  </a:lnTo>
                  <a:lnTo>
                    <a:pt x="579" y="80"/>
                  </a:lnTo>
                  <a:lnTo>
                    <a:pt x="579" y="80"/>
                  </a:lnTo>
                  <a:lnTo>
                    <a:pt x="581" y="80"/>
                  </a:lnTo>
                  <a:lnTo>
                    <a:pt x="581" y="80"/>
                  </a:lnTo>
                  <a:lnTo>
                    <a:pt x="581" y="80"/>
                  </a:lnTo>
                  <a:lnTo>
                    <a:pt x="584" y="80"/>
                  </a:lnTo>
                  <a:lnTo>
                    <a:pt x="584" y="82"/>
                  </a:lnTo>
                  <a:lnTo>
                    <a:pt x="584" y="82"/>
                  </a:lnTo>
                  <a:lnTo>
                    <a:pt x="586" y="82"/>
                  </a:lnTo>
                  <a:lnTo>
                    <a:pt x="586" y="82"/>
                  </a:lnTo>
                  <a:lnTo>
                    <a:pt x="586" y="85"/>
                  </a:lnTo>
                  <a:lnTo>
                    <a:pt x="586" y="87"/>
                  </a:lnTo>
                  <a:lnTo>
                    <a:pt x="589" y="87"/>
                  </a:lnTo>
                  <a:lnTo>
                    <a:pt x="589" y="87"/>
                  </a:lnTo>
                  <a:lnTo>
                    <a:pt x="591" y="87"/>
                  </a:lnTo>
                  <a:lnTo>
                    <a:pt x="591" y="89"/>
                  </a:lnTo>
                  <a:lnTo>
                    <a:pt x="591" y="89"/>
                  </a:lnTo>
                  <a:lnTo>
                    <a:pt x="591" y="89"/>
                  </a:lnTo>
                  <a:lnTo>
                    <a:pt x="591" y="92"/>
                  </a:lnTo>
                  <a:lnTo>
                    <a:pt x="591" y="92"/>
                  </a:lnTo>
                  <a:lnTo>
                    <a:pt x="591" y="94"/>
                  </a:lnTo>
                  <a:lnTo>
                    <a:pt x="593" y="94"/>
                  </a:lnTo>
                  <a:lnTo>
                    <a:pt x="593" y="96"/>
                  </a:lnTo>
                  <a:lnTo>
                    <a:pt x="593" y="96"/>
                  </a:lnTo>
                  <a:lnTo>
                    <a:pt x="593" y="99"/>
                  </a:lnTo>
                  <a:lnTo>
                    <a:pt x="591" y="99"/>
                  </a:lnTo>
                  <a:lnTo>
                    <a:pt x="591" y="99"/>
                  </a:lnTo>
                  <a:lnTo>
                    <a:pt x="591" y="99"/>
                  </a:lnTo>
                  <a:lnTo>
                    <a:pt x="591" y="101"/>
                  </a:lnTo>
                  <a:lnTo>
                    <a:pt x="591" y="101"/>
                  </a:lnTo>
                  <a:lnTo>
                    <a:pt x="593" y="104"/>
                  </a:lnTo>
                  <a:lnTo>
                    <a:pt x="593" y="104"/>
                  </a:lnTo>
                  <a:lnTo>
                    <a:pt x="593" y="106"/>
                  </a:lnTo>
                  <a:lnTo>
                    <a:pt x="593" y="106"/>
                  </a:lnTo>
                  <a:lnTo>
                    <a:pt x="593" y="108"/>
                  </a:lnTo>
                  <a:lnTo>
                    <a:pt x="593" y="108"/>
                  </a:lnTo>
                  <a:lnTo>
                    <a:pt x="591" y="111"/>
                  </a:lnTo>
                  <a:lnTo>
                    <a:pt x="591" y="111"/>
                  </a:lnTo>
                  <a:lnTo>
                    <a:pt x="591" y="113"/>
                  </a:lnTo>
                  <a:lnTo>
                    <a:pt x="591" y="113"/>
                  </a:lnTo>
                  <a:lnTo>
                    <a:pt x="591" y="115"/>
                  </a:lnTo>
                  <a:lnTo>
                    <a:pt x="591" y="118"/>
                  </a:lnTo>
                  <a:lnTo>
                    <a:pt x="591" y="118"/>
                  </a:lnTo>
                  <a:lnTo>
                    <a:pt x="593" y="122"/>
                  </a:lnTo>
                  <a:lnTo>
                    <a:pt x="593" y="122"/>
                  </a:lnTo>
                  <a:lnTo>
                    <a:pt x="596" y="122"/>
                  </a:lnTo>
                  <a:lnTo>
                    <a:pt x="596" y="120"/>
                  </a:lnTo>
                  <a:lnTo>
                    <a:pt x="596" y="118"/>
                  </a:lnTo>
                  <a:lnTo>
                    <a:pt x="596" y="115"/>
                  </a:lnTo>
                  <a:lnTo>
                    <a:pt x="596" y="113"/>
                  </a:lnTo>
                  <a:lnTo>
                    <a:pt x="596" y="111"/>
                  </a:lnTo>
                  <a:lnTo>
                    <a:pt x="598" y="111"/>
                  </a:lnTo>
                  <a:lnTo>
                    <a:pt x="596" y="108"/>
                  </a:lnTo>
                  <a:lnTo>
                    <a:pt x="596" y="106"/>
                  </a:lnTo>
                  <a:lnTo>
                    <a:pt x="598" y="106"/>
                  </a:lnTo>
                  <a:lnTo>
                    <a:pt x="600" y="106"/>
                  </a:lnTo>
                  <a:lnTo>
                    <a:pt x="600" y="104"/>
                  </a:lnTo>
                  <a:lnTo>
                    <a:pt x="600" y="101"/>
                  </a:lnTo>
                  <a:lnTo>
                    <a:pt x="600" y="99"/>
                  </a:lnTo>
                  <a:lnTo>
                    <a:pt x="603" y="96"/>
                  </a:lnTo>
                  <a:lnTo>
                    <a:pt x="605" y="99"/>
                  </a:lnTo>
                  <a:lnTo>
                    <a:pt x="605" y="99"/>
                  </a:lnTo>
                  <a:lnTo>
                    <a:pt x="605" y="99"/>
                  </a:lnTo>
                  <a:lnTo>
                    <a:pt x="605" y="96"/>
                  </a:lnTo>
                  <a:lnTo>
                    <a:pt x="607" y="99"/>
                  </a:lnTo>
                  <a:lnTo>
                    <a:pt x="607" y="99"/>
                  </a:lnTo>
                  <a:lnTo>
                    <a:pt x="607" y="101"/>
                  </a:lnTo>
                  <a:lnTo>
                    <a:pt x="607" y="101"/>
                  </a:lnTo>
                  <a:lnTo>
                    <a:pt x="607" y="101"/>
                  </a:lnTo>
                  <a:lnTo>
                    <a:pt x="607" y="104"/>
                  </a:lnTo>
                  <a:lnTo>
                    <a:pt x="607" y="106"/>
                  </a:lnTo>
                  <a:lnTo>
                    <a:pt x="605" y="106"/>
                  </a:lnTo>
                  <a:lnTo>
                    <a:pt x="607" y="106"/>
                  </a:lnTo>
                  <a:lnTo>
                    <a:pt x="607" y="108"/>
                  </a:lnTo>
                  <a:lnTo>
                    <a:pt x="607" y="108"/>
                  </a:lnTo>
                  <a:lnTo>
                    <a:pt x="607" y="108"/>
                  </a:lnTo>
                  <a:lnTo>
                    <a:pt x="607" y="111"/>
                  </a:lnTo>
                  <a:lnTo>
                    <a:pt x="607" y="111"/>
                  </a:lnTo>
                  <a:lnTo>
                    <a:pt x="607" y="111"/>
                  </a:lnTo>
                  <a:lnTo>
                    <a:pt x="610" y="113"/>
                  </a:lnTo>
                  <a:lnTo>
                    <a:pt x="607" y="113"/>
                  </a:lnTo>
                  <a:lnTo>
                    <a:pt x="607" y="113"/>
                  </a:lnTo>
                  <a:lnTo>
                    <a:pt x="610" y="115"/>
                  </a:lnTo>
                  <a:lnTo>
                    <a:pt x="607" y="115"/>
                  </a:lnTo>
                  <a:lnTo>
                    <a:pt x="607" y="118"/>
                  </a:lnTo>
                  <a:lnTo>
                    <a:pt x="610" y="118"/>
                  </a:lnTo>
                  <a:lnTo>
                    <a:pt x="610" y="118"/>
                  </a:lnTo>
                  <a:lnTo>
                    <a:pt x="612" y="118"/>
                  </a:lnTo>
                  <a:lnTo>
                    <a:pt x="612" y="118"/>
                  </a:lnTo>
                  <a:lnTo>
                    <a:pt x="612" y="115"/>
                  </a:lnTo>
                  <a:lnTo>
                    <a:pt x="612" y="115"/>
                  </a:lnTo>
                  <a:lnTo>
                    <a:pt x="615" y="115"/>
                  </a:lnTo>
                  <a:lnTo>
                    <a:pt x="615" y="115"/>
                  </a:lnTo>
                  <a:lnTo>
                    <a:pt x="617" y="115"/>
                  </a:lnTo>
                  <a:lnTo>
                    <a:pt x="617" y="115"/>
                  </a:lnTo>
                  <a:lnTo>
                    <a:pt x="617" y="115"/>
                  </a:lnTo>
                  <a:lnTo>
                    <a:pt x="617" y="115"/>
                  </a:lnTo>
                  <a:lnTo>
                    <a:pt x="619" y="113"/>
                  </a:lnTo>
                  <a:lnTo>
                    <a:pt x="619" y="113"/>
                  </a:lnTo>
                  <a:lnTo>
                    <a:pt x="619" y="113"/>
                  </a:lnTo>
                  <a:lnTo>
                    <a:pt x="619" y="113"/>
                  </a:lnTo>
                  <a:lnTo>
                    <a:pt x="622" y="111"/>
                  </a:lnTo>
                  <a:lnTo>
                    <a:pt x="622" y="111"/>
                  </a:lnTo>
                  <a:lnTo>
                    <a:pt x="624" y="113"/>
                  </a:lnTo>
                  <a:lnTo>
                    <a:pt x="624" y="113"/>
                  </a:lnTo>
                  <a:lnTo>
                    <a:pt x="624" y="111"/>
                  </a:lnTo>
                  <a:lnTo>
                    <a:pt x="624" y="111"/>
                  </a:lnTo>
                  <a:lnTo>
                    <a:pt x="624" y="111"/>
                  </a:lnTo>
                  <a:lnTo>
                    <a:pt x="624" y="111"/>
                  </a:lnTo>
                  <a:lnTo>
                    <a:pt x="626" y="111"/>
                  </a:lnTo>
                  <a:lnTo>
                    <a:pt x="626" y="111"/>
                  </a:lnTo>
                  <a:lnTo>
                    <a:pt x="626" y="111"/>
                  </a:lnTo>
                  <a:lnTo>
                    <a:pt x="626" y="111"/>
                  </a:lnTo>
                  <a:lnTo>
                    <a:pt x="629" y="111"/>
                  </a:lnTo>
                  <a:lnTo>
                    <a:pt x="629" y="111"/>
                  </a:lnTo>
                  <a:lnTo>
                    <a:pt x="626" y="111"/>
                  </a:lnTo>
                  <a:lnTo>
                    <a:pt x="629" y="111"/>
                  </a:lnTo>
                  <a:lnTo>
                    <a:pt x="626" y="111"/>
                  </a:lnTo>
                  <a:lnTo>
                    <a:pt x="629" y="108"/>
                  </a:lnTo>
                  <a:lnTo>
                    <a:pt x="629" y="108"/>
                  </a:lnTo>
                  <a:lnTo>
                    <a:pt x="629" y="106"/>
                  </a:lnTo>
                  <a:lnTo>
                    <a:pt x="631" y="106"/>
                  </a:lnTo>
                  <a:lnTo>
                    <a:pt x="631" y="106"/>
                  </a:lnTo>
                  <a:lnTo>
                    <a:pt x="631" y="106"/>
                  </a:lnTo>
                  <a:lnTo>
                    <a:pt x="631" y="108"/>
                  </a:lnTo>
                  <a:lnTo>
                    <a:pt x="633" y="106"/>
                  </a:lnTo>
                  <a:lnTo>
                    <a:pt x="633" y="106"/>
                  </a:lnTo>
                  <a:lnTo>
                    <a:pt x="633" y="106"/>
                  </a:lnTo>
                  <a:lnTo>
                    <a:pt x="636" y="106"/>
                  </a:lnTo>
                  <a:lnTo>
                    <a:pt x="636" y="106"/>
                  </a:lnTo>
                  <a:lnTo>
                    <a:pt x="636" y="104"/>
                  </a:lnTo>
                  <a:lnTo>
                    <a:pt x="636" y="104"/>
                  </a:lnTo>
                  <a:lnTo>
                    <a:pt x="638" y="101"/>
                  </a:lnTo>
                  <a:lnTo>
                    <a:pt x="638" y="104"/>
                  </a:lnTo>
                  <a:lnTo>
                    <a:pt x="638" y="101"/>
                  </a:lnTo>
                  <a:lnTo>
                    <a:pt x="640" y="104"/>
                  </a:lnTo>
                  <a:lnTo>
                    <a:pt x="643" y="101"/>
                  </a:lnTo>
                  <a:lnTo>
                    <a:pt x="643" y="101"/>
                  </a:lnTo>
                  <a:lnTo>
                    <a:pt x="643" y="101"/>
                  </a:lnTo>
                  <a:lnTo>
                    <a:pt x="643" y="101"/>
                  </a:lnTo>
                  <a:lnTo>
                    <a:pt x="645" y="99"/>
                  </a:lnTo>
                  <a:lnTo>
                    <a:pt x="645" y="101"/>
                  </a:lnTo>
                  <a:lnTo>
                    <a:pt x="648" y="101"/>
                  </a:lnTo>
                  <a:lnTo>
                    <a:pt x="648" y="99"/>
                  </a:lnTo>
                  <a:lnTo>
                    <a:pt x="648" y="101"/>
                  </a:lnTo>
                  <a:lnTo>
                    <a:pt x="648" y="101"/>
                  </a:lnTo>
                  <a:lnTo>
                    <a:pt x="648" y="104"/>
                  </a:lnTo>
                  <a:lnTo>
                    <a:pt x="645" y="104"/>
                  </a:lnTo>
                  <a:lnTo>
                    <a:pt x="645" y="106"/>
                  </a:lnTo>
                  <a:lnTo>
                    <a:pt x="645" y="106"/>
                  </a:lnTo>
                  <a:lnTo>
                    <a:pt x="645" y="106"/>
                  </a:lnTo>
                  <a:lnTo>
                    <a:pt x="645" y="108"/>
                  </a:lnTo>
                  <a:lnTo>
                    <a:pt x="648" y="108"/>
                  </a:lnTo>
                  <a:lnTo>
                    <a:pt x="645" y="111"/>
                  </a:lnTo>
                  <a:lnTo>
                    <a:pt x="645" y="111"/>
                  </a:lnTo>
                  <a:lnTo>
                    <a:pt x="645" y="111"/>
                  </a:lnTo>
                  <a:lnTo>
                    <a:pt x="645" y="113"/>
                  </a:lnTo>
                  <a:lnTo>
                    <a:pt x="648" y="113"/>
                  </a:lnTo>
                  <a:lnTo>
                    <a:pt x="648" y="118"/>
                  </a:lnTo>
                  <a:lnTo>
                    <a:pt x="645" y="120"/>
                  </a:lnTo>
                  <a:lnTo>
                    <a:pt x="645" y="120"/>
                  </a:lnTo>
                  <a:lnTo>
                    <a:pt x="645" y="120"/>
                  </a:lnTo>
                  <a:lnTo>
                    <a:pt x="648" y="120"/>
                  </a:lnTo>
                  <a:lnTo>
                    <a:pt x="648" y="120"/>
                  </a:lnTo>
                  <a:lnTo>
                    <a:pt x="648" y="120"/>
                  </a:lnTo>
                  <a:lnTo>
                    <a:pt x="648" y="120"/>
                  </a:lnTo>
                  <a:lnTo>
                    <a:pt x="652" y="118"/>
                  </a:lnTo>
                  <a:lnTo>
                    <a:pt x="652" y="118"/>
                  </a:lnTo>
                  <a:lnTo>
                    <a:pt x="652" y="118"/>
                  </a:lnTo>
                  <a:lnTo>
                    <a:pt x="652" y="118"/>
                  </a:lnTo>
                  <a:lnTo>
                    <a:pt x="655" y="118"/>
                  </a:lnTo>
                  <a:lnTo>
                    <a:pt x="655" y="118"/>
                  </a:lnTo>
                  <a:lnTo>
                    <a:pt x="657" y="118"/>
                  </a:lnTo>
                  <a:lnTo>
                    <a:pt x="657" y="118"/>
                  </a:lnTo>
                  <a:lnTo>
                    <a:pt x="657" y="115"/>
                  </a:lnTo>
                  <a:lnTo>
                    <a:pt x="657" y="115"/>
                  </a:lnTo>
                  <a:lnTo>
                    <a:pt x="657" y="115"/>
                  </a:lnTo>
                  <a:lnTo>
                    <a:pt x="657" y="111"/>
                  </a:lnTo>
                  <a:lnTo>
                    <a:pt x="657" y="111"/>
                  </a:lnTo>
                  <a:lnTo>
                    <a:pt x="657" y="111"/>
                  </a:lnTo>
                  <a:lnTo>
                    <a:pt x="659" y="111"/>
                  </a:lnTo>
                  <a:lnTo>
                    <a:pt x="659" y="111"/>
                  </a:lnTo>
                  <a:lnTo>
                    <a:pt x="659" y="111"/>
                  </a:lnTo>
                  <a:lnTo>
                    <a:pt x="659" y="111"/>
                  </a:lnTo>
                  <a:lnTo>
                    <a:pt x="659" y="113"/>
                  </a:lnTo>
                  <a:lnTo>
                    <a:pt x="659" y="113"/>
                  </a:lnTo>
                  <a:lnTo>
                    <a:pt x="662" y="113"/>
                  </a:lnTo>
                  <a:lnTo>
                    <a:pt x="664" y="115"/>
                  </a:lnTo>
                  <a:lnTo>
                    <a:pt x="662" y="115"/>
                  </a:lnTo>
                  <a:lnTo>
                    <a:pt x="662" y="115"/>
                  </a:lnTo>
                  <a:lnTo>
                    <a:pt x="664" y="115"/>
                  </a:lnTo>
                  <a:lnTo>
                    <a:pt x="664" y="118"/>
                  </a:lnTo>
                  <a:lnTo>
                    <a:pt x="666" y="115"/>
                  </a:lnTo>
                  <a:lnTo>
                    <a:pt x="669" y="115"/>
                  </a:lnTo>
                  <a:lnTo>
                    <a:pt x="669" y="118"/>
                  </a:lnTo>
                  <a:lnTo>
                    <a:pt x="671" y="120"/>
                  </a:lnTo>
                  <a:lnTo>
                    <a:pt x="671" y="120"/>
                  </a:lnTo>
                  <a:lnTo>
                    <a:pt x="671" y="122"/>
                  </a:lnTo>
                  <a:lnTo>
                    <a:pt x="671" y="120"/>
                  </a:lnTo>
                  <a:lnTo>
                    <a:pt x="674" y="120"/>
                  </a:lnTo>
                  <a:lnTo>
                    <a:pt x="674" y="120"/>
                  </a:lnTo>
                  <a:lnTo>
                    <a:pt x="674" y="118"/>
                  </a:lnTo>
                  <a:lnTo>
                    <a:pt x="676" y="118"/>
                  </a:lnTo>
                  <a:lnTo>
                    <a:pt x="676" y="118"/>
                  </a:lnTo>
                  <a:lnTo>
                    <a:pt x="678" y="118"/>
                  </a:lnTo>
                  <a:lnTo>
                    <a:pt x="678" y="120"/>
                  </a:lnTo>
                  <a:lnTo>
                    <a:pt x="678" y="118"/>
                  </a:lnTo>
                  <a:lnTo>
                    <a:pt x="678" y="118"/>
                  </a:lnTo>
                  <a:lnTo>
                    <a:pt x="678" y="120"/>
                  </a:lnTo>
                  <a:lnTo>
                    <a:pt x="678" y="122"/>
                  </a:lnTo>
                  <a:lnTo>
                    <a:pt x="681" y="122"/>
                  </a:lnTo>
                  <a:lnTo>
                    <a:pt x="681" y="120"/>
                  </a:lnTo>
                  <a:lnTo>
                    <a:pt x="681" y="122"/>
                  </a:lnTo>
                  <a:lnTo>
                    <a:pt x="681" y="122"/>
                  </a:lnTo>
                  <a:lnTo>
                    <a:pt x="683" y="122"/>
                  </a:lnTo>
                  <a:lnTo>
                    <a:pt x="683" y="122"/>
                  </a:lnTo>
                  <a:lnTo>
                    <a:pt x="688" y="122"/>
                  </a:lnTo>
                  <a:lnTo>
                    <a:pt x="690" y="122"/>
                  </a:lnTo>
                  <a:lnTo>
                    <a:pt x="692" y="122"/>
                  </a:lnTo>
                  <a:lnTo>
                    <a:pt x="692" y="125"/>
                  </a:lnTo>
                  <a:lnTo>
                    <a:pt x="707" y="141"/>
                  </a:lnTo>
                  <a:lnTo>
                    <a:pt x="709" y="139"/>
                  </a:lnTo>
                  <a:lnTo>
                    <a:pt x="709" y="137"/>
                  </a:lnTo>
                  <a:lnTo>
                    <a:pt x="709" y="137"/>
                  </a:lnTo>
                  <a:lnTo>
                    <a:pt x="711" y="134"/>
                  </a:lnTo>
                  <a:lnTo>
                    <a:pt x="711" y="134"/>
                  </a:lnTo>
                  <a:lnTo>
                    <a:pt x="711" y="132"/>
                  </a:lnTo>
                  <a:lnTo>
                    <a:pt x="714" y="132"/>
                  </a:lnTo>
                  <a:lnTo>
                    <a:pt x="714" y="132"/>
                  </a:lnTo>
                  <a:lnTo>
                    <a:pt x="714" y="127"/>
                  </a:lnTo>
                  <a:lnTo>
                    <a:pt x="711" y="127"/>
                  </a:lnTo>
                  <a:lnTo>
                    <a:pt x="711" y="127"/>
                  </a:lnTo>
                  <a:lnTo>
                    <a:pt x="711" y="125"/>
                  </a:lnTo>
                  <a:lnTo>
                    <a:pt x="709" y="122"/>
                  </a:lnTo>
                  <a:lnTo>
                    <a:pt x="711" y="122"/>
                  </a:lnTo>
                  <a:lnTo>
                    <a:pt x="709" y="120"/>
                  </a:lnTo>
                  <a:lnTo>
                    <a:pt x="709" y="118"/>
                  </a:lnTo>
                  <a:lnTo>
                    <a:pt x="709" y="115"/>
                  </a:lnTo>
                  <a:lnTo>
                    <a:pt x="711" y="115"/>
                  </a:lnTo>
                  <a:lnTo>
                    <a:pt x="711" y="115"/>
                  </a:lnTo>
                  <a:lnTo>
                    <a:pt x="711" y="113"/>
                  </a:lnTo>
                  <a:lnTo>
                    <a:pt x="711" y="111"/>
                  </a:lnTo>
                  <a:lnTo>
                    <a:pt x="709" y="111"/>
                  </a:lnTo>
                  <a:lnTo>
                    <a:pt x="711" y="111"/>
                  </a:lnTo>
                  <a:lnTo>
                    <a:pt x="711" y="108"/>
                  </a:lnTo>
                  <a:lnTo>
                    <a:pt x="709" y="108"/>
                  </a:lnTo>
                  <a:lnTo>
                    <a:pt x="709" y="108"/>
                  </a:lnTo>
                  <a:lnTo>
                    <a:pt x="709" y="108"/>
                  </a:lnTo>
                  <a:lnTo>
                    <a:pt x="709" y="106"/>
                  </a:lnTo>
                  <a:lnTo>
                    <a:pt x="709" y="106"/>
                  </a:lnTo>
                  <a:lnTo>
                    <a:pt x="709" y="106"/>
                  </a:lnTo>
                  <a:lnTo>
                    <a:pt x="709" y="106"/>
                  </a:lnTo>
                  <a:lnTo>
                    <a:pt x="711" y="104"/>
                  </a:lnTo>
                  <a:lnTo>
                    <a:pt x="709" y="101"/>
                  </a:lnTo>
                  <a:lnTo>
                    <a:pt x="709" y="101"/>
                  </a:lnTo>
                  <a:lnTo>
                    <a:pt x="711" y="101"/>
                  </a:lnTo>
                  <a:lnTo>
                    <a:pt x="711" y="99"/>
                  </a:lnTo>
                  <a:lnTo>
                    <a:pt x="711" y="99"/>
                  </a:lnTo>
                  <a:lnTo>
                    <a:pt x="711" y="99"/>
                  </a:lnTo>
                  <a:lnTo>
                    <a:pt x="711" y="99"/>
                  </a:lnTo>
                  <a:lnTo>
                    <a:pt x="711" y="96"/>
                  </a:lnTo>
                  <a:lnTo>
                    <a:pt x="711" y="96"/>
                  </a:lnTo>
                  <a:lnTo>
                    <a:pt x="711" y="96"/>
                  </a:lnTo>
                  <a:lnTo>
                    <a:pt x="711" y="96"/>
                  </a:lnTo>
                  <a:lnTo>
                    <a:pt x="714" y="94"/>
                  </a:lnTo>
                  <a:lnTo>
                    <a:pt x="714" y="94"/>
                  </a:lnTo>
                  <a:lnTo>
                    <a:pt x="716" y="94"/>
                  </a:lnTo>
                  <a:lnTo>
                    <a:pt x="718" y="96"/>
                  </a:lnTo>
                  <a:lnTo>
                    <a:pt x="721" y="96"/>
                  </a:lnTo>
                  <a:lnTo>
                    <a:pt x="721" y="96"/>
                  </a:lnTo>
                  <a:lnTo>
                    <a:pt x="721" y="99"/>
                  </a:lnTo>
                  <a:lnTo>
                    <a:pt x="721" y="104"/>
                  </a:lnTo>
                  <a:lnTo>
                    <a:pt x="726" y="106"/>
                  </a:lnTo>
                  <a:lnTo>
                    <a:pt x="726" y="104"/>
                  </a:lnTo>
                  <a:lnTo>
                    <a:pt x="728" y="104"/>
                  </a:lnTo>
                  <a:lnTo>
                    <a:pt x="728" y="106"/>
                  </a:lnTo>
                  <a:lnTo>
                    <a:pt x="730" y="106"/>
                  </a:lnTo>
                  <a:lnTo>
                    <a:pt x="730" y="104"/>
                  </a:lnTo>
                  <a:lnTo>
                    <a:pt x="733" y="104"/>
                  </a:lnTo>
                  <a:lnTo>
                    <a:pt x="730" y="108"/>
                  </a:lnTo>
                  <a:lnTo>
                    <a:pt x="730" y="108"/>
                  </a:lnTo>
                  <a:lnTo>
                    <a:pt x="735" y="111"/>
                  </a:lnTo>
                  <a:lnTo>
                    <a:pt x="737" y="108"/>
                  </a:lnTo>
                  <a:lnTo>
                    <a:pt x="737" y="111"/>
                  </a:lnTo>
                  <a:lnTo>
                    <a:pt x="740" y="111"/>
                  </a:lnTo>
                  <a:lnTo>
                    <a:pt x="737" y="111"/>
                  </a:lnTo>
                  <a:lnTo>
                    <a:pt x="735" y="113"/>
                  </a:lnTo>
                  <a:lnTo>
                    <a:pt x="737" y="115"/>
                  </a:lnTo>
                  <a:lnTo>
                    <a:pt x="737" y="118"/>
                  </a:lnTo>
                  <a:lnTo>
                    <a:pt x="740" y="118"/>
                  </a:lnTo>
                  <a:lnTo>
                    <a:pt x="740" y="118"/>
                  </a:lnTo>
                  <a:lnTo>
                    <a:pt x="740" y="115"/>
                  </a:lnTo>
                  <a:lnTo>
                    <a:pt x="744" y="115"/>
                  </a:lnTo>
                  <a:lnTo>
                    <a:pt x="744" y="113"/>
                  </a:lnTo>
                  <a:lnTo>
                    <a:pt x="744" y="111"/>
                  </a:lnTo>
                  <a:lnTo>
                    <a:pt x="744" y="111"/>
                  </a:lnTo>
                  <a:lnTo>
                    <a:pt x="747" y="111"/>
                  </a:lnTo>
                  <a:lnTo>
                    <a:pt x="747" y="111"/>
                  </a:lnTo>
                  <a:lnTo>
                    <a:pt x="749" y="113"/>
                  </a:lnTo>
                  <a:lnTo>
                    <a:pt x="749" y="113"/>
                  </a:lnTo>
                  <a:lnTo>
                    <a:pt x="754" y="113"/>
                  </a:lnTo>
                  <a:lnTo>
                    <a:pt x="754" y="113"/>
                  </a:lnTo>
                  <a:lnTo>
                    <a:pt x="756" y="113"/>
                  </a:lnTo>
                  <a:lnTo>
                    <a:pt x="756" y="113"/>
                  </a:lnTo>
                  <a:lnTo>
                    <a:pt x="756" y="113"/>
                  </a:lnTo>
                  <a:lnTo>
                    <a:pt x="756" y="115"/>
                  </a:lnTo>
                  <a:lnTo>
                    <a:pt x="759" y="115"/>
                  </a:lnTo>
                  <a:lnTo>
                    <a:pt x="759" y="113"/>
                  </a:lnTo>
                  <a:lnTo>
                    <a:pt x="759" y="113"/>
                  </a:lnTo>
                  <a:lnTo>
                    <a:pt x="759" y="111"/>
                  </a:lnTo>
                  <a:lnTo>
                    <a:pt x="761" y="111"/>
                  </a:lnTo>
                  <a:lnTo>
                    <a:pt x="763" y="111"/>
                  </a:lnTo>
                  <a:lnTo>
                    <a:pt x="761" y="108"/>
                  </a:lnTo>
                  <a:lnTo>
                    <a:pt x="763" y="106"/>
                  </a:lnTo>
                  <a:lnTo>
                    <a:pt x="763" y="106"/>
                  </a:lnTo>
                  <a:lnTo>
                    <a:pt x="766" y="106"/>
                  </a:lnTo>
                  <a:lnTo>
                    <a:pt x="766" y="106"/>
                  </a:lnTo>
                  <a:lnTo>
                    <a:pt x="766" y="106"/>
                  </a:lnTo>
                  <a:lnTo>
                    <a:pt x="768" y="106"/>
                  </a:lnTo>
                  <a:lnTo>
                    <a:pt x="770" y="106"/>
                  </a:lnTo>
                  <a:lnTo>
                    <a:pt x="770" y="106"/>
                  </a:lnTo>
                  <a:lnTo>
                    <a:pt x="770" y="106"/>
                  </a:lnTo>
                  <a:lnTo>
                    <a:pt x="773" y="108"/>
                  </a:lnTo>
                  <a:lnTo>
                    <a:pt x="773" y="106"/>
                  </a:lnTo>
                  <a:lnTo>
                    <a:pt x="775" y="108"/>
                  </a:lnTo>
                  <a:lnTo>
                    <a:pt x="775" y="106"/>
                  </a:lnTo>
                  <a:lnTo>
                    <a:pt x="775" y="106"/>
                  </a:lnTo>
                  <a:lnTo>
                    <a:pt x="775" y="106"/>
                  </a:lnTo>
                  <a:lnTo>
                    <a:pt x="778" y="104"/>
                  </a:lnTo>
                  <a:lnTo>
                    <a:pt x="780" y="104"/>
                  </a:lnTo>
                  <a:lnTo>
                    <a:pt x="780" y="101"/>
                  </a:lnTo>
                  <a:lnTo>
                    <a:pt x="780" y="104"/>
                  </a:lnTo>
                  <a:lnTo>
                    <a:pt x="780" y="104"/>
                  </a:lnTo>
                  <a:lnTo>
                    <a:pt x="780" y="104"/>
                  </a:lnTo>
                  <a:lnTo>
                    <a:pt x="782" y="101"/>
                  </a:lnTo>
                  <a:lnTo>
                    <a:pt x="782" y="104"/>
                  </a:lnTo>
                  <a:lnTo>
                    <a:pt x="782" y="104"/>
                  </a:lnTo>
                  <a:lnTo>
                    <a:pt x="782" y="104"/>
                  </a:lnTo>
                  <a:lnTo>
                    <a:pt x="782" y="101"/>
                  </a:lnTo>
                  <a:lnTo>
                    <a:pt x="782" y="101"/>
                  </a:lnTo>
                  <a:lnTo>
                    <a:pt x="785" y="101"/>
                  </a:lnTo>
                  <a:lnTo>
                    <a:pt x="785" y="101"/>
                  </a:lnTo>
                  <a:lnTo>
                    <a:pt x="785" y="101"/>
                  </a:lnTo>
                  <a:lnTo>
                    <a:pt x="787" y="101"/>
                  </a:lnTo>
                  <a:lnTo>
                    <a:pt x="789" y="99"/>
                  </a:lnTo>
                  <a:lnTo>
                    <a:pt x="789" y="99"/>
                  </a:lnTo>
                  <a:lnTo>
                    <a:pt x="792" y="99"/>
                  </a:lnTo>
                  <a:lnTo>
                    <a:pt x="792" y="99"/>
                  </a:lnTo>
                  <a:lnTo>
                    <a:pt x="792" y="96"/>
                  </a:lnTo>
                  <a:lnTo>
                    <a:pt x="792" y="96"/>
                  </a:lnTo>
                  <a:lnTo>
                    <a:pt x="794" y="96"/>
                  </a:lnTo>
                  <a:lnTo>
                    <a:pt x="794" y="96"/>
                  </a:lnTo>
                  <a:lnTo>
                    <a:pt x="794" y="96"/>
                  </a:lnTo>
                  <a:lnTo>
                    <a:pt x="794" y="96"/>
                  </a:lnTo>
                  <a:lnTo>
                    <a:pt x="796" y="96"/>
                  </a:lnTo>
                  <a:lnTo>
                    <a:pt x="796" y="96"/>
                  </a:lnTo>
                  <a:lnTo>
                    <a:pt x="799" y="94"/>
                  </a:lnTo>
                  <a:lnTo>
                    <a:pt x="799" y="94"/>
                  </a:lnTo>
                  <a:lnTo>
                    <a:pt x="801" y="92"/>
                  </a:lnTo>
                  <a:lnTo>
                    <a:pt x="803" y="92"/>
                  </a:lnTo>
                  <a:lnTo>
                    <a:pt x="803" y="92"/>
                  </a:lnTo>
                  <a:lnTo>
                    <a:pt x="803" y="89"/>
                  </a:lnTo>
                  <a:lnTo>
                    <a:pt x="806" y="89"/>
                  </a:lnTo>
                  <a:lnTo>
                    <a:pt x="808" y="87"/>
                  </a:lnTo>
                  <a:lnTo>
                    <a:pt x="808" y="87"/>
                  </a:lnTo>
                  <a:lnTo>
                    <a:pt x="808" y="87"/>
                  </a:lnTo>
                  <a:lnTo>
                    <a:pt x="808" y="89"/>
                  </a:lnTo>
                  <a:lnTo>
                    <a:pt x="811" y="87"/>
                  </a:lnTo>
                  <a:lnTo>
                    <a:pt x="811" y="89"/>
                  </a:lnTo>
                  <a:lnTo>
                    <a:pt x="811" y="89"/>
                  </a:lnTo>
                  <a:lnTo>
                    <a:pt x="813" y="89"/>
                  </a:lnTo>
                  <a:lnTo>
                    <a:pt x="813" y="87"/>
                  </a:lnTo>
                  <a:lnTo>
                    <a:pt x="813" y="87"/>
                  </a:lnTo>
                  <a:lnTo>
                    <a:pt x="813" y="87"/>
                  </a:lnTo>
                  <a:lnTo>
                    <a:pt x="813" y="87"/>
                  </a:lnTo>
                  <a:lnTo>
                    <a:pt x="813" y="85"/>
                  </a:lnTo>
                  <a:lnTo>
                    <a:pt x="815" y="85"/>
                  </a:lnTo>
                  <a:lnTo>
                    <a:pt x="815" y="82"/>
                  </a:lnTo>
                  <a:lnTo>
                    <a:pt x="818" y="82"/>
                  </a:lnTo>
                  <a:lnTo>
                    <a:pt x="815" y="80"/>
                  </a:lnTo>
                  <a:lnTo>
                    <a:pt x="818" y="80"/>
                  </a:lnTo>
                  <a:lnTo>
                    <a:pt x="825" y="75"/>
                  </a:lnTo>
                  <a:lnTo>
                    <a:pt x="839" y="78"/>
                  </a:lnTo>
                  <a:lnTo>
                    <a:pt x="860" y="78"/>
                  </a:lnTo>
                  <a:lnTo>
                    <a:pt x="863" y="78"/>
                  </a:lnTo>
                  <a:lnTo>
                    <a:pt x="863" y="73"/>
                  </a:lnTo>
                  <a:lnTo>
                    <a:pt x="865" y="73"/>
                  </a:lnTo>
                  <a:lnTo>
                    <a:pt x="865" y="70"/>
                  </a:lnTo>
                  <a:lnTo>
                    <a:pt x="865" y="70"/>
                  </a:lnTo>
                  <a:lnTo>
                    <a:pt x="867" y="56"/>
                  </a:lnTo>
                  <a:lnTo>
                    <a:pt x="867" y="59"/>
                  </a:lnTo>
                  <a:lnTo>
                    <a:pt x="867" y="59"/>
                  </a:lnTo>
                  <a:lnTo>
                    <a:pt x="867" y="61"/>
                  </a:lnTo>
                  <a:lnTo>
                    <a:pt x="870" y="61"/>
                  </a:lnTo>
                  <a:lnTo>
                    <a:pt x="870" y="61"/>
                  </a:lnTo>
                  <a:lnTo>
                    <a:pt x="872" y="61"/>
                  </a:lnTo>
                  <a:lnTo>
                    <a:pt x="872" y="61"/>
                  </a:lnTo>
                  <a:lnTo>
                    <a:pt x="872" y="61"/>
                  </a:lnTo>
                  <a:lnTo>
                    <a:pt x="872" y="61"/>
                  </a:lnTo>
                  <a:lnTo>
                    <a:pt x="874" y="63"/>
                  </a:lnTo>
                  <a:lnTo>
                    <a:pt x="874" y="63"/>
                  </a:lnTo>
                  <a:lnTo>
                    <a:pt x="874" y="63"/>
                  </a:lnTo>
                  <a:lnTo>
                    <a:pt x="874" y="66"/>
                  </a:lnTo>
                  <a:lnTo>
                    <a:pt x="874" y="66"/>
                  </a:lnTo>
                  <a:lnTo>
                    <a:pt x="874" y="68"/>
                  </a:lnTo>
                  <a:lnTo>
                    <a:pt x="874" y="68"/>
                  </a:lnTo>
                  <a:lnTo>
                    <a:pt x="874" y="68"/>
                  </a:lnTo>
                  <a:lnTo>
                    <a:pt x="874" y="70"/>
                  </a:lnTo>
                  <a:lnTo>
                    <a:pt x="874" y="73"/>
                  </a:lnTo>
                  <a:lnTo>
                    <a:pt x="874" y="73"/>
                  </a:lnTo>
                  <a:lnTo>
                    <a:pt x="874" y="75"/>
                  </a:lnTo>
                  <a:lnTo>
                    <a:pt x="872" y="75"/>
                  </a:lnTo>
                  <a:lnTo>
                    <a:pt x="874" y="78"/>
                  </a:lnTo>
                  <a:lnTo>
                    <a:pt x="872" y="78"/>
                  </a:lnTo>
                  <a:lnTo>
                    <a:pt x="874" y="80"/>
                  </a:lnTo>
                  <a:lnTo>
                    <a:pt x="877" y="78"/>
                  </a:lnTo>
                  <a:lnTo>
                    <a:pt x="877" y="78"/>
                  </a:lnTo>
                  <a:lnTo>
                    <a:pt x="881" y="78"/>
                  </a:lnTo>
                  <a:lnTo>
                    <a:pt x="884" y="78"/>
                  </a:lnTo>
                  <a:lnTo>
                    <a:pt x="884" y="75"/>
                  </a:lnTo>
                  <a:lnTo>
                    <a:pt x="886" y="78"/>
                  </a:lnTo>
                  <a:lnTo>
                    <a:pt x="891" y="75"/>
                  </a:lnTo>
                  <a:lnTo>
                    <a:pt x="891" y="75"/>
                  </a:lnTo>
                  <a:lnTo>
                    <a:pt x="893" y="75"/>
                  </a:lnTo>
                  <a:lnTo>
                    <a:pt x="896" y="75"/>
                  </a:lnTo>
                  <a:lnTo>
                    <a:pt x="896" y="73"/>
                  </a:lnTo>
                  <a:lnTo>
                    <a:pt x="898" y="73"/>
                  </a:lnTo>
                  <a:lnTo>
                    <a:pt x="898" y="73"/>
                  </a:lnTo>
                  <a:lnTo>
                    <a:pt x="900" y="70"/>
                  </a:lnTo>
                  <a:lnTo>
                    <a:pt x="903" y="73"/>
                  </a:lnTo>
                  <a:lnTo>
                    <a:pt x="905" y="70"/>
                  </a:lnTo>
                  <a:lnTo>
                    <a:pt x="905" y="70"/>
                  </a:lnTo>
                  <a:lnTo>
                    <a:pt x="905" y="70"/>
                  </a:lnTo>
                  <a:lnTo>
                    <a:pt x="905" y="75"/>
                  </a:lnTo>
                  <a:lnTo>
                    <a:pt x="903" y="75"/>
                  </a:lnTo>
                  <a:lnTo>
                    <a:pt x="900" y="78"/>
                  </a:lnTo>
                  <a:lnTo>
                    <a:pt x="900" y="78"/>
                  </a:lnTo>
                  <a:lnTo>
                    <a:pt x="898" y="78"/>
                  </a:lnTo>
                  <a:lnTo>
                    <a:pt x="896" y="80"/>
                  </a:lnTo>
                  <a:lnTo>
                    <a:pt x="896" y="80"/>
                  </a:lnTo>
                  <a:lnTo>
                    <a:pt x="893" y="80"/>
                  </a:lnTo>
                  <a:lnTo>
                    <a:pt x="893" y="80"/>
                  </a:lnTo>
                  <a:lnTo>
                    <a:pt x="893" y="80"/>
                  </a:lnTo>
                  <a:lnTo>
                    <a:pt x="891" y="80"/>
                  </a:lnTo>
                  <a:lnTo>
                    <a:pt x="891" y="80"/>
                  </a:lnTo>
                  <a:lnTo>
                    <a:pt x="889" y="80"/>
                  </a:lnTo>
                  <a:lnTo>
                    <a:pt x="889" y="80"/>
                  </a:lnTo>
                  <a:lnTo>
                    <a:pt x="886" y="82"/>
                  </a:lnTo>
                  <a:lnTo>
                    <a:pt x="886" y="82"/>
                  </a:lnTo>
                  <a:lnTo>
                    <a:pt x="884" y="85"/>
                  </a:lnTo>
                  <a:lnTo>
                    <a:pt x="884" y="85"/>
                  </a:lnTo>
                  <a:lnTo>
                    <a:pt x="884" y="87"/>
                  </a:lnTo>
                  <a:lnTo>
                    <a:pt x="884" y="87"/>
                  </a:lnTo>
                  <a:lnTo>
                    <a:pt x="884" y="89"/>
                  </a:lnTo>
                  <a:lnTo>
                    <a:pt x="881" y="89"/>
                  </a:lnTo>
                  <a:lnTo>
                    <a:pt x="879" y="92"/>
                  </a:lnTo>
                  <a:lnTo>
                    <a:pt x="881" y="94"/>
                  </a:lnTo>
                  <a:lnTo>
                    <a:pt x="881" y="96"/>
                  </a:lnTo>
                  <a:lnTo>
                    <a:pt x="881" y="96"/>
                  </a:lnTo>
                  <a:lnTo>
                    <a:pt x="884" y="96"/>
                  </a:lnTo>
                  <a:lnTo>
                    <a:pt x="884" y="99"/>
                  </a:lnTo>
                  <a:lnTo>
                    <a:pt x="881" y="101"/>
                  </a:lnTo>
                  <a:lnTo>
                    <a:pt x="881" y="101"/>
                  </a:lnTo>
                  <a:lnTo>
                    <a:pt x="881" y="104"/>
                  </a:lnTo>
                  <a:lnTo>
                    <a:pt x="881" y="104"/>
                  </a:lnTo>
                  <a:lnTo>
                    <a:pt x="881" y="104"/>
                  </a:lnTo>
                  <a:lnTo>
                    <a:pt x="881" y="106"/>
                  </a:lnTo>
                  <a:lnTo>
                    <a:pt x="881" y="106"/>
                  </a:lnTo>
                  <a:lnTo>
                    <a:pt x="881" y="108"/>
                  </a:lnTo>
                  <a:lnTo>
                    <a:pt x="881" y="108"/>
                  </a:lnTo>
                  <a:lnTo>
                    <a:pt x="879" y="111"/>
                  </a:lnTo>
                  <a:lnTo>
                    <a:pt x="879" y="113"/>
                  </a:lnTo>
                  <a:lnTo>
                    <a:pt x="879" y="113"/>
                  </a:lnTo>
                  <a:lnTo>
                    <a:pt x="881" y="113"/>
                  </a:lnTo>
                  <a:lnTo>
                    <a:pt x="881" y="115"/>
                  </a:lnTo>
                  <a:lnTo>
                    <a:pt x="881" y="118"/>
                  </a:lnTo>
                  <a:lnTo>
                    <a:pt x="881" y="120"/>
                  </a:lnTo>
                  <a:lnTo>
                    <a:pt x="884" y="122"/>
                  </a:lnTo>
                  <a:lnTo>
                    <a:pt x="884" y="122"/>
                  </a:lnTo>
                  <a:lnTo>
                    <a:pt x="884" y="122"/>
                  </a:lnTo>
                  <a:lnTo>
                    <a:pt x="884" y="125"/>
                  </a:lnTo>
                  <a:lnTo>
                    <a:pt x="886" y="125"/>
                  </a:lnTo>
                  <a:lnTo>
                    <a:pt x="886" y="125"/>
                  </a:lnTo>
                  <a:lnTo>
                    <a:pt x="891" y="125"/>
                  </a:lnTo>
                  <a:lnTo>
                    <a:pt x="893" y="122"/>
                  </a:lnTo>
                  <a:lnTo>
                    <a:pt x="893" y="122"/>
                  </a:lnTo>
                  <a:lnTo>
                    <a:pt x="898" y="122"/>
                  </a:lnTo>
                  <a:lnTo>
                    <a:pt x="903" y="118"/>
                  </a:lnTo>
                  <a:lnTo>
                    <a:pt x="905" y="118"/>
                  </a:lnTo>
                  <a:lnTo>
                    <a:pt x="905" y="118"/>
                  </a:lnTo>
                  <a:lnTo>
                    <a:pt x="907" y="115"/>
                  </a:lnTo>
                  <a:lnTo>
                    <a:pt x="912" y="115"/>
                  </a:lnTo>
                  <a:lnTo>
                    <a:pt x="915" y="115"/>
                  </a:lnTo>
                  <a:lnTo>
                    <a:pt x="915" y="115"/>
                  </a:lnTo>
                  <a:lnTo>
                    <a:pt x="915" y="118"/>
                  </a:lnTo>
                  <a:lnTo>
                    <a:pt x="915" y="120"/>
                  </a:lnTo>
                  <a:lnTo>
                    <a:pt x="910" y="122"/>
                  </a:lnTo>
                  <a:lnTo>
                    <a:pt x="907" y="125"/>
                  </a:lnTo>
                  <a:lnTo>
                    <a:pt x="905" y="127"/>
                  </a:lnTo>
                  <a:lnTo>
                    <a:pt x="905" y="127"/>
                  </a:lnTo>
                  <a:lnTo>
                    <a:pt x="903" y="130"/>
                  </a:lnTo>
                  <a:lnTo>
                    <a:pt x="900" y="130"/>
                  </a:lnTo>
                  <a:lnTo>
                    <a:pt x="898" y="132"/>
                  </a:lnTo>
                  <a:lnTo>
                    <a:pt x="896" y="132"/>
                  </a:lnTo>
                  <a:lnTo>
                    <a:pt x="893" y="132"/>
                  </a:lnTo>
                  <a:lnTo>
                    <a:pt x="893" y="134"/>
                  </a:lnTo>
                  <a:lnTo>
                    <a:pt x="891" y="137"/>
                  </a:lnTo>
                  <a:lnTo>
                    <a:pt x="891" y="137"/>
                  </a:lnTo>
                  <a:lnTo>
                    <a:pt x="891" y="137"/>
                  </a:lnTo>
                  <a:lnTo>
                    <a:pt x="891" y="137"/>
                  </a:lnTo>
                  <a:lnTo>
                    <a:pt x="893" y="139"/>
                  </a:lnTo>
                  <a:lnTo>
                    <a:pt x="893" y="141"/>
                  </a:lnTo>
                  <a:lnTo>
                    <a:pt x="893" y="141"/>
                  </a:lnTo>
                  <a:lnTo>
                    <a:pt x="891" y="144"/>
                  </a:lnTo>
                  <a:lnTo>
                    <a:pt x="891" y="144"/>
                  </a:lnTo>
                  <a:lnTo>
                    <a:pt x="893" y="144"/>
                  </a:lnTo>
                  <a:lnTo>
                    <a:pt x="893" y="146"/>
                  </a:lnTo>
                  <a:lnTo>
                    <a:pt x="891" y="146"/>
                  </a:lnTo>
                  <a:lnTo>
                    <a:pt x="891" y="148"/>
                  </a:lnTo>
                  <a:lnTo>
                    <a:pt x="891" y="151"/>
                  </a:lnTo>
                  <a:lnTo>
                    <a:pt x="891" y="153"/>
                  </a:lnTo>
                  <a:lnTo>
                    <a:pt x="891" y="153"/>
                  </a:lnTo>
                  <a:lnTo>
                    <a:pt x="891" y="156"/>
                  </a:lnTo>
                  <a:lnTo>
                    <a:pt x="893" y="153"/>
                  </a:lnTo>
                  <a:lnTo>
                    <a:pt x="893" y="156"/>
                  </a:lnTo>
                  <a:lnTo>
                    <a:pt x="896" y="153"/>
                  </a:lnTo>
                  <a:lnTo>
                    <a:pt x="900" y="156"/>
                  </a:lnTo>
                  <a:lnTo>
                    <a:pt x="900" y="158"/>
                  </a:lnTo>
                  <a:lnTo>
                    <a:pt x="896" y="160"/>
                  </a:lnTo>
                  <a:lnTo>
                    <a:pt x="893" y="163"/>
                  </a:lnTo>
                  <a:lnTo>
                    <a:pt x="893" y="165"/>
                  </a:lnTo>
                  <a:lnTo>
                    <a:pt x="891" y="165"/>
                  </a:lnTo>
                  <a:lnTo>
                    <a:pt x="891" y="165"/>
                  </a:lnTo>
                  <a:lnTo>
                    <a:pt x="889" y="170"/>
                  </a:lnTo>
                  <a:lnTo>
                    <a:pt x="886" y="170"/>
                  </a:lnTo>
                  <a:lnTo>
                    <a:pt x="889" y="172"/>
                  </a:lnTo>
                  <a:lnTo>
                    <a:pt x="891" y="172"/>
                  </a:lnTo>
                  <a:lnTo>
                    <a:pt x="891" y="172"/>
                  </a:lnTo>
                  <a:lnTo>
                    <a:pt x="891" y="174"/>
                  </a:lnTo>
                  <a:lnTo>
                    <a:pt x="891" y="174"/>
                  </a:lnTo>
                  <a:lnTo>
                    <a:pt x="886" y="177"/>
                  </a:lnTo>
                  <a:lnTo>
                    <a:pt x="886" y="177"/>
                  </a:lnTo>
                  <a:lnTo>
                    <a:pt x="889" y="179"/>
                  </a:lnTo>
                  <a:lnTo>
                    <a:pt x="891" y="177"/>
                  </a:lnTo>
                  <a:lnTo>
                    <a:pt x="893" y="182"/>
                  </a:lnTo>
                  <a:lnTo>
                    <a:pt x="891" y="182"/>
                  </a:lnTo>
                  <a:lnTo>
                    <a:pt x="886" y="184"/>
                  </a:lnTo>
                  <a:lnTo>
                    <a:pt x="884" y="184"/>
                  </a:lnTo>
                  <a:lnTo>
                    <a:pt x="886" y="186"/>
                  </a:lnTo>
                  <a:lnTo>
                    <a:pt x="886" y="189"/>
                  </a:lnTo>
                  <a:lnTo>
                    <a:pt x="886" y="189"/>
                  </a:lnTo>
                  <a:lnTo>
                    <a:pt x="889" y="189"/>
                  </a:lnTo>
                  <a:lnTo>
                    <a:pt x="891" y="191"/>
                  </a:lnTo>
                  <a:lnTo>
                    <a:pt x="891" y="191"/>
                  </a:lnTo>
                  <a:lnTo>
                    <a:pt x="891" y="191"/>
                  </a:lnTo>
                  <a:lnTo>
                    <a:pt x="886" y="198"/>
                  </a:lnTo>
                  <a:lnTo>
                    <a:pt x="886" y="200"/>
                  </a:lnTo>
                  <a:lnTo>
                    <a:pt x="886" y="205"/>
                  </a:lnTo>
                  <a:lnTo>
                    <a:pt x="891" y="207"/>
                  </a:lnTo>
                  <a:lnTo>
                    <a:pt x="893" y="207"/>
                  </a:lnTo>
                  <a:lnTo>
                    <a:pt x="893" y="207"/>
                  </a:lnTo>
                  <a:lnTo>
                    <a:pt x="893" y="210"/>
                  </a:lnTo>
                  <a:lnTo>
                    <a:pt x="893" y="212"/>
                  </a:lnTo>
                  <a:lnTo>
                    <a:pt x="893" y="215"/>
                  </a:lnTo>
                  <a:lnTo>
                    <a:pt x="891" y="217"/>
                  </a:lnTo>
                  <a:lnTo>
                    <a:pt x="889" y="219"/>
                  </a:lnTo>
                  <a:lnTo>
                    <a:pt x="891" y="219"/>
                  </a:lnTo>
                  <a:lnTo>
                    <a:pt x="891" y="219"/>
                  </a:lnTo>
                  <a:lnTo>
                    <a:pt x="891" y="219"/>
                  </a:lnTo>
                  <a:lnTo>
                    <a:pt x="891" y="224"/>
                  </a:lnTo>
                  <a:lnTo>
                    <a:pt x="889" y="224"/>
                  </a:lnTo>
                  <a:lnTo>
                    <a:pt x="889" y="222"/>
                  </a:lnTo>
                  <a:lnTo>
                    <a:pt x="886" y="224"/>
                  </a:lnTo>
                  <a:lnTo>
                    <a:pt x="889" y="224"/>
                  </a:lnTo>
                  <a:lnTo>
                    <a:pt x="891" y="224"/>
                  </a:lnTo>
                  <a:lnTo>
                    <a:pt x="893" y="226"/>
                  </a:lnTo>
                  <a:lnTo>
                    <a:pt x="896" y="226"/>
                  </a:lnTo>
                  <a:lnTo>
                    <a:pt x="896" y="226"/>
                  </a:lnTo>
                  <a:lnTo>
                    <a:pt x="896" y="229"/>
                  </a:lnTo>
                  <a:lnTo>
                    <a:pt x="896" y="231"/>
                  </a:lnTo>
                  <a:lnTo>
                    <a:pt x="900" y="231"/>
                  </a:lnTo>
                  <a:lnTo>
                    <a:pt x="903" y="231"/>
                  </a:lnTo>
                  <a:lnTo>
                    <a:pt x="905" y="231"/>
                  </a:lnTo>
                  <a:lnTo>
                    <a:pt x="905" y="233"/>
                  </a:lnTo>
                  <a:lnTo>
                    <a:pt x="905" y="236"/>
                  </a:lnTo>
                  <a:lnTo>
                    <a:pt x="907" y="236"/>
                  </a:lnTo>
                  <a:lnTo>
                    <a:pt x="907" y="238"/>
                  </a:lnTo>
                  <a:lnTo>
                    <a:pt x="910" y="238"/>
                  </a:lnTo>
                  <a:lnTo>
                    <a:pt x="910" y="236"/>
                  </a:lnTo>
                  <a:lnTo>
                    <a:pt x="912" y="236"/>
                  </a:lnTo>
                  <a:lnTo>
                    <a:pt x="915" y="238"/>
                  </a:lnTo>
                  <a:lnTo>
                    <a:pt x="912" y="241"/>
                  </a:lnTo>
                  <a:lnTo>
                    <a:pt x="915" y="243"/>
                  </a:lnTo>
                  <a:lnTo>
                    <a:pt x="917" y="243"/>
                  </a:lnTo>
                  <a:lnTo>
                    <a:pt x="917" y="245"/>
                  </a:lnTo>
                  <a:lnTo>
                    <a:pt x="917" y="245"/>
                  </a:lnTo>
                  <a:lnTo>
                    <a:pt x="919" y="245"/>
                  </a:lnTo>
                  <a:lnTo>
                    <a:pt x="919" y="245"/>
                  </a:lnTo>
                  <a:lnTo>
                    <a:pt x="922" y="245"/>
                  </a:lnTo>
                  <a:lnTo>
                    <a:pt x="922" y="245"/>
                  </a:lnTo>
                  <a:lnTo>
                    <a:pt x="922" y="248"/>
                  </a:lnTo>
                  <a:lnTo>
                    <a:pt x="924" y="248"/>
                  </a:lnTo>
                  <a:lnTo>
                    <a:pt x="924" y="248"/>
                  </a:lnTo>
                  <a:lnTo>
                    <a:pt x="926" y="252"/>
                  </a:lnTo>
                  <a:lnTo>
                    <a:pt x="926" y="255"/>
                  </a:lnTo>
                  <a:lnTo>
                    <a:pt x="929" y="255"/>
                  </a:lnTo>
                  <a:lnTo>
                    <a:pt x="929" y="257"/>
                  </a:lnTo>
                  <a:lnTo>
                    <a:pt x="931" y="257"/>
                  </a:lnTo>
                  <a:lnTo>
                    <a:pt x="931" y="257"/>
                  </a:lnTo>
                  <a:lnTo>
                    <a:pt x="931" y="259"/>
                  </a:lnTo>
                  <a:lnTo>
                    <a:pt x="931" y="259"/>
                  </a:lnTo>
                  <a:lnTo>
                    <a:pt x="931" y="262"/>
                  </a:lnTo>
                  <a:lnTo>
                    <a:pt x="929" y="262"/>
                  </a:lnTo>
                  <a:lnTo>
                    <a:pt x="929" y="264"/>
                  </a:lnTo>
                  <a:lnTo>
                    <a:pt x="929" y="264"/>
                  </a:lnTo>
                  <a:lnTo>
                    <a:pt x="926" y="264"/>
                  </a:lnTo>
                  <a:lnTo>
                    <a:pt x="924" y="267"/>
                  </a:lnTo>
                  <a:lnTo>
                    <a:pt x="924" y="267"/>
                  </a:lnTo>
                  <a:lnTo>
                    <a:pt x="924" y="267"/>
                  </a:lnTo>
                  <a:lnTo>
                    <a:pt x="922" y="267"/>
                  </a:lnTo>
                  <a:lnTo>
                    <a:pt x="919" y="264"/>
                  </a:lnTo>
                  <a:lnTo>
                    <a:pt x="919" y="264"/>
                  </a:lnTo>
                  <a:lnTo>
                    <a:pt x="919" y="267"/>
                  </a:lnTo>
                  <a:lnTo>
                    <a:pt x="919" y="267"/>
                  </a:lnTo>
                  <a:lnTo>
                    <a:pt x="919" y="267"/>
                  </a:lnTo>
                  <a:lnTo>
                    <a:pt x="919" y="267"/>
                  </a:lnTo>
                  <a:lnTo>
                    <a:pt x="919" y="269"/>
                  </a:lnTo>
                  <a:lnTo>
                    <a:pt x="919" y="271"/>
                  </a:lnTo>
                  <a:lnTo>
                    <a:pt x="919" y="271"/>
                  </a:lnTo>
                  <a:lnTo>
                    <a:pt x="919" y="274"/>
                  </a:lnTo>
                  <a:lnTo>
                    <a:pt x="922" y="274"/>
                  </a:lnTo>
                  <a:lnTo>
                    <a:pt x="922" y="276"/>
                  </a:lnTo>
                  <a:lnTo>
                    <a:pt x="922" y="276"/>
                  </a:lnTo>
                  <a:lnTo>
                    <a:pt x="919" y="276"/>
                  </a:lnTo>
                  <a:lnTo>
                    <a:pt x="922" y="276"/>
                  </a:lnTo>
                  <a:lnTo>
                    <a:pt x="919" y="278"/>
                  </a:lnTo>
                  <a:lnTo>
                    <a:pt x="922" y="278"/>
                  </a:lnTo>
                  <a:lnTo>
                    <a:pt x="922" y="281"/>
                  </a:lnTo>
                  <a:lnTo>
                    <a:pt x="924" y="281"/>
                  </a:lnTo>
                  <a:lnTo>
                    <a:pt x="922" y="283"/>
                  </a:lnTo>
                  <a:lnTo>
                    <a:pt x="922" y="281"/>
                  </a:lnTo>
                  <a:lnTo>
                    <a:pt x="922" y="283"/>
                  </a:lnTo>
                  <a:lnTo>
                    <a:pt x="922" y="283"/>
                  </a:lnTo>
                  <a:lnTo>
                    <a:pt x="922" y="283"/>
                  </a:lnTo>
                  <a:lnTo>
                    <a:pt x="922" y="285"/>
                  </a:lnTo>
                  <a:lnTo>
                    <a:pt x="922" y="285"/>
                  </a:lnTo>
                  <a:lnTo>
                    <a:pt x="922" y="285"/>
                  </a:lnTo>
                  <a:lnTo>
                    <a:pt x="922" y="285"/>
                  </a:lnTo>
                  <a:lnTo>
                    <a:pt x="922" y="288"/>
                  </a:lnTo>
                  <a:lnTo>
                    <a:pt x="919" y="290"/>
                  </a:lnTo>
                  <a:lnTo>
                    <a:pt x="922" y="293"/>
                  </a:lnTo>
                  <a:lnTo>
                    <a:pt x="922" y="293"/>
                  </a:lnTo>
                  <a:lnTo>
                    <a:pt x="922" y="295"/>
                  </a:lnTo>
                  <a:lnTo>
                    <a:pt x="922" y="295"/>
                  </a:lnTo>
                  <a:lnTo>
                    <a:pt x="922" y="297"/>
                  </a:lnTo>
                  <a:lnTo>
                    <a:pt x="919" y="297"/>
                  </a:lnTo>
                  <a:lnTo>
                    <a:pt x="919" y="297"/>
                  </a:lnTo>
                  <a:lnTo>
                    <a:pt x="919" y="297"/>
                  </a:lnTo>
                  <a:lnTo>
                    <a:pt x="919" y="297"/>
                  </a:lnTo>
                  <a:lnTo>
                    <a:pt x="917" y="297"/>
                  </a:lnTo>
                  <a:lnTo>
                    <a:pt x="917" y="300"/>
                  </a:lnTo>
                  <a:lnTo>
                    <a:pt x="917" y="300"/>
                  </a:lnTo>
                  <a:lnTo>
                    <a:pt x="917" y="300"/>
                  </a:lnTo>
                  <a:lnTo>
                    <a:pt x="917" y="302"/>
                  </a:lnTo>
                  <a:lnTo>
                    <a:pt x="919" y="302"/>
                  </a:lnTo>
                  <a:lnTo>
                    <a:pt x="919" y="302"/>
                  </a:lnTo>
                  <a:lnTo>
                    <a:pt x="919" y="304"/>
                  </a:lnTo>
                  <a:lnTo>
                    <a:pt x="919" y="307"/>
                  </a:lnTo>
                  <a:lnTo>
                    <a:pt x="919" y="307"/>
                  </a:lnTo>
                  <a:lnTo>
                    <a:pt x="919" y="309"/>
                  </a:lnTo>
                  <a:lnTo>
                    <a:pt x="919" y="311"/>
                  </a:lnTo>
                  <a:lnTo>
                    <a:pt x="919" y="311"/>
                  </a:lnTo>
                  <a:lnTo>
                    <a:pt x="919" y="311"/>
                  </a:lnTo>
                  <a:lnTo>
                    <a:pt x="919" y="316"/>
                  </a:lnTo>
                  <a:lnTo>
                    <a:pt x="919" y="316"/>
                  </a:lnTo>
                  <a:lnTo>
                    <a:pt x="917" y="316"/>
                  </a:lnTo>
                  <a:lnTo>
                    <a:pt x="917" y="319"/>
                  </a:lnTo>
                  <a:lnTo>
                    <a:pt x="915" y="319"/>
                  </a:lnTo>
                  <a:lnTo>
                    <a:pt x="915" y="319"/>
                  </a:lnTo>
                  <a:lnTo>
                    <a:pt x="915" y="321"/>
                  </a:lnTo>
                  <a:lnTo>
                    <a:pt x="915" y="321"/>
                  </a:lnTo>
                  <a:lnTo>
                    <a:pt x="917" y="323"/>
                  </a:lnTo>
                  <a:lnTo>
                    <a:pt x="915" y="326"/>
                  </a:lnTo>
                  <a:lnTo>
                    <a:pt x="915" y="326"/>
                  </a:lnTo>
                  <a:lnTo>
                    <a:pt x="915" y="328"/>
                  </a:lnTo>
                  <a:lnTo>
                    <a:pt x="912" y="330"/>
                  </a:lnTo>
                  <a:lnTo>
                    <a:pt x="910" y="328"/>
                  </a:lnTo>
                  <a:lnTo>
                    <a:pt x="910" y="333"/>
                  </a:lnTo>
                  <a:lnTo>
                    <a:pt x="910" y="333"/>
                  </a:lnTo>
                  <a:lnTo>
                    <a:pt x="907" y="333"/>
                  </a:lnTo>
                  <a:lnTo>
                    <a:pt x="905" y="333"/>
                  </a:lnTo>
                  <a:lnTo>
                    <a:pt x="905" y="330"/>
                  </a:lnTo>
                  <a:lnTo>
                    <a:pt x="903" y="330"/>
                  </a:lnTo>
                  <a:lnTo>
                    <a:pt x="903" y="333"/>
                  </a:lnTo>
                  <a:lnTo>
                    <a:pt x="903" y="333"/>
                  </a:lnTo>
                  <a:lnTo>
                    <a:pt x="900" y="330"/>
                  </a:lnTo>
                  <a:lnTo>
                    <a:pt x="900" y="330"/>
                  </a:lnTo>
                  <a:lnTo>
                    <a:pt x="900" y="330"/>
                  </a:lnTo>
                  <a:lnTo>
                    <a:pt x="900" y="333"/>
                  </a:lnTo>
                  <a:lnTo>
                    <a:pt x="898" y="335"/>
                  </a:lnTo>
                  <a:lnTo>
                    <a:pt x="893" y="333"/>
                  </a:lnTo>
                  <a:lnTo>
                    <a:pt x="893" y="333"/>
                  </a:lnTo>
                  <a:lnTo>
                    <a:pt x="893" y="335"/>
                  </a:lnTo>
                  <a:lnTo>
                    <a:pt x="891" y="335"/>
                  </a:lnTo>
                  <a:lnTo>
                    <a:pt x="891" y="330"/>
                  </a:lnTo>
                  <a:lnTo>
                    <a:pt x="889" y="330"/>
                  </a:lnTo>
                  <a:lnTo>
                    <a:pt x="886" y="333"/>
                  </a:lnTo>
                  <a:lnTo>
                    <a:pt x="884" y="333"/>
                  </a:lnTo>
                  <a:lnTo>
                    <a:pt x="884" y="330"/>
                  </a:lnTo>
                  <a:lnTo>
                    <a:pt x="884" y="330"/>
                  </a:lnTo>
                  <a:lnTo>
                    <a:pt x="881" y="330"/>
                  </a:lnTo>
                  <a:lnTo>
                    <a:pt x="881" y="328"/>
                  </a:lnTo>
                  <a:lnTo>
                    <a:pt x="879" y="328"/>
                  </a:lnTo>
                  <a:lnTo>
                    <a:pt x="881" y="328"/>
                  </a:lnTo>
                  <a:lnTo>
                    <a:pt x="881" y="326"/>
                  </a:lnTo>
                  <a:lnTo>
                    <a:pt x="881" y="326"/>
                  </a:lnTo>
                  <a:lnTo>
                    <a:pt x="881" y="323"/>
                  </a:lnTo>
                  <a:lnTo>
                    <a:pt x="881" y="323"/>
                  </a:lnTo>
                  <a:lnTo>
                    <a:pt x="879" y="321"/>
                  </a:lnTo>
                  <a:lnTo>
                    <a:pt x="879" y="321"/>
                  </a:lnTo>
                  <a:lnTo>
                    <a:pt x="879" y="319"/>
                  </a:lnTo>
                  <a:lnTo>
                    <a:pt x="877" y="319"/>
                  </a:lnTo>
                  <a:lnTo>
                    <a:pt x="877" y="316"/>
                  </a:lnTo>
                  <a:lnTo>
                    <a:pt x="874" y="316"/>
                  </a:lnTo>
                  <a:lnTo>
                    <a:pt x="874" y="316"/>
                  </a:lnTo>
                  <a:lnTo>
                    <a:pt x="874" y="314"/>
                  </a:lnTo>
                  <a:lnTo>
                    <a:pt x="872" y="314"/>
                  </a:lnTo>
                  <a:lnTo>
                    <a:pt x="870" y="311"/>
                  </a:lnTo>
                  <a:lnTo>
                    <a:pt x="865" y="309"/>
                  </a:lnTo>
                  <a:lnTo>
                    <a:pt x="865" y="307"/>
                  </a:lnTo>
                  <a:lnTo>
                    <a:pt x="863" y="307"/>
                  </a:lnTo>
                  <a:lnTo>
                    <a:pt x="860" y="304"/>
                  </a:lnTo>
                  <a:lnTo>
                    <a:pt x="860" y="302"/>
                  </a:lnTo>
                  <a:lnTo>
                    <a:pt x="858" y="304"/>
                  </a:lnTo>
                  <a:lnTo>
                    <a:pt x="855" y="302"/>
                  </a:lnTo>
                  <a:lnTo>
                    <a:pt x="855" y="304"/>
                  </a:lnTo>
                  <a:lnTo>
                    <a:pt x="855" y="307"/>
                  </a:lnTo>
                  <a:lnTo>
                    <a:pt x="855" y="307"/>
                  </a:lnTo>
                  <a:lnTo>
                    <a:pt x="855" y="309"/>
                  </a:lnTo>
                  <a:lnTo>
                    <a:pt x="853" y="309"/>
                  </a:lnTo>
                  <a:lnTo>
                    <a:pt x="851" y="309"/>
                  </a:lnTo>
                  <a:lnTo>
                    <a:pt x="851" y="311"/>
                  </a:lnTo>
                  <a:lnTo>
                    <a:pt x="848" y="314"/>
                  </a:lnTo>
                  <a:lnTo>
                    <a:pt x="848" y="316"/>
                  </a:lnTo>
                  <a:lnTo>
                    <a:pt x="848" y="316"/>
                  </a:lnTo>
                  <a:lnTo>
                    <a:pt x="848" y="319"/>
                  </a:lnTo>
                  <a:lnTo>
                    <a:pt x="848" y="319"/>
                  </a:lnTo>
                  <a:lnTo>
                    <a:pt x="853" y="319"/>
                  </a:lnTo>
                  <a:lnTo>
                    <a:pt x="853" y="319"/>
                  </a:lnTo>
                  <a:lnTo>
                    <a:pt x="855" y="321"/>
                  </a:lnTo>
                  <a:lnTo>
                    <a:pt x="853" y="326"/>
                  </a:lnTo>
                  <a:lnTo>
                    <a:pt x="853" y="328"/>
                  </a:lnTo>
                  <a:lnTo>
                    <a:pt x="851" y="333"/>
                  </a:lnTo>
                  <a:lnTo>
                    <a:pt x="853" y="335"/>
                  </a:lnTo>
                  <a:lnTo>
                    <a:pt x="853" y="335"/>
                  </a:lnTo>
                  <a:lnTo>
                    <a:pt x="853" y="337"/>
                  </a:lnTo>
                  <a:lnTo>
                    <a:pt x="855" y="337"/>
                  </a:lnTo>
                  <a:lnTo>
                    <a:pt x="855" y="337"/>
                  </a:lnTo>
                  <a:lnTo>
                    <a:pt x="855" y="340"/>
                  </a:lnTo>
                  <a:lnTo>
                    <a:pt x="853" y="340"/>
                  </a:lnTo>
                  <a:lnTo>
                    <a:pt x="853" y="342"/>
                  </a:lnTo>
                  <a:lnTo>
                    <a:pt x="855" y="345"/>
                  </a:lnTo>
                  <a:lnTo>
                    <a:pt x="855" y="345"/>
                  </a:lnTo>
                  <a:lnTo>
                    <a:pt x="855" y="345"/>
                  </a:lnTo>
                  <a:lnTo>
                    <a:pt x="855" y="349"/>
                  </a:lnTo>
                  <a:lnTo>
                    <a:pt x="855" y="349"/>
                  </a:lnTo>
                  <a:lnTo>
                    <a:pt x="853" y="349"/>
                  </a:lnTo>
                  <a:lnTo>
                    <a:pt x="853" y="349"/>
                  </a:lnTo>
                  <a:lnTo>
                    <a:pt x="851" y="349"/>
                  </a:lnTo>
                  <a:lnTo>
                    <a:pt x="851" y="349"/>
                  </a:lnTo>
                  <a:lnTo>
                    <a:pt x="848" y="352"/>
                  </a:lnTo>
                  <a:lnTo>
                    <a:pt x="848" y="354"/>
                  </a:lnTo>
                  <a:lnTo>
                    <a:pt x="846" y="352"/>
                  </a:lnTo>
                  <a:lnTo>
                    <a:pt x="844" y="354"/>
                  </a:lnTo>
                  <a:lnTo>
                    <a:pt x="844" y="354"/>
                  </a:lnTo>
                  <a:lnTo>
                    <a:pt x="841" y="354"/>
                  </a:lnTo>
                  <a:lnTo>
                    <a:pt x="839" y="354"/>
                  </a:lnTo>
                  <a:lnTo>
                    <a:pt x="837" y="352"/>
                  </a:lnTo>
                  <a:lnTo>
                    <a:pt x="834" y="349"/>
                  </a:lnTo>
                  <a:lnTo>
                    <a:pt x="832" y="349"/>
                  </a:lnTo>
                  <a:lnTo>
                    <a:pt x="827" y="347"/>
                  </a:lnTo>
                  <a:lnTo>
                    <a:pt x="825" y="347"/>
                  </a:lnTo>
                  <a:lnTo>
                    <a:pt x="820" y="345"/>
                  </a:lnTo>
                  <a:lnTo>
                    <a:pt x="815" y="345"/>
                  </a:lnTo>
                  <a:lnTo>
                    <a:pt x="811" y="342"/>
                  </a:lnTo>
                  <a:lnTo>
                    <a:pt x="811" y="345"/>
                  </a:lnTo>
                  <a:lnTo>
                    <a:pt x="803" y="349"/>
                  </a:lnTo>
                  <a:lnTo>
                    <a:pt x="803" y="349"/>
                  </a:lnTo>
                  <a:lnTo>
                    <a:pt x="803" y="352"/>
                  </a:lnTo>
                  <a:lnTo>
                    <a:pt x="803" y="354"/>
                  </a:lnTo>
                  <a:lnTo>
                    <a:pt x="806" y="354"/>
                  </a:lnTo>
                  <a:lnTo>
                    <a:pt x="806" y="356"/>
                  </a:lnTo>
                  <a:lnTo>
                    <a:pt x="808" y="356"/>
                  </a:lnTo>
                  <a:lnTo>
                    <a:pt x="808" y="356"/>
                  </a:lnTo>
                  <a:lnTo>
                    <a:pt x="806" y="359"/>
                  </a:lnTo>
                  <a:lnTo>
                    <a:pt x="803" y="363"/>
                  </a:lnTo>
                  <a:lnTo>
                    <a:pt x="803" y="366"/>
                  </a:lnTo>
                  <a:lnTo>
                    <a:pt x="801" y="368"/>
                  </a:lnTo>
                  <a:lnTo>
                    <a:pt x="801" y="370"/>
                  </a:lnTo>
                  <a:lnTo>
                    <a:pt x="801" y="373"/>
                  </a:lnTo>
                  <a:lnTo>
                    <a:pt x="803" y="375"/>
                  </a:lnTo>
                  <a:lnTo>
                    <a:pt x="803" y="373"/>
                  </a:lnTo>
                  <a:lnTo>
                    <a:pt x="806" y="373"/>
                  </a:lnTo>
                  <a:lnTo>
                    <a:pt x="806" y="373"/>
                  </a:lnTo>
                  <a:lnTo>
                    <a:pt x="808" y="373"/>
                  </a:lnTo>
                  <a:lnTo>
                    <a:pt x="808" y="380"/>
                  </a:lnTo>
                  <a:lnTo>
                    <a:pt x="811" y="380"/>
                  </a:lnTo>
                  <a:lnTo>
                    <a:pt x="813" y="385"/>
                  </a:lnTo>
                  <a:lnTo>
                    <a:pt x="813" y="387"/>
                  </a:lnTo>
                  <a:lnTo>
                    <a:pt x="811" y="387"/>
                  </a:lnTo>
                  <a:lnTo>
                    <a:pt x="811" y="389"/>
                  </a:lnTo>
                  <a:lnTo>
                    <a:pt x="813" y="389"/>
                  </a:lnTo>
                  <a:lnTo>
                    <a:pt x="813" y="392"/>
                  </a:lnTo>
                  <a:lnTo>
                    <a:pt x="811" y="392"/>
                  </a:lnTo>
                  <a:lnTo>
                    <a:pt x="808" y="394"/>
                  </a:lnTo>
                  <a:lnTo>
                    <a:pt x="806" y="394"/>
                  </a:lnTo>
                  <a:lnTo>
                    <a:pt x="803" y="396"/>
                  </a:lnTo>
                  <a:lnTo>
                    <a:pt x="801" y="399"/>
                  </a:lnTo>
                  <a:lnTo>
                    <a:pt x="801" y="404"/>
                  </a:lnTo>
                  <a:lnTo>
                    <a:pt x="801" y="411"/>
                  </a:lnTo>
                  <a:lnTo>
                    <a:pt x="801" y="413"/>
                  </a:lnTo>
                  <a:lnTo>
                    <a:pt x="801" y="415"/>
                  </a:lnTo>
                  <a:lnTo>
                    <a:pt x="803" y="418"/>
                  </a:lnTo>
                  <a:lnTo>
                    <a:pt x="806" y="420"/>
                  </a:lnTo>
                  <a:lnTo>
                    <a:pt x="808" y="420"/>
                  </a:lnTo>
                  <a:lnTo>
                    <a:pt x="808" y="420"/>
                  </a:lnTo>
                  <a:lnTo>
                    <a:pt x="808" y="422"/>
                  </a:lnTo>
                  <a:lnTo>
                    <a:pt x="813" y="422"/>
                  </a:lnTo>
                  <a:lnTo>
                    <a:pt x="813" y="422"/>
                  </a:lnTo>
                  <a:lnTo>
                    <a:pt x="811" y="425"/>
                  </a:lnTo>
                  <a:lnTo>
                    <a:pt x="813" y="427"/>
                  </a:lnTo>
                  <a:lnTo>
                    <a:pt x="811" y="432"/>
                  </a:lnTo>
                  <a:lnTo>
                    <a:pt x="813" y="434"/>
                  </a:lnTo>
                  <a:lnTo>
                    <a:pt x="815" y="437"/>
                  </a:lnTo>
                  <a:lnTo>
                    <a:pt x="815" y="439"/>
                  </a:lnTo>
                  <a:lnTo>
                    <a:pt x="818" y="444"/>
                  </a:lnTo>
                  <a:lnTo>
                    <a:pt x="815" y="448"/>
                  </a:lnTo>
                  <a:lnTo>
                    <a:pt x="818" y="448"/>
                  </a:lnTo>
                  <a:lnTo>
                    <a:pt x="815" y="448"/>
                  </a:lnTo>
                  <a:lnTo>
                    <a:pt x="818" y="453"/>
                  </a:lnTo>
                  <a:lnTo>
                    <a:pt x="818" y="456"/>
                  </a:lnTo>
                  <a:lnTo>
                    <a:pt x="818" y="456"/>
                  </a:lnTo>
                  <a:lnTo>
                    <a:pt x="818" y="458"/>
                  </a:lnTo>
                  <a:lnTo>
                    <a:pt x="815" y="458"/>
                  </a:lnTo>
                  <a:lnTo>
                    <a:pt x="799" y="463"/>
                  </a:lnTo>
                  <a:lnTo>
                    <a:pt x="787" y="465"/>
                  </a:lnTo>
                  <a:lnTo>
                    <a:pt x="782" y="467"/>
                  </a:lnTo>
                  <a:lnTo>
                    <a:pt x="782" y="467"/>
                  </a:lnTo>
                  <a:lnTo>
                    <a:pt x="782" y="467"/>
                  </a:lnTo>
                  <a:lnTo>
                    <a:pt x="780" y="467"/>
                  </a:lnTo>
                  <a:lnTo>
                    <a:pt x="780" y="467"/>
                  </a:lnTo>
                  <a:lnTo>
                    <a:pt x="778" y="465"/>
                  </a:lnTo>
                  <a:lnTo>
                    <a:pt x="775" y="465"/>
                  </a:lnTo>
                  <a:lnTo>
                    <a:pt x="778" y="465"/>
                  </a:lnTo>
                  <a:lnTo>
                    <a:pt x="775" y="463"/>
                  </a:lnTo>
                  <a:lnTo>
                    <a:pt x="775" y="463"/>
                  </a:lnTo>
                  <a:lnTo>
                    <a:pt x="775" y="463"/>
                  </a:lnTo>
                  <a:lnTo>
                    <a:pt x="775" y="465"/>
                  </a:lnTo>
                  <a:lnTo>
                    <a:pt x="775" y="465"/>
                  </a:lnTo>
                  <a:lnTo>
                    <a:pt x="775" y="465"/>
                  </a:lnTo>
                  <a:lnTo>
                    <a:pt x="773" y="465"/>
                  </a:lnTo>
                  <a:lnTo>
                    <a:pt x="773" y="465"/>
                  </a:lnTo>
                  <a:lnTo>
                    <a:pt x="773" y="465"/>
                  </a:lnTo>
                  <a:lnTo>
                    <a:pt x="773" y="467"/>
                  </a:lnTo>
                  <a:lnTo>
                    <a:pt x="773" y="467"/>
                  </a:lnTo>
                  <a:lnTo>
                    <a:pt x="773" y="467"/>
                  </a:lnTo>
                  <a:lnTo>
                    <a:pt x="773" y="467"/>
                  </a:lnTo>
                  <a:lnTo>
                    <a:pt x="773" y="467"/>
                  </a:lnTo>
                  <a:lnTo>
                    <a:pt x="773" y="467"/>
                  </a:lnTo>
                  <a:lnTo>
                    <a:pt x="773" y="467"/>
                  </a:lnTo>
                  <a:lnTo>
                    <a:pt x="773" y="467"/>
                  </a:lnTo>
                  <a:lnTo>
                    <a:pt x="773" y="467"/>
                  </a:lnTo>
                  <a:lnTo>
                    <a:pt x="773" y="470"/>
                  </a:lnTo>
                  <a:lnTo>
                    <a:pt x="770" y="470"/>
                  </a:lnTo>
                  <a:lnTo>
                    <a:pt x="770" y="467"/>
                  </a:lnTo>
                  <a:lnTo>
                    <a:pt x="770" y="470"/>
                  </a:lnTo>
                  <a:lnTo>
                    <a:pt x="770" y="470"/>
                  </a:lnTo>
                  <a:lnTo>
                    <a:pt x="770" y="470"/>
                  </a:lnTo>
                  <a:lnTo>
                    <a:pt x="768" y="470"/>
                  </a:lnTo>
                  <a:lnTo>
                    <a:pt x="768" y="472"/>
                  </a:lnTo>
                  <a:lnTo>
                    <a:pt x="768" y="472"/>
                  </a:lnTo>
                  <a:lnTo>
                    <a:pt x="768" y="472"/>
                  </a:lnTo>
                  <a:lnTo>
                    <a:pt x="766" y="472"/>
                  </a:lnTo>
                  <a:lnTo>
                    <a:pt x="766" y="474"/>
                  </a:lnTo>
                  <a:lnTo>
                    <a:pt x="766" y="474"/>
                  </a:lnTo>
                  <a:lnTo>
                    <a:pt x="766" y="474"/>
                  </a:lnTo>
                  <a:lnTo>
                    <a:pt x="763" y="474"/>
                  </a:lnTo>
                  <a:lnTo>
                    <a:pt x="763" y="474"/>
                  </a:lnTo>
                  <a:lnTo>
                    <a:pt x="761" y="474"/>
                  </a:lnTo>
                  <a:lnTo>
                    <a:pt x="761" y="474"/>
                  </a:lnTo>
                  <a:lnTo>
                    <a:pt x="759" y="474"/>
                  </a:lnTo>
                  <a:lnTo>
                    <a:pt x="759" y="474"/>
                  </a:lnTo>
                  <a:lnTo>
                    <a:pt x="759" y="474"/>
                  </a:lnTo>
                  <a:lnTo>
                    <a:pt x="756" y="474"/>
                  </a:lnTo>
                  <a:lnTo>
                    <a:pt x="756" y="474"/>
                  </a:lnTo>
                  <a:lnTo>
                    <a:pt x="756" y="474"/>
                  </a:lnTo>
                  <a:lnTo>
                    <a:pt x="756" y="474"/>
                  </a:lnTo>
                  <a:lnTo>
                    <a:pt x="756" y="474"/>
                  </a:lnTo>
                  <a:lnTo>
                    <a:pt x="756" y="474"/>
                  </a:lnTo>
                  <a:lnTo>
                    <a:pt x="756" y="477"/>
                  </a:lnTo>
                  <a:lnTo>
                    <a:pt x="754" y="477"/>
                  </a:lnTo>
                  <a:lnTo>
                    <a:pt x="754" y="477"/>
                  </a:lnTo>
                  <a:lnTo>
                    <a:pt x="754" y="477"/>
                  </a:lnTo>
                  <a:lnTo>
                    <a:pt x="754" y="477"/>
                  </a:lnTo>
                  <a:lnTo>
                    <a:pt x="752" y="477"/>
                  </a:lnTo>
                  <a:lnTo>
                    <a:pt x="752" y="474"/>
                  </a:lnTo>
                  <a:lnTo>
                    <a:pt x="749" y="474"/>
                  </a:lnTo>
                  <a:lnTo>
                    <a:pt x="749" y="474"/>
                  </a:lnTo>
                  <a:lnTo>
                    <a:pt x="749" y="474"/>
                  </a:lnTo>
                  <a:lnTo>
                    <a:pt x="749" y="474"/>
                  </a:lnTo>
                  <a:lnTo>
                    <a:pt x="747" y="474"/>
                  </a:lnTo>
                  <a:lnTo>
                    <a:pt x="747" y="472"/>
                  </a:lnTo>
                  <a:lnTo>
                    <a:pt x="747" y="472"/>
                  </a:lnTo>
                  <a:lnTo>
                    <a:pt x="747" y="472"/>
                  </a:lnTo>
                  <a:lnTo>
                    <a:pt x="747" y="472"/>
                  </a:lnTo>
                  <a:lnTo>
                    <a:pt x="747" y="472"/>
                  </a:lnTo>
                  <a:lnTo>
                    <a:pt x="747" y="470"/>
                  </a:lnTo>
                  <a:lnTo>
                    <a:pt x="747" y="467"/>
                  </a:lnTo>
                  <a:lnTo>
                    <a:pt x="747" y="467"/>
                  </a:lnTo>
                  <a:lnTo>
                    <a:pt x="747" y="467"/>
                  </a:lnTo>
                  <a:lnTo>
                    <a:pt x="747" y="467"/>
                  </a:lnTo>
                  <a:lnTo>
                    <a:pt x="747" y="465"/>
                  </a:lnTo>
                  <a:lnTo>
                    <a:pt x="747" y="465"/>
                  </a:lnTo>
                  <a:lnTo>
                    <a:pt x="747" y="465"/>
                  </a:lnTo>
                  <a:lnTo>
                    <a:pt x="747" y="465"/>
                  </a:lnTo>
                  <a:lnTo>
                    <a:pt x="747" y="463"/>
                  </a:lnTo>
                  <a:lnTo>
                    <a:pt x="747" y="463"/>
                  </a:lnTo>
                  <a:lnTo>
                    <a:pt x="747" y="463"/>
                  </a:lnTo>
                  <a:lnTo>
                    <a:pt x="747" y="463"/>
                  </a:lnTo>
                  <a:lnTo>
                    <a:pt x="747" y="460"/>
                  </a:lnTo>
                  <a:lnTo>
                    <a:pt x="747" y="460"/>
                  </a:lnTo>
                  <a:lnTo>
                    <a:pt x="747" y="460"/>
                  </a:lnTo>
                  <a:lnTo>
                    <a:pt x="747" y="458"/>
                  </a:lnTo>
                  <a:lnTo>
                    <a:pt x="747" y="458"/>
                  </a:lnTo>
                  <a:lnTo>
                    <a:pt x="744" y="458"/>
                  </a:lnTo>
                  <a:lnTo>
                    <a:pt x="747" y="458"/>
                  </a:lnTo>
                  <a:lnTo>
                    <a:pt x="747" y="456"/>
                  </a:lnTo>
                  <a:lnTo>
                    <a:pt x="747" y="456"/>
                  </a:lnTo>
                  <a:lnTo>
                    <a:pt x="747" y="456"/>
                  </a:lnTo>
                  <a:lnTo>
                    <a:pt x="747" y="453"/>
                  </a:lnTo>
                  <a:lnTo>
                    <a:pt x="747" y="453"/>
                  </a:lnTo>
                  <a:lnTo>
                    <a:pt x="747" y="451"/>
                  </a:lnTo>
                  <a:lnTo>
                    <a:pt x="747" y="451"/>
                  </a:lnTo>
                  <a:lnTo>
                    <a:pt x="747" y="451"/>
                  </a:lnTo>
                  <a:lnTo>
                    <a:pt x="747" y="448"/>
                  </a:lnTo>
                  <a:lnTo>
                    <a:pt x="749" y="448"/>
                  </a:lnTo>
                  <a:lnTo>
                    <a:pt x="749" y="448"/>
                  </a:lnTo>
                  <a:lnTo>
                    <a:pt x="749" y="448"/>
                  </a:lnTo>
                  <a:lnTo>
                    <a:pt x="749" y="446"/>
                  </a:lnTo>
                  <a:lnTo>
                    <a:pt x="749" y="446"/>
                  </a:lnTo>
                  <a:lnTo>
                    <a:pt x="752" y="444"/>
                  </a:lnTo>
                  <a:lnTo>
                    <a:pt x="752" y="444"/>
                  </a:lnTo>
                  <a:lnTo>
                    <a:pt x="752" y="441"/>
                  </a:lnTo>
                  <a:lnTo>
                    <a:pt x="752" y="441"/>
                  </a:lnTo>
                  <a:lnTo>
                    <a:pt x="754" y="441"/>
                  </a:lnTo>
                  <a:lnTo>
                    <a:pt x="754" y="439"/>
                  </a:lnTo>
                  <a:lnTo>
                    <a:pt x="754" y="441"/>
                  </a:lnTo>
                  <a:lnTo>
                    <a:pt x="754" y="439"/>
                  </a:lnTo>
                  <a:lnTo>
                    <a:pt x="754" y="439"/>
                  </a:lnTo>
                  <a:lnTo>
                    <a:pt x="754" y="439"/>
                  </a:lnTo>
                  <a:lnTo>
                    <a:pt x="754" y="437"/>
                  </a:lnTo>
                  <a:lnTo>
                    <a:pt x="754" y="437"/>
                  </a:lnTo>
                  <a:lnTo>
                    <a:pt x="754" y="434"/>
                  </a:lnTo>
                  <a:lnTo>
                    <a:pt x="754" y="432"/>
                  </a:lnTo>
                  <a:lnTo>
                    <a:pt x="754" y="432"/>
                  </a:lnTo>
                  <a:lnTo>
                    <a:pt x="752" y="432"/>
                  </a:lnTo>
                  <a:lnTo>
                    <a:pt x="752" y="430"/>
                  </a:lnTo>
                  <a:lnTo>
                    <a:pt x="752" y="430"/>
                  </a:lnTo>
                  <a:lnTo>
                    <a:pt x="752" y="427"/>
                  </a:lnTo>
                  <a:lnTo>
                    <a:pt x="752" y="427"/>
                  </a:lnTo>
                  <a:lnTo>
                    <a:pt x="752" y="425"/>
                  </a:lnTo>
                  <a:lnTo>
                    <a:pt x="754" y="420"/>
                  </a:lnTo>
                  <a:lnTo>
                    <a:pt x="754" y="420"/>
                  </a:lnTo>
                  <a:lnTo>
                    <a:pt x="754" y="418"/>
                  </a:lnTo>
                  <a:lnTo>
                    <a:pt x="752" y="418"/>
                  </a:lnTo>
                  <a:lnTo>
                    <a:pt x="749" y="418"/>
                  </a:lnTo>
                  <a:lnTo>
                    <a:pt x="747" y="418"/>
                  </a:lnTo>
                  <a:lnTo>
                    <a:pt x="744" y="418"/>
                  </a:lnTo>
                  <a:lnTo>
                    <a:pt x="744" y="415"/>
                  </a:lnTo>
                  <a:lnTo>
                    <a:pt x="744" y="415"/>
                  </a:lnTo>
                  <a:lnTo>
                    <a:pt x="742" y="413"/>
                  </a:lnTo>
                  <a:lnTo>
                    <a:pt x="740" y="413"/>
                  </a:lnTo>
                  <a:lnTo>
                    <a:pt x="740" y="408"/>
                  </a:lnTo>
                  <a:lnTo>
                    <a:pt x="730" y="408"/>
                  </a:lnTo>
                  <a:lnTo>
                    <a:pt x="721" y="408"/>
                  </a:lnTo>
                  <a:lnTo>
                    <a:pt x="709" y="408"/>
                  </a:lnTo>
                  <a:lnTo>
                    <a:pt x="695" y="408"/>
                  </a:lnTo>
                  <a:lnTo>
                    <a:pt x="662" y="408"/>
                  </a:lnTo>
                  <a:lnTo>
                    <a:pt x="659" y="408"/>
                  </a:lnTo>
                  <a:lnTo>
                    <a:pt x="640" y="408"/>
                  </a:lnTo>
                  <a:lnTo>
                    <a:pt x="640" y="408"/>
                  </a:lnTo>
                  <a:lnTo>
                    <a:pt x="640" y="422"/>
                  </a:lnTo>
                  <a:lnTo>
                    <a:pt x="638" y="422"/>
                  </a:lnTo>
                  <a:lnTo>
                    <a:pt x="638" y="425"/>
                  </a:lnTo>
                  <a:lnTo>
                    <a:pt x="636" y="427"/>
                  </a:lnTo>
                  <a:lnTo>
                    <a:pt x="636" y="432"/>
                  </a:lnTo>
                  <a:lnTo>
                    <a:pt x="636" y="434"/>
                  </a:lnTo>
                  <a:lnTo>
                    <a:pt x="638" y="434"/>
                  </a:lnTo>
                  <a:lnTo>
                    <a:pt x="638" y="434"/>
                  </a:lnTo>
                  <a:lnTo>
                    <a:pt x="640" y="437"/>
                  </a:lnTo>
                  <a:lnTo>
                    <a:pt x="640" y="439"/>
                  </a:lnTo>
                  <a:lnTo>
                    <a:pt x="640" y="441"/>
                  </a:lnTo>
                  <a:lnTo>
                    <a:pt x="638" y="441"/>
                  </a:lnTo>
                  <a:lnTo>
                    <a:pt x="636" y="444"/>
                  </a:lnTo>
                  <a:lnTo>
                    <a:pt x="636" y="446"/>
                  </a:lnTo>
                  <a:lnTo>
                    <a:pt x="633" y="446"/>
                  </a:lnTo>
                  <a:lnTo>
                    <a:pt x="631" y="448"/>
                  </a:lnTo>
                  <a:lnTo>
                    <a:pt x="631" y="451"/>
                  </a:lnTo>
                  <a:lnTo>
                    <a:pt x="631" y="451"/>
                  </a:lnTo>
                  <a:lnTo>
                    <a:pt x="631" y="456"/>
                  </a:lnTo>
                  <a:lnTo>
                    <a:pt x="633" y="458"/>
                  </a:lnTo>
                  <a:lnTo>
                    <a:pt x="631" y="458"/>
                  </a:lnTo>
                  <a:lnTo>
                    <a:pt x="631" y="458"/>
                  </a:lnTo>
                  <a:lnTo>
                    <a:pt x="631" y="460"/>
                  </a:lnTo>
                  <a:lnTo>
                    <a:pt x="633" y="460"/>
                  </a:lnTo>
                  <a:lnTo>
                    <a:pt x="633" y="463"/>
                  </a:lnTo>
                  <a:lnTo>
                    <a:pt x="631" y="463"/>
                  </a:lnTo>
                  <a:lnTo>
                    <a:pt x="631" y="463"/>
                  </a:lnTo>
                  <a:lnTo>
                    <a:pt x="633" y="465"/>
                  </a:lnTo>
                  <a:lnTo>
                    <a:pt x="633" y="463"/>
                  </a:lnTo>
                  <a:lnTo>
                    <a:pt x="636" y="465"/>
                  </a:lnTo>
                  <a:lnTo>
                    <a:pt x="636" y="465"/>
                  </a:lnTo>
                  <a:lnTo>
                    <a:pt x="636" y="467"/>
                  </a:lnTo>
                  <a:lnTo>
                    <a:pt x="633" y="467"/>
                  </a:lnTo>
                  <a:lnTo>
                    <a:pt x="633" y="470"/>
                  </a:lnTo>
                  <a:lnTo>
                    <a:pt x="633" y="472"/>
                  </a:lnTo>
                  <a:lnTo>
                    <a:pt x="633" y="474"/>
                  </a:lnTo>
                  <a:lnTo>
                    <a:pt x="633" y="477"/>
                  </a:lnTo>
                  <a:lnTo>
                    <a:pt x="631" y="479"/>
                  </a:lnTo>
                  <a:lnTo>
                    <a:pt x="631" y="479"/>
                  </a:lnTo>
                  <a:lnTo>
                    <a:pt x="655" y="479"/>
                  </a:lnTo>
                  <a:lnTo>
                    <a:pt x="662" y="479"/>
                  </a:lnTo>
                  <a:lnTo>
                    <a:pt x="664" y="479"/>
                  </a:lnTo>
                  <a:lnTo>
                    <a:pt x="674" y="479"/>
                  </a:lnTo>
                  <a:lnTo>
                    <a:pt x="690" y="479"/>
                  </a:lnTo>
                  <a:lnTo>
                    <a:pt x="707" y="479"/>
                  </a:lnTo>
                  <a:lnTo>
                    <a:pt x="716" y="479"/>
                  </a:lnTo>
                  <a:lnTo>
                    <a:pt x="754" y="479"/>
                  </a:lnTo>
                  <a:lnTo>
                    <a:pt x="754" y="479"/>
                  </a:lnTo>
                  <a:lnTo>
                    <a:pt x="754" y="482"/>
                  </a:lnTo>
                  <a:lnTo>
                    <a:pt x="754" y="482"/>
                  </a:lnTo>
                  <a:lnTo>
                    <a:pt x="754" y="482"/>
                  </a:lnTo>
                  <a:lnTo>
                    <a:pt x="754" y="484"/>
                  </a:lnTo>
                  <a:lnTo>
                    <a:pt x="754" y="484"/>
                  </a:lnTo>
                  <a:lnTo>
                    <a:pt x="754" y="484"/>
                  </a:lnTo>
                  <a:lnTo>
                    <a:pt x="754" y="484"/>
                  </a:lnTo>
                  <a:lnTo>
                    <a:pt x="754" y="484"/>
                  </a:lnTo>
                  <a:lnTo>
                    <a:pt x="752" y="484"/>
                  </a:lnTo>
                  <a:lnTo>
                    <a:pt x="752" y="484"/>
                  </a:lnTo>
                  <a:lnTo>
                    <a:pt x="752" y="484"/>
                  </a:lnTo>
                  <a:lnTo>
                    <a:pt x="752" y="484"/>
                  </a:lnTo>
                  <a:lnTo>
                    <a:pt x="752" y="486"/>
                  </a:lnTo>
                  <a:lnTo>
                    <a:pt x="752" y="486"/>
                  </a:lnTo>
                  <a:lnTo>
                    <a:pt x="749" y="486"/>
                  </a:lnTo>
                  <a:lnTo>
                    <a:pt x="752" y="489"/>
                  </a:lnTo>
                  <a:lnTo>
                    <a:pt x="749" y="489"/>
                  </a:lnTo>
                  <a:lnTo>
                    <a:pt x="749" y="489"/>
                  </a:lnTo>
                  <a:lnTo>
                    <a:pt x="749" y="491"/>
                  </a:lnTo>
                  <a:lnTo>
                    <a:pt x="749" y="491"/>
                  </a:lnTo>
                  <a:lnTo>
                    <a:pt x="749" y="491"/>
                  </a:lnTo>
                  <a:lnTo>
                    <a:pt x="749" y="491"/>
                  </a:lnTo>
                  <a:lnTo>
                    <a:pt x="749" y="493"/>
                  </a:lnTo>
                  <a:lnTo>
                    <a:pt x="749" y="493"/>
                  </a:lnTo>
                  <a:lnTo>
                    <a:pt x="749" y="493"/>
                  </a:lnTo>
                  <a:lnTo>
                    <a:pt x="749" y="493"/>
                  </a:lnTo>
                  <a:lnTo>
                    <a:pt x="752" y="496"/>
                  </a:lnTo>
                  <a:lnTo>
                    <a:pt x="752" y="496"/>
                  </a:lnTo>
                  <a:lnTo>
                    <a:pt x="749" y="496"/>
                  </a:lnTo>
                  <a:lnTo>
                    <a:pt x="752" y="496"/>
                  </a:lnTo>
                  <a:lnTo>
                    <a:pt x="752" y="498"/>
                  </a:lnTo>
                  <a:lnTo>
                    <a:pt x="752" y="498"/>
                  </a:lnTo>
                  <a:lnTo>
                    <a:pt x="752" y="500"/>
                  </a:lnTo>
                  <a:lnTo>
                    <a:pt x="754" y="500"/>
                  </a:lnTo>
                  <a:lnTo>
                    <a:pt x="752" y="500"/>
                  </a:lnTo>
                  <a:lnTo>
                    <a:pt x="754" y="503"/>
                  </a:lnTo>
                  <a:lnTo>
                    <a:pt x="752" y="505"/>
                  </a:lnTo>
                  <a:lnTo>
                    <a:pt x="752" y="505"/>
                  </a:lnTo>
                  <a:lnTo>
                    <a:pt x="752" y="505"/>
                  </a:lnTo>
                  <a:lnTo>
                    <a:pt x="749" y="507"/>
                  </a:lnTo>
                  <a:lnTo>
                    <a:pt x="749" y="510"/>
                  </a:lnTo>
                  <a:lnTo>
                    <a:pt x="749" y="510"/>
                  </a:lnTo>
                  <a:lnTo>
                    <a:pt x="749" y="510"/>
                  </a:lnTo>
                  <a:lnTo>
                    <a:pt x="749" y="512"/>
                  </a:lnTo>
                  <a:lnTo>
                    <a:pt x="747" y="512"/>
                  </a:lnTo>
                  <a:lnTo>
                    <a:pt x="747" y="515"/>
                  </a:lnTo>
                  <a:lnTo>
                    <a:pt x="747" y="515"/>
                  </a:lnTo>
                  <a:lnTo>
                    <a:pt x="744" y="517"/>
                  </a:lnTo>
                  <a:lnTo>
                    <a:pt x="742" y="522"/>
                  </a:lnTo>
                  <a:lnTo>
                    <a:pt x="740" y="522"/>
                  </a:lnTo>
                  <a:lnTo>
                    <a:pt x="740" y="524"/>
                  </a:lnTo>
                  <a:lnTo>
                    <a:pt x="740" y="524"/>
                  </a:lnTo>
                  <a:lnTo>
                    <a:pt x="740" y="529"/>
                  </a:lnTo>
                  <a:lnTo>
                    <a:pt x="740" y="531"/>
                  </a:lnTo>
                  <a:lnTo>
                    <a:pt x="737" y="531"/>
                  </a:lnTo>
                  <a:lnTo>
                    <a:pt x="737" y="533"/>
                  </a:lnTo>
                  <a:lnTo>
                    <a:pt x="735" y="533"/>
                  </a:lnTo>
                  <a:lnTo>
                    <a:pt x="735" y="536"/>
                  </a:lnTo>
                  <a:lnTo>
                    <a:pt x="735" y="538"/>
                  </a:lnTo>
                  <a:lnTo>
                    <a:pt x="735" y="538"/>
                  </a:lnTo>
                  <a:lnTo>
                    <a:pt x="737" y="541"/>
                  </a:lnTo>
                  <a:lnTo>
                    <a:pt x="737" y="541"/>
                  </a:lnTo>
                  <a:lnTo>
                    <a:pt x="737" y="543"/>
                  </a:lnTo>
                  <a:lnTo>
                    <a:pt x="740" y="543"/>
                  </a:lnTo>
                  <a:lnTo>
                    <a:pt x="737" y="543"/>
                  </a:lnTo>
                  <a:lnTo>
                    <a:pt x="740" y="545"/>
                  </a:lnTo>
                  <a:lnTo>
                    <a:pt x="740" y="543"/>
                  </a:lnTo>
                  <a:lnTo>
                    <a:pt x="740" y="545"/>
                  </a:lnTo>
                  <a:lnTo>
                    <a:pt x="740" y="543"/>
                  </a:lnTo>
                  <a:lnTo>
                    <a:pt x="742" y="545"/>
                  </a:lnTo>
                  <a:lnTo>
                    <a:pt x="740" y="545"/>
                  </a:lnTo>
                  <a:lnTo>
                    <a:pt x="742" y="545"/>
                  </a:lnTo>
                  <a:lnTo>
                    <a:pt x="740" y="548"/>
                  </a:lnTo>
                  <a:lnTo>
                    <a:pt x="742" y="548"/>
                  </a:lnTo>
                  <a:lnTo>
                    <a:pt x="740" y="548"/>
                  </a:lnTo>
                  <a:lnTo>
                    <a:pt x="742" y="548"/>
                  </a:lnTo>
                  <a:lnTo>
                    <a:pt x="744" y="548"/>
                  </a:lnTo>
                  <a:lnTo>
                    <a:pt x="744" y="548"/>
                  </a:lnTo>
                  <a:lnTo>
                    <a:pt x="744" y="550"/>
                  </a:lnTo>
                  <a:lnTo>
                    <a:pt x="744" y="548"/>
                  </a:lnTo>
                  <a:lnTo>
                    <a:pt x="747" y="548"/>
                  </a:lnTo>
                  <a:lnTo>
                    <a:pt x="747" y="550"/>
                  </a:lnTo>
                  <a:lnTo>
                    <a:pt x="747" y="550"/>
                  </a:lnTo>
                  <a:lnTo>
                    <a:pt x="747" y="550"/>
                  </a:lnTo>
                  <a:lnTo>
                    <a:pt x="747" y="550"/>
                  </a:lnTo>
                  <a:lnTo>
                    <a:pt x="749" y="550"/>
                  </a:lnTo>
                  <a:lnTo>
                    <a:pt x="749" y="550"/>
                  </a:lnTo>
                  <a:lnTo>
                    <a:pt x="749" y="550"/>
                  </a:lnTo>
                  <a:lnTo>
                    <a:pt x="749" y="550"/>
                  </a:lnTo>
                  <a:lnTo>
                    <a:pt x="752" y="550"/>
                  </a:lnTo>
                  <a:lnTo>
                    <a:pt x="749" y="550"/>
                  </a:lnTo>
                  <a:lnTo>
                    <a:pt x="752" y="552"/>
                  </a:lnTo>
                  <a:lnTo>
                    <a:pt x="749" y="552"/>
                  </a:lnTo>
                  <a:lnTo>
                    <a:pt x="752" y="555"/>
                  </a:lnTo>
                  <a:lnTo>
                    <a:pt x="754" y="552"/>
                  </a:lnTo>
                  <a:lnTo>
                    <a:pt x="754" y="550"/>
                  </a:lnTo>
                  <a:lnTo>
                    <a:pt x="754" y="552"/>
                  </a:lnTo>
                  <a:lnTo>
                    <a:pt x="754" y="555"/>
                  </a:lnTo>
                  <a:lnTo>
                    <a:pt x="754" y="552"/>
                  </a:lnTo>
                  <a:lnTo>
                    <a:pt x="754" y="555"/>
                  </a:lnTo>
                  <a:lnTo>
                    <a:pt x="754" y="555"/>
                  </a:lnTo>
                  <a:lnTo>
                    <a:pt x="756" y="555"/>
                  </a:lnTo>
                  <a:lnTo>
                    <a:pt x="756" y="555"/>
                  </a:lnTo>
                  <a:lnTo>
                    <a:pt x="756" y="557"/>
                  </a:lnTo>
                  <a:lnTo>
                    <a:pt x="756" y="555"/>
                  </a:lnTo>
                  <a:lnTo>
                    <a:pt x="756" y="557"/>
                  </a:lnTo>
                  <a:lnTo>
                    <a:pt x="756" y="557"/>
                  </a:lnTo>
                  <a:lnTo>
                    <a:pt x="759" y="557"/>
                  </a:lnTo>
                  <a:lnTo>
                    <a:pt x="759" y="559"/>
                  </a:lnTo>
                  <a:lnTo>
                    <a:pt x="759" y="559"/>
                  </a:lnTo>
                  <a:lnTo>
                    <a:pt x="759" y="559"/>
                  </a:lnTo>
                  <a:lnTo>
                    <a:pt x="761" y="557"/>
                  </a:lnTo>
                  <a:lnTo>
                    <a:pt x="761" y="559"/>
                  </a:lnTo>
                  <a:lnTo>
                    <a:pt x="761" y="559"/>
                  </a:lnTo>
                  <a:lnTo>
                    <a:pt x="761" y="559"/>
                  </a:lnTo>
                  <a:lnTo>
                    <a:pt x="763" y="559"/>
                  </a:lnTo>
                  <a:lnTo>
                    <a:pt x="761" y="562"/>
                  </a:lnTo>
                  <a:lnTo>
                    <a:pt x="761" y="562"/>
                  </a:lnTo>
                  <a:lnTo>
                    <a:pt x="763" y="562"/>
                  </a:lnTo>
                  <a:lnTo>
                    <a:pt x="763" y="564"/>
                  </a:lnTo>
                  <a:lnTo>
                    <a:pt x="761" y="564"/>
                  </a:lnTo>
                  <a:lnTo>
                    <a:pt x="763" y="564"/>
                  </a:lnTo>
                  <a:lnTo>
                    <a:pt x="763" y="564"/>
                  </a:lnTo>
                  <a:lnTo>
                    <a:pt x="766" y="567"/>
                  </a:lnTo>
                  <a:lnTo>
                    <a:pt x="766" y="567"/>
                  </a:lnTo>
                  <a:lnTo>
                    <a:pt x="766" y="569"/>
                  </a:lnTo>
                  <a:lnTo>
                    <a:pt x="763" y="569"/>
                  </a:lnTo>
                  <a:lnTo>
                    <a:pt x="766" y="569"/>
                  </a:lnTo>
                  <a:lnTo>
                    <a:pt x="763" y="569"/>
                  </a:lnTo>
                  <a:lnTo>
                    <a:pt x="763" y="571"/>
                  </a:lnTo>
                  <a:lnTo>
                    <a:pt x="763" y="574"/>
                  </a:lnTo>
                  <a:lnTo>
                    <a:pt x="766" y="574"/>
                  </a:lnTo>
                  <a:lnTo>
                    <a:pt x="763" y="574"/>
                  </a:lnTo>
                  <a:lnTo>
                    <a:pt x="763" y="574"/>
                  </a:lnTo>
                  <a:lnTo>
                    <a:pt x="766" y="574"/>
                  </a:lnTo>
                  <a:lnTo>
                    <a:pt x="766" y="576"/>
                  </a:lnTo>
                  <a:lnTo>
                    <a:pt x="766" y="576"/>
                  </a:lnTo>
                  <a:lnTo>
                    <a:pt x="766" y="576"/>
                  </a:lnTo>
                  <a:lnTo>
                    <a:pt x="766" y="578"/>
                  </a:lnTo>
                  <a:lnTo>
                    <a:pt x="766" y="578"/>
                  </a:lnTo>
                  <a:lnTo>
                    <a:pt x="768" y="578"/>
                  </a:lnTo>
                  <a:lnTo>
                    <a:pt x="766" y="581"/>
                  </a:lnTo>
                  <a:lnTo>
                    <a:pt x="766" y="581"/>
                  </a:lnTo>
                  <a:lnTo>
                    <a:pt x="770" y="581"/>
                  </a:lnTo>
                  <a:lnTo>
                    <a:pt x="768" y="583"/>
                  </a:lnTo>
                  <a:lnTo>
                    <a:pt x="768" y="585"/>
                  </a:lnTo>
                  <a:lnTo>
                    <a:pt x="768" y="585"/>
                  </a:lnTo>
                  <a:lnTo>
                    <a:pt x="766" y="585"/>
                  </a:lnTo>
                  <a:lnTo>
                    <a:pt x="768" y="588"/>
                  </a:lnTo>
                  <a:lnTo>
                    <a:pt x="768" y="588"/>
                  </a:lnTo>
                  <a:lnTo>
                    <a:pt x="768" y="588"/>
                  </a:lnTo>
                  <a:lnTo>
                    <a:pt x="770" y="588"/>
                  </a:lnTo>
                  <a:lnTo>
                    <a:pt x="768" y="588"/>
                  </a:lnTo>
                  <a:lnTo>
                    <a:pt x="768" y="588"/>
                  </a:lnTo>
                  <a:lnTo>
                    <a:pt x="768" y="590"/>
                  </a:lnTo>
                  <a:lnTo>
                    <a:pt x="770" y="590"/>
                  </a:lnTo>
                  <a:lnTo>
                    <a:pt x="768" y="593"/>
                  </a:lnTo>
                  <a:lnTo>
                    <a:pt x="770" y="590"/>
                  </a:lnTo>
                  <a:lnTo>
                    <a:pt x="770" y="590"/>
                  </a:lnTo>
                  <a:lnTo>
                    <a:pt x="773" y="593"/>
                  </a:lnTo>
                  <a:lnTo>
                    <a:pt x="773" y="593"/>
                  </a:lnTo>
                  <a:lnTo>
                    <a:pt x="773" y="593"/>
                  </a:lnTo>
                  <a:lnTo>
                    <a:pt x="770" y="595"/>
                  </a:lnTo>
                  <a:lnTo>
                    <a:pt x="773" y="595"/>
                  </a:lnTo>
                  <a:lnTo>
                    <a:pt x="773" y="595"/>
                  </a:lnTo>
                  <a:lnTo>
                    <a:pt x="773" y="595"/>
                  </a:lnTo>
                  <a:lnTo>
                    <a:pt x="773" y="595"/>
                  </a:lnTo>
                  <a:lnTo>
                    <a:pt x="773" y="597"/>
                  </a:lnTo>
                  <a:lnTo>
                    <a:pt x="775" y="597"/>
                  </a:lnTo>
                  <a:lnTo>
                    <a:pt x="773" y="597"/>
                  </a:lnTo>
                  <a:lnTo>
                    <a:pt x="775" y="600"/>
                  </a:lnTo>
                  <a:lnTo>
                    <a:pt x="775" y="597"/>
                  </a:lnTo>
                  <a:lnTo>
                    <a:pt x="775" y="600"/>
                  </a:lnTo>
                  <a:lnTo>
                    <a:pt x="778" y="600"/>
                  </a:lnTo>
                  <a:lnTo>
                    <a:pt x="778" y="602"/>
                  </a:lnTo>
                  <a:lnTo>
                    <a:pt x="778" y="602"/>
                  </a:lnTo>
                  <a:lnTo>
                    <a:pt x="775" y="602"/>
                  </a:lnTo>
                  <a:lnTo>
                    <a:pt x="775" y="602"/>
                  </a:lnTo>
                  <a:lnTo>
                    <a:pt x="775" y="604"/>
                  </a:lnTo>
                  <a:lnTo>
                    <a:pt x="775" y="604"/>
                  </a:lnTo>
                  <a:lnTo>
                    <a:pt x="775" y="604"/>
                  </a:lnTo>
                  <a:lnTo>
                    <a:pt x="778" y="604"/>
                  </a:lnTo>
                  <a:lnTo>
                    <a:pt x="778" y="604"/>
                  </a:lnTo>
                  <a:lnTo>
                    <a:pt x="775" y="604"/>
                  </a:lnTo>
                  <a:lnTo>
                    <a:pt x="775" y="607"/>
                  </a:lnTo>
                  <a:lnTo>
                    <a:pt x="775" y="607"/>
                  </a:lnTo>
                  <a:lnTo>
                    <a:pt x="775" y="607"/>
                  </a:lnTo>
                  <a:lnTo>
                    <a:pt x="775" y="607"/>
                  </a:lnTo>
                  <a:lnTo>
                    <a:pt x="775" y="607"/>
                  </a:lnTo>
                  <a:lnTo>
                    <a:pt x="775" y="607"/>
                  </a:lnTo>
                  <a:lnTo>
                    <a:pt x="773" y="607"/>
                  </a:lnTo>
                  <a:lnTo>
                    <a:pt x="773" y="607"/>
                  </a:lnTo>
                  <a:lnTo>
                    <a:pt x="773" y="607"/>
                  </a:lnTo>
                  <a:lnTo>
                    <a:pt x="773" y="607"/>
                  </a:lnTo>
                  <a:lnTo>
                    <a:pt x="773" y="609"/>
                  </a:lnTo>
                  <a:lnTo>
                    <a:pt x="773" y="609"/>
                  </a:lnTo>
                  <a:lnTo>
                    <a:pt x="773" y="609"/>
                  </a:lnTo>
                  <a:lnTo>
                    <a:pt x="770" y="609"/>
                  </a:lnTo>
                  <a:lnTo>
                    <a:pt x="770" y="607"/>
                  </a:lnTo>
                  <a:lnTo>
                    <a:pt x="770" y="607"/>
                  </a:lnTo>
                  <a:lnTo>
                    <a:pt x="770" y="611"/>
                  </a:lnTo>
                  <a:lnTo>
                    <a:pt x="770" y="611"/>
                  </a:lnTo>
                  <a:lnTo>
                    <a:pt x="770" y="611"/>
                  </a:lnTo>
                  <a:lnTo>
                    <a:pt x="770" y="611"/>
                  </a:lnTo>
                  <a:lnTo>
                    <a:pt x="770" y="611"/>
                  </a:lnTo>
                  <a:lnTo>
                    <a:pt x="768" y="611"/>
                  </a:lnTo>
                  <a:lnTo>
                    <a:pt x="768" y="611"/>
                  </a:lnTo>
                  <a:lnTo>
                    <a:pt x="770" y="611"/>
                  </a:lnTo>
                  <a:lnTo>
                    <a:pt x="768" y="614"/>
                  </a:lnTo>
                  <a:lnTo>
                    <a:pt x="768" y="611"/>
                  </a:lnTo>
                  <a:lnTo>
                    <a:pt x="766" y="614"/>
                  </a:lnTo>
                  <a:lnTo>
                    <a:pt x="768" y="614"/>
                  </a:lnTo>
                  <a:lnTo>
                    <a:pt x="766" y="614"/>
                  </a:lnTo>
                  <a:lnTo>
                    <a:pt x="766" y="614"/>
                  </a:lnTo>
                  <a:lnTo>
                    <a:pt x="763" y="614"/>
                  </a:lnTo>
                  <a:lnTo>
                    <a:pt x="763" y="614"/>
                  </a:lnTo>
                  <a:lnTo>
                    <a:pt x="766" y="614"/>
                  </a:lnTo>
                  <a:lnTo>
                    <a:pt x="763" y="614"/>
                  </a:lnTo>
                  <a:lnTo>
                    <a:pt x="763" y="614"/>
                  </a:lnTo>
                  <a:lnTo>
                    <a:pt x="763" y="614"/>
                  </a:lnTo>
                  <a:lnTo>
                    <a:pt x="763" y="614"/>
                  </a:lnTo>
                  <a:lnTo>
                    <a:pt x="763" y="616"/>
                  </a:lnTo>
                  <a:lnTo>
                    <a:pt x="761" y="616"/>
                  </a:lnTo>
                  <a:lnTo>
                    <a:pt x="761" y="616"/>
                  </a:lnTo>
                  <a:lnTo>
                    <a:pt x="761" y="616"/>
                  </a:lnTo>
                  <a:lnTo>
                    <a:pt x="759" y="616"/>
                  </a:lnTo>
                  <a:lnTo>
                    <a:pt x="759" y="619"/>
                  </a:lnTo>
                  <a:lnTo>
                    <a:pt x="759" y="616"/>
                  </a:lnTo>
                  <a:lnTo>
                    <a:pt x="759" y="619"/>
                  </a:lnTo>
                  <a:lnTo>
                    <a:pt x="759" y="619"/>
                  </a:lnTo>
                  <a:lnTo>
                    <a:pt x="759" y="619"/>
                  </a:lnTo>
                  <a:lnTo>
                    <a:pt x="759" y="621"/>
                  </a:lnTo>
                  <a:lnTo>
                    <a:pt x="756" y="621"/>
                  </a:lnTo>
                  <a:lnTo>
                    <a:pt x="759" y="623"/>
                  </a:lnTo>
                  <a:lnTo>
                    <a:pt x="756" y="621"/>
                  </a:lnTo>
                  <a:lnTo>
                    <a:pt x="754" y="623"/>
                  </a:lnTo>
                  <a:lnTo>
                    <a:pt x="756" y="623"/>
                  </a:lnTo>
                  <a:lnTo>
                    <a:pt x="754" y="623"/>
                  </a:lnTo>
                  <a:lnTo>
                    <a:pt x="754" y="623"/>
                  </a:lnTo>
                  <a:lnTo>
                    <a:pt x="752" y="623"/>
                  </a:lnTo>
                  <a:lnTo>
                    <a:pt x="752" y="623"/>
                  </a:lnTo>
                  <a:lnTo>
                    <a:pt x="752" y="623"/>
                  </a:lnTo>
                  <a:lnTo>
                    <a:pt x="752" y="623"/>
                  </a:lnTo>
                  <a:lnTo>
                    <a:pt x="752" y="626"/>
                  </a:lnTo>
                  <a:lnTo>
                    <a:pt x="749" y="626"/>
                  </a:lnTo>
                  <a:lnTo>
                    <a:pt x="749" y="626"/>
                  </a:lnTo>
                  <a:lnTo>
                    <a:pt x="749" y="626"/>
                  </a:lnTo>
                  <a:lnTo>
                    <a:pt x="749" y="628"/>
                  </a:lnTo>
                  <a:lnTo>
                    <a:pt x="749" y="628"/>
                  </a:lnTo>
                  <a:lnTo>
                    <a:pt x="749" y="628"/>
                  </a:lnTo>
                  <a:lnTo>
                    <a:pt x="747" y="628"/>
                  </a:lnTo>
                  <a:lnTo>
                    <a:pt x="749" y="628"/>
                  </a:lnTo>
                  <a:lnTo>
                    <a:pt x="749" y="630"/>
                  </a:lnTo>
                  <a:lnTo>
                    <a:pt x="749" y="630"/>
                  </a:lnTo>
                  <a:lnTo>
                    <a:pt x="749" y="630"/>
                  </a:lnTo>
                  <a:lnTo>
                    <a:pt x="749" y="630"/>
                  </a:lnTo>
                  <a:lnTo>
                    <a:pt x="747" y="630"/>
                  </a:lnTo>
                  <a:lnTo>
                    <a:pt x="747" y="630"/>
                  </a:lnTo>
                  <a:lnTo>
                    <a:pt x="747" y="633"/>
                  </a:lnTo>
                  <a:lnTo>
                    <a:pt x="747" y="633"/>
                  </a:lnTo>
                  <a:lnTo>
                    <a:pt x="744" y="633"/>
                  </a:lnTo>
                  <a:lnTo>
                    <a:pt x="744" y="633"/>
                  </a:lnTo>
                  <a:lnTo>
                    <a:pt x="744" y="635"/>
                  </a:lnTo>
                  <a:lnTo>
                    <a:pt x="744" y="635"/>
                  </a:lnTo>
                  <a:lnTo>
                    <a:pt x="744" y="635"/>
                  </a:lnTo>
                  <a:lnTo>
                    <a:pt x="744" y="637"/>
                  </a:lnTo>
                  <a:lnTo>
                    <a:pt x="744" y="635"/>
                  </a:lnTo>
                  <a:lnTo>
                    <a:pt x="742" y="635"/>
                  </a:lnTo>
                  <a:lnTo>
                    <a:pt x="742" y="637"/>
                  </a:lnTo>
                  <a:lnTo>
                    <a:pt x="742" y="637"/>
                  </a:lnTo>
                  <a:lnTo>
                    <a:pt x="740" y="637"/>
                  </a:lnTo>
                  <a:lnTo>
                    <a:pt x="740" y="637"/>
                  </a:lnTo>
                  <a:lnTo>
                    <a:pt x="740" y="640"/>
                  </a:lnTo>
                  <a:lnTo>
                    <a:pt x="737" y="640"/>
                  </a:lnTo>
                  <a:lnTo>
                    <a:pt x="737" y="640"/>
                  </a:lnTo>
                  <a:lnTo>
                    <a:pt x="740" y="640"/>
                  </a:lnTo>
                  <a:lnTo>
                    <a:pt x="740" y="642"/>
                  </a:lnTo>
                  <a:lnTo>
                    <a:pt x="740" y="642"/>
                  </a:lnTo>
                  <a:lnTo>
                    <a:pt x="740" y="642"/>
                  </a:lnTo>
                  <a:lnTo>
                    <a:pt x="740" y="644"/>
                  </a:lnTo>
                  <a:lnTo>
                    <a:pt x="740" y="647"/>
                  </a:lnTo>
                  <a:lnTo>
                    <a:pt x="737" y="644"/>
                  </a:lnTo>
                  <a:lnTo>
                    <a:pt x="737" y="647"/>
                  </a:lnTo>
                  <a:lnTo>
                    <a:pt x="737" y="647"/>
                  </a:lnTo>
                  <a:lnTo>
                    <a:pt x="737" y="647"/>
                  </a:lnTo>
                  <a:lnTo>
                    <a:pt x="735" y="647"/>
                  </a:lnTo>
                  <a:lnTo>
                    <a:pt x="737" y="649"/>
                  </a:lnTo>
                  <a:lnTo>
                    <a:pt x="737" y="649"/>
                  </a:lnTo>
                  <a:lnTo>
                    <a:pt x="737" y="649"/>
                  </a:lnTo>
                  <a:lnTo>
                    <a:pt x="735" y="649"/>
                  </a:lnTo>
                  <a:lnTo>
                    <a:pt x="735" y="649"/>
                  </a:lnTo>
                  <a:lnTo>
                    <a:pt x="735" y="649"/>
                  </a:lnTo>
                  <a:lnTo>
                    <a:pt x="735" y="649"/>
                  </a:lnTo>
                  <a:lnTo>
                    <a:pt x="730" y="649"/>
                  </a:lnTo>
                  <a:lnTo>
                    <a:pt x="730" y="649"/>
                  </a:lnTo>
                  <a:lnTo>
                    <a:pt x="730" y="649"/>
                  </a:lnTo>
                  <a:lnTo>
                    <a:pt x="730" y="647"/>
                  </a:lnTo>
                  <a:lnTo>
                    <a:pt x="728" y="647"/>
                  </a:lnTo>
                  <a:lnTo>
                    <a:pt x="728" y="647"/>
                  </a:lnTo>
                  <a:lnTo>
                    <a:pt x="728" y="647"/>
                  </a:lnTo>
                  <a:lnTo>
                    <a:pt x="730" y="647"/>
                  </a:lnTo>
                  <a:lnTo>
                    <a:pt x="728" y="649"/>
                  </a:lnTo>
                  <a:lnTo>
                    <a:pt x="728" y="649"/>
                  </a:lnTo>
                  <a:lnTo>
                    <a:pt x="728" y="652"/>
                  </a:lnTo>
                  <a:lnTo>
                    <a:pt x="728" y="654"/>
                  </a:lnTo>
                  <a:lnTo>
                    <a:pt x="726" y="652"/>
                  </a:lnTo>
                  <a:lnTo>
                    <a:pt x="726" y="654"/>
                  </a:lnTo>
                  <a:lnTo>
                    <a:pt x="726" y="654"/>
                  </a:lnTo>
                  <a:lnTo>
                    <a:pt x="726" y="654"/>
                  </a:lnTo>
                  <a:lnTo>
                    <a:pt x="726" y="656"/>
                  </a:lnTo>
                  <a:lnTo>
                    <a:pt x="726" y="656"/>
                  </a:lnTo>
                  <a:lnTo>
                    <a:pt x="728" y="656"/>
                  </a:lnTo>
                  <a:lnTo>
                    <a:pt x="728" y="656"/>
                  </a:lnTo>
                  <a:lnTo>
                    <a:pt x="726" y="656"/>
                  </a:lnTo>
                  <a:lnTo>
                    <a:pt x="726" y="659"/>
                  </a:lnTo>
                  <a:lnTo>
                    <a:pt x="726" y="659"/>
                  </a:lnTo>
                  <a:lnTo>
                    <a:pt x="728" y="659"/>
                  </a:lnTo>
                  <a:lnTo>
                    <a:pt x="728" y="659"/>
                  </a:lnTo>
                  <a:lnTo>
                    <a:pt x="728" y="661"/>
                  </a:lnTo>
                  <a:lnTo>
                    <a:pt x="726" y="661"/>
                  </a:lnTo>
                  <a:lnTo>
                    <a:pt x="726" y="663"/>
                  </a:lnTo>
                  <a:lnTo>
                    <a:pt x="726" y="663"/>
                  </a:lnTo>
                  <a:lnTo>
                    <a:pt x="728" y="663"/>
                  </a:lnTo>
                  <a:lnTo>
                    <a:pt x="728" y="666"/>
                  </a:lnTo>
                  <a:lnTo>
                    <a:pt x="730" y="666"/>
                  </a:lnTo>
                  <a:lnTo>
                    <a:pt x="730" y="668"/>
                  </a:lnTo>
                  <a:lnTo>
                    <a:pt x="730" y="670"/>
                  </a:lnTo>
                  <a:lnTo>
                    <a:pt x="730" y="670"/>
                  </a:lnTo>
                  <a:lnTo>
                    <a:pt x="730" y="670"/>
                  </a:lnTo>
                  <a:lnTo>
                    <a:pt x="730" y="673"/>
                  </a:lnTo>
                  <a:lnTo>
                    <a:pt x="733" y="670"/>
                  </a:lnTo>
                  <a:lnTo>
                    <a:pt x="735" y="673"/>
                  </a:lnTo>
                  <a:lnTo>
                    <a:pt x="735" y="673"/>
                  </a:lnTo>
                  <a:lnTo>
                    <a:pt x="735" y="673"/>
                  </a:lnTo>
                  <a:lnTo>
                    <a:pt x="737" y="673"/>
                  </a:lnTo>
                  <a:lnTo>
                    <a:pt x="740" y="670"/>
                  </a:lnTo>
                  <a:lnTo>
                    <a:pt x="742" y="670"/>
                  </a:lnTo>
                  <a:lnTo>
                    <a:pt x="744" y="670"/>
                  </a:lnTo>
                  <a:lnTo>
                    <a:pt x="747" y="670"/>
                  </a:lnTo>
                  <a:lnTo>
                    <a:pt x="749" y="673"/>
                  </a:lnTo>
                  <a:lnTo>
                    <a:pt x="752" y="670"/>
                  </a:lnTo>
                  <a:lnTo>
                    <a:pt x="754" y="673"/>
                  </a:lnTo>
                  <a:lnTo>
                    <a:pt x="754" y="675"/>
                  </a:lnTo>
                  <a:lnTo>
                    <a:pt x="754" y="675"/>
                  </a:lnTo>
                  <a:lnTo>
                    <a:pt x="756" y="678"/>
                  </a:lnTo>
                  <a:lnTo>
                    <a:pt x="759" y="680"/>
                  </a:lnTo>
                  <a:lnTo>
                    <a:pt x="759" y="682"/>
                  </a:lnTo>
                  <a:lnTo>
                    <a:pt x="759" y="685"/>
                  </a:lnTo>
                  <a:lnTo>
                    <a:pt x="759" y="687"/>
                  </a:lnTo>
                  <a:lnTo>
                    <a:pt x="759" y="687"/>
                  </a:lnTo>
                  <a:lnTo>
                    <a:pt x="759" y="689"/>
                  </a:lnTo>
                  <a:lnTo>
                    <a:pt x="759" y="689"/>
                  </a:lnTo>
                  <a:lnTo>
                    <a:pt x="759" y="689"/>
                  </a:lnTo>
                  <a:lnTo>
                    <a:pt x="759" y="689"/>
                  </a:lnTo>
                  <a:lnTo>
                    <a:pt x="759" y="692"/>
                  </a:lnTo>
                  <a:lnTo>
                    <a:pt x="756" y="694"/>
                  </a:lnTo>
                  <a:lnTo>
                    <a:pt x="756" y="694"/>
                  </a:lnTo>
                  <a:lnTo>
                    <a:pt x="756" y="694"/>
                  </a:lnTo>
                  <a:lnTo>
                    <a:pt x="754" y="694"/>
                  </a:lnTo>
                  <a:lnTo>
                    <a:pt x="754" y="694"/>
                  </a:lnTo>
                  <a:lnTo>
                    <a:pt x="754" y="696"/>
                  </a:lnTo>
                  <a:lnTo>
                    <a:pt x="754" y="699"/>
                  </a:lnTo>
                  <a:lnTo>
                    <a:pt x="752" y="699"/>
                  </a:lnTo>
                  <a:lnTo>
                    <a:pt x="749" y="701"/>
                  </a:lnTo>
                  <a:lnTo>
                    <a:pt x="749" y="701"/>
                  </a:lnTo>
                  <a:lnTo>
                    <a:pt x="752" y="704"/>
                  </a:lnTo>
                  <a:lnTo>
                    <a:pt x="752" y="704"/>
                  </a:lnTo>
                  <a:lnTo>
                    <a:pt x="749" y="704"/>
                  </a:lnTo>
                  <a:lnTo>
                    <a:pt x="749" y="706"/>
                  </a:lnTo>
                  <a:lnTo>
                    <a:pt x="749" y="706"/>
                  </a:lnTo>
                  <a:lnTo>
                    <a:pt x="749" y="706"/>
                  </a:lnTo>
                  <a:lnTo>
                    <a:pt x="749" y="708"/>
                  </a:lnTo>
                  <a:lnTo>
                    <a:pt x="749" y="708"/>
                  </a:lnTo>
                  <a:lnTo>
                    <a:pt x="747" y="708"/>
                  </a:lnTo>
                  <a:lnTo>
                    <a:pt x="749" y="708"/>
                  </a:lnTo>
                  <a:lnTo>
                    <a:pt x="749" y="708"/>
                  </a:lnTo>
                  <a:lnTo>
                    <a:pt x="747" y="711"/>
                  </a:lnTo>
                  <a:lnTo>
                    <a:pt x="747" y="711"/>
                  </a:lnTo>
                  <a:lnTo>
                    <a:pt x="747" y="713"/>
                  </a:lnTo>
                  <a:lnTo>
                    <a:pt x="747" y="713"/>
                  </a:lnTo>
                  <a:lnTo>
                    <a:pt x="747" y="715"/>
                  </a:lnTo>
                  <a:lnTo>
                    <a:pt x="747" y="715"/>
                  </a:lnTo>
                  <a:lnTo>
                    <a:pt x="747" y="715"/>
                  </a:lnTo>
                  <a:lnTo>
                    <a:pt x="749" y="718"/>
                  </a:lnTo>
                  <a:lnTo>
                    <a:pt x="747" y="720"/>
                  </a:lnTo>
                  <a:lnTo>
                    <a:pt x="749" y="720"/>
                  </a:lnTo>
                  <a:lnTo>
                    <a:pt x="747" y="720"/>
                  </a:lnTo>
                  <a:lnTo>
                    <a:pt x="749" y="720"/>
                  </a:lnTo>
                  <a:lnTo>
                    <a:pt x="749" y="720"/>
                  </a:lnTo>
                  <a:lnTo>
                    <a:pt x="749" y="722"/>
                  </a:lnTo>
                  <a:lnTo>
                    <a:pt x="749" y="722"/>
                  </a:lnTo>
                  <a:lnTo>
                    <a:pt x="749" y="722"/>
                  </a:lnTo>
                  <a:lnTo>
                    <a:pt x="749" y="722"/>
                  </a:lnTo>
                  <a:lnTo>
                    <a:pt x="749" y="725"/>
                  </a:lnTo>
                  <a:lnTo>
                    <a:pt x="749" y="725"/>
                  </a:lnTo>
                  <a:lnTo>
                    <a:pt x="749" y="725"/>
                  </a:lnTo>
                  <a:lnTo>
                    <a:pt x="749" y="725"/>
                  </a:lnTo>
                  <a:lnTo>
                    <a:pt x="752" y="725"/>
                  </a:lnTo>
                  <a:lnTo>
                    <a:pt x="752" y="727"/>
                  </a:lnTo>
                  <a:lnTo>
                    <a:pt x="754" y="730"/>
                  </a:lnTo>
                  <a:lnTo>
                    <a:pt x="754" y="732"/>
                  </a:lnTo>
                  <a:lnTo>
                    <a:pt x="754" y="732"/>
                  </a:lnTo>
                  <a:lnTo>
                    <a:pt x="754" y="732"/>
                  </a:lnTo>
                  <a:lnTo>
                    <a:pt x="754" y="734"/>
                  </a:lnTo>
                  <a:lnTo>
                    <a:pt x="754" y="734"/>
                  </a:lnTo>
                  <a:lnTo>
                    <a:pt x="754" y="734"/>
                  </a:lnTo>
                  <a:lnTo>
                    <a:pt x="756" y="734"/>
                  </a:lnTo>
                  <a:lnTo>
                    <a:pt x="756" y="737"/>
                  </a:lnTo>
                  <a:lnTo>
                    <a:pt x="756" y="737"/>
                  </a:lnTo>
                  <a:lnTo>
                    <a:pt x="756" y="739"/>
                  </a:lnTo>
                  <a:lnTo>
                    <a:pt x="756" y="739"/>
                  </a:lnTo>
                  <a:lnTo>
                    <a:pt x="756" y="739"/>
                  </a:lnTo>
                  <a:lnTo>
                    <a:pt x="756" y="739"/>
                  </a:lnTo>
                  <a:lnTo>
                    <a:pt x="756" y="741"/>
                  </a:lnTo>
                  <a:lnTo>
                    <a:pt x="756" y="741"/>
                  </a:lnTo>
                  <a:lnTo>
                    <a:pt x="756" y="741"/>
                  </a:lnTo>
                  <a:lnTo>
                    <a:pt x="754" y="741"/>
                  </a:lnTo>
                  <a:lnTo>
                    <a:pt x="756" y="744"/>
                  </a:lnTo>
                  <a:lnTo>
                    <a:pt x="754" y="744"/>
                  </a:lnTo>
                  <a:lnTo>
                    <a:pt x="754" y="744"/>
                  </a:lnTo>
                  <a:lnTo>
                    <a:pt x="749" y="744"/>
                  </a:lnTo>
                  <a:lnTo>
                    <a:pt x="749" y="746"/>
                  </a:lnTo>
                  <a:lnTo>
                    <a:pt x="747" y="744"/>
                  </a:lnTo>
                  <a:lnTo>
                    <a:pt x="747" y="746"/>
                  </a:lnTo>
                  <a:lnTo>
                    <a:pt x="749" y="746"/>
                  </a:lnTo>
                  <a:lnTo>
                    <a:pt x="749" y="748"/>
                  </a:lnTo>
                  <a:lnTo>
                    <a:pt x="747" y="748"/>
                  </a:lnTo>
                  <a:lnTo>
                    <a:pt x="747" y="748"/>
                  </a:lnTo>
                  <a:lnTo>
                    <a:pt x="744" y="748"/>
                  </a:lnTo>
                  <a:lnTo>
                    <a:pt x="744" y="751"/>
                  </a:lnTo>
                  <a:lnTo>
                    <a:pt x="744" y="748"/>
                  </a:lnTo>
                  <a:lnTo>
                    <a:pt x="744" y="751"/>
                  </a:lnTo>
                  <a:lnTo>
                    <a:pt x="742" y="751"/>
                  </a:lnTo>
                  <a:lnTo>
                    <a:pt x="744" y="751"/>
                  </a:lnTo>
                  <a:lnTo>
                    <a:pt x="744" y="753"/>
                  </a:lnTo>
                  <a:lnTo>
                    <a:pt x="742" y="753"/>
                  </a:lnTo>
                  <a:lnTo>
                    <a:pt x="740" y="753"/>
                  </a:lnTo>
                  <a:lnTo>
                    <a:pt x="740" y="753"/>
                  </a:lnTo>
                  <a:lnTo>
                    <a:pt x="740" y="753"/>
                  </a:lnTo>
                  <a:lnTo>
                    <a:pt x="737" y="753"/>
                  </a:lnTo>
                  <a:lnTo>
                    <a:pt x="740" y="756"/>
                  </a:lnTo>
                  <a:lnTo>
                    <a:pt x="740" y="756"/>
                  </a:lnTo>
                  <a:lnTo>
                    <a:pt x="737" y="756"/>
                  </a:lnTo>
                  <a:lnTo>
                    <a:pt x="737" y="756"/>
                  </a:lnTo>
                  <a:lnTo>
                    <a:pt x="737" y="756"/>
                  </a:lnTo>
                  <a:lnTo>
                    <a:pt x="735" y="758"/>
                  </a:lnTo>
                  <a:lnTo>
                    <a:pt x="735" y="758"/>
                  </a:lnTo>
                  <a:lnTo>
                    <a:pt x="735" y="758"/>
                  </a:lnTo>
                  <a:lnTo>
                    <a:pt x="733" y="758"/>
                  </a:lnTo>
                  <a:lnTo>
                    <a:pt x="733" y="758"/>
                  </a:lnTo>
                  <a:lnTo>
                    <a:pt x="730" y="758"/>
                  </a:lnTo>
                  <a:lnTo>
                    <a:pt x="733" y="760"/>
                  </a:lnTo>
                  <a:lnTo>
                    <a:pt x="730" y="760"/>
                  </a:lnTo>
                  <a:lnTo>
                    <a:pt x="730" y="760"/>
                  </a:lnTo>
                  <a:lnTo>
                    <a:pt x="730" y="760"/>
                  </a:lnTo>
                  <a:lnTo>
                    <a:pt x="728" y="760"/>
                  </a:lnTo>
                  <a:lnTo>
                    <a:pt x="728" y="763"/>
                  </a:lnTo>
                  <a:lnTo>
                    <a:pt x="726" y="763"/>
                  </a:lnTo>
                  <a:lnTo>
                    <a:pt x="726" y="763"/>
                  </a:lnTo>
                  <a:lnTo>
                    <a:pt x="726" y="765"/>
                  </a:lnTo>
                  <a:lnTo>
                    <a:pt x="726" y="763"/>
                  </a:lnTo>
                  <a:lnTo>
                    <a:pt x="726" y="763"/>
                  </a:lnTo>
                  <a:lnTo>
                    <a:pt x="726" y="760"/>
                  </a:lnTo>
                  <a:lnTo>
                    <a:pt x="726" y="760"/>
                  </a:lnTo>
                  <a:lnTo>
                    <a:pt x="726" y="760"/>
                  </a:lnTo>
                  <a:lnTo>
                    <a:pt x="723" y="760"/>
                  </a:lnTo>
                  <a:lnTo>
                    <a:pt x="721" y="760"/>
                  </a:lnTo>
                  <a:lnTo>
                    <a:pt x="721" y="763"/>
                  </a:lnTo>
                  <a:lnTo>
                    <a:pt x="721" y="763"/>
                  </a:lnTo>
                  <a:lnTo>
                    <a:pt x="718" y="763"/>
                  </a:lnTo>
                  <a:lnTo>
                    <a:pt x="721" y="765"/>
                  </a:lnTo>
                  <a:lnTo>
                    <a:pt x="718" y="765"/>
                  </a:lnTo>
                  <a:lnTo>
                    <a:pt x="718" y="765"/>
                  </a:lnTo>
                  <a:lnTo>
                    <a:pt x="716" y="767"/>
                  </a:lnTo>
                  <a:lnTo>
                    <a:pt x="716" y="767"/>
                  </a:lnTo>
                  <a:lnTo>
                    <a:pt x="716" y="767"/>
                  </a:lnTo>
                  <a:lnTo>
                    <a:pt x="716" y="770"/>
                  </a:lnTo>
                  <a:lnTo>
                    <a:pt x="716" y="767"/>
                  </a:lnTo>
                  <a:lnTo>
                    <a:pt x="716" y="767"/>
                  </a:lnTo>
                  <a:lnTo>
                    <a:pt x="714" y="767"/>
                  </a:lnTo>
                  <a:lnTo>
                    <a:pt x="716" y="770"/>
                  </a:lnTo>
                  <a:lnTo>
                    <a:pt x="714" y="770"/>
                  </a:lnTo>
                  <a:lnTo>
                    <a:pt x="711" y="772"/>
                  </a:lnTo>
                  <a:lnTo>
                    <a:pt x="714" y="772"/>
                  </a:lnTo>
                  <a:lnTo>
                    <a:pt x="714" y="774"/>
                  </a:lnTo>
                  <a:lnTo>
                    <a:pt x="716" y="774"/>
                  </a:lnTo>
                  <a:lnTo>
                    <a:pt x="714" y="777"/>
                  </a:lnTo>
                  <a:lnTo>
                    <a:pt x="714" y="777"/>
                  </a:lnTo>
                  <a:lnTo>
                    <a:pt x="714" y="777"/>
                  </a:lnTo>
                  <a:lnTo>
                    <a:pt x="711" y="779"/>
                  </a:lnTo>
                  <a:lnTo>
                    <a:pt x="711" y="777"/>
                  </a:lnTo>
                  <a:lnTo>
                    <a:pt x="711" y="777"/>
                  </a:lnTo>
                  <a:lnTo>
                    <a:pt x="709" y="777"/>
                  </a:lnTo>
                  <a:lnTo>
                    <a:pt x="709" y="782"/>
                  </a:lnTo>
                  <a:lnTo>
                    <a:pt x="707" y="782"/>
                  </a:lnTo>
                  <a:lnTo>
                    <a:pt x="707" y="782"/>
                  </a:lnTo>
                  <a:lnTo>
                    <a:pt x="707" y="782"/>
                  </a:lnTo>
                  <a:lnTo>
                    <a:pt x="704" y="784"/>
                  </a:lnTo>
                  <a:lnTo>
                    <a:pt x="704" y="784"/>
                  </a:lnTo>
                  <a:lnTo>
                    <a:pt x="702" y="784"/>
                  </a:lnTo>
                  <a:lnTo>
                    <a:pt x="702" y="782"/>
                  </a:lnTo>
                  <a:lnTo>
                    <a:pt x="700" y="782"/>
                  </a:lnTo>
                  <a:lnTo>
                    <a:pt x="700" y="784"/>
                  </a:lnTo>
                  <a:lnTo>
                    <a:pt x="700" y="784"/>
                  </a:lnTo>
                  <a:lnTo>
                    <a:pt x="700" y="784"/>
                  </a:lnTo>
                  <a:lnTo>
                    <a:pt x="697" y="786"/>
                  </a:lnTo>
                  <a:lnTo>
                    <a:pt x="700" y="786"/>
                  </a:lnTo>
                  <a:lnTo>
                    <a:pt x="700" y="789"/>
                  </a:lnTo>
                  <a:lnTo>
                    <a:pt x="697" y="789"/>
                  </a:lnTo>
                  <a:lnTo>
                    <a:pt x="697" y="789"/>
                  </a:lnTo>
                  <a:lnTo>
                    <a:pt x="695" y="789"/>
                  </a:lnTo>
                  <a:lnTo>
                    <a:pt x="692" y="789"/>
                  </a:lnTo>
                  <a:lnTo>
                    <a:pt x="692" y="789"/>
                  </a:lnTo>
                  <a:lnTo>
                    <a:pt x="692" y="789"/>
                  </a:lnTo>
                  <a:lnTo>
                    <a:pt x="692" y="786"/>
                  </a:lnTo>
                  <a:lnTo>
                    <a:pt x="692" y="786"/>
                  </a:lnTo>
                  <a:lnTo>
                    <a:pt x="690" y="786"/>
                  </a:lnTo>
                  <a:lnTo>
                    <a:pt x="690" y="786"/>
                  </a:lnTo>
                  <a:lnTo>
                    <a:pt x="688" y="789"/>
                  </a:lnTo>
                  <a:lnTo>
                    <a:pt x="688" y="789"/>
                  </a:lnTo>
                  <a:lnTo>
                    <a:pt x="688" y="791"/>
                  </a:lnTo>
                  <a:lnTo>
                    <a:pt x="688" y="791"/>
                  </a:lnTo>
                  <a:lnTo>
                    <a:pt x="688" y="793"/>
                  </a:lnTo>
                  <a:lnTo>
                    <a:pt x="688" y="793"/>
                  </a:lnTo>
                  <a:lnTo>
                    <a:pt x="685" y="791"/>
                  </a:lnTo>
                  <a:lnTo>
                    <a:pt x="685" y="791"/>
                  </a:lnTo>
                  <a:lnTo>
                    <a:pt x="683" y="791"/>
                  </a:lnTo>
                  <a:lnTo>
                    <a:pt x="683" y="793"/>
                  </a:lnTo>
                  <a:lnTo>
                    <a:pt x="683" y="793"/>
                  </a:lnTo>
                  <a:lnTo>
                    <a:pt x="683" y="796"/>
                  </a:lnTo>
                  <a:lnTo>
                    <a:pt x="683" y="796"/>
                  </a:lnTo>
                  <a:lnTo>
                    <a:pt x="683" y="796"/>
                  </a:lnTo>
                  <a:lnTo>
                    <a:pt x="683" y="796"/>
                  </a:lnTo>
                  <a:lnTo>
                    <a:pt x="681" y="796"/>
                  </a:lnTo>
                  <a:lnTo>
                    <a:pt x="681" y="796"/>
                  </a:lnTo>
                  <a:lnTo>
                    <a:pt x="678" y="796"/>
                  </a:lnTo>
                  <a:lnTo>
                    <a:pt x="676" y="796"/>
                  </a:lnTo>
                  <a:lnTo>
                    <a:pt x="676" y="798"/>
                  </a:lnTo>
                  <a:lnTo>
                    <a:pt x="674" y="798"/>
                  </a:lnTo>
                  <a:lnTo>
                    <a:pt x="674" y="798"/>
                  </a:lnTo>
                  <a:lnTo>
                    <a:pt x="671" y="800"/>
                  </a:lnTo>
                  <a:lnTo>
                    <a:pt x="671" y="798"/>
                  </a:lnTo>
                  <a:lnTo>
                    <a:pt x="671" y="796"/>
                  </a:lnTo>
                  <a:lnTo>
                    <a:pt x="671" y="796"/>
                  </a:lnTo>
                  <a:lnTo>
                    <a:pt x="669" y="796"/>
                  </a:lnTo>
                  <a:lnTo>
                    <a:pt x="669" y="796"/>
                  </a:lnTo>
                  <a:lnTo>
                    <a:pt x="669" y="793"/>
                  </a:lnTo>
                  <a:lnTo>
                    <a:pt x="669" y="791"/>
                  </a:lnTo>
                  <a:lnTo>
                    <a:pt x="666" y="793"/>
                  </a:lnTo>
                  <a:lnTo>
                    <a:pt x="666" y="793"/>
                  </a:lnTo>
                  <a:lnTo>
                    <a:pt x="664" y="793"/>
                  </a:lnTo>
                  <a:lnTo>
                    <a:pt x="664" y="791"/>
                  </a:lnTo>
                  <a:lnTo>
                    <a:pt x="664" y="791"/>
                  </a:lnTo>
                  <a:lnTo>
                    <a:pt x="662" y="791"/>
                  </a:lnTo>
                  <a:lnTo>
                    <a:pt x="662" y="789"/>
                  </a:lnTo>
                  <a:lnTo>
                    <a:pt x="659" y="789"/>
                  </a:lnTo>
                  <a:lnTo>
                    <a:pt x="659" y="789"/>
                  </a:lnTo>
                  <a:lnTo>
                    <a:pt x="657" y="789"/>
                  </a:lnTo>
                  <a:lnTo>
                    <a:pt x="657" y="791"/>
                  </a:lnTo>
                  <a:lnTo>
                    <a:pt x="655" y="791"/>
                  </a:lnTo>
                  <a:lnTo>
                    <a:pt x="655" y="791"/>
                  </a:lnTo>
                  <a:lnTo>
                    <a:pt x="652" y="789"/>
                  </a:lnTo>
                  <a:lnTo>
                    <a:pt x="650" y="789"/>
                  </a:lnTo>
                  <a:lnTo>
                    <a:pt x="648" y="789"/>
                  </a:lnTo>
                  <a:lnTo>
                    <a:pt x="648" y="786"/>
                  </a:lnTo>
                  <a:lnTo>
                    <a:pt x="645" y="784"/>
                  </a:lnTo>
                  <a:lnTo>
                    <a:pt x="645" y="782"/>
                  </a:lnTo>
                  <a:lnTo>
                    <a:pt x="645" y="782"/>
                  </a:lnTo>
                  <a:lnTo>
                    <a:pt x="643" y="782"/>
                  </a:lnTo>
                  <a:lnTo>
                    <a:pt x="638" y="782"/>
                  </a:lnTo>
                  <a:lnTo>
                    <a:pt x="638" y="782"/>
                  </a:lnTo>
                  <a:lnTo>
                    <a:pt x="638" y="779"/>
                  </a:lnTo>
                  <a:lnTo>
                    <a:pt x="633" y="779"/>
                  </a:lnTo>
                  <a:lnTo>
                    <a:pt x="633" y="777"/>
                  </a:lnTo>
                  <a:lnTo>
                    <a:pt x="633" y="777"/>
                  </a:lnTo>
                  <a:lnTo>
                    <a:pt x="631" y="777"/>
                  </a:lnTo>
                  <a:lnTo>
                    <a:pt x="629" y="779"/>
                  </a:lnTo>
                  <a:lnTo>
                    <a:pt x="626" y="782"/>
                  </a:lnTo>
                  <a:lnTo>
                    <a:pt x="626" y="782"/>
                  </a:lnTo>
                  <a:lnTo>
                    <a:pt x="629" y="784"/>
                  </a:lnTo>
                  <a:lnTo>
                    <a:pt x="629" y="784"/>
                  </a:lnTo>
                  <a:lnTo>
                    <a:pt x="626" y="784"/>
                  </a:lnTo>
                  <a:lnTo>
                    <a:pt x="626" y="784"/>
                  </a:lnTo>
                  <a:lnTo>
                    <a:pt x="624" y="782"/>
                  </a:lnTo>
                  <a:lnTo>
                    <a:pt x="624" y="782"/>
                  </a:lnTo>
                  <a:lnTo>
                    <a:pt x="624" y="782"/>
                  </a:lnTo>
                  <a:lnTo>
                    <a:pt x="622" y="782"/>
                  </a:lnTo>
                  <a:lnTo>
                    <a:pt x="619" y="782"/>
                  </a:lnTo>
                  <a:lnTo>
                    <a:pt x="617" y="782"/>
                  </a:lnTo>
                  <a:lnTo>
                    <a:pt x="615" y="782"/>
                  </a:lnTo>
                  <a:lnTo>
                    <a:pt x="615" y="782"/>
                  </a:lnTo>
                  <a:lnTo>
                    <a:pt x="615" y="782"/>
                  </a:lnTo>
                  <a:lnTo>
                    <a:pt x="615" y="782"/>
                  </a:lnTo>
                  <a:lnTo>
                    <a:pt x="612" y="782"/>
                  </a:lnTo>
                  <a:lnTo>
                    <a:pt x="610" y="782"/>
                  </a:lnTo>
                  <a:lnTo>
                    <a:pt x="605" y="784"/>
                  </a:lnTo>
                  <a:lnTo>
                    <a:pt x="605" y="782"/>
                  </a:lnTo>
                  <a:lnTo>
                    <a:pt x="605" y="782"/>
                  </a:lnTo>
                  <a:lnTo>
                    <a:pt x="605" y="779"/>
                  </a:lnTo>
                  <a:lnTo>
                    <a:pt x="605" y="779"/>
                  </a:lnTo>
                  <a:lnTo>
                    <a:pt x="600" y="782"/>
                  </a:lnTo>
                  <a:lnTo>
                    <a:pt x="600" y="779"/>
                  </a:lnTo>
                  <a:lnTo>
                    <a:pt x="598" y="779"/>
                  </a:lnTo>
                  <a:lnTo>
                    <a:pt x="596" y="779"/>
                  </a:lnTo>
                  <a:lnTo>
                    <a:pt x="596" y="777"/>
                  </a:lnTo>
                  <a:lnTo>
                    <a:pt x="596" y="777"/>
                  </a:lnTo>
                  <a:lnTo>
                    <a:pt x="593" y="777"/>
                  </a:lnTo>
                  <a:lnTo>
                    <a:pt x="591" y="777"/>
                  </a:lnTo>
                  <a:lnTo>
                    <a:pt x="591" y="777"/>
                  </a:lnTo>
                  <a:lnTo>
                    <a:pt x="586" y="777"/>
                  </a:lnTo>
                  <a:lnTo>
                    <a:pt x="584" y="777"/>
                  </a:lnTo>
                  <a:lnTo>
                    <a:pt x="584" y="779"/>
                  </a:lnTo>
                  <a:lnTo>
                    <a:pt x="584" y="779"/>
                  </a:lnTo>
                  <a:lnTo>
                    <a:pt x="584" y="779"/>
                  </a:lnTo>
                  <a:lnTo>
                    <a:pt x="581" y="779"/>
                  </a:lnTo>
                  <a:lnTo>
                    <a:pt x="579" y="779"/>
                  </a:lnTo>
                  <a:lnTo>
                    <a:pt x="579" y="779"/>
                  </a:lnTo>
                  <a:lnTo>
                    <a:pt x="577" y="779"/>
                  </a:lnTo>
                  <a:lnTo>
                    <a:pt x="574" y="779"/>
                  </a:lnTo>
                  <a:lnTo>
                    <a:pt x="572" y="779"/>
                  </a:lnTo>
                  <a:lnTo>
                    <a:pt x="570" y="782"/>
                  </a:lnTo>
                  <a:lnTo>
                    <a:pt x="567" y="779"/>
                  </a:lnTo>
                  <a:lnTo>
                    <a:pt x="565" y="782"/>
                  </a:lnTo>
                  <a:lnTo>
                    <a:pt x="563" y="784"/>
                  </a:lnTo>
                  <a:lnTo>
                    <a:pt x="563" y="784"/>
                  </a:lnTo>
                  <a:lnTo>
                    <a:pt x="560" y="779"/>
                  </a:lnTo>
                  <a:lnTo>
                    <a:pt x="560" y="779"/>
                  </a:lnTo>
                  <a:lnTo>
                    <a:pt x="555" y="777"/>
                  </a:lnTo>
                  <a:lnTo>
                    <a:pt x="555" y="777"/>
                  </a:lnTo>
                  <a:lnTo>
                    <a:pt x="551" y="777"/>
                  </a:lnTo>
                  <a:lnTo>
                    <a:pt x="551" y="774"/>
                  </a:lnTo>
                  <a:lnTo>
                    <a:pt x="548" y="774"/>
                  </a:lnTo>
                  <a:lnTo>
                    <a:pt x="546" y="777"/>
                  </a:lnTo>
                  <a:lnTo>
                    <a:pt x="544" y="777"/>
                  </a:lnTo>
                  <a:lnTo>
                    <a:pt x="544" y="779"/>
                  </a:lnTo>
                  <a:lnTo>
                    <a:pt x="541" y="779"/>
                  </a:lnTo>
                  <a:lnTo>
                    <a:pt x="541" y="782"/>
                  </a:lnTo>
                  <a:lnTo>
                    <a:pt x="541" y="782"/>
                  </a:lnTo>
                  <a:lnTo>
                    <a:pt x="541" y="782"/>
                  </a:lnTo>
                  <a:lnTo>
                    <a:pt x="539" y="782"/>
                  </a:lnTo>
                  <a:lnTo>
                    <a:pt x="537" y="782"/>
                  </a:lnTo>
                  <a:lnTo>
                    <a:pt x="534" y="784"/>
                  </a:lnTo>
                  <a:lnTo>
                    <a:pt x="534" y="786"/>
                  </a:lnTo>
                  <a:lnTo>
                    <a:pt x="534" y="786"/>
                  </a:lnTo>
                  <a:lnTo>
                    <a:pt x="529" y="789"/>
                  </a:lnTo>
                  <a:lnTo>
                    <a:pt x="529" y="789"/>
                  </a:lnTo>
                  <a:lnTo>
                    <a:pt x="527" y="789"/>
                  </a:lnTo>
                  <a:lnTo>
                    <a:pt x="527" y="786"/>
                  </a:lnTo>
                  <a:lnTo>
                    <a:pt x="525" y="786"/>
                  </a:lnTo>
                  <a:lnTo>
                    <a:pt x="525" y="786"/>
                  </a:lnTo>
                  <a:lnTo>
                    <a:pt x="527" y="786"/>
                  </a:lnTo>
                  <a:lnTo>
                    <a:pt x="527" y="784"/>
                  </a:lnTo>
                  <a:lnTo>
                    <a:pt x="525" y="784"/>
                  </a:lnTo>
                  <a:lnTo>
                    <a:pt x="520" y="786"/>
                  </a:lnTo>
                  <a:lnTo>
                    <a:pt x="520" y="789"/>
                  </a:lnTo>
                  <a:lnTo>
                    <a:pt x="515" y="789"/>
                  </a:lnTo>
                  <a:lnTo>
                    <a:pt x="513" y="789"/>
                  </a:lnTo>
                  <a:lnTo>
                    <a:pt x="513" y="789"/>
                  </a:lnTo>
                  <a:lnTo>
                    <a:pt x="513" y="789"/>
                  </a:lnTo>
                  <a:lnTo>
                    <a:pt x="515" y="791"/>
                  </a:lnTo>
                  <a:lnTo>
                    <a:pt x="515" y="791"/>
                  </a:lnTo>
                  <a:lnTo>
                    <a:pt x="515" y="793"/>
                  </a:lnTo>
                  <a:lnTo>
                    <a:pt x="515" y="793"/>
                  </a:lnTo>
                  <a:lnTo>
                    <a:pt x="513" y="796"/>
                  </a:lnTo>
                  <a:lnTo>
                    <a:pt x="511" y="796"/>
                  </a:lnTo>
                  <a:lnTo>
                    <a:pt x="508" y="800"/>
                  </a:lnTo>
                  <a:lnTo>
                    <a:pt x="508" y="803"/>
                  </a:lnTo>
                  <a:lnTo>
                    <a:pt x="506" y="803"/>
                  </a:lnTo>
                  <a:lnTo>
                    <a:pt x="506" y="803"/>
                  </a:lnTo>
                  <a:lnTo>
                    <a:pt x="503" y="805"/>
                  </a:lnTo>
                  <a:lnTo>
                    <a:pt x="503" y="805"/>
                  </a:lnTo>
                  <a:lnTo>
                    <a:pt x="503" y="807"/>
                  </a:lnTo>
                  <a:lnTo>
                    <a:pt x="501" y="807"/>
                  </a:lnTo>
                  <a:lnTo>
                    <a:pt x="499" y="807"/>
                  </a:lnTo>
                  <a:lnTo>
                    <a:pt x="499" y="807"/>
                  </a:lnTo>
                  <a:lnTo>
                    <a:pt x="496" y="812"/>
                  </a:lnTo>
                  <a:lnTo>
                    <a:pt x="494" y="815"/>
                  </a:lnTo>
                  <a:lnTo>
                    <a:pt x="492" y="817"/>
                  </a:lnTo>
                  <a:lnTo>
                    <a:pt x="492" y="817"/>
                  </a:lnTo>
                  <a:lnTo>
                    <a:pt x="489" y="819"/>
                  </a:lnTo>
                  <a:lnTo>
                    <a:pt x="487" y="817"/>
                  </a:lnTo>
                  <a:lnTo>
                    <a:pt x="487" y="817"/>
                  </a:lnTo>
                  <a:lnTo>
                    <a:pt x="485" y="815"/>
                  </a:lnTo>
                  <a:lnTo>
                    <a:pt x="480" y="807"/>
                  </a:lnTo>
                  <a:lnTo>
                    <a:pt x="478" y="805"/>
                  </a:lnTo>
                  <a:lnTo>
                    <a:pt x="478" y="803"/>
                  </a:lnTo>
                  <a:lnTo>
                    <a:pt x="478" y="800"/>
                  </a:lnTo>
                  <a:lnTo>
                    <a:pt x="478" y="800"/>
                  </a:lnTo>
                  <a:lnTo>
                    <a:pt x="478" y="798"/>
                  </a:lnTo>
                  <a:lnTo>
                    <a:pt x="478" y="798"/>
                  </a:lnTo>
                  <a:lnTo>
                    <a:pt x="473" y="798"/>
                  </a:lnTo>
                  <a:lnTo>
                    <a:pt x="473" y="798"/>
                  </a:lnTo>
                  <a:lnTo>
                    <a:pt x="470" y="798"/>
                  </a:lnTo>
                  <a:lnTo>
                    <a:pt x="470" y="800"/>
                  </a:lnTo>
                  <a:lnTo>
                    <a:pt x="470" y="803"/>
                  </a:lnTo>
                  <a:lnTo>
                    <a:pt x="470" y="805"/>
                  </a:lnTo>
                  <a:lnTo>
                    <a:pt x="470" y="805"/>
                  </a:lnTo>
                  <a:lnTo>
                    <a:pt x="470" y="805"/>
                  </a:lnTo>
                  <a:lnTo>
                    <a:pt x="468" y="805"/>
                  </a:lnTo>
                  <a:lnTo>
                    <a:pt x="468" y="805"/>
                  </a:lnTo>
                  <a:lnTo>
                    <a:pt x="461" y="805"/>
                  </a:lnTo>
                  <a:lnTo>
                    <a:pt x="459" y="807"/>
                  </a:lnTo>
                  <a:lnTo>
                    <a:pt x="459" y="807"/>
                  </a:lnTo>
                  <a:lnTo>
                    <a:pt x="456" y="807"/>
                  </a:lnTo>
                  <a:lnTo>
                    <a:pt x="459" y="812"/>
                  </a:lnTo>
                  <a:lnTo>
                    <a:pt x="459" y="812"/>
                  </a:lnTo>
                  <a:lnTo>
                    <a:pt x="459" y="812"/>
                  </a:lnTo>
                  <a:lnTo>
                    <a:pt x="454" y="812"/>
                  </a:lnTo>
                  <a:lnTo>
                    <a:pt x="454" y="812"/>
                  </a:lnTo>
                  <a:lnTo>
                    <a:pt x="452" y="812"/>
                  </a:lnTo>
                  <a:lnTo>
                    <a:pt x="452" y="812"/>
                  </a:lnTo>
                  <a:lnTo>
                    <a:pt x="449" y="815"/>
                  </a:lnTo>
                  <a:lnTo>
                    <a:pt x="447" y="815"/>
                  </a:lnTo>
                  <a:lnTo>
                    <a:pt x="444" y="815"/>
                  </a:lnTo>
                  <a:lnTo>
                    <a:pt x="444" y="815"/>
                  </a:lnTo>
                  <a:lnTo>
                    <a:pt x="442" y="815"/>
                  </a:lnTo>
                  <a:lnTo>
                    <a:pt x="442" y="817"/>
                  </a:lnTo>
                  <a:lnTo>
                    <a:pt x="440" y="817"/>
                  </a:lnTo>
                  <a:lnTo>
                    <a:pt x="440" y="817"/>
                  </a:lnTo>
                  <a:lnTo>
                    <a:pt x="440" y="817"/>
                  </a:lnTo>
                  <a:lnTo>
                    <a:pt x="435" y="817"/>
                  </a:lnTo>
                  <a:lnTo>
                    <a:pt x="433" y="817"/>
                  </a:lnTo>
                  <a:lnTo>
                    <a:pt x="433" y="815"/>
                  </a:lnTo>
                  <a:lnTo>
                    <a:pt x="430" y="815"/>
                  </a:lnTo>
                  <a:lnTo>
                    <a:pt x="430" y="815"/>
                  </a:lnTo>
                  <a:lnTo>
                    <a:pt x="428" y="815"/>
                  </a:lnTo>
                  <a:lnTo>
                    <a:pt x="428" y="815"/>
                  </a:lnTo>
                  <a:lnTo>
                    <a:pt x="426" y="815"/>
                  </a:lnTo>
                  <a:lnTo>
                    <a:pt x="421" y="815"/>
                  </a:lnTo>
                  <a:lnTo>
                    <a:pt x="416" y="815"/>
                  </a:lnTo>
                  <a:lnTo>
                    <a:pt x="416" y="812"/>
                  </a:lnTo>
                  <a:lnTo>
                    <a:pt x="411" y="812"/>
                  </a:lnTo>
                  <a:lnTo>
                    <a:pt x="409" y="812"/>
                  </a:lnTo>
                  <a:lnTo>
                    <a:pt x="409" y="815"/>
                  </a:lnTo>
                  <a:lnTo>
                    <a:pt x="407" y="817"/>
                  </a:lnTo>
                  <a:lnTo>
                    <a:pt x="404" y="819"/>
                  </a:lnTo>
                  <a:lnTo>
                    <a:pt x="402" y="822"/>
                  </a:lnTo>
                  <a:lnTo>
                    <a:pt x="392" y="822"/>
                  </a:lnTo>
                  <a:lnTo>
                    <a:pt x="388" y="824"/>
                  </a:lnTo>
                  <a:lnTo>
                    <a:pt x="385" y="824"/>
                  </a:lnTo>
                  <a:lnTo>
                    <a:pt x="381" y="822"/>
                  </a:lnTo>
                  <a:lnTo>
                    <a:pt x="378" y="824"/>
                  </a:lnTo>
                  <a:lnTo>
                    <a:pt x="376" y="824"/>
                  </a:lnTo>
                  <a:lnTo>
                    <a:pt x="376" y="824"/>
                  </a:lnTo>
                  <a:lnTo>
                    <a:pt x="374" y="826"/>
                  </a:lnTo>
                  <a:lnTo>
                    <a:pt x="371" y="826"/>
                  </a:lnTo>
                  <a:lnTo>
                    <a:pt x="369" y="833"/>
                  </a:lnTo>
                  <a:lnTo>
                    <a:pt x="366" y="841"/>
                  </a:lnTo>
                  <a:lnTo>
                    <a:pt x="364" y="841"/>
                  </a:lnTo>
                  <a:lnTo>
                    <a:pt x="362" y="841"/>
                  </a:lnTo>
                  <a:lnTo>
                    <a:pt x="359" y="843"/>
                  </a:lnTo>
                  <a:lnTo>
                    <a:pt x="359" y="843"/>
                  </a:lnTo>
                  <a:lnTo>
                    <a:pt x="359" y="843"/>
                  </a:lnTo>
                  <a:lnTo>
                    <a:pt x="357" y="850"/>
                  </a:lnTo>
                  <a:lnTo>
                    <a:pt x="355" y="855"/>
                  </a:lnTo>
                  <a:lnTo>
                    <a:pt x="352" y="855"/>
                  </a:lnTo>
                  <a:lnTo>
                    <a:pt x="350" y="855"/>
                  </a:lnTo>
                  <a:lnTo>
                    <a:pt x="348" y="857"/>
                  </a:lnTo>
                  <a:lnTo>
                    <a:pt x="348" y="859"/>
                  </a:lnTo>
                  <a:lnTo>
                    <a:pt x="350" y="862"/>
                  </a:lnTo>
                  <a:lnTo>
                    <a:pt x="350" y="864"/>
                  </a:lnTo>
                  <a:lnTo>
                    <a:pt x="350" y="867"/>
                  </a:lnTo>
                  <a:lnTo>
                    <a:pt x="350" y="869"/>
                  </a:lnTo>
                  <a:lnTo>
                    <a:pt x="348" y="874"/>
                  </a:lnTo>
                  <a:lnTo>
                    <a:pt x="345" y="878"/>
                  </a:lnTo>
                  <a:lnTo>
                    <a:pt x="343" y="878"/>
                  </a:lnTo>
                  <a:lnTo>
                    <a:pt x="343" y="878"/>
                  </a:lnTo>
                  <a:lnTo>
                    <a:pt x="340" y="881"/>
                  </a:lnTo>
                  <a:lnTo>
                    <a:pt x="338" y="883"/>
                  </a:lnTo>
                  <a:lnTo>
                    <a:pt x="331" y="883"/>
                  </a:lnTo>
                  <a:lnTo>
                    <a:pt x="329" y="883"/>
                  </a:lnTo>
                  <a:lnTo>
                    <a:pt x="326" y="883"/>
                  </a:lnTo>
                  <a:lnTo>
                    <a:pt x="326" y="883"/>
                  </a:lnTo>
                  <a:lnTo>
                    <a:pt x="326" y="885"/>
                  </a:lnTo>
                  <a:lnTo>
                    <a:pt x="326" y="888"/>
                  </a:lnTo>
                  <a:lnTo>
                    <a:pt x="319" y="890"/>
                  </a:lnTo>
                  <a:lnTo>
                    <a:pt x="319" y="890"/>
                  </a:lnTo>
                  <a:lnTo>
                    <a:pt x="319" y="893"/>
                  </a:lnTo>
                  <a:lnTo>
                    <a:pt x="319" y="895"/>
                  </a:lnTo>
                  <a:lnTo>
                    <a:pt x="317" y="895"/>
                  </a:lnTo>
                  <a:lnTo>
                    <a:pt x="315" y="900"/>
                  </a:lnTo>
                  <a:lnTo>
                    <a:pt x="312" y="900"/>
                  </a:lnTo>
                  <a:lnTo>
                    <a:pt x="310" y="902"/>
                  </a:lnTo>
                  <a:lnTo>
                    <a:pt x="307" y="904"/>
                  </a:lnTo>
                  <a:lnTo>
                    <a:pt x="307" y="907"/>
                  </a:lnTo>
                  <a:lnTo>
                    <a:pt x="307" y="907"/>
                  </a:lnTo>
                  <a:lnTo>
                    <a:pt x="307" y="909"/>
                  </a:lnTo>
                  <a:lnTo>
                    <a:pt x="305" y="914"/>
                  </a:lnTo>
                  <a:lnTo>
                    <a:pt x="305" y="916"/>
                  </a:lnTo>
                  <a:lnTo>
                    <a:pt x="303" y="919"/>
                  </a:lnTo>
                  <a:lnTo>
                    <a:pt x="303" y="919"/>
                  </a:lnTo>
                  <a:lnTo>
                    <a:pt x="303" y="921"/>
                  </a:lnTo>
                  <a:lnTo>
                    <a:pt x="303" y="921"/>
                  </a:lnTo>
                  <a:lnTo>
                    <a:pt x="307" y="926"/>
                  </a:lnTo>
                  <a:lnTo>
                    <a:pt x="307" y="928"/>
                  </a:lnTo>
                  <a:lnTo>
                    <a:pt x="307" y="928"/>
                  </a:lnTo>
                  <a:lnTo>
                    <a:pt x="307" y="930"/>
                  </a:lnTo>
                  <a:lnTo>
                    <a:pt x="305" y="930"/>
                  </a:lnTo>
                  <a:lnTo>
                    <a:pt x="298" y="928"/>
                  </a:lnTo>
                  <a:lnTo>
                    <a:pt x="293" y="926"/>
                  </a:lnTo>
                  <a:lnTo>
                    <a:pt x="293" y="926"/>
                  </a:lnTo>
                  <a:lnTo>
                    <a:pt x="293" y="923"/>
                  </a:lnTo>
                  <a:lnTo>
                    <a:pt x="293" y="923"/>
                  </a:lnTo>
                  <a:lnTo>
                    <a:pt x="291" y="921"/>
                  </a:lnTo>
                  <a:lnTo>
                    <a:pt x="289" y="921"/>
                  </a:lnTo>
                  <a:lnTo>
                    <a:pt x="289" y="919"/>
                  </a:lnTo>
                  <a:lnTo>
                    <a:pt x="286" y="919"/>
                  </a:lnTo>
                  <a:lnTo>
                    <a:pt x="286" y="919"/>
                  </a:lnTo>
                  <a:lnTo>
                    <a:pt x="286" y="916"/>
                  </a:lnTo>
                  <a:lnTo>
                    <a:pt x="284" y="919"/>
                  </a:lnTo>
                  <a:lnTo>
                    <a:pt x="281" y="916"/>
                  </a:lnTo>
                  <a:lnTo>
                    <a:pt x="284" y="916"/>
                  </a:lnTo>
                  <a:lnTo>
                    <a:pt x="284" y="916"/>
                  </a:lnTo>
                  <a:lnTo>
                    <a:pt x="284" y="914"/>
                  </a:lnTo>
                  <a:lnTo>
                    <a:pt x="281" y="911"/>
                  </a:lnTo>
                  <a:lnTo>
                    <a:pt x="281" y="911"/>
                  </a:lnTo>
                  <a:lnTo>
                    <a:pt x="281" y="909"/>
                  </a:lnTo>
                  <a:lnTo>
                    <a:pt x="279" y="909"/>
                  </a:lnTo>
                  <a:lnTo>
                    <a:pt x="279" y="907"/>
                  </a:lnTo>
                  <a:lnTo>
                    <a:pt x="277" y="909"/>
                  </a:lnTo>
                  <a:lnTo>
                    <a:pt x="277" y="907"/>
                  </a:lnTo>
                  <a:lnTo>
                    <a:pt x="274" y="907"/>
                  </a:lnTo>
                  <a:lnTo>
                    <a:pt x="274" y="904"/>
                  </a:lnTo>
                  <a:lnTo>
                    <a:pt x="274" y="904"/>
                  </a:lnTo>
                  <a:lnTo>
                    <a:pt x="272" y="904"/>
                  </a:lnTo>
                  <a:lnTo>
                    <a:pt x="272" y="904"/>
                  </a:lnTo>
                  <a:lnTo>
                    <a:pt x="270" y="904"/>
                  </a:lnTo>
                  <a:lnTo>
                    <a:pt x="267" y="902"/>
                  </a:lnTo>
                  <a:lnTo>
                    <a:pt x="265" y="902"/>
                  </a:lnTo>
                  <a:lnTo>
                    <a:pt x="263" y="902"/>
                  </a:lnTo>
                  <a:lnTo>
                    <a:pt x="263" y="900"/>
                  </a:lnTo>
                  <a:lnTo>
                    <a:pt x="260" y="900"/>
                  </a:lnTo>
                  <a:lnTo>
                    <a:pt x="260" y="900"/>
                  </a:lnTo>
                  <a:lnTo>
                    <a:pt x="260" y="900"/>
                  </a:lnTo>
                  <a:lnTo>
                    <a:pt x="258" y="900"/>
                  </a:lnTo>
                  <a:lnTo>
                    <a:pt x="258" y="900"/>
                  </a:lnTo>
                  <a:lnTo>
                    <a:pt x="258" y="900"/>
                  </a:lnTo>
                  <a:lnTo>
                    <a:pt x="258" y="900"/>
                  </a:lnTo>
                  <a:lnTo>
                    <a:pt x="255" y="900"/>
                  </a:lnTo>
                  <a:lnTo>
                    <a:pt x="255" y="900"/>
                  </a:lnTo>
                  <a:lnTo>
                    <a:pt x="253" y="900"/>
                  </a:lnTo>
                  <a:lnTo>
                    <a:pt x="251" y="900"/>
                  </a:lnTo>
                  <a:lnTo>
                    <a:pt x="251" y="897"/>
                  </a:lnTo>
                  <a:lnTo>
                    <a:pt x="251" y="897"/>
                  </a:lnTo>
                  <a:lnTo>
                    <a:pt x="248" y="897"/>
                  </a:lnTo>
                  <a:lnTo>
                    <a:pt x="248" y="897"/>
                  </a:lnTo>
                  <a:lnTo>
                    <a:pt x="248" y="897"/>
                  </a:lnTo>
                  <a:lnTo>
                    <a:pt x="248" y="895"/>
                  </a:lnTo>
                  <a:lnTo>
                    <a:pt x="244" y="895"/>
                  </a:lnTo>
                  <a:lnTo>
                    <a:pt x="241" y="893"/>
                  </a:lnTo>
                  <a:lnTo>
                    <a:pt x="239" y="895"/>
                  </a:lnTo>
                  <a:lnTo>
                    <a:pt x="239" y="893"/>
                  </a:lnTo>
                  <a:lnTo>
                    <a:pt x="239" y="893"/>
                  </a:lnTo>
                  <a:lnTo>
                    <a:pt x="239" y="890"/>
                  </a:lnTo>
                  <a:lnTo>
                    <a:pt x="239" y="890"/>
                  </a:lnTo>
                  <a:lnTo>
                    <a:pt x="237" y="890"/>
                  </a:lnTo>
                  <a:lnTo>
                    <a:pt x="234" y="890"/>
                  </a:lnTo>
                  <a:lnTo>
                    <a:pt x="234" y="890"/>
                  </a:lnTo>
                  <a:lnTo>
                    <a:pt x="234" y="888"/>
                  </a:lnTo>
                  <a:lnTo>
                    <a:pt x="234" y="888"/>
                  </a:lnTo>
                  <a:lnTo>
                    <a:pt x="234" y="888"/>
                  </a:lnTo>
                  <a:lnTo>
                    <a:pt x="234" y="888"/>
                  </a:lnTo>
                  <a:lnTo>
                    <a:pt x="232" y="888"/>
                  </a:lnTo>
                  <a:lnTo>
                    <a:pt x="232" y="888"/>
                  </a:lnTo>
                  <a:lnTo>
                    <a:pt x="229" y="888"/>
                  </a:lnTo>
                  <a:lnTo>
                    <a:pt x="229" y="885"/>
                  </a:lnTo>
                  <a:lnTo>
                    <a:pt x="229" y="885"/>
                  </a:lnTo>
                  <a:lnTo>
                    <a:pt x="227" y="888"/>
                  </a:lnTo>
                  <a:lnTo>
                    <a:pt x="225" y="885"/>
                  </a:lnTo>
                  <a:lnTo>
                    <a:pt x="225" y="885"/>
                  </a:lnTo>
                  <a:lnTo>
                    <a:pt x="222" y="885"/>
                  </a:lnTo>
                  <a:lnTo>
                    <a:pt x="222" y="885"/>
                  </a:lnTo>
                  <a:lnTo>
                    <a:pt x="222" y="885"/>
                  </a:lnTo>
                  <a:lnTo>
                    <a:pt x="222" y="885"/>
                  </a:lnTo>
                  <a:lnTo>
                    <a:pt x="220" y="883"/>
                  </a:lnTo>
                  <a:lnTo>
                    <a:pt x="218" y="883"/>
                  </a:lnTo>
                  <a:lnTo>
                    <a:pt x="215" y="883"/>
                  </a:lnTo>
                  <a:lnTo>
                    <a:pt x="215" y="883"/>
                  </a:lnTo>
                  <a:lnTo>
                    <a:pt x="213" y="883"/>
                  </a:lnTo>
                  <a:lnTo>
                    <a:pt x="213" y="881"/>
                  </a:lnTo>
                  <a:lnTo>
                    <a:pt x="211" y="881"/>
                  </a:lnTo>
                  <a:lnTo>
                    <a:pt x="211" y="883"/>
                  </a:lnTo>
                  <a:lnTo>
                    <a:pt x="208" y="883"/>
                  </a:lnTo>
                  <a:lnTo>
                    <a:pt x="208" y="883"/>
                  </a:lnTo>
                  <a:lnTo>
                    <a:pt x="206" y="883"/>
                  </a:lnTo>
                  <a:lnTo>
                    <a:pt x="206" y="881"/>
                  </a:lnTo>
                  <a:lnTo>
                    <a:pt x="203" y="881"/>
                  </a:lnTo>
                  <a:lnTo>
                    <a:pt x="203" y="883"/>
                  </a:lnTo>
                  <a:lnTo>
                    <a:pt x="199" y="881"/>
                  </a:lnTo>
                  <a:lnTo>
                    <a:pt x="196" y="881"/>
                  </a:lnTo>
                  <a:lnTo>
                    <a:pt x="196" y="878"/>
                  </a:lnTo>
                  <a:lnTo>
                    <a:pt x="196" y="878"/>
                  </a:lnTo>
                  <a:lnTo>
                    <a:pt x="196" y="878"/>
                  </a:lnTo>
                  <a:lnTo>
                    <a:pt x="194" y="878"/>
                  </a:lnTo>
                  <a:lnTo>
                    <a:pt x="194" y="878"/>
                  </a:lnTo>
                  <a:lnTo>
                    <a:pt x="194" y="878"/>
                  </a:lnTo>
                  <a:lnTo>
                    <a:pt x="192" y="878"/>
                  </a:lnTo>
                  <a:lnTo>
                    <a:pt x="192" y="878"/>
                  </a:lnTo>
                  <a:lnTo>
                    <a:pt x="192" y="878"/>
                  </a:lnTo>
                  <a:lnTo>
                    <a:pt x="192" y="876"/>
                  </a:lnTo>
                  <a:lnTo>
                    <a:pt x="192" y="876"/>
                  </a:lnTo>
                  <a:lnTo>
                    <a:pt x="192" y="876"/>
                  </a:lnTo>
                  <a:lnTo>
                    <a:pt x="189" y="876"/>
                  </a:lnTo>
                  <a:lnTo>
                    <a:pt x="187" y="874"/>
                  </a:lnTo>
                  <a:lnTo>
                    <a:pt x="187" y="876"/>
                  </a:lnTo>
                  <a:lnTo>
                    <a:pt x="185" y="874"/>
                  </a:lnTo>
                  <a:lnTo>
                    <a:pt x="187" y="874"/>
                  </a:lnTo>
                  <a:lnTo>
                    <a:pt x="185" y="874"/>
                  </a:lnTo>
                  <a:lnTo>
                    <a:pt x="185" y="874"/>
                  </a:lnTo>
                  <a:lnTo>
                    <a:pt x="182" y="871"/>
                  </a:lnTo>
                  <a:lnTo>
                    <a:pt x="180" y="871"/>
                  </a:lnTo>
                  <a:lnTo>
                    <a:pt x="180" y="871"/>
                  </a:lnTo>
                  <a:lnTo>
                    <a:pt x="180" y="871"/>
                  </a:lnTo>
                  <a:lnTo>
                    <a:pt x="180" y="871"/>
                  </a:lnTo>
                  <a:lnTo>
                    <a:pt x="177" y="871"/>
                  </a:lnTo>
                  <a:lnTo>
                    <a:pt x="177" y="871"/>
                  </a:lnTo>
                  <a:lnTo>
                    <a:pt x="177" y="871"/>
                  </a:lnTo>
                  <a:lnTo>
                    <a:pt x="175" y="869"/>
                  </a:lnTo>
                  <a:lnTo>
                    <a:pt x="175" y="869"/>
                  </a:lnTo>
                  <a:lnTo>
                    <a:pt x="175" y="869"/>
                  </a:lnTo>
                  <a:lnTo>
                    <a:pt x="175" y="867"/>
                  </a:lnTo>
                  <a:lnTo>
                    <a:pt x="173" y="867"/>
                  </a:lnTo>
                  <a:lnTo>
                    <a:pt x="173" y="867"/>
                  </a:lnTo>
                  <a:lnTo>
                    <a:pt x="173" y="864"/>
                  </a:lnTo>
                  <a:lnTo>
                    <a:pt x="170" y="864"/>
                  </a:lnTo>
                  <a:lnTo>
                    <a:pt x="170" y="862"/>
                  </a:lnTo>
                  <a:lnTo>
                    <a:pt x="168" y="862"/>
                  </a:lnTo>
                  <a:lnTo>
                    <a:pt x="168" y="862"/>
                  </a:lnTo>
                  <a:lnTo>
                    <a:pt x="168" y="862"/>
                  </a:lnTo>
                  <a:lnTo>
                    <a:pt x="166" y="862"/>
                  </a:lnTo>
                  <a:lnTo>
                    <a:pt x="166" y="862"/>
                  </a:lnTo>
                  <a:lnTo>
                    <a:pt x="166" y="862"/>
                  </a:lnTo>
                  <a:lnTo>
                    <a:pt x="166" y="862"/>
                  </a:lnTo>
                  <a:lnTo>
                    <a:pt x="163" y="862"/>
                  </a:lnTo>
                  <a:lnTo>
                    <a:pt x="163" y="859"/>
                  </a:lnTo>
                  <a:lnTo>
                    <a:pt x="163" y="862"/>
                  </a:lnTo>
                  <a:lnTo>
                    <a:pt x="163" y="862"/>
                  </a:lnTo>
                  <a:lnTo>
                    <a:pt x="161" y="862"/>
                  </a:lnTo>
                  <a:lnTo>
                    <a:pt x="161" y="862"/>
                  </a:lnTo>
                  <a:lnTo>
                    <a:pt x="159" y="862"/>
                  </a:lnTo>
                  <a:lnTo>
                    <a:pt x="159" y="859"/>
                  </a:lnTo>
                  <a:lnTo>
                    <a:pt x="159" y="862"/>
                  </a:lnTo>
                  <a:lnTo>
                    <a:pt x="159" y="862"/>
                  </a:lnTo>
                  <a:lnTo>
                    <a:pt x="156" y="862"/>
                  </a:lnTo>
                  <a:lnTo>
                    <a:pt x="156" y="862"/>
                  </a:lnTo>
                  <a:lnTo>
                    <a:pt x="159" y="862"/>
                  </a:lnTo>
                  <a:lnTo>
                    <a:pt x="156" y="859"/>
                  </a:lnTo>
                  <a:lnTo>
                    <a:pt x="156" y="859"/>
                  </a:lnTo>
                  <a:lnTo>
                    <a:pt x="154" y="859"/>
                  </a:lnTo>
                  <a:lnTo>
                    <a:pt x="154" y="859"/>
                  </a:lnTo>
                  <a:lnTo>
                    <a:pt x="154" y="859"/>
                  </a:lnTo>
                  <a:lnTo>
                    <a:pt x="154" y="859"/>
                  </a:lnTo>
                  <a:lnTo>
                    <a:pt x="152" y="859"/>
                  </a:lnTo>
                  <a:lnTo>
                    <a:pt x="152" y="857"/>
                  </a:lnTo>
                  <a:lnTo>
                    <a:pt x="152" y="859"/>
                  </a:lnTo>
                  <a:lnTo>
                    <a:pt x="149" y="859"/>
                  </a:lnTo>
                  <a:lnTo>
                    <a:pt x="149" y="857"/>
                  </a:lnTo>
                  <a:lnTo>
                    <a:pt x="147" y="857"/>
                  </a:lnTo>
                  <a:lnTo>
                    <a:pt x="147" y="857"/>
                  </a:lnTo>
                  <a:lnTo>
                    <a:pt x="149" y="857"/>
                  </a:lnTo>
                  <a:lnTo>
                    <a:pt x="147" y="857"/>
                  </a:lnTo>
                  <a:lnTo>
                    <a:pt x="147" y="855"/>
                  </a:lnTo>
                  <a:lnTo>
                    <a:pt x="147" y="855"/>
                  </a:lnTo>
                  <a:lnTo>
                    <a:pt x="147" y="855"/>
                  </a:lnTo>
                  <a:lnTo>
                    <a:pt x="147" y="852"/>
                  </a:lnTo>
                  <a:lnTo>
                    <a:pt x="144" y="852"/>
                  </a:lnTo>
                  <a:lnTo>
                    <a:pt x="144" y="852"/>
                  </a:lnTo>
                  <a:lnTo>
                    <a:pt x="142" y="852"/>
                  </a:lnTo>
                  <a:lnTo>
                    <a:pt x="142" y="852"/>
                  </a:lnTo>
                  <a:lnTo>
                    <a:pt x="142" y="850"/>
                  </a:lnTo>
                  <a:lnTo>
                    <a:pt x="140" y="850"/>
                  </a:lnTo>
                  <a:lnTo>
                    <a:pt x="140" y="850"/>
                  </a:lnTo>
                  <a:lnTo>
                    <a:pt x="140" y="850"/>
                  </a:lnTo>
                  <a:lnTo>
                    <a:pt x="137" y="850"/>
                  </a:lnTo>
                  <a:lnTo>
                    <a:pt x="137" y="848"/>
                  </a:lnTo>
                  <a:lnTo>
                    <a:pt x="137" y="845"/>
                  </a:lnTo>
                  <a:lnTo>
                    <a:pt x="137" y="845"/>
                  </a:lnTo>
                  <a:lnTo>
                    <a:pt x="137" y="845"/>
                  </a:lnTo>
                  <a:lnTo>
                    <a:pt x="137" y="845"/>
                  </a:lnTo>
                  <a:lnTo>
                    <a:pt x="135" y="845"/>
                  </a:lnTo>
                  <a:lnTo>
                    <a:pt x="133" y="845"/>
                  </a:lnTo>
                  <a:lnTo>
                    <a:pt x="133" y="845"/>
                  </a:lnTo>
                  <a:lnTo>
                    <a:pt x="133" y="845"/>
                  </a:lnTo>
                  <a:lnTo>
                    <a:pt x="133" y="845"/>
                  </a:lnTo>
                  <a:lnTo>
                    <a:pt x="130" y="843"/>
                  </a:lnTo>
                  <a:lnTo>
                    <a:pt x="128" y="843"/>
                  </a:lnTo>
                  <a:lnTo>
                    <a:pt x="126" y="843"/>
                  </a:lnTo>
                  <a:lnTo>
                    <a:pt x="126" y="843"/>
                  </a:lnTo>
                  <a:lnTo>
                    <a:pt x="123" y="843"/>
                  </a:lnTo>
                  <a:lnTo>
                    <a:pt x="121" y="843"/>
                  </a:lnTo>
                  <a:lnTo>
                    <a:pt x="121" y="843"/>
                  </a:lnTo>
                  <a:lnTo>
                    <a:pt x="121" y="843"/>
                  </a:lnTo>
                  <a:lnTo>
                    <a:pt x="118" y="843"/>
                  </a:lnTo>
                  <a:lnTo>
                    <a:pt x="116" y="843"/>
                  </a:lnTo>
                  <a:lnTo>
                    <a:pt x="116" y="841"/>
                  </a:lnTo>
                  <a:lnTo>
                    <a:pt x="116" y="841"/>
                  </a:lnTo>
                  <a:lnTo>
                    <a:pt x="116" y="841"/>
                  </a:lnTo>
                  <a:lnTo>
                    <a:pt x="114" y="841"/>
                  </a:lnTo>
                  <a:lnTo>
                    <a:pt x="114" y="841"/>
                  </a:lnTo>
                  <a:lnTo>
                    <a:pt x="114" y="838"/>
                  </a:lnTo>
                  <a:lnTo>
                    <a:pt x="111" y="838"/>
                  </a:lnTo>
                  <a:lnTo>
                    <a:pt x="114" y="838"/>
                  </a:lnTo>
                  <a:lnTo>
                    <a:pt x="111" y="838"/>
                  </a:lnTo>
                  <a:lnTo>
                    <a:pt x="111" y="836"/>
                  </a:lnTo>
                  <a:lnTo>
                    <a:pt x="109" y="833"/>
                  </a:lnTo>
                  <a:lnTo>
                    <a:pt x="109" y="833"/>
                  </a:lnTo>
                  <a:lnTo>
                    <a:pt x="107" y="833"/>
                  </a:lnTo>
                  <a:lnTo>
                    <a:pt x="107" y="831"/>
                  </a:lnTo>
                  <a:lnTo>
                    <a:pt x="107" y="831"/>
                  </a:lnTo>
                  <a:lnTo>
                    <a:pt x="104" y="831"/>
                  </a:lnTo>
                  <a:lnTo>
                    <a:pt x="104" y="829"/>
                  </a:lnTo>
                  <a:lnTo>
                    <a:pt x="102" y="824"/>
                  </a:lnTo>
                  <a:lnTo>
                    <a:pt x="100" y="824"/>
                  </a:lnTo>
                  <a:lnTo>
                    <a:pt x="95" y="822"/>
                  </a:lnTo>
                  <a:lnTo>
                    <a:pt x="92" y="822"/>
                  </a:lnTo>
                  <a:lnTo>
                    <a:pt x="92" y="822"/>
                  </a:lnTo>
                  <a:lnTo>
                    <a:pt x="92" y="819"/>
                  </a:lnTo>
                  <a:lnTo>
                    <a:pt x="90" y="819"/>
                  </a:lnTo>
                  <a:lnTo>
                    <a:pt x="90" y="822"/>
                  </a:lnTo>
                  <a:lnTo>
                    <a:pt x="88" y="822"/>
                  </a:lnTo>
                  <a:lnTo>
                    <a:pt x="85" y="824"/>
                  </a:lnTo>
                  <a:lnTo>
                    <a:pt x="83" y="824"/>
                  </a:lnTo>
                  <a:lnTo>
                    <a:pt x="81" y="824"/>
                  </a:lnTo>
                  <a:lnTo>
                    <a:pt x="78" y="824"/>
                  </a:lnTo>
                  <a:lnTo>
                    <a:pt x="78" y="824"/>
                  </a:lnTo>
                  <a:lnTo>
                    <a:pt x="74" y="824"/>
                  </a:lnTo>
                  <a:lnTo>
                    <a:pt x="74" y="824"/>
                  </a:lnTo>
                  <a:lnTo>
                    <a:pt x="69" y="824"/>
                  </a:lnTo>
                  <a:lnTo>
                    <a:pt x="66" y="824"/>
                  </a:lnTo>
                  <a:lnTo>
                    <a:pt x="64" y="824"/>
                  </a:lnTo>
                  <a:lnTo>
                    <a:pt x="62" y="824"/>
                  </a:lnTo>
                  <a:lnTo>
                    <a:pt x="59" y="824"/>
                  </a:lnTo>
                  <a:lnTo>
                    <a:pt x="57" y="822"/>
                  </a:lnTo>
                  <a:lnTo>
                    <a:pt x="55" y="822"/>
                  </a:lnTo>
                  <a:lnTo>
                    <a:pt x="52" y="822"/>
                  </a:lnTo>
                  <a:lnTo>
                    <a:pt x="52" y="822"/>
                  </a:lnTo>
                  <a:lnTo>
                    <a:pt x="52" y="822"/>
                  </a:lnTo>
                  <a:lnTo>
                    <a:pt x="48" y="819"/>
                  </a:lnTo>
                  <a:lnTo>
                    <a:pt x="43" y="817"/>
                  </a:lnTo>
                  <a:lnTo>
                    <a:pt x="43" y="815"/>
                  </a:lnTo>
                  <a:lnTo>
                    <a:pt x="43" y="815"/>
                  </a:lnTo>
                  <a:lnTo>
                    <a:pt x="40" y="815"/>
                  </a:lnTo>
                  <a:lnTo>
                    <a:pt x="40" y="812"/>
                  </a:lnTo>
                  <a:lnTo>
                    <a:pt x="40" y="812"/>
                  </a:lnTo>
                  <a:lnTo>
                    <a:pt x="38" y="810"/>
                  </a:lnTo>
                  <a:lnTo>
                    <a:pt x="38" y="807"/>
                  </a:lnTo>
                  <a:lnTo>
                    <a:pt x="38" y="805"/>
                  </a:lnTo>
                  <a:lnTo>
                    <a:pt x="38" y="805"/>
                  </a:lnTo>
                  <a:lnTo>
                    <a:pt x="40" y="803"/>
                  </a:lnTo>
                  <a:lnTo>
                    <a:pt x="43" y="800"/>
                  </a:lnTo>
                  <a:lnTo>
                    <a:pt x="45" y="798"/>
                  </a:lnTo>
                  <a:lnTo>
                    <a:pt x="45" y="796"/>
                  </a:lnTo>
                  <a:lnTo>
                    <a:pt x="48" y="796"/>
                  </a:lnTo>
                  <a:lnTo>
                    <a:pt x="48" y="791"/>
                  </a:lnTo>
                  <a:lnTo>
                    <a:pt x="48" y="791"/>
                  </a:lnTo>
                  <a:lnTo>
                    <a:pt x="50" y="789"/>
                  </a:lnTo>
                  <a:lnTo>
                    <a:pt x="50" y="789"/>
                  </a:lnTo>
                  <a:lnTo>
                    <a:pt x="52" y="789"/>
                  </a:lnTo>
                  <a:lnTo>
                    <a:pt x="57" y="789"/>
                  </a:lnTo>
                  <a:lnTo>
                    <a:pt x="59" y="786"/>
                  </a:lnTo>
                  <a:lnTo>
                    <a:pt x="62" y="782"/>
                  </a:lnTo>
                  <a:lnTo>
                    <a:pt x="64" y="779"/>
                  </a:lnTo>
                  <a:lnTo>
                    <a:pt x="62" y="779"/>
                  </a:lnTo>
                  <a:lnTo>
                    <a:pt x="62" y="779"/>
                  </a:lnTo>
                  <a:lnTo>
                    <a:pt x="59" y="777"/>
                  </a:lnTo>
                  <a:lnTo>
                    <a:pt x="57" y="777"/>
                  </a:lnTo>
                  <a:lnTo>
                    <a:pt x="55" y="774"/>
                  </a:lnTo>
                  <a:lnTo>
                    <a:pt x="55" y="774"/>
                  </a:lnTo>
                  <a:lnTo>
                    <a:pt x="48" y="774"/>
                  </a:lnTo>
                  <a:lnTo>
                    <a:pt x="43" y="772"/>
                  </a:lnTo>
                  <a:lnTo>
                    <a:pt x="38" y="772"/>
                  </a:lnTo>
                  <a:lnTo>
                    <a:pt x="36" y="774"/>
                  </a:lnTo>
                  <a:lnTo>
                    <a:pt x="31" y="777"/>
                  </a:lnTo>
                  <a:lnTo>
                    <a:pt x="29" y="779"/>
                  </a:lnTo>
                  <a:lnTo>
                    <a:pt x="29" y="779"/>
                  </a:lnTo>
                  <a:lnTo>
                    <a:pt x="26" y="779"/>
                  </a:lnTo>
                  <a:lnTo>
                    <a:pt x="24" y="779"/>
                  </a:lnTo>
                  <a:lnTo>
                    <a:pt x="19" y="774"/>
                  </a:lnTo>
                  <a:lnTo>
                    <a:pt x="19" y="770"/>
                  </a:lnTo>
                  <a:lnTo>
                    <a:pt x="19" y="767"/>
                  </a:lnTo>
                  <a:lnTo>
                    <a:pt x="19" y="763"/>
                  </a:lnTo>
                  <a:lnTo>
                    <a:pt x="17" y="756"/>
                  </a:lnTo>
                  <a:lnTo>
                    <a:pt x="17" y="753"/>
                  </a:lnTo>
                  <a:lnTo>
                    <a:pt x="14" y="748"/>
                  </a:lnTo>
                  <a:lnTo>
                    <a:pt x="14" y="744"/>
                  </a:lnTo>
                  <a:lnTo>
                    <a:pt x="14" y="744"/>
                  </a:lnTo>
                  <a:lnTo>
                    <a:pt x="17" y="741"/>
                  </a:lnTo>
                  <a:lnTo>
                    <a:pt x="17" y="741"/>
                  </a:lnTo>
                  <a:lnTo>
                    <a:pt x="22" y="741"/>
                  </a:lnTo>
                  <a:lnTo>
                    <a:pt x="22" y="741"/>
                  </a:lnTo>
                  <a:lnTo>
                    <a:pt x="22" y="741"/>
                  </a:lnTo>
                  <a:lnTo>
                    <a:pt x="24" y="739"/>
                  </a:lnTo>
                  <a:lnTo>
                    <a:pt x="24" y="732"/>
                  </a:lnTo>
                  <a:lnTo>
                    <a:pt x="22" y="730"/>
                  </a:lnTo>
                  <a:lnTo>
                    <a:pt x="22" y="730"/>
                  </a:lnTo>
                  <a:lnTo>
                    <a:pt x="19" y="725"/>
                  </a:lnTo>
                  <a:lnTo>
                    <a:pt x="17" y="722"/>
                  </a:lnTo>
                  <a:lnTo>
                    <a:pt x="17" y="720"/>
                  </a:lnTo>
                  <a:lnTo>
                    <a:pt x="17" y="720"/>
                  </a:lnTo>
                  <a:lnTo>
                    <a:pt x="17" y="720"/>
                  </a:lnTo>
                  <a:lnTo>
                    <a:pt x="14" y="718"/>
                  </a:lnTo>
                  <a:lnTo>
                    <a:pt x="14" y="718"/>
                  </a:lnTo>
                  <a:lnTo>
                    <a:pt x="14" y="713"/>
                  </a:lnTo>
                  <a:lnTo>
                    <a:pt x="14" y="711"/>
                  </a:lnTo>
                  <a:lnTo>
                    <a:pt x="14" y="711"/>
                  </a:lnTo>
                  <a:lnTo>
                    <a:pt x="12" y="708"/>
                  </a:lnTo>
                  <a:lnTo>
                    <a:pt x="12" y="706"/>
                  </a:lnTo>
                  <a:lnTo>
                    <a:pt x="12" y="706"/>
                  </a:lnTo>
                  <a:lnTo>
                    <a:pt x="10" y="704"/>
                  </a:lnTo>
                  <a:lnTo>
                    <a:pt x="12" y="704"/>
                  </a:lnTo>
                  <a:lnTo>
                    <a:pt x="10" y="704"/>
                  </a:lnTo>
                  <a:lnTo>
                    <a:pt x="10" y="701"/>
                  </a:lnTo>
                  <a:lnTo>
                    <a:pt x="10" y="701"/>
                  </a:lnTo>
                  <a:lnTo>
                    <a:pt x="7" y="701"/>
                  </a:lnTo>
                  <a:lnTo>
                    <a:pt x="7" y="699"/>
                  </a:lnTo>
                  <a:lnTo>
                    <a:pt x="7" y="699"/>
                  </a:lnTo>
                  <a:lnTo>
                    <a:pt x="5" y="699"/>
                  </a:lnTo>
                  <a:lnTo>
                    <a:pt x="5" y="696"/>
                  </a:lnTo>
                  <a:lnTo>
                    <a:pt x="5" y="699"/>
                  </a:lnTo>
                  <a:lnTo>
                    <a:pt x="3" y="696"/>
                  </a:lnTo>
                  <a:lnTo>
                    <a:pt x="3" y="696"/>
                  </a:lnTo>
                  <a:lnTo>
                    <a:pt x="3" y="694"/>
                  </a:lnTo>
                  <a:lnTo>
                    <a:pt x="3" y="694"/>
                  </a:lnTo>
                  <a:lnTo>
                    <a:pt x="0" y="694"/>
                  </a:lnTo>
                  <a:lnTo>
                    <a:pt x="3" y="694"/>
                  </a:lnTo>
                  <a:lnTo>
                    <a:pt x="3" y="692"/>
                  </a:lnTo>
                  <a:lnTo>
                    <a:pt x="0" y="692"/>
                  </a:lnTo>
                  <a:lnTo>
                    <a:pt x="3" y="689"/>
                  </a:lnTo>
                  <a:lnTo>
                    <a:pt x="0" y="689"/>
                  </a:lnTo>
                  <a:lnTo>
                    <a:pt x="0" y="689"/>
                  </a:lnTo>
                  <a:lnTo>
                    <a:pt x="0" y="687"/>
                  </a:lnTo>
                  <a:lnTo>
                    <a:pt x="0" y="685"/>
                  </a:lnTo>
                  <a:lnTo>
                    <a:pt x="0" y="685"/>
                  </a:lnTo>
                  <a:lnTo>
                    <a:pt x="0" y="685"/>
                  </a:lnTo>
                  <a:lnTo>
                    <a:pt x="0" y="685"/>
                  </a:lnTo>
                  <a:lnTo>
                    <a:pt x="0" y="682"/>
                  </a:lnTo>
                  <a:lnTo>
                    <a:pt x="3" y="682"/>
                  </a:lnTo>
                  <a:lnTo>
                    <a:pt x="3" y="680"/>
                  </a:lnTo>
                  <a:lnTo>
                    <a:pt x="3" y="680"/>
                  </a:lnTo>
                  <a:lnTo>
                    <a:pt x="3" y="680"/>
                  </a:lnTo>
                  <a:lnTo>
                    <a:pt x="3" y="678"/>
                  </a:lnTo>
                  <a:lnTo>
                    <a:pt x="3" y="678"/>
                  </a:lnTo>
                  <a:lnTo>
                    <a:pt x="0" y="678"/>
                  </a:lnTo>
                  <a:lnTo>
                    <a:pt x="3" y="675"/>
                  </a:lnTo>
                  <a:lnTo>
                    <a:pt x="0" y="675"/>
                  </a:lnTo>
                  <a:lnTo>
                    <a:pt x="0" y="673"/>
                  </a:lnTo>
                  <a:lnTo>
                    <a:pt x="3" y="673"/>
                  </a:lnTo>
                  <a:lnTo>
                    <a:pt x="0" y="673"/>
                  </a:lnTo>
                  <a:lnTo>
                    <a:pt x="0" y="673"/>
                  </a:lnTo>
                  <a:lnTo>
                    <a:pt x="3" y="670"/>
                  </a:lnTo>
                  <a:lnTo>
                    <a:pt x="3" y="670"/>
                  </a:lnTo>
                  <a:lnTo>
                    <a:pt x="3" y="670"/>
                  </a:lnTo>
                  <a:lnTo>
                    <a:pt x="3" y="668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 cap="flat">
              <a:solidFill>
                <a:schemeClr val="bg2">
                  <a:lumMod val="7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>
                <a:solidFill>
                  <a:srgbClr val="000000"/>
                </a:solidFill>
              </a:endParaRPr>
            </a:p>
          </p:txBody>
        </p:sp>
        <p:sp>
          <p:nvSpPr>
            <p:cNvPr id="18" name="Freeform 21"/>
            <p:cNvSpPr>
              <a:spLocks/>
            </p:cNvSpPr>
            <p:nvPr/>
          </p:nvSpPr>
          <p:spPr bwMode="gray">
            <a:xfrm>
              <a:off x="1452066" y="3683385"/>
              <a:ext cx="1170050" cy="1223781"/>
            </a:xfrm>
            <a:custGeom>
              <a:avLst/>
              <a:gdLst/>
              <a:ahLst/>
              <a:cxnLst>
                <a:cxn ang="0">
                  <a:pos x="100" y="189"/>
                </a:cxn>
                <a:cxn ang="0">
                  <a:pos x="418" y="130"/>
                </a:cxn>
                <a:cxn ang="0">
                  <a:pos x="442" y="2"/>
                </a:cxn>
                <a:cxn ang="0">
                  <a:pos x="501" y="141"/>
                </a:cxn>
                <a:cxn ang="0">
                  <a:pos x="577" y="217"/>
                </a:cxn>
                <a:cxn ang="0">
                  <a:pos x="841" y="281"/>
                </a:cxn>
                <a:cxn ang="0">
                  <a:pos x="1413" y="408"/>
                </a:cxn>
                <a:cxn ang="0">
                  <a:pos x="1396" y="489"/>
                </a:cxn>
                <a:cxn ang="0">
                  <a:pos x="1385" y="576"/>
                </a:cxn>
                <a:cxn ang="0">
                  <a:pos x="1396" y="668"/>
                </a:cxn>
                <a:cxn ang="0">
                  <a:pos x="1413" y="725"/>
                </a:cxn>
                <a:cxn ang="0">
                  <a:pos x="1378" y="817"/>
                </a:cxn>
                <a:cxn ang="0">
                  <a:pos x="1349" y="916"/>
                </a:cxn>
                <a:cxn ang="0">
                  <a:pos x="1307" y="996"/>
                </a:cxn>
                <a:cxn ang="0">
                  <a:pos x="1257" y="1070"/>
                </a:cxn>
                <a:cxn ang="0">
                  <a:pos x="1189" y="1124"/>
                </a:cxn>
                <a:cxn ang="0">
                  <a:pos x="1141" y="1169"/>
                </a:cxn>
                <a:cxn ang="0">
                  <a:pos x="1139" y="1202"/>
                </a:cxn>
                <a:cxn ang="0">
                  <a:pos x="1115" y="1233"/>
                </a:cxn>
                <a:cxn ang="0">
                  <a:pos x="1094" y="1249"/>
                </a:cxn>
                <a:cxn ang="0">
                  <a:pos x="1085" y="1275"/>
                </a:cxn>
                <a:cxn ang="0">
                  <a:pos x="1070" y="1308"/>
                </a:cxn>
                <a:cxn ang="0">
                  <a:pos x="1066" y="1339"/>
                </a:cxn>
                <a:cxn ang="0">
                  <a:pos x="1080" y="1381"/>
                </a:cxn>
                <a:cxn ang="0">
                  <a:pos x="1030" y="1396"/>
                </a:cxn>
                <a:cxn ang="0">
                  <a:pos x="990" y="1386"/>
                </a:cxn>
                <a:cxn ang="0">
                  <a:pos x="988" y="1353"/>
                </a:cxn>
                <a:cxn ang="0">
                  <a:pos x="969" y="1325"/>
                </a:cxn>
                <a:cxn ang="0">
                  <a:pos x="933" y="1348"/>
                </a:cxn>
                <a:cxn ang="0">
                  <a:pos x="898" y="1327"/>
                </a:cxn>
                <a:cxn ang="0">
                  <a:pos x="846" y="1344"/>
                </a:cxn>
                <a:cxn ang="0">
                  <a:pos x="818" y="1344"/>
                </a:cxn>
                <a:cxn ang="0">
                  <a:pos x="796" y="1332"/>
                </a:cxn>
                <a:cxn ang="0">
                  <a:pos x="768" y="1315"/>
                </a:cxn>
                <a:cxn ang="0">
                  <a:pos x="735" y="1301"/>
                </a:cxn>
                <a:cxn ang="0">
                  <a:pos x="707" y="1285"/>
                </a:cxn>
                <a:cxn ang="0">
                  <a:pos x="674" y="1299"/>
                </a:cxn>
                <a:cxn ang="0">
                  <a:pos x="638" y="1306"/>
                </a:cxn>
                <a:cxn ang="0">
                  <a:pos x="610" y="1320"/>
                </a:cxn>
                <a:cxn ang="0">
                  <a:pos x="574" y="1363"/>
                </a:cxn>
                <a:cxn ang="0">
                  <a:pos x="532" y="1381"/>
                </a:cxn>
                <a:cxn ang="0">
                  <a:pos x="499" y="1341"/>
                </a:cxn>
                <a:cxn ang="0">
                  <a:pos x="426" y="1306"/>
                </a:cxn>
                <a:cxn ang="0">
                  <a:pos x="404" y="1259"/>
                </a:cxn>
                <a:cxn ang="0">
                  <a:pos x="418" y="1183"/>
                </a:cxn>
                <a:cxn ang="0">
                  <a:pos x="161" y="933"/>
                </a:cxn>
                <a:cxn ang="0">
                  <a:pos x="151" y="902"/>
                </a:cxn>
                <a:cxn ang="0">
                  <a:pos x="154" y="862"/>
                </a:cxn>
                <a:cxn ang="0">
                  <a:pos x="140" y="841"/>
                </a:cxn>
                <a:cxn ang="0">
                  <a:pos x="121" y="822"/>
                </a:cxn>
                <a:cxn ang="0">
                  <a:pos x="161" y="789"/>
                </a:cxn>
                <a:cxn ang="0">
                  <a:pos x="180" y="741"/>
                </a:cxn>
                <a:cxn ang="0">
                  <a:pos x="218" y="670"/>
                </a:cxn>
                <a:cxn ang="0">
                  <a:pos x="211" y="611"/>
                </a:cxn>
                <a:cxn ang="0">
                  <a:pos x="194" y="583"/>
                </a:cxn>
                <a:cxn ang="0">
                  <a:pos x="199" y="550"/>
                </a:cxn>
                <a:cxn ang="0">
                  <a:pos x="208" y="498"/>
                </a:cxn>
                <a:cxn ang="0">
                  <a:pos x="170" y="486"/>
                </a:cxn>
                <a:cxn ang="0">
                  <a:pos x="14" y="463"/>
                </a:cxn>
                <a:cxn ang="0">
                  <a:pos x="22" y="406"/>
                </a:cxn>
                <a:cxn ang="0">
                  <a:pos x="12" y="347"/>
                </a:cxn>
                <a:cxn ang="0">
                  <a:pos x="17" y="290"/>
                </a:cxn>
              </a:cxnLst>
              <a:rect l="0" t="0" r="r" b="b"/>
              <a:pathLst>
                <a:path w="1448" h="1398">
                  <a:moveTo>
                    <a:pt x="0" y="252"/>
                  </a:moveTo>
                  <a:lnTo>
                    <a:pt x="0" y="250"/>
                  </a:lnTo>
                  <a:lnTo>
                    <a:pt x="0" y="250"/>
                  </a:lnTo>
                  <a:lnTo>
                    <a:pt x="5" y="250"/>
                  </a:lnTo>
                  <a:lnTo>
                    <a:pt x="5" y="248"/>
                  </a:lnTo>
                  <a:lnTo>
                    <a:pt x="7" y="248"/>
                  </a:lnTo>
                  <a:lnTo>
                    <a:pt x="10" y="248"/>
                  </a:lnTo>
                  <a:lnTo>
                    <a:pt x="12" y="248"/>
                  </a:lnTo>
                  <a:lnTo>
                    <a:pt x="14" y="250"/>
                  </a:lnTo>
                  <a:lnTo>
                    <a:pt x="14" y="248"/>
                  </a:lnTo>
                  <a:lnTo>
                    <a:pt x="14" y="245"/>
                  </a:lnTo>
                  <a:lnTo>
                    <a:pt x="14" y="243"/>
                  </a:lnTo>
                  <a:lnTo>
                    <a:pt x="14" y="241"/>
                  </a:lnTo>
                  <a:lnTo>
                    <a:pt x="14" y="241"/>
                  </a:lnTo>
                  <a:lnTo>
                    <a:pt x="14" y="238"/>
                  </a:lnTo>
                  <a:lnTo>
                    <a:pt x="12" y="236"/>
                  </a:lnTo>
                  <a:lnTo>
                    <a:pt x="12" y="236"/>
                  </a:lnTo>
                  <a:lnTo>
                    <a:pt x="10" y="233"/>
                  </a:lnTo>
                  <a:lnTo>
                    <a:pt x="10" y="231"/>
                  </a:lnTo>
                  <a:lnTo>
                    <a:pt x="10" y="229"/>
                  </a:lnTo>
                  <a:lnTo>
                    <a:pt x="10" y="226"/>
                  </a:lnTo>
                  <a:lnTo>
                    <a:pt x="10" y="224"/>
                  </a:lnTo>
                  <a:lnTo>
                    <a:pt x="12" y="224"/>
                  </a:lnTo>
                  <a:lnTo>
                    <a:pt x="12" y="224"/>
                  </a:lnTo>
                  <a:lnTo>
                    <a:pt x="14" y="222"/>
                  </a:lnTo>
                  <a:lnTo>
                    <a:pt x="14" y="219"/>
                  </a:lnTo>
                  <a:lnTo>
                    <a:pt x="14" y="217"/>
                  </a:lnTo>
                  <a:lnTo>
                    <a:pt x="17" y="210"/>
                  </a:lnTo>
                  <a:lnTo>
                    <a:pt x="19" y="207"/>
                  </a:lnTo>
                  <a:lnTo>
                    <a:pt x="22" y="205"/>
                  </a:lnTo>
                  <a:lnTo>
                    <a:pt x="19" y="203"/>
                  </a:lnTo>
                  <a:lnTo>
                    <a:pt x="19" y="200"/>
                  </a:lnTo>
                  <a:lnTo>
                    <a:pt x="17" y="198"/>
                  </a:lnTo>
                  <a:lnTo>
                    <a:pt x="14" y="196"/>
                  </a:lnTo>
                  <a:lnTo>
                    <a:pt x="14" y="193"/>
                  </a:lnTo>
                  <a:lnTo>
                    <a:pt x="14" y="193"/>
                  </a:lnTo>
                  <a:lnTo>
                    <a:pt x="14" y="193"/>
                  </a:lnTo>
                  <a:lnTo>
                    <a:pt x="12" y="193"/>
                  </a:lnTo>
                  <a:lnTo>
                    <a:pt x="12" y="193"/>
                  </a:lnTo>
                  <a:lnTo>
                    <a:pt x="7" y="191"/>
                  </a:lnTo>
                  <a:lnTo>
                    <a:pt x="7" y="191"/>
                  </a:lnTo>
                  <a:lnTo>
                    <a:pt x="7" y="189"/>
                  </a:lnTo>
                  <a:lnTo>
                    <a:pt x="100" y="189"/>
                  </a:lnTo>
                  <a:lnTo>
                    <a:pt x="102" y="189"/>
                  </a:lnTo>
                  <a:lnTo>
                    <a:pt x="111" y="189"/>
                  </a:lnTo>
                  <a:lnTo>
                    <a:pt x="154" y="189"/>
                  </a:lnTo>
                  <a:lnTo>
                    <a:pt x="225" y="191"/>
                  </a:lnTo>
                  <a:lnTo>
                    <a:pt x="319" y="191"/>
                  </a:lnTo>
                  <a:lnTo>
                    <a:pt x="322" y="191"/>
                  </a:lnTo>
                  <a:lnTo>
                    <a:pt x="397" y="191"/>
                  </a:lnTo>
                  <a:lnTo>
                    <a:pt x="404" y="189"/>
                  </a:lnTo>
                  <a:lnTo>
                    <a:pt x="407" y="189"/>
                  </a:lnTo>
                  <a:lnTo>
                    <a:pt x="409" y="189"/>
                  </a:lnTo>
                  <a:lnTo>
                    <a:pt x="409" y="189"/>
                  </a:lnTo>
                  <a:lnTo>
                    <a:pt x="409" y="189"/>
                  </a:lnTo>
                  <a:lnTo>
                    <a:pt x="411" y="186"/>
                  </a:lnTo>
                  <a:lnTo>
                    <a:pt x="416" y="181"/>
                  </a:lnTo>
                  <a:lnTo>
                    <a:pt x="418" y="179"/>
                  </a:lnTo>
                  <a:lnTo>
                    <a:pt x="421" y="179"/>
                  </a:lnTo>
                  <a:lnTo>
                    <a:pt x="421" y="179"/>
                  </a:lnTo>
                  <a:lnTo>
                    <a:pt x="416" y="177"/>
                  </a:lnTo>
                  <a:lnTo>
                    <a:pt x="414" y="177"/>
                  </a:lnTo>
                  <a:lnTo>
                    <a:pt x="411" y="177"/>
                  </a:lnTo>
                  <a:lnTo>
                    <a:pt x="409" y="179"/>
                  </a:lnTo>
                  <a:lnTo>
                    <a:pt x="407" y="179"/>
                  </a:lnTo>
                  <a:lnTo>
                    <a:pt x="404" y="177"/>
                  </a:lnTo>
                  <a:lnTo>
                    <a:pt x="409" y="170"/>
                  </a:lnTo>
                  <a:lnTo>
                    <a:pt x="409" y="167"/>
                  </a:lnTo>
                  <a:lnTo>
                    <a:pt x="411" y="165"/>
                  </a:lnTo>
                  <a:lnTo>
                    <a:pt x="411" y="165"/>
                  </a:lnTo>
                  <a:lnTo>
                    <a:pt x="411" y="163"/>
                  </a:lnTo>
                  <a:lnTo>
                    <a:pt x="411" y="160"/>
                  </a:lnTo>
                  <a:lnTo>
                    <a:pt x="409" y="160"/>
                  </a:lnTo>
                  <a:lnTo>
                    <a:pt x="409" y="155"/>
                  </a:lnTo>
                  <a:lnTo>
                    <a:pt x="409" y="153"/>
                  </a:lnTo>
                  <a:lnTo>
                    <a:pt x="409" y="153"/>
                  </a:lnTo>
                  <a:lnTo>
                    <a:pt x="409" y="151"/>
                  </a:lnTo>
                  <a:lnTo>
                    <a:pt x="409" y="146"/>
                  </a:lnTo>
                  <a:lnTo>
                    <a:pt x="411" y="146"/>
                  </a:lnTo>
                  <a:lnTo>
                    <a:pt x="411" y="144"/>
                  </a:lnTo>
                  <a:lnTo>
                    <a:pt x="414" y="141"/>
                  </a:lnTo>
                  <a:lnTo>
                    <a:pt x="416" y="137"/>
                  </a:lnTo>
                  <a:lnTo>
                    <a:pt x="416" y="134"/>
                  </a:lnTo>
                  <a:lnTo>
                    <a:pt x="418" y="134"/>
                  </a:lnTo>
                  <a:lnTo>
                    <a:pt x="416" y="132"/>
                  </a:lnTo>
                  <a:lnTo>
                    <a:pt x="418" y="130"/>
                  </a:lnTo>
                  <a:lnTo>
                    <a:pt x="421" y="130"/>
                  </a:lnTo>
                  <a:lnTo>
                    <a:pt x="421" y="127"/>
                  </a:lnTo>
                  <a:lnTo>
                    <a:pt x="421" y="125"/>
                  </a:lnTo>
                  <a:lnTo>
                    <a:pt x="421" y="125"/>
                  </a:lnTo>
                  <a:lnTo>
                    <a:pt x="421" y="122"/>
                  </a:lnTo>
                  <a:lnTo>
                    <a:pt x="421" y="120"/>
                  </a:lnTo>
                  <a:lnTo>
                    <a:pt x="421" y="115"/>
                  </a:lnTo>
                  <a:lnTo>
                    <a:pt x="421" y="113"/>
                  </a:lnTo>
                  <a:lnTo>
                    <a:pt x="421" y="108"/>
                  </a:lnTo>
                  <a:lnTo>
                    <a:pt x="421" y="106"/>
                  </a:lnTo>
                  <a:lnTo>
                    <a:pt x="423" y="104"/>
                  </a:lnTo>
                  <a:lnTo>
                    <a:pt x="426" y="101"/>
                  </a:lnTo>
                  <a:lnTo>
                    <a:pt x="423" y="99"/>
                  </a:lnTo>
                  <a:lnTo>
                    <a:pt x="426" y="96"/>
                  </a:lnTo>
                  <a:lnTo>
                    <a:pt x="423" y="94"/>
                  </a:lnTo>
                  <a:lnTo>
                    <a:pt x="421" y="89"/>
                  </a:lnTo>
                  <a:lnTo>
                    <a:pt x="421" y="87"/>
                  </a:lnTo>
                  <a:lnTo>
                    <a:pt x="421" y="85"/>
                  </a:lnTo>
                  <a:lnTo>
                    <a:pt x="418" y="80"/>
                  </a:lnTo>
                  <a:lnTo>
                    <a:pt x="416" y="78"/>
                  </a:lnTo>
                  <a:lnTo>
                    <a:pt x="414" y="73"/>
                  </a:lnTo>
                  <a:lnTo>
                    <a:pt x="414" y="68"/>
                  </a:lnTo>
                  <a:lnTo>
                    <a:pt x="411" y="66"/>
                  </a:lnTo>
                  <a:lnTo>
                    <a:pt x="411" y="63"/>
                  </a:lnTo>
                  <a:lnTo>
                    <a:pt x="414" y="63"/>
                  </a:lnTo>
                  <a:lnTo>
                    <a:pt x="414" y="61"/>
                  </a:lnTo>
                  <a:lnTo>
                    <a:pt x="418" y="59"/>
                  </a:lnTo>
                  <a:lnTo>
                    <a:pt x="423" y="56"/>
                  </a:lnTo>
                  <a:lnTo>
                    <a:pt x="426" y="52"/>
                  </a:lnTo>
                  <a:lnTo>
                    <a:pt x="426" y="52"/>
                  </a:lnTo>
                  <a:lnTo>
                    <a:pt x="426" y="47"/>
                  </a:lnTo>
                  <a:lnTo>
                    <a:pt x="426" y="47"/>
                  </a:lnTo>
                  <a:lnTo>
                    <a:pt x="430" y="42"/>
                  </a:lnTo>
                  <a:lnTo>
                    <a:pt x="430" y="40"/>
                  </a:lnTo>
                  <a:lnTo>
                    <a:pt x="435" y="35"/>
                  </a:lnTo>
                  <a:lnTo>
                    <a:pt x="435" y="33"/>
                  </a:lnTo>
                  <a:lnTo>
                    <a:pt x="435" y="30"/>
                  </a:lnTo>
                  <a:lnTo>
                    <a:pt x="433" y="28"/>
                  </a:lnTo>
                  <a:lnTo>
                    <a:pt x="433" y="23"/>
                  </a:lnTo>
                  <a:lnTo>
                    <a:pt x="433" y="18"/>
                  </a:lnTo>
                  <a:lnTo>
                    <a:pt x="435" y="14"/>
                  </a:lnTo>
                  <a:lnTo>
                    <a:pt x="440" y="7"/>
                  </a:lnTo>
                  <a:lnTo>
                    <a:pt x="442" y="2"/>
                  </a:lnTo>
                  <a:lnTo>
                    <a:pt x="444" y="2"/>
                  </a:lnTo>
                  <a:lnTo>
                    <a:pt x="444" y="0"/>
                  </a:lnTo>
                  <a:lnTo>
                    <a:pt x="447" y="2"/>
                  </a:lnTo>
                  <a:lnTo>
                    <a:pt x="451" y="4"/>
                  </a:lnTo>
                  <a:lnTo>
                    <a:pt x="454" y="7"/>
                  </a:lnTo>
                  <a:lnTo>
                    <a:pt x="456" y="14"/>
                  </a:lnTo>
                  <a:lnTo>
                    <a:pt x="461" y="18"/>
                  </a:lnTo>
                  <a:lnTo>
                    <a:pt x="466" y="23"/>
                  </a:lnTo>
                  <a:lnTo>
                    <a:pt x="468" y="33"/>
                  </a:lnTo>
                  <a:lnTo>
                    <a:pt x="468" y="33"/>
                  </a:lnTo>
                  <a:lnTo>
                    <a:pt x="468" y="40"/>
                  </a:lnTo>
                  <a:lnTo>
                    <a:pt x="470" y="40"/>
                  </a:lnTo>
                  <a:lnTo>
                    <a:pt x="473" y="40"/>
                  </a:lnTo>
                  <a:lnTo>
                    <a:pt x="473" y="42"/>
                  </a:lnTo>
                  <a:lnTo>
                    <a:pt x="475" y="42"/>
                  </a:lnTo>
                  <a:lnTo>
                    <a:pt x="475" y="54"/>
                  </a:lnTo>
                  <a:lnTo>
                    <a:pt x="477" y="59"/>
                  </a:lnTo>
                  <a:lnTo>
                    <a:pt x="482" y="68"/>
                  </a:lnTo>
                  <a:lnTo>
                    <a:pt x="482" y="70"/>
                  </a:lnTo>
                  <a:lnTo>
                    <a:pt x="482" y="80"/>
                  </a:lnTo>
                  <a:lnTo>
                    <a:pt x="482" y="82"/>
                  </a:lnTo>
                  <a:lnTo>
                    <a:pt x="487" y="85"/>
                  </a:lnTo>
                  <a:lnTo>
                    <a:pt x="489" y="92"/>
                  </a:lnTo>
                  <a:lnTo>
                    <a:pt x="496" y="96"/>
                  </a:lnTo>
                  <a:lnTo>
                    <a:pt x="496" y="104"/>
                  </a:lnTo>
                  <a:lnTo>
                    <a:pt x="496" y="106"/>
                  </a:lnTo>
                  <a:lnTo>
                    <a:pt x="499" y="106"/>
                  </a:lnTo>
                  <a:lnTo>
                    <a:pt x="501" y="108"/>
                  </a:lnTo>
                  <a:lnTo>
                    <a:pt x="503" y="108"/>
                  </a:lnTo>
                  <a:lnTo>
                    <a:pt x="506" y="113"/>
                  </a:lnTo>
                  <a:lnTo>
                    <a:pt x="506" y="115"/>
                  </a:lnTo>
                  <a:lnTo>
                    <a:pt x="506" y="115"/>
                  </a:lnTo>
                  <a:lnTo>
                    <a:pt x="503" y="120"/>
                  </a:lnTo>
                  <a:lnTo>
                    <a:pt x="503" y="125"/>
                  </a:lnTo>
                  <a:lnTo>
                    <a:pt x="501" y="127"/>
                  </a:lnTo>
                  <a:lnTo>
                    <a:pt x="501" y="127"/>
                  </a:lnTo>
                  <a:lnTo>
                    <a:pt x="501" y="130"/>
                  </a:lnTo>
                  <a:lnTo>
                    <a:pt x="503" y="132"/>
                  </a:lnTo>
                  <a:lnTo>
                    <a:pt x="503" y="134"/>
                  </a:lnTo>
                  <a:lnTo>
                    <a:pt x="503" y="134"/>
                  </a:lnTo>
                  <a:lnTo>
                    <a:pt x="501" y="139"/>
                  </a:lnTo>
                  <a:lnTo>
                    <a:pt x="501" y="139"/>
                  </a:lnTo>
                  <a:lnTo>
                    <a:pt x="501" y="141"/>
                  </a:lnTo>
                  <a:lnTo>
                    <a:pt x="506" y="146"/>
                  </a:lnTo>
                  <a:lnTo>
                    <a:pt x="506" y="148"/>
                  </a:lnTo>
                  <a:lnTo>
                    <a:pt x="503" y="151"/>
                  </a:lnTo>
                  <a:lnTo>
                    <a:pt x="503" y="151"/>
                  </a:lnTo>
                  <a:lnTo>
                    <a:pt x="506" y="153"/>
                  </a:lnTo>
                  <a:lnTo>
                    <a:pt x="508" y="153"/>
                  </a:lnTo>
                  <a:lnTo>
                    <a:pt x="506" y="155"/>
                  </a:lnTo>
                  <a:lnTo>
                    <a:pt x="506" y="158"/>
                  </a:lnTo>
                  <a:lnTo>
                    <a:pt x="506" y="160"/>
                  </a:lnTo>
                  <a:lnTo>
                    <a:pt x="506" y="160"/>
                  </a:lnTo>
                  <a:lnTo>
                    <a:pt x="508" y="163"/>
                  </a:lnTo>
                  <a:lnTo>
                    <a:pt x="511" y="163"/>
                  </a:lnTo>
                  <a:lnTo>
                    <a:pt x="508" y="170"/>
                  </a:lnTo>
                  <a:lnTo>
                    <a:pt x="511" y="170"/>
                  </a:lnTo>
                  <a:lnTo>
                    <a:pt x="511" y="172"/>
                  </a:lnTo>
                  <a:lnTo>
                    <a:pt x="513" y="177"/>
                  </a:lnTo>
                  <a:lnTo>
                    <a:pt x="513" y="181"/>
                  </a:lnTo>
                  <a:lnTo>
                    <a:pt x="513" y="184"/>
                  </a:lnTo>
                  <a:lnTo>
                    <a:pt x="515" y="184"/>
                  </a:lnTo>
                  <a:lnTo>
                    <a:pt x="520" y="184"/>
                  </a:lnTo>
                  <a:lnTo>
                    <a:pt x="527" y="186"/>
                  </a:lnTo>
                  <a:lnTo>
                    <a:pt x="529" y="189"/>
                  </a:lnTo>
                  <a:lnTo>
                    <a:pt x="532" y="189"/>
                  </a:lnTo>
                  <a:lnTo>
                    <a:pt x="534" y="189"/>
                  </a:lnTo>
                  <a:lnTo>
                    <a:pt x="534" y="189"/>
                  </a:lnTo>
                  <a:lnTo>
                    <a:pt x="534" y="193"/>
                  </a:lnTo>
                  <a:lnTo>
                    <a:pt x="534" y="196"/>
                  </a:lnTo>
                  <a:lnTo>
                    <a:pt x="534" y="198"/>
                  </a:lnTo>
                  <a:lnTo>
                    <a:pt x="537" y="198"/>
                  </a:lnTo>
                  <a:lnTo>
                    <a:pt x="539" y="200"/>
                  </a:lnTo>
                  <a:lnTo>
                    <a:pt x="544" y="200"/>
                  </a:lnTo>
                  <a:lnTo>
                    <a:pt x="548" y="203"/>
                  </a:lnTo>
                  <a:lnTo>
                    <a:pt x="548" y="205"/>
                  </a:lnTo>
                  <a:lnTo>
                    <a:pt x="551" y="205"/>
                  </a:lnTo>
                  <a:lnTo>
                    <a:pt x="551" y="205"/>
                  </a:lnTo>
                  <a:lnTo>
                    <a:pt x="555" y="205"/>
                  </a:lnTo>
                  <a:lnTo>
                    <a:pt x="558" y="203"/>
                  </a:lnTo>
                  <a:lnTo>
                    <a:pt x="558" y="205"/>
                  </a:lnTo>
                  <a:lnTo>
                    <a:pt x="560" y="205"/>
                  </a:lnTo>
                  <a:lnTo>
                    <a:pt x="563" y="205"/>
                  </a:lnTo>
                  <a:lnTo>
                    <a:pt x="565" y="207"/>
                  </a:lnTo>
                  <a:lnTo>
                    <a:pt x="570" y="215"/>
                  </a:lnTo>
                  <a:lnTo>
                    <a:pt x="577" y="217"/>
                  </a:lnTo>
                  <a:lnTo>
                    <a:pt x="577" y="222"/>
                  </a:lnTo>
                  <a:lnTo>
                    <a:pt x="579" y="224"/>
                  </a:lnTo>
                  <a:lnTo>
                    <a:pt x="579" y="224"/>
                  </a:lnTo>
                  <a:lnTo>
                    <a:pt x="579" y="226"/>
                  </a:lnTo>
                  <a:lnTo>
                    <a:pt x="581" y="226"/>
                  </a:lnTo>
                  <a:lnTo>
                    <a:pt x="584" y="229"/>
                  </a:lnTo>
                  <a:lnTo>
                    <a:pt x="584" y="231"/>
                  </a:lnTo>
                  <a:lnTo>
                    <a:pt x="579" y="233"/>
                  </a:lnTo>
                  <a:lnTo>
                    <a:pt x="581" y="236"/>
                  </a:lnTo>
                  <a:lnTo>
                    <a:pt x="579" y="238"/>
                  </a:lnTo>
                  <a:lnTo>
                    <a:pt x="579" y="241"/>
                  </a:lnTo>
                  <a:lnTo>
                    <a:pt x="581" y="241"/>
                  </a:lnTo>
                  <a:lnTo>
                    <a:pt x="584" y="243"/>
                  </a:lnTo>
                  <a:lnTo>
                    <a:pt x="584" y="243"/>
                  </a:lnTo>
                  <a:lnTo>
                    <a:pt x="586" y="245"/>
                  </a:lnTo>
                  <a:lnTo>
                    <a:pt x="586" y="245"/>
                  </a:lnTo>
                  <a:lnTo>
                    <a:pt x="589" y="245"/>
                  </a:lnTo>
                  <a:lnTo>
                    <a:pt x="593" y="245"/>
                  </a:lnTo>
                  <a:lnTo>
                    <a:pt x="596" y="245"/>
                  </a:lnTo>
                  <a:lnTo>
                    <a:pt x="603" y="248"/>
                  </a:lnTo>
                  <a:lnTo>
                    <a:pt x="605" y="248"/>
                  </a:lnTo>
                  <a:lnTo>
                    <a:pt x="605" y="245"/>
                  </a:lnTo>
                  <a:lnTo>
                    <a:pt x="607" y="248"/>
                  </a:lnTo>
                  <a:lnTo>
                    <a:pt x="612" y="248"/>
                  </a:lnTo>
                  <a:lnTo>
                    <a:pt x="612" y="250"/>
                  </a:lnTo>
                  <a:lnTo>
                    <a:pt x="614" y="257"/>
                  </a:lnTo>
                  <a:lnTo>
                    <a:pt x="617" y="257"/>
                  </a:lnTo>
                  <a:lnTo>
                    <a:pt x="617" y="259"/>
                  </a:lnTo>
                  <a:lnTo>
                    <a:pt x="617" y="264"/>
                  </a:lnTo>
                  <a:lnTo>
                    <a:pt x="617" y="264"/>
                  </a:lnTo>
                  <a:lnTo>
                    <a:pt x="617" y="267"/>
                  </a:lnTo>
                  <a:lnTo>
                    <a:pt x="617" y="269"/>
                  </a:lnTo>
                  <a:lnTo>
                    <a:pt x="619" y="269"/>
                  </a:lnTo>
                  <a:lnTo>
                    <a:pt x="622" y="269"/>
                  </a:lnTo>
                  <a:lnTo>
                    <a:pt x="624" y="267"/>
                  </a:lnTo>
                  <a:lnTo>
                    <a:pt x="624" y="264"/>
                  </a:lnTo>
                  <a:lnTo>
                    <a:pt x="624" y="264"/>
                  </a:lnTo>
                  <a:lnTo>
                    <a:pt x="626" y="264"/>
                  </a:lnTo>
                  <a:lnTo>
                    <a:pt x="631" y="264"/>
                  </a:lnTo>
                  <a:lnTo>
                    <a:pt x="681" y="269"/>
                  </a:lnTo>
                  <a:lnTo>
                    <a:pt x="695" y="269"/>
                  </a:lnTo>
                  <a:lnTo>
                    <a:pt x="742" y="274"/>
                  </a:lnTo>
                  <a:lnTo>
                    <a:pt x="841" y="281"/>
                  </a:lnTo>
                  <a:lnTo>
                    <a:pt x="874" y="285"/>
                  </a:lnTo>
                  <a:lnTo>
                    <a:pt x="891" y="285"/>
                  </a:lnTo>
                  <a:lnTo>
                    <a:pt x="955" y="290"/>
                  </a:lnTo>
                  <a:lnTo>
                    <a:pt x="1021" y="297"/>
                  </a:lnTo>
                  <a:lnTo>
                    <a:pt x="1080" y="300"/>
                  </a:lnTo>
                  <a:lnTo>
                    <a:pt x="1137" y="304"/>
                  </a:lnTo>
                  <a:lnTo>
                    <a:pt x="1144" y="304"/>
                  </a:lnTo>
                  <a:lnTo>
                    <a:pt x="1191" y="309"/>
                  </a:lnTo>
                  <a:lnTo>
                    <a:pt x="1290" y="316"/>
                  </a:lnTo>
                  <a:lnTo>
                    <a:pt x="1311" y="316"/>
                  </a:lnTo>
                  <a:lnTo>
                    <a:pt x="1342" y="318"/>
                  </a:lnTo>
                  <a:lnTo>
                    <a:pt x="1368" y="321"/>
                  </a:lnTo>
                  <a:lnTo>
                    <a:pt x="1448" y="326"/>
                  </a:lnTo>
                  <a:lnTo>
                    <a:pt x="1448" y="326"/>
                  </a:lnTo>
                  <a:lnTo>
                    <a:pt x="1448" y="328"/>
                  </a:lnTo>
                  <a:lnTo>
                    <a:pt x="1444" y="330"/>
                  </a:lnTo>
                  <a:lnTo>
                    <a:pt x="1441" y="335"/>
                  </a:lnTo>
                  <a:lnTo>
                    <a:pt x="1441" y="337"/>
                  </a:lnTo>
                  <a:lnTo>
                    <a:pt x="1441" y="342"/>
                  </a:lnTo>
                  <a:lnTo>
                    <a:pt x="1441" y="342"/>
                  </a:lnTo>
                  <a:lnTo>
                    <a:pt x="1439" y="344"/>
                  </a:lnTo>
                  <a:lnTo>
                    <a:pt x="1439" y="349"/>
                  </a:lnTo>
                  <a:lnTo>
                    <a:pt x="1439" y="352"/>
                  </a:lnTo>
                  <a:lnTo>
                    <a:pt x="1437" y="354"/>
                  </a:lnTo>
                  <a:lnTo>
                    <a:pt x="1432" y="354"/>
                  </a:lnTo>
                  <a:lnTo>
                    <a:pt x="1432" y="356"/>
                  </a:lnTo>
                  <a:lnTo>
                    <a:pt x="1429" y="359"/>
                  </a:lnTo>
                  <a:lnTo>
                    <a:pt x="1429" y="361"/>
                  </a:lnTo>
                  <a:lnTo>
                    <a:pt x="1427" y="363"/>
                  </a:lnTo>
                  <a:lnTo>
                    <a:pt x="1425" y="368"/>
                  </a:lnTo>
                  <a:lnTo>
                    <a:pt x="1425" y="370"/>
                  </a:lnTo>
                  <a:lnTo>
                    <a:pt x="1427" y="370"/>
                  </a:lnTo>
                  <a:lnTo>
                    <a:pt x="1427" y="375"/>
                  </a:lnTo>
                  <a:lnTo>
                    <a:pt x="1425" y="380"/>
                  </a:lnTo>
                  <a:lnTo>
                    <a:pt x="1425" y="385"/>
                  </a:lnTo>
                  <a:lnTo>
                    <a:pt x="1422" y="389"/>
                  </a:lnTo>
                  <a:lnTo>
                    <a:pt x="1422" y="392"/>
                  </a:lnTo>
                  <a:lnTo>
                    <a:pt x="1422" y="394"/>
                  </a:lnTo>
                  <a:lnTo>
                    <a:pt x="1422" y="394"/>
                  </a:lnTo>
                  <a:lnTo>
                    <a:pt x="1420" y="396"/>
                  </a:lnTo>
                  <a:lnTo>
                    <a:pt x="1420" y="399"/>
                  </a:lnTo>
                  <a:lnTo>
                    <a:pt x="1415" y="399"/>
                  </a:lnTo>
                  <a:lnTo>
                    <a:pt x="1413" y="408"/>
                  </a:lnTo>
                  <a:lnTo>
                    <a:pt x="1415" y="411"/>
                  </a:lnTo>
                  <a:lnTo>
                    <a:pt x="1413" y="411"/>
                  </a:lnTo>
                  <a:lnTo>
                    <a:pt x="1413" y="411"/>
                  </a:lnTo>
                  <a:lnTo>
                    <a:pt x="1411" y="413"/>
                  </a:lnTo>
                  <a:lnTo>
                    <a:pt x="1411" y="415"/>
                  </a:lnTo>
                  <a:lnTo>
                    <a:pt x="1411" y="418"/>
                  </a:lnTo>
                  <a:lnTo>
                    <a:pt x="1411" y="420"/>
                  </a:lnTo>
                  <a:lnTo>
                    <a:pt x="1408" y="422"/>
                  </a:lnTo>
                  <a:lnTo>
                    <a:pt x="1408" y="425"/>
                  </a:lnTo>
                  <a:lnTo>
                    <a:pt x="1406" y="427"/>
                  </a:lnTo>
                  <a:lnTo>
                    <a:pt x="1406" y="427"/>
                  </a:lnTo>
                  <a:lnTo>
                    <a:pt x="1403" y="427"/>
                  </a:lnTo>
                  <a:lnTo>
                    <a:pt x="1403" y="427"/>
                  </a:lnTo>
                  <a:lnTo>
                    <a:pt x="1401" y="429"/>
                  </a:lnTo>
                  <a:lnTo>
                    <a:pt x="1399" y="434"/>
                  </a:lnTo>
                  <a:lnTo>
                    <a:pt x="1399" y="434"/>
                  </a:lnTo>
                  <a:lnTo>
                    <a:pt x="1401" y="437"/>
                  </a:lnTo>
                  <a:lnTo>
                    <a:pt x="1401" y="439"/>
                  </a:lnTo>
                  <a:lnTo>
                    <a:pt x="1403" y="441"/>
                  </a:lnTo>
                  <a:lnTo>
                    <a:pt x="1403" y="444"/>
                  </a:lnTo>
                  <a:lnTo>
                    <a:pt x="1403" y="446"/>
                  </a:lnTo>
                  <a:lnTo>
                    <a:pt x="1401" y="451"/>
                  </a:lnTo>
                  <a:lnTo>
                    <a:pt x="1401" y="451"/>
                  </a:lnTo>
                  <a:lnTo>
                    <a:pt x="1401" y="453"/>
                  </a:lnTo>
                  <a:lnTo>
                    <a:pt x="1399" y="453"/>
                  </a:lnTo>
                  <a:lnTo>
                    <a:pt x="1399" y="453"/>
                  </a:lnTo>
                  <a:lnTo>
                    <a:pt x="1399" y="453"/>
                  </a:lnTo>
                  <a:lnTo>
                    <a:pt x="1396" y="455"/>
                  </a:lnTo>
                  <a:lnTo>
                    <a:pt x="1396" y="455"/>
                  </a:lnTo>
                  <a:lnTo>
                    <a:pt x="1396" y="460"/>
                  </a:lnTo>
                  <a:lnTo>
                    <a:pt x="1399" y="460"/>
                  </a:lnTo>
                  <a:lnTo>
                    <a:pt x="1401" y="463"/>
                  </a:lnTo>
                  <a:lnTo>
                    <a:pt x="1401" y="465"/>
                  </a:lnTo>
                  <a:lnTo>
                    <a:pt x="1396" y="467"/>
                  </a:lnTo>
                  <a:lnTo>
                    <a:pt x="1396" y="470"/>
                  </a:lnTo>
                  <a:lnTo>
                    <a:pt x="1396" y="474"/>
                  </a:lnTo>
                  <a:lnTo>
                    <a:pt x="1396" y="474"/>
                  </a:lnTo>
                  <a:lnTo>
                    <a:pt x="1396" y="479"/>
                  </a:lnTo>
                  <a:lnTo>
                    <a:pt x="1396" y="481"/>
                  </a:lnTo>
                  <a:lnTo>
                    <a:pt x="1399" y="484"/>
                  </a:lnTo>
                  <a:lnTo>
                    <a:pt x="1399" y="486"/>
                  </a:lnTo>
                  <a:lnTo>
                    <a:pt x="1396" y="489"/>
                  </a:lnTo>
                  <a:lnTo>
                    <a:pt x="1396" y="489"/>
                  </a:lnTo>
                  <a:lnTo>
                    <a:pt x="1394" y="491"/>
                  </a:lnTo>
                  <a:lnTo>
                    <a:pt x="1394" y="493"/>
                  </a:lnTo>
                  <a:lnTo>
                    <a:pt x="1392" y="493"/>
                  </a:lnTo>
                  <a:lnTo>
                    <a:pt x="1392" y="496"/>
                  </a:lnTo>
                  <a:lnTo>
                    <a:pt x="1392" y="498"/>
                  </a:lnTo>
                  <a:lnTo>
                    <a:pt x="1392" y="503"/>
                  </a:lnTo>
                  <a:lnTo>
                    <a:pt x="1392" y="503"/>
                  </a:lnTo>
                  <a:lnTo>
                    <a:pt x="1394" y="507"/>
                  </a:lnTo>
                  <a:lnTo>
                    <a:pt x="1392" y="510"/>
                  </a:lnTo>
                  <a:lnTo>
                    <a:pt x="1392" y="515"/>
                  </a:lnTo>
                  <a:lnTo>
                    <a:pt x="1389" y="517"/>
                  </a:lnTo>
                  <a:lnTo>
                    <a:pt x="1387" y="517"/>
                  </a:lnTo>
                  <a:lnTo>
                    <a:pt x="1387" y="519"/>
                  </a:lnTo>
                  <a:lnTo>
                    <a:pt x="1387" y="519"/>
                  </a:lnTo>
                  <a:lnTo>
                    <a:pt x="1387" y="522"/>
                  </a:lnTo>
                  <a:lnTo>
                    <a:pt x="1385" y="524"/>
                  </a:lnTo>
                  <a:lnTo>
                    <a:pt x="1385" y="529"/>
                  </a:lnTo>
                  <a:lnTo>
                    <a:pt x="1385" y="531"/>
                  </a:lnTo>
                  <a:lnTo>
                    <a:pt x="1382" y="536"/>
                  </a:lnTo>
                  <a:lnTo>
                    <a:pt x="1382" y="538"/>
                  </a:lnTo>
                  <a:lnTo>
                    <a:pt x="1382" y="538"/>
                  </a:lnTo>
                  <a:lnTo>
                    <a:pt x="1382" y="543"/>
                  </a:lnTo>
                  <a:lnTo>
                    <a:pt x="1382" y="545"/>
                  </a:lnTo>
                  <a:lnTo>
                    <a:pt x="1382" y="548"/>
                  </a:lnTo>
                  <a:lnTo>
                    <a:pt x="1385" y="552"/>
                  </a:lnTo>
                  <a:lnTo>
                    <a:pt x="1385" y="552"/>
                  </a:lnTo>
                  <a:lnTo>
                    <a:pt x="1389" y="555"/>
                  </a:lnTo>
                  <a:lnTo>
                    <a:pt x="1389" y="555"/>
                  </a:lnTo>
                  <a:lnTo>
                    <a:pt x="1392" y="555"/>
                  </a:lnTo>
                  <a:lnTo>
                    <a:pt x="1392" y="555"/>
                  </a:lnTo>
                  <a:lnTo>
                    <a:pt x="1392" y="555"/>
                  </a:lnTo>
                  <a:lnTo>
                    <a:pt x="1392" y="557"/>
                  </a:lnTo>
                  <a:lnTo>
                    <a:pt x="1392" y="557"/>
                  </a:lnTo>
                  <a:lnTo>
                    <a:pt x="1392" y="559"/>
                  </a:lnTo>
                  <a:lnTo>
                    <a:pt x="1392" y="562"/>
                  </a:lnTo>
                  <a:lnTo>
                    <a:pt x="1392" y="567"/>
                  </a:lnTo>
                  <a:lnTo>
                    <a:pt x="1392" y="567"/>
                  </a:lnTo>
                  <a:lnTo>
                    <a:pt x="1389" y="569"/>
                  </a:lnTo>
                  <a:lnTo>
                    <a:pt x="1389" y="569"/>
                  </a:lnTo>
                  <a:lnTo>
                    <a:pt x="1387" y="571"/>
                  </a:lnTo>
                  <a:lnTo>
                    <a:pt x="1385" y="574"/>
                  </a:lnTo>
                  <a:lnTo>
                    <a:pt x="1385" y="574"/>
                  </a:lnTo>
                  <a:lnTo>
                    <a:pt x="1385" y="576"/>
                  </a:lnTo>
                  <a:lnTo>
                    <a:pt x="1387" y="578"/>
                  </a:lnTo>
                  <a:lnTo>
                    <a:pt x="1387" y="583"/>
                  </a:lnTo>
                  <a:lnTo>
                    <a:pt x="1387" y="583"/>
                  </a:lnTo>
                  <a:lnTo>
                    <a:pt x="1389" y="585"/>
                  </a:lnTo>
                  <a:lnTo>
                    <a:pt x="1389" y="590"/>
                  </a:lnTo>
                  <a:lnTo>
                    <a:pt x="1389" y="590"/>
                  </a:lnTo>
                  <a:lnTo>
                    <a:pt x="1392" y="590"/>
                  </a:lnTo>
                  <a:lnTo>
                    <a:pt x="1394" y="592"/>
                  </a:lnTo>
                  <a:lnTo>
                    <a:pt x="1394" y="595"/>
                  </a:lnTo>
                  <a:lnTo>
                    <a:pt x="1392" y="597"/>
                  </a:lnTo>
                  <a:lnTo>
                    <a:pt x="1392" y="600"/>
                  </a:lnTo>
                  <a:lnTo>
                    <a:pt x="1394" y="602"/>
                  </a:lnTo>
                  <a:lnTo>
                    <a:pt x="1394" y="604"/>
                  </a:lnTo>
                  <a:lnTo>
                    <a:pt x="1389" y="607"/>
                  </a:lnTo>
                  <a:lnTo>
                    <a:pt x="1389" y="609"/>
                  </a:lnTo>
                  <a:lnTo>
                    <a:pt x="1389" y="609"/>
                  </a:lnTo>
                  <a:lnTo>
                    <a:pt x="1389" y="611"/>
                  </a:lnTo>
                  <a:lnTo>
                    <a:pt x="1389" y="614"/>
                  </a:lnTo>
                  <a:lnTo>
                    <a:pt x="1389" y="614"/>
                  </a:lnTo>
                  <a:lnTo>
                    <a:pt x="1392" y="616"/>
                  </a:lnTo>
                  <a:lnTo>
                    <a:pt x="1392" y="618"/>
                  </a:lnTo>
                  <a:lnTo>
                    <a:pt x="1389" y="626"/>
                  </a:lnTo>
                  <a:lnTo>
                    <a:pt x="1389" y="628"/>
                  </a:lnTo>
                  <a:lnTo>
                    <a:pt x="1389" y="628"/>
                  </a:lnTo>
                  <a:lnTo>
                    <a:pt x="1389" y="633"/>
                  </a:lnTo>
                  <a:lnTo>
                    <a:pt x="1389" y="635"/>
                  </a:lnTo>
                  <a:lnTo>
                    <a:pt x="1389" y="637"/>
                  </a:lnTo>
                  <a:lnTo>
                    <a:pt x="1394" y="637"/>
                  </a:lnTo>
                  <a:lnTo>
                    <a:pt x="1394" y="637"/>
                  </a:lnTo>
                  <a:lnTo>
                    <a:pt x="1394" y="640"/>
                  </a:lnTo>
                  <a:lnTo>
                    <a:pt x="1396" y="644"/>
                  </a:lnTo>
                  <a:lnTo>
                    <a:pt x="1396" y="644"/>
                  </a:lnTo>
                  <a:lnTo>
                    <a:pt x="1394" y="647"/>
                  </a:lnTo>
                  <a:lnTo>
                    <a:pt x="1394" y="647"/>
                  </a:lnTo>
                  <a:lnTo>
                    <a:pt x="1394" y="649"/>
                  </a:lnTo>
                  <a:lnTo>
                    <a:pt x="1394" y="652"/>
                  </a:lnTo>
                  <a:lnTo>
                    <a:pt x="1394" y="654"/>
                  </a:lnTo>
                  <a:lnTo>
                    <a:pt x="1396" y="656"/>
                  </a:lnTo>
                  <a:lnTo>
                    <a:pt x="1396" y="659"/>
                  </a:lnTo>
                  <a:lnTo>
                    <a:pt x="1396" y="663"/>
                  </a:lnTo>
                  <a:lnTo>
                    <a:pt x="1396" y="663"/>
                  </a:lnTo>
                  <a:lnTo>
                    <a:pt x="1396" y="668"/>
                  </a:lnTo>
                  <a:lnTo>
                    <a:pt x="1396" y="668"/>
                  </a:lnTo>
                  <a:lnTo>
                    <a:pt x="1394" y="668"/>
                  </a:lnTo>
                  <a:lnTo>
                    <a:pt x="1394" y="668"/>
                  </a:lnTo>
                  <a:lnTo>
                    <a:pt x="1394" y="673"/>
                  </a:lnTo>
                  <a:lnTo>
                    <a:pt x="1392" y="675"/>
                  </a:lnTo>
                  <a:lnTo>
                    <a:pt x="1392" y="678"/>
                  </a:lnTo>
                  <a:lnTo>
                    <a:pt x="1389" y="680"/>
                  </a:lnTo>
                  <a:lnTo>
                    <a:pt x="1389" y="682"/>
                  </a:lnTo>
                  <a:lnTo>
                    <a:pt x="1392" y="685"/>
                  </a:lnTo>
                  <a:lnTo>
                    <a:pt x="1392" y="687"/>
                  </a:lnTo>
                  <a:lnTo>
                    <a:pt x="1389" y="687"/>
                  </a:lnTo>
                  <a:lnTo>
                    <a:pt x="1387" y="685"/>
                  </a:lnTo>
                  <a:lnTo>
                    <a:pt x="1387" y="687"/>
                  </a:lnTo>
                  <a:lnTo>
                    <a:pt x="1387" y="689"/>
                  </a:lnTo>
                  <a:lnTo>
                    <a:pt x="1387" y="689"/>
                  </a:lnTo>
                  <a:lnTo>
                    <a:pt x="1387" y="694"/>
                  </a:lnTo>
                  <a:lnTo>
                    <a:pt x="1394" y="692"/>
                  </a:lnTo>
                  <a:lnTo>
                    <a:pt x="1394" y="694"/>
                  </a:lnTo>
                  <a:lnTo>
                    <a:pt x="1394" y="694"/>
                  </a:lnTo>
                  <a:lnTo>
                    <a:pt x="1394" y="696"/>
                  </a:lnTo>
                  <a:lnTo>
                    <a:pt x="1394" y="701"/>
                  </a:lnTo>
                  <a:lnTo>
                    <a:pt x="1396" y="701"/>
                  </a:lnTo>
                  <a:lnTo>
                    <a:pt x="1394" y="704"/>
                  </a:lnTo>
                  <a:lnTo>
                    <a:pt x="1396" y="704"/>
                  </a:lnTo>
                  <a:lnTo>
                    <a:pt x="1396" y="708"/>
                  </a:lnTo>
                  <a:lnTo>
                    <a:pt x="1396" y="711"/>
                  </a:lnTo>
                  <a:lnTo>
                    <a:pt x="1399" y="711"/>
                  </a:lnTo>
                  <a:lnTo>
                    <a:pt x="1396" y="713"/>
                  </a:lnTo>
                  <a:lnTo>
                    <a:pt x="1396" y="715"/>
                  </a:lnTo>
                  <a:lnTo>
                    <a:pt x="1396" y="715"/>
                  </a:lnTo>
                  <a:lnTo>
                    <a:pt x="1399" y="715"/>
                  </a:lnTo>
                  <a:lnTo>
                    <a:pt x="1399" y="713"/>
                  </a:lnTo>
                  <a:lnTo>
                    <a:pt x="1401" y="713"/>
                  </a:lnTo>
                  <a:lnTo>
                    <a:pt x="1403" y="713"/>
                  </a:lnTo>
                  <a:lnTo>
                    <a:pt x="1403" y="713"/>
                  </a:lnTo>
                  <a:lnTo>
                    <a:pt x="1401" y="715"/>
                  </a:lnTo>
                  <a:lnTo>
                    <a:pt x="1401" y="718"/>
                  </a:lnTo>
                  <a:lnTo>
                    <a:pt x="1403" y="718"/>
                  </a:lnTo>
                  <a:lnTo>
                    <a:pt x="1408" y="718"/>
                  </a:lnTo>
                  <a:lnTo>
                    <a:pt x="1411" y="718"/>
                  </a:lnTo>
                  <a:lnTo>
                    <a:pt x="1411" y="720"/>
                  </a:lnTo>
                  <a:lnTo>
                    <a:pt x="1411" y="720"/>
                  </a:lnTo>
                  <a:lnTo>
                    <a:pt x="1413" y="722"/>
                  </a:lnTo>
                  <a:lnTo>
                    <a:pt x="1413" y="725"/>
                  </a:lnTo>
                  <a:lnTo>
                    <a:pt x="1411" y="727"/>
                  </a:lnTo>
                  <a:lnTo>
                    <a:pt x="1411" y="729"/>
                  </a:lnTo>
                  <a:lnTo>
                    <a:pt x="1411" y="732"/>
                  </a:lnTo>
                  <a:lnTo>
                    <a:pt x="1411" y="737"/>
                  </a:lnTo>
                  <a:lnTo>
                    <a:pt x="1406" y="737"/>
                  </a:lnTo>
                  <a:lnTo>
                    <a:pt x="1406" y="739"/>
                  </a:lnTo>
                  <a:lnTo>
                    <a:pt x="1403" y="739"/>
                  </a:lnTo>
                  <a:lnTo>
                    <a:pt x="1403" y="739"/>
                  </a:lnTo>
                  <a:lnTo>
                    <a:pt x="1401" y="739"/>
                  </a:lnTo>
                  <a:lnTo>
                    <a:pt x="1401" y="741"/>
                  </a:lnTo>
                  <a:lnTo>
                    <a:pt x="1403" y="744"/>
                  </a:lnTo>
                  <a:lnTo>
                    <a:pt x="1403" y="744"/>
                  </a:lnTo>
                  <a:lnTo>
                    <a:pt x="1403" y="746"/>
                  </a:lnTo>
                  <a:lnTo>
                    <a:pt x="1399" y="746"/>
                  </a:lnTo>
                  <a:lnTo>
                    <a:pt x="1399" y="748"/>
                  </a:lnTo>
                  <a:lnTo>
                    <a:pt x="1401" y="751"/>
                  </a:lnTo>
                  <a:lnTo>
                    <a:pt x="1401" y="751"/>
                  </a:lnTo>
                  <a:lnTo>
                    <a:pt x="1401" y="753"/>
                  </a:lnTo>
                  <a:lnTo>
                    <a:pt x="1401" y="758"/>
                  </a:lnTo>
                  <a:lnTo>
                    <a:pt x="1401" y="760"/>
                  </a:lnTo>
                  <a:lnTo>
                    <a:pt x="1401" y="763"/>
                  </a:lnTo>
                  <a:lnTo>
                    <a:pt x="1399" y="765"/>
                  </a:lnTo>
                  <a:lnTo>
                    <a:pt x="1401" y="765"/>
                  </a:lnTo>
                  <a:lnTo>
                    <a:pt x="1401" y="767"/>
                  </a:lnTo>
                  <a:lnTo>
                    <a:pt x="1401" y="767"/>
                  </a:lnTo>
                  <a:lnTo>
                    <a:pt x="1401" y="772"/>
                  </a:lnTo>
                  <a:lnTo>
                    <a:pt x="1401" y="774"/>
                  </a:lnTo>
                  <a:lnTo>
                    <a:pt x="1399" y="774"/>
                  </a:lnTo>
                  <a:lnTo>
                    <a:pt x="1399" y="779"/>
                  </a:lnTo>
                  <a:lnTo>
                    <a:pt x="1399" y="781"/>
                  </a:lnTo>
                  <a:lnTo>
                    <a:pt x="1396" y="784"/>
                  </a:lnTo>
                  <a:lnTo>
                    <a:pt x="1394" y="784"/>
                  </a:lnTo>
                  <a:lnTo>
                    <a:pt x="1394" y="786"/>
                  </a:lnTo>
                  <a:lnTo>
                    <a:pt x="1392" y="789"/>
                  </a:lnTo>
                  <a:lnTo>
                    <a:pt x="1392" y="791"/>
                  </a:lnTo>
                  <a:lnTo>
                    <a:pt x="1392" y="796"/>
                  </a:lnTo>
                  <a:lnTo>
                    <a:pt x="1392" y="796"/>
                  </a:lnTo>
                  <a:lnTo>
                    <a:pt x="1389" y="798"/>
                  </a:lnTo>
                  <a:lnTo>
                    <a:pt x="1387" y="800"/>
                  </a:lnTo>
                  <a:lnTo>
                    <a:pt x="1385" y="803"/>
                  </a:lnTo>
                  <a:lnTo>
                    <a:pt x="1382" y="805"/>
                  </a:lnTo>
                  <a:lnTo>
                    <a:pt x="1380" y="810"/>
                  </a:lnTo>
                  <a:lnTo>
                    <a:pt x="1378" y="817"/>
                  </a:lnTo>
                  <a:lnTo>
                    <a:pt x="1378" y="819"/>
                  </a:lnTo>
                  <a:lnTo>
                    <a:pt x="1375" y="824"/>
                  </a:lnTo>
                  <a:lnTo>
                    <a:pt x="1375" y="829"/>
                  </a:lnTo>
                  <a:lnTo>
                    <a:pt x="1370" y="833"/>
                  </a:lnTo>
                  <a:lnTo>
                    <a:pt x="1370" y="831"/>
                  </a:lnTo>
                  <a:lnTo>
                    <a:pt x="1368" y="833"/>
                  </a:lnTo>
                  <a:lnTo>
                    <a:pt x="1368" y="833"/>
                  </a:lnTo>
                  <a:lnTo>
                    <a:pt x="1366" y="833"/>
                  </a:lnTo>
                  <a:lnTo>
                    <a:pt x="1366" y="836"/>
                  </a:lnTo>
                  <a:lnTo>
                    <a:pt x="1368" y="838"/>
                  </a:lnTo>
                  <a:lnTo>
                    <a:pt x="1368" y="843"/>
                  </a:lnTo>
                  <a:lnTo>
                    <a:pt x="1368" y="845"/>
                  </a:lnTo>
                  <a:lnTo>
                    <a:pt x="1368" y="848"/>
                  </a:lnTo>
                  <a:lnTo>
                    <a:pt x="1368" y="850"/>
                  </a:lnTo>
                  <a:lnTo>
                    <a:pt x="1368" y="852"/>
                  </a:lnTo>
                  <a:lnTo>
                    <a:pt x="1368" y="855"/>
                  </a:lnTo>
                  <a:lnTo>
                    <a:pt x="1368" y="855"/>
                  </a:lnTo>
                  <a:lnTo>
                    <a:pt x="1368" y="857"/>
                  </a:lnTo>
                  <a:lnTo>
                    <a:pt x="1368" y="859"/>
                  </a:lnTo>
                  <a:lnTo>
                    <a:pt x="1368" y="862"/>
                  </a:lnTo>
                  <a:lnTo>
                    <a:pt x="1366" y="864"/>
                  </a:lnTo>
                  <a:lnTo>
                    <a:pt x="1366" y="866"/>
                  </a:lnTo>
                  <a:lnTo>
                    <a:pt x="1368" y="869"/>
                  </a:lnTo>
                  <a:lnTo>
                    <a:pt x="1368" y="874"/>
                  </a:lnTo>
                  <a:lnTo>
                    <a:pt x="1370" y="878"/>
                  </a:lnTo>
                  <a:lnTo>
                    <a:pt x="1370" y="883"/>
                  </a:lnTo>
                  <a:lnTo>
                    <a:pt x="1368" y="883"/>
                  </a:lnTo>
                  <a:lnTo>
                    <a:pt x="1366" y="885"/>
                  </a:lnTo>
                  <a:lnTo>
                    <a:pt x="1363" y="885"/>
                  </a:lnTo>
                  <a:lnTo>
                    <a:pt x="1361" y="885"/>
                  </a:lnTo>
                  <a:lnTo>
                    <a:pt x="1361" y="885"/>
                  </a:lnTo>
                  <a:lnTo>
                    <a:pt x="1359" y="885"/>
                  </a:lnTo>
                  <a:lnTo>
                    <a:pt x="1359" y="885"/>
                  </a:lnTo>
                  <a:lnTo>
                    <a:pt x="1361" y="890"/>
                  </a:lnTo>
                  <a:lnTo>
                    <a:pt x="1361" y="892"/>
                  </a:lnTo>
                  <a:lnTo>
                    <a:pt x="1359" y="895"/>
                  </a:lnTo>
                  <a:lnTo>
                    <a:pt x="1356" y="897"/>
                  </a:lnTo>
                  <a:lnTo>
                    <a:pt x="1354" y="902"/>
                  </a:lnTo>
                  <a:lnTo>
                    <a:pt x="1352" y="907"/>
                  </a:lnTo>
                  <a:lnTo>
                    <a:pt x="1352" y="909"/>
                  </a:lnTo>
                  <a:lnTo>
                    <a:pt x="1352" y="914"/>
                  </a:lnTo>
                  <a:lnTo>
                    <a:pt x="1352" y="916"/>
                  </a:lnTo>
                  <a:lnTo>
                    <a:pt x="1349" y="916"/>
                  </a:lnTo>
                  <a:lnTo>
                    <a:pt x="1352" y="921"/>
                  </a:lnTo>
                  <a:lnTo>
                    <a:pt x="1352" y="921"/>
                  </a:lnTo>
                  <a:lnTo>
                    <a:pt x="1349" y="923"/>
                  </a:lnTo>
                  <a:lnTo>
                    <a:pt x="1349" y="926"/>
                  </a:lnTo>
                  <a:lnTo>
                    <a:pt x="1352" y="928"/>
                  </a:lnTo>
                  <a:lnTo>
                    <a:pt x="1352" y="930"/>
                  </a:lnTo>
                  <a:lnTo>
                    <a:pt x="1352" y="930"/>
                  </a:lnTo>
                  <a:lnTo>
                    <a:pt x="1354" y="933"/>
                  </a:lnTo>
                  <a:lnTo>
                    <a:pt x="1352" y="935"/>
                  </a:lnTo>
                  <a:lnTo>
                    <a:pt x="1354" y="940"/>
                  </a:lnTo>
                  <a:lnTo>
                    <a:pt x="1349" y="947"/>
                  </a:lnTo>
                  <a:lnTo>
                    <a:pt x="1349" y="949"/>
                  </a:lnTo>
                  <a:lnTo>
                    <a:pt x="1347" y="956"/>
                  </a:lnTo>
                  <a:lnTo>
                    <a:pt x="1347" y="956"/>
                  </a:lnTo>
                  <a:lnTo>
                    <a:pt x="1344" y="959"/>
                  </a:lnTo>
                  <a:lnTo>
                    <a:pt x="1347" y="961"/>
                  </a:lnTo>
                  <a:lnTo>
                    <a:pt x="1347" y="961"/>
                  </a:lnTo>
                  <a:lnTo>
                    <a:pt x="1344" y="963"/>
                  </a:lnTo>
                  <a:lnTo>
                    <a:pt x="1344" y="966"/>
                  </a:lnTo>
                  <a:lnTo>
                    <a:pt x="1342" y="966"/>
                  </a:lnTo>
                  <a:lnTo>
                    <a:pt x="1342" y="968"/>
                  </a:lnTo>
                  <a:lnTo>
                    <a:pt x="1342" y="970"/>
                  </a:lnTo>
                  <a:lnTo>
                    <a:pt x="1344" y="973"/>
                  </a:lnTo>
                  <a:lnTo>
                    <a:pt x="1342" y="975"/>
                  </a:lnTo>
                  <a:lnTo>
                    <a:pt x="1340" y="975"/>
                  </a:lnTo>
                  <a:lnTo>
                    <a:pt x="1337" y="980"/>
                  </a:lnTo>
                  <a:lnTo>
                    <a:pt x="1337" y="982"/>
                  </a:lnTo>
                  <a:lnTo>
                    <a:pt x="1337" y="985"/>
                  </a:lnTo>
                  <a:lnTo>
                    <a:pt x="1337" y="987"/>
                  </a:lnTo>
                  <a:lnTo>
                    <a:pt x="1340" y="989"/>
                  </a:lnTo>
                  <a:lnTo>
                    <a:pt x="1340" y="989"/>
                  </a:lnTo>
                  <a:lnTo>
                    <a:pt x="1337" y="989"/>
                  </a:lnTo>
                  <a:lnTo>
                    <a:pt x="1333" y="994"/>
                  </a:lnTo>
                  <a:lnTo>
                    <a:pt x="1333" y="994"/>
                  </a:lnTo>
                  <a:lnTo>
                    <a:pt x="1330" y="996"/>
                  </a:lnTo>
                  <a:lnTo>
                    <a:pt x="1330" y="999"/>
                  </a:lnTo>
                  <a:lnTo>
                    <a:pt x="1323" y="1001"/>
                  </a:lnTo>
                  <a:lnTo>
                    <a:pt x="1318" y="1006"/>
                  </a:lnTo>
                  <a:lnTo>
                    <a:pt x="1314" y="1006"/>
                  </a:lnTo>
                  <a:lnTo>
                    <a:pt x="1311" y="1006"/>
                  </a:lnTo>
                  <a:lnTo>
                    <a:pt x="1311" y="1004"/>
                  </a:lnTo>
                  <a:lnTo>
                    <a:pt x="1311" y="999"/>
                  </a:lnTo>
                  <a:lnTo>
                    <a:pt x="1307" y="996"/>
                  </a:lnTo>
                  <a:lnTo>
                    <a:pt x="1307" y="996"/>
                  </a:lnTo>
                  <a:lnTo>
                    <a:pt x="1304" y="999"/>
                  </a:lnTo>
                  <a:lnTo>
                    <a:pt x="1304" y="1001"/>
                  </a:lnTo>
                  <a:lnTo>
                    <a:pt x="1302" y="1004"/>
                  </a:lnTo>
                  <a:lnTo>
                    <a:pt x="1297" y="1001"/>
                  </a:lnTo>
                  <a:lnTo>
                    <a:pt x="1295" y="1001"/>
                  </a:lnTo>
                  <a:lnTo>
                    <a:pt x="1292" y="1006"/>
                  </a:lnTo>
                  <a:lnTo>
                    <a:pt x="1292" y="1006"/>
                  </a:lnTo>
                  <a:lnTo>
                    <a:pt x="1290" y="1006"/>
                  </a:lnTo>
                  <a:lnTo>
                    <a:pt x="1288" y="1008"/>
                  </a:lnTo>
                  <a:lnTo>
                    <a:pt x="1283" y="1008"/>
                  </a:lnTo>
                  <a:lnTo>
                    <a:pt x="1283" y="1008"/>
                  </a:lnTo>
                  <a:lnTo>
                    <a:pt x="1281" y="1011"/>
                  </a:lnTo>
                  <a:lnTo>
                    <a:pt x="1278" y="1015"/>
                  </a:lnTo>
                  <a:lnTo>
                    <a:pt x="1276" y="1015"/>
                  </a:lnTo>
                  <a:lnTo>
                    <a:pt x="1274" y="1022"/>
                  </a:lnTo>
                  <a:lnTo>
                    <a:pt x="1274" y="1022"/>
                  </a:lnTo>
                  <a:lnTo>
                    <a:pt x="1269" y="1022"/>
                  </a:lnTo>
                  <a:lnTo>
                    <a:pt x="1266" y="1025"/>
                  </a:lnTo>
                  <a:lnTo>
                    <a:pt x="1266" y="1027"/>
                  </a:lnTo>
                  <a:lnTo>
                    <a:pt x="1264" y="1029"/>
                  </a:lnTo>
                  <a:lnTo>
                    <a:pt x="1264" y="1032"/>
                  </a:lnTo>
                  <a:lnTo>
                    <a:pt x="1266" y="1034"/>
                  </a:lnTo>
                  <a:lnTo>
                    <a:pt x="1266" y="1034"/>
                  </a:lnTo>
                  <a:lnTo>
                    <a:pt x="1266" y="1037"/>
                  </a:lnTo>
                  <a:lnTo>
                    <a:pt x="1264" y="1039"/>
                  </a:lnTo>
                  <a:lnTo>
                    <a:pt x="1264" y="1039"/>
                  </a:lnTo>
                  <a:lnTo>
                    <a:pt x="1262" y="1041"/>
                  </a:lnTo>
                  <a:lnTo>
                    <a:pt x="1262" y="1046"/>
                  </a:lnTo>
                  <a:lnTo>
                    <a:pt x="1264" y="1048"/>
                  </a:lnTo>
                  <a:lnTo>
                    <a:pt x="1264" y="1048"/>
                  </a:lnTo>
                  <a:lnTo>
                    <a:pt x="1259" y="1053"/>
                  </a:lnTo>
                  <a:lnTo>
                    <a:pt x="1259" y="1055"/>
                  </a:lnTo>
                  <a:lnTo>
                    <a:pt x="1262" y="1058"/>
                  </a:lnTo>
                  <a:lnTo>
                    <a:pt x="1262" y="1058"/>
                  </a:lnTo>
                  <a:lnTo>
                    <a:pt x="1259" y="1060"/>
                  </a:lnTo>
                  <a:lnTo>
                    <a:pt x="1259" y="1063"/>
                  </a:lnTo>
                  <a:lnTo>
                    <a:pt x="1259" y="1063"/>
                  </a:lnTo>
                  <a:lnTo>
                    <a:pt x="1259" y="1065"/>
                  </a:lnTo>
                  <a:lnTo>
                    <a:pt x="1259" y="1065"/>
                  </a:lnTo>
                  <a:lnTo>
                    <a:pt x="1257" y="1067"/>
                  </a:lnTo>
                  <a:lnTo>
                    <a:pt x="1257" y="1067"/>
                  </a:lnTo>
                  <a:lnTo>
                    <a:pt x="1257" y="1070"/>
                  </a:lnTo>
                  <a:lnTo>
                    <a:pt x="1257" y="1072"/>
                  </a:lnTo>
                  <a:lnTo>
                    <a:pt x="1257" y="1072"/>
                  </a:lnTo>
                  <a:lnTo>
                    <a:pt x="1255" y="1072"/>
                  </a:lnTo>
                  <a:lnTo>
                    <a:pt x="1255" y="1072"/>
                  </a:lnTo>
                  <a:lnTo>
                    <a:pt x="1252" y="1070"/>
                  </a:lnTo>
                  <a:lnTo>
                    <a:pt x="1250" y="1070"/>
                  </a:lnTo>
                  <a:lnTo>
                    <a:pt x="1250" y="1072"/>
                  </a:lnTo>
                  <a:lnTo>
                    <a:pt x="1250" y="1072"/>
                  </a:lnTo>
                  <a:lnTo>
                    <a:pt x="1250" y="1074"/>
                  </a:lnTo>
                  <a:lnTo>
                    <a:pt x="1255" y="1081"/>
                  </a:lnTo>
                  <a:lnTo>
                    <a:pt x="1255" y="1081"/>
                  </a:lnTo>
                  <a:lnTo>
                    <a:pt x="1252" y="1086"/>
                  </a:lnTo>
                  <a:lnTo>
                    <a:pt x="1252" y="1086"/>
                  </a:lnTo>
                  <a:lnTo>
                    <a:pt x="1248" y="1093"/>
                  </a:lnTo>
                  <a:lnTo>
                    <a:pt x="1248" y="1096"/>
                  </a:lnTo>
                  <a:lnTo>
                    <a:pt x="1245" y="1098"/>
                  </a:lnTo>
                  <a:lnTo>
                    <a:pt x="1240" y="1100"/>
                  </a:lnTo>
                  <a:lnTo>
                    <a:pt x="1240" y="1103"/>
                  </a:lnTo>
                  <a:lnTo>
                    <a:pt x="1238" y="1105"/>
                  </a:lnTo>
                  <a:lnTo>
                    <a:pt x="1238" y="1107"/>
                  </a:lnTo>
                  <a:lnTo>
                    <a:pt x="1236" y="1110"/>
                  </a:lnTo>
                  <a:lnTo>
                    <a:pt x="1233" y="1107"/>
                  </a:lnTo>
                  <a:lnTo>
                    <a:pt x="1229" y="1107"/>
                  </a:lnTo>
                  <a:lnTo>
                    <a:pt x="1229" y="1107"/>
                  </a:lnTo>
                  <a:lnTo>
                    <a:pt x="1229" y="1110"/>
                  </a:lnTo>
                  <a:lnTo>
                    <a:pt x="1229" y="1110"/>
                  </a:lnTo>
                  <a:lnTo>
                    <a:pt x="1226" y="1110"/>
                  </a:lnTo>
                  <a:lnTo>
                    <a:pt x="1224" y="1110"/>
                  </a:lnTo>
                  <a:lnTo>
                    <a:pt x="1222" y="1115"/>
                  </a:lnTo>
                  <a:lnTo>
                    <a:pt x="1222" y="1117"/>
                  </a:lnTo>
                  <a:lnTo>
                    <a:pt x="1215" y="1117"/>
                  </a:lnTo>
                  <a:lnTo>
                    <a:pt x="1212" y="1117"/>
                  </a:lnTo>
                  <a:lnTo>
                    <a:pt x="1210" y="1117"/>
                  </a:lnTo>
                  <a:lnTo>
                    <a:pt x="1210" y="1117"/>
                  </a:lnTo>
                  <a:lnTo>
                    <a:pt x="1210" y="1117"/>
                  </a:lnTo>
                  <a:lnTo>
                    <a:pt x="1205" y="1117"/>
                  </a:lnTo>
                  <a:lnTo>
                    <a:pt x="1198" y="1117"/>
                  </a:lnTo>
                  <a:lnTo>
                    <a:pt x="1196" y="1117"/>
                  </a:lnTo>
                  <a:lnTo>
                    <a:pt x="1193" y="1117"/>
                  </a:lnTo>
                  <a:lnTo>
                    <a:pt x="1191" y="1117"/>
                  </a:lnTo>
                  <a:lnTo>
                    <a:pt x="1191" y="1119"/>
                  </a:lnTo>
                  <a:lnTo>
                    <a:pt x="1191" y="1124"/>
                  </a:lnTo>
                  <a:lnTo>
                    <a:pt x="1189" y="1124"/>
                  </a:lnTo>
                  <a:lnTo>
                    <a:pt x="1189" y="1124"/>
                  </a:lnTo>
                  <a:lnTo>
                    <a:pt x="1186" y="1126"/>
                  </a:lnTo>
                  <a:lnTo>
                    <a:pt x="1186" y="1131"/>
                  </a:lnTo>
                  <a:lnTo>
                    <a:pt x="1184" y="1131"/>
                  </a:lnTo>
                  <a:lnTo>
                    <a:pt x="1184" y="1133"/>
                  </a:lnTo>
                  <a:lnTo>
                    <a:pt x="1181" y="1136"/>
                  </a:lnTo>
                  <a:lnTo>
                    <a:pt x="1181" y="1136"/>
                  </a:lnTo>
                  <a:lnTo>
                    <a:pt x="1181" y="1138"/>
                  </a:lnTo>
                  <a:lnTo>
                    <a:pt x="1181" y="1141"/>
                  </a:lnTo>
                  <a:lnTo>
                    <a:pt x="1181" y="1141"/>
                  </a:lnTo>
                  <a:lnTo>
                    <a:pt x="1177" y="1143"/>
                  </a:lnTo>
                  <a:lnTo>
                    <a:pt x="1177" y="1143"/>
                  </a:lnTo>
                  <a:lnTo>
                    <a:pt x="1177" y="1143"/>
                  </a:lnTo>
                  <a:lnTo>
                    <a:pt x="1174" y="1143"/>
                  </a:lnTo>
                  <a:lnTo>
                    <a:pt x="1174" y="1145"/>
                  </a:lnTo>
                  <a:lnTo>
                    <a:pt x="1172" y="1143"/>
                  </a:lnTo>
                  <a:lnTo>
                    <a:pt x="1167" y="1145"/>
                  </a:lnTo>
                  <a:lnTo>
                    <a:pt x="1165" y="1148"/>
                  </a:lnTo>
                  <a:lnTo>
                    <a:pt x="1163" y="1148"/>
                  </a:lnTo>
                  <a:lnTo>
                    <a:pt x="1160" y="1150"/>
                  </a:lnTo>
                  <a:lnTo>
                    <a:pt x="1160" y="1150"/>
                  </a:lnTo>
                  <a:lnTo>
                    <a:pt x="1158" y="1150"/>
                  </a:lnTo>
                  <a:lnTo>
                    <a:pt x="1158" y="1150"/>
                  </a:lnTo>
                  <a:lnTo>
                    <a:pt x="1155" y="1150"/>
                  </a:lnTo>
                  <a:lnTo>
                    <a:pt x="1155" y="1152"/>
                  </a:lnTo>
                  <a:lnTo>
                    <a:pt x="1153" y="1152"/>
                  </a:lnTo>
                  <a:lnTo>
                    <a:pt x="1153" y="1155"/>
                  </a:lnTo>
                  <a:lnTo>
                    <a:pt x="1153" y="1157"/>
                  </a:lnTo>
                  <a:lnTo>
                    <a:pt x="1153" y="1162"/>
                  </a:lnTo>
                  <a:lnTo>
                    <a:pt x="1153" y="1162"/>
                  </a:lnTo>
                  <a:lnTo>
                    <a:pt x="1151" y="1162"/>
                  </a:lnTo>
                  <a:lnTo>
                    <a:pt x="1151" y="1162"/>
                  </a:lnTo>
                  <a:lnTo>
                    <a:pt x="1153" y="1164"/>
                  </a:lnTo>
                  <a:lnTo>
                    <a:pt x="1153" y="1166"/>
                  </a:lnTo>
                  <a:lnTo>
                    <a:pt x="1153" y="1166"/>
                  </a:lnTo>
                  <a:lnTo>
                    <a:pt x="1151" y="1166"/>
                  </a:lnTo>
                  <a:lnTo>
                    <a:pt x="1148" y="1164"/>
                  </a:lnTo>
                  <a:lnTo>
                    <a:pt x="1148" y="1164"/>
                  </a:lnTo>
                  <a:lnTo>
                    <a:pt x="1148" y="1166"/>
                  </a:lnTo>
                  <a:lnTo>
                    <a:pt x="1148" y="1166"/>
                  </a:lnTo>
                  <a:lnTo>
                    <a:pt x="1146" y="1166"/>
                  </a:lnTo>
                  <a:lnTo>
                    <a:pt x="1144" y="1169"/>
                  </a:lnTo>
                  <a:lnTo>
                    <a:pt x="1141" y="1169"/>
                  </a:lnTo>
                  <a:lnTo>
                    <a:pt x="1139" y="1169"/>
                  </a:lnTo>
                  <a:lnTo>
                    <a:pt x="1139" y="1169"/>
                  </a:lnTo>
                  <a:lnTo>
                    <a:pt x="1139" y="1169"/>
                  </a:lnTo>
                  <a:lnTo>
                    <a:pt x="1137" y="1169"/>
                  </a:lnTo>
                  <a:lnTo>
                    <a:pt x="1137" y="1171"/>
                  </a:lnTo>
                  <a:lnTo>
                    <a:pt x="1137" y="1171"/>
                  </a:lnTo>
                  <a:lnTo>
                    <a:pt x="1134" y="1174"/>
                  </a:lnTo>
                  <a:lnTo>
                    <a:pt x="1137" y="1174"/>
                  </a:lnTo>
                  <a:lnTo>
                    <a:pt x="1137" y="1174"/>
                  </a:lnTo>
                  <a:lnTo>
                    <a:pt x="1137" y="1176"/>
                  </a:lnTo>
                  <a:lnTo>
                    <a:pt x="1134" y="1178"/>
                  </a:lnTo>
                  <a:lnTo>
                    <a:pt x="1134" y="1178"/>
                  </a:lnTo>
                  <a:lnTo>
                    <a:pt x="1134" y="1181"/>
                  </a:lnTo>
                  <a:lnTo>
                    <a:pt x="1137" y="1181"/>
                  </a:lnTo>
                  <a:lnTo>
                    <a:pt x="1134" y="1183"/>
                  </a:lnTo>
                  <a:lnTo>
                    <a:pt x="1134" y="1183"/>
                  </a:lnTo>
                  <a:lnTo>
                    <a:pt x="1137" y="1185"/>
                  </a:lnTo>
                  <a:lnTo>
                    <a:pt x="1139" y="1185"/>
                  </a:lnTo>
                  <a:lnTo>
                    <a:pt x="1141" y="1185"/>
                  </a:lnTo>
                  <a:lnTo>
                    <a:pt x="1141" y="1185"/>
                  </a:lnTo>
                  <a:lnTo>
                    <a:pt x="1141" y="1188"/>
                  </a:lnTo>
                  <a:lnTo>
                    <a:pt x="1141" y="1188"/>
                  </a:lnTo>
                  <a:lnTo>
                    <a:pt x="1144" y="1190"/>
                  </a:lnTo>
                  <a:lnTo>
                    <a:pt x="1144" y="1190"/>
                  </a:lnTo>
                  <a:lnTo>
                    <a:pt x="1144" y="1192"/>
                  </a:lnTo>
                  <a:lnTo>
                    <a:pt x="1144" y="1190"/>
                  </a:lnTo>
                  <a:lnTo>
                    <a:pt x="1146" y="1192"/>
                  </a:lnTo>
                  <a:lnTo>
                    <a:pt x="1144" y="1192"/>
                  </a:lnTo>
                  <a:lnTo>
                    <a:pt x="1146" y="1192"/>
                  </a:lnTo>
                  <a:lnTo>
                    <a:pt x="1146" y="1195"/>
                  </a:lnTo>
                  <a:lnTo>
                    <a:pt x="1146" y="1195"/>
                  </a:lnTo>
                  <a:lnTo>
                    <a:pt x="1144" y="1197"/>
                  </a:lnTo>
                  <a:lnTo>
                    <a:pt x="1144" y="1197"/>
                  </a:lnTo>
                  <a:lnTo>
                    <a:pt x="1141" y="1197"/>
                  </a:lnTo>
                  <a:lnTo>
                    <a:pt x="1141" y="1200"/>
                  </a:lnTo>
                  <a:lnTo>
                    <a:pt x="1141" y="1200"/>
                  </a:lnTo>
                  <a:lnTo>
                    <a:pt x="1141" y="1200"/>
                  </a:lnTo>
                  <a:lnTo>
                    <a:pt x="1141" y="1202"/>
                  </a:lnTo>
                  <a:lnTo>
                    <a:pt x="1141" y="1202"/>
                  </a:lnTo>
                  <a:lnTo>
                    <a:pt x="1141" y="1204"/>
                  </a:lnTo>
                  <a:lnTo>
                    <a:pt x="1139" y="1202"/>
                  </a:lnTo>
                  <a:lnTo>
                    <a:pt x="1139" y="1204"/>
                  </a:lnTo>
                  <a:lnTo>
                    <a:pt x="1139" y="1202"/>
                  </a:lnTo>
                  <a:lnTo>
                    <a:pt x="1137" y="1202"/>
                  </a:lnTo>
                  <a:lnTo>
                    <a:pt x="1137" y="1204"/>
                  </a:lnTo>
                  <a:lnTo>
                    <a:pt x="1139" y="1207"/>
                  </a:lnTo>
                  <a:lnTo>
                    <a:pt x="1137" y="1207"/>
                  </a:lnTo>
                  <a:lnTo>
                    <a:pt x="1137" y="1207"/>
                  </a:lnTo>
                  <a:lnTo>
                    <a:pt x="1137" y="1209"/>
                  </a:lnTo>
                  <a:lnTo>
                    <a:pt x="1134" y="1209"/>
                  </a:lnTo>
                  <a:lnTo>
                    <a:pt x="1132" y="1207"/>
                  </a:lnTo>
                  <a:lnTo>
                    <a:pt x="1132" y="1207"/>
                  </a:lnTo>
                  <a:lnTo>
                    <a:pt x="1132" y="1209"/>
                  </a:lnTo>
                  <a:lnTo>
                    <a:pt x="1129" y="1209"/>
                  </a:lnTo>
                  <a:lnTo>
                    <a:pt x="1129" y="1209"/>
                  </a:lnTo>
                  <a:lnTo>
                    <a:pt x="1129" y="1209"/>
                  </a:lnTo>
                  <a:lnTo>
                    <a:pt x="1129" y="1209"/>
                  </a:lnTo>
                  <a:lnTo>
                    <a:pt x="1129" y="1211"/>
                  </a:lnTo>
                  <a:lnTo>
                    <a:pt x="1129" y="1211"/>
                  </a:lnTo>
                  <a:lnTo>
                    <a:pt x="1129" y="1211"/>
                  </a:lnTo>
                  <a:lnTo>
                    <a:pt x="1132" y="1216"/>
                  </a:lnTo>
                  <a:lnTo>
                    <a:pt x="1129" y="1216"/>
                  </a:lnTo>
                  <a:lnTo>
                    <a:pt x="1129" y="1214"/>
                  </a:lnTo>
                  <a:lnTo>
                    <a:pt x="1129" y="1214"/>
                  </a:lnTo>
                  <a:lnTo>
                    <a:pt x="1127" y="1214"/>
                  </a:lnTo>
                  <a:lnTo>
                    <a:pt x="1127" y="1216"/>
                  </a:lnTo>
                  <a:lnTo>
                    <a:pt x="1129" y="1218"/>
                  </a:lnTo>
                  <a:lnTo>
                    <a:pt x="1127" y="1216"/>
                  </a:lnTo>
                  <a:lnTo>
                    <a:pt x="1127" y="1218"/>
                  </a:lnTo>
                  <a:lnTo>
                    <a:pt x="1125" y="1218"/>
                  </a:lnTo>
                  <a:lnTo>
                    <a:pt x="1125" y="1218"/>
                  </a:lnTo>
                  <a:lnTo>
                    <a:pt x="1127" y="1218"/>
                  </a:lnTo>
                  <a:lnTo>
                    <a:pt x="1125" y="1221"/>
                  </a:lnTo>
                  <a:lnTo>
                    <a:pt x="1125" y="1223"/>
                  </a:lnTo>
                  <a:lnTo>
                    <a:pt x="1122" y="1223"/>
                  </a:lnTo>
                  <a:lnTo>
                    <a:pt x="1122" y="1226"/>
                  </a:lnTo>
                  <a:lnTo>
                    <a:pt x="1122" y="1226"/>
                  </a:lnTo>
                  <a:lnTo>
                    <a:pt x="1122" y="1228"/>
                  </a:lnTo>
                  <a:lnTo>
                    <a:pt x="1122" y="1228"/>
                  </a:lnTo>
                  <a:lnTo>
                    <a:pt x="1120" y="1228"/>
                  </a:lnTo>
                  <a:lnTo>
                    <a:pt x="1120" y="1228"/>
                  </a:lnTo>
                  <a:lnTo>
                    <a:pt x="1118" y="1230"/>
                  </a:lnTo>
                  <a:lnTo>
                    <a:pt x="1118" y="1230"/>
                  </a:lnTo>
                  <a:lnTo>
                    <a:pt x="1118" y="1233"/>
                  </a:lnTo>
                  <a:lnTo>
                    <a:pt x="1115" y="1233"/>
                  </a:lnTo>
                  <a:lnTo>
                    <a:pt x="1115" y="1233"/>
                  </a:lnTo>
                  <a:lnTo>
                    <a:pt x="1115" y="1233"/>
                  </a:lnTo>
                  <a:lnTo>
                    <a:pt x="1113" y="1233"/>
                  </a:lnTo>
                  <a:lnTo>
                    <a:pt x="1113" y="1233"/>
                  </a:lnTo>
                  <a:lnTo>
                    <a:pt x="1113" y="1233"/>
                  </a:lnTo>
                  <a:lnTo>
                    <a:pt x="1111" y="1233"/>
                  </a:lnTo>
                  <a:lnTo>
                    <a:pt x="1108" y="1235"/>
                  </a:lnTo>
                  <a:lnTo>
                    <a:pt x="1111" y="1235"/>
                  </a:lnTo>
                  <a:lnTo>
                    <a:pt x="1108" y="1235"/>
                  </a:lnTo>
                  <a:lnTo>
                    <a:pt x="1108" y="1235"/>
                  </a:lnTo>
                  <a:lnTo>
                    <a:pt x="1108" y="1237"/>
                  </a:lnTo>
                  <a:lnTo>
                    <a:pt x="1106" y="1237"/>
                  </a:lnTo>
                  <a:lnTo>
                    <a:pt x="1106" y="1237"/>
                  </a:lnTo>
                  <a:lnTo>
                    <a:pt x="1103" y="1237"/>
                  </a:lnTo>
                  <a:lnTo>
                    <a:pt x="1103" y="1237"/>
                  </a:lnTo>
                  <a:lnTo>
                    <a:pt x="1103" y="1237"/>
                  </a:lnTo>
                  <a:lnTo>
                    <a:pt x="1103" y="1237"/>
                  </a:lnTo>
                  <a:lnTo>
                    <a:pt x="1103" y="1237"/>
                  </a:lnTo>
                  <a:lnTo>
                    <a:pt x="1103" y="1240"/>
                  </a:lnTo>
                  <a:lnTo>
                    <a:pt x="1103" y="1242"/>
                  </a:lnTo>
                  <a:lnTo>
                    <a:pt x="1103" y="1242"/>
                  </a:lnTo>
                  <a:lnTo>
                    <a:pt x="1103" y="1242"/>
                  </a:lnTo>
                  <a:lnTo>
                    <a:pt x="1101" y="1242"/>
                  </a:lnTo>
                  <a:lnTo>
                    <a:pt x="1101" y="1242"/>
                  </a:lnTo>
                  <a:lnTo>
                    <a:pt x="1103" y="1244"/>
                  </a:lnTo>
                  <a:lnTo>
                    <a:pt x="1101" y="1244"/>
                  </a:lnTo>
                  <a:lnTo>
                    <a:pt x="1101" y="1242"/>
                  </a:lnTo>
                  <a:lnTo>
                    <a:pt x="1101" y="1242"/>
                  </a:lnTo>
                  <a:lnTo>
                    <a:pt x="1101" y="1244"/>
                  </a:lnTo>
                  <a:lnTo>
                    <a:pt x="1101" y="1244"/>
                  </a:lnTo>
                  <a:lnTo>
                    <a:pt x="1101" y="1244"/>
                  </a:lnTo>
                  <a:lnTo>
                    <a:pt x="1101" y="1244"/>
                  </a:lnTo>
                  <a:lnTo>
                    <a:pt x="1099" y="1244"/>
                  </a:lnTo>
                  <a:lnTo>
                    <a:pt x="1099" y="1244"/>
                  </a:lnTo>
                  <a:lnTo>
                    <a:pt x="1096" y="1244"/>
                  </a:lnTo>
                  <a:lnTo>
                    <a:pt x="1096" y="1244"/>
                  </a:lnTo>
                  <a:lnTo>
                    <a:pt x="1094" y="1244"/>
                  </a:lnTo>
                  <a:lnTo>
                    <a:pt x="1094" y="1244"/>
                  </a:lnTo>
                  <a:lnTo>
                    <a:pt x="1094" y="1244"/>
                  </a:lnTo>
                  <a:lnTo>
                    <a:pt x="1094" y="1244"/>
                  </a:lnTo>
                  <a:lnTo>
                    <a:pt x="1094" y="1247"/>
                  </a:lnTo>
                  <a:lnTo>
                    <a:pt x="1094" y="1247"/>
                  </a:lnTo>
                  <a:lnTo>
                    <a:pt x="1094" y="1247"/>
                  </a:lnTo>
                  <a:lnTo>
                    <a:pt x="1094" y="1249"/>
                  </a:lnTo>
                  <a:lnTo>
                    <a:pt x="1092" y="1249"/>
                  </a:lnTo>
                  <a:lnTo>
                    <a:pt x="1092" y="1249"/>
                  </a:lnTo>
                  <a:lnTo>
                    <a:pt x="1092" y="1252"/>
                  </a:lnTo>
                  <a:lnTo>
                    <a:pt x="1092" y="1252"/>
                  </a:lnTo>
                  <a:lnTo>
                    <a:pt x="1092" y="1252"/>
                  </a:lnTo>
                  <a:lnTo>
                    <a:pt x="1092" y="1254"/>
                  </a:lnTo>
                  <a:lnTo>
                    <a:pt x="1092" y="1254"/>
                  </a:lnTo>
                  <a:lnTo>
                    <a:pt x="1092" y="1254"/>
                  </a:lnTo>
                  <a:lnTo>
                    <a:pt x="1089" y="1256"/>
                  </a:lnTo>
                  <a:lnTo>
                    <a:pt x="1089" y="1256"/>
                  </a:lnTo>
                  <a:lnTo>
                    <a:pt x="1089" y="1259"/>
                  </a:lnTo>
                  <a:lnTo>
                    <a:pt x="1089" y="1256"/>
                  </a:lnTo>
                  <a:lnTo>
                    <a:pt x="1089" y="1256"/>
                  </a:lnTo>
                  <a:lnTo>
                    <a:pt x="1089" y="1261"/>
                  </a:lnTo>
                  <a:lnTo>
                    <a:pt x="1089" y="1261"/>
                  </a:lnTo>
                  <a:lnTo>
                    <a:pt x="1089" y="1263"/>
                  </a:lnTo>
                  <a:lnTo>
                    <a:pt x="1089" y="1263"/>
                  </a:lnTo>
                  <a:lnTo>
                    <a:pt x="1089" y="1263"/>
                  </a:lnTo>
                  <a:lnTo>
                    <a:pt x="1087" y="1263"/>
                  </a:lnTo>
                  <a:lnTo>
                    <a:pt x="1089" y="1266"/>
                  </a:lnTo>
                  <a:lnTo>
                    <a:pt x="1087" y="1266"/>
                  </a:lnTo>
                  <a:lnTo>
                    <a:pt x="1087" y="1266"/>
                  </a:lnTo>
                  <a:lnTo>
                    <a:pt x="1087" y="1266"/>
                  </a:lnTo>
                  <a:lnTo>
                    <a:pt x="1087" y="1268"/>
                  </a:lnTo>
                  <a:lnTo>
                    <a:pt x="1087" y="1268"/>
                  </a:lnTo>
                  <a:lnTo>
                    <a:pt x="1087" y="1268"/>
                  </a:lnTo>
                  <a:lnTo>
                    <a:pt x="1087" y="1268"/>
                  </a:lnTo>
                  <a:lnTo>
                    <a:pt x="1087" y="1270"/>
                  </a:lnTo>
                  <a:lnTo>
                    <a:pt x="1087" y="1270"/>
                  </a:lnTo>
                  <a:lnTo>
                    <a:pt x="1087" y="1270"/>
                  </a:lnTo>
                  <a:lnTo>
                    <a:pt x="1089" y="1270"/>
                  </a:lnTo>
                  <a:lnTo>
                    <a:pt x="1089" y="1270"/>
                  </a:lnTo>
                  <a:lnTo>
                    <a:pt x="1087" y="1273"/>
                  </a:lnTo>
                  <a:lnTo>
                    <a:pt x="1087" y="1273"/>
                  </a:lnTo>
                  <a:lnTo>
                    <a:pt x="1087" y="1273"/>
                  </a:lnTo>
                  <a:lnTo>
                    <a:pt x="1087" y="1273"/>
                  </a:lnTo>
                  <a:lnTo>
                    <a:pt x="1087" y="1273"/>
                  </a:lnTo>
                  <a:lnTo>
                    <a:pt x="1085" y="1273"/>
                  </a:lnTo>
                  <a:lnTo>
                    <a:pt x="1085" y="1273"/>
                  </a:lnTo>
                  <a:lnTo>
                    <a:pt x="1085" y="1273"/>
                  </a:lnTo>
                  <a:lnTo>
                    <a:pt x="1085" y="1273"/>
                  </a:lnTo>
                  <a:lnTo>
                    <a:pt x="1085" y="1275"/>
                  </a:lnTo>
                  <a:lnTo>
                    <a:pt x="1085" y="1275"/>
                  </a:lnTo>
                  <a:lnTo>
                    <a:pt x="1085" y="1275"/>
                  </a:lnTo>
                  <a:lnTo>
                    <a:pt x="1082" y="1275"/>
                  </a:lnTo>
                  <a:lnTo>
                    <a:pt x="1082" y="1275"/>
                  </a:lnTo>
                  <a:lnTo>
                    <a:pt x="1082" y="1275"/>
                  </a:lnTo>
                  <a:lnTo>
                    <a:pt x="1082" y="1275"/>
                  </a:lnTo>
                  <a:lnTo>
                    <a:pt x="1082" y="1275"/>
                  </a:lnTo>
                  <a:lnTo>
                    <a:pt x="1080" y="1278"/>
                  </a:lnTo>
                  <a:lnTo>
                    <a:pt x="1080" y="1278"/>
                  </a:lnTo>
                  <a:lnTo>
                    <a:pt x="1080" y="1280"/>
                  </a:lnTo>
                  <a:lnTo>
                    <a:pt x="1080" y="1282"/>
                  </a:lnTo>
                  <a:lnTo>
                    <a:pt x="1080" y="1282"/>
                  </a:lnTo>
                  <a:lnTo>
                    <a:pt x="1080" y="1282"/>
                  </a:lnTo>
                  <a:lnTo>
                    <a:pt x="1077" y="1282"/>
                  </a:lnTo>
                  <a:lnTo>
                    <a:pt x="1077" y="1285"/>
                  </a:lnTo>
                  <a:lnTo>
                    <a:pt x="1075" y="1285"/>
                  </a:lnTo>
                  <a:lnTo>
                    <a:pt x="1075" y="1285"/>
                  </a:lnTo>
                  <a:lnTo>
                    <a:pt x="1075" y="1287"/>
                  </a:lnTo>
                  <a:lnTo>
                    <a:pt x="1075" y="1289"/>
                  </a:lnTo>
                  <a:lnTo>
                    <a:pt x="1075" y="1289"/>
                  </a:lnTo>
                  <a:lnTo>
                    <a:pt x="1075" y="1292"/>
                  </a:lnTo>
                  <a:lnTo>
                    <a:pt x="1073" y="1292"/>
                  </a:lnTo>
                  <a:lnTo>
                    <a:pt x="1073" y="1294"/>
                  </a:lnTo>
                  <a:lnTo>
                    <a:pt x="1073" y="1294"/>
                  </a:lnTo>
                  <a:lnTo>
                    <a:pt x="1073" y="1296"/>
                  </a:lnTo>
                  <a:lnTo>
                    <a:pt x="1070" y="1296"/>
                  </a:lnTo>
                  <a:lnTo>
                    <a:pt x="1070" y="1299"/>
                  </a:lnTo>
                  <a:lnTo>
                    <a:pt x="1070" y="1299"/>
                  </a:lnTo>
                  <a:lnTo>
                    <a:pt x="1070" y="1301"/>
                  </a:lnTo>
                  <a:lnTo>
                    <a:pt x="1068" y="1301"/>
                  </a:lnTo>
                  <a:lnTo>
                    <a:pt x="1068" y="1301"/>
                  </a:lnTo>
                  <a:lnTo>
                    <a:pt x="1068" y="1303"/>
                  </a:lnTo>
                  <a:lnTo>
                    <a:pt x="1068" y="1301"/>
                  </a:lnTo>
                  <a:lnTo>
                    <a:pt x="1068" y="1303"/>
                  </a:lnTo>
                  <a:lnTo>
                    <a:pt x="1070" y="1303"/>
                  </a:lnTo>
                  <a:lnTo>
                    <a:pt x="1068" y="1303"/>
                  </a:lnTo>
                  <a:lnTo>
                    <a:pt x="1068" y="1306"/>
                  </a:lnTo>
                  <a:lnTo>
                    <a:pt x="1068" y="1306"/>
                  </a:lnTo>
                  <a:lnTo>
                    <a:pt x="1070" y="1306"/>
                  </a:lnTo>
                  <a:lnTo>
                    <a:pt x="1070" y="1306"/>
                  </a:lnTo>
                  <a:lnTo>
                    <a:pt x="1070" y="1308"/>
                  </a:lnTo>
                  <a:lnTo>
                    <a:pt x="1070" y="1308"/>
                  </a:lnTo>
                  <a:lnTo>
                    <a:pt x="1070" y="1308"/>
                  </a:lnTo>
                  <a:lnTo>
                    <a:pt x="1070" y="1308"/>
                  </a:lnTo>
                  <a:lnTo>
                    <a:pt x="1070" y="1308"/>
                  </a:lnTo>
                  <a:lnTo>
                    <a:pt x="1070" y="1311"/>
                  </a:lnTo>
                  <a:lnTo>
                    <a:pt x="1070" y="1311"/>
                  </a:lnTo>
                  <a:lnTo>
                    <a:pt x="1070" y="1311"/>
                  </a:lnTo>
                  <a:lnTo>
                    <a:pt x="1070" y="1311"/>
                  </a:lnTo>
                  <a:lnTo>
                    <a:pt x="1070" y="1311"/>
                  </a:lnTo>
                  <a:lnTo>
                    <a:pt x="1070" y="1313"/>
                  </a:lnTo>
                  <a:lnTo>
                    <a:pt x="1070" y="1313"/>
                  </a:lnTo>
                  <a:lnTo>
                    <a:pt x="1070" y="1313"/>
                  </a:lnTo>
                  <a:lnTo>
                    <a:pt x="1070" y="1313"/>
                  </a:lnTo>
                  <a:lnTo>
                    <a:pt x="1068" y="1315"/>
                  </a:lnTo>
                  <a:lnTo>
                    <a:pt x="1070" y="1315"/>
                  </a:lnTo>
                  <a:lnTo>
                    <a:pt x="1070" y="1315"/>
                  </a:lnTo>
                  <a:lnTo>
                    <a:pt x="1068" y="1315"/>
                  </a:lnTo>
                  <a:lnTo>
                    <a:pt x="1068" y="1315"/>
                  </a:lnTo>
                  <a:lnTo>
                    <a:pt x="1068" y="1315"/>
                  </a:lnTo>
                  <a:lnTo>
                    <a:pt x="1068" y="1318"/>
                  </a:lnTo>
                  <a:lnTo>
                    <a:pt x="1066" y="1318"/>
                  </a:lnTo>
                  <a:lnTo>
                    <a:pt x="1066" y="1318"/>
                  </a:lnTo>
                  <a:lnTo>
                    <a:pt x="1066" y="1320"/>
                  </a:lnTo>
                  <a:lnTo>
                    <a:pt x="1066" y="1320"/>
                  </a:lnTo>
                  <a:lnTo>
                    <a:pt x="1066" y="1320"/>
                  </a:lnTo>
                  <a:lnTo>
                    <a:pt x="1066" y="1322"/>
                  </a:lnTo>
                  <a:lnTo>
                    <a:pt x="1066" y="1322"/>
                  </a:lnTo>
                  <a:lnTo>
                    <a:pt x="1066" y="1325"/>
                  </a:lnTo>
                  <a:lnTo>
                    <a:pt x="1066" y="1322"/>
                  </a:lnTo>
                  <a:lnTo>
                    <a:pt x="1066" y="1325"/>
                  </a:lnTo>
                  <a:lnTo>
                    <a:pt x="1066" y="1325"/>
                  </a:lnTo>
                  <a:lnTo>
                    <a:pt x="1066" y="1327"/>
                  </a:lnTo>
                  <a:lnTo>
                    <a:pt x="1066" y="1327"/>
                  </a:lnTo>
                  <a:lnTo>
                    <a:pt x="1066" y="1329"/>
                  </a:lnTo>
                  <a:lnTo>
                    <a:pt x="1066" y="1329"/>
                  </a:lnTo>
                  <a:lnTo>
                    <a:pt x="1066" y="1329"/>
                  </a:lnTo>
                  <a:lnTo>
                    <a:pt x="1063" y="1332"/>
                  </a:lnTo>
                  <a:lnTo>
                    <a:pt x="1063" y="1332"/>
                  </a:lnTo>
                  <a:lnTo>
                    <a:pt x="1066" y="1332"/>
                  </a:lnTo>
                  <a:lnTo>
                    <a:pt x="1063" y="1332"/>
                  </a:lnTo>
                  <a:lnTo>
                    <a:pt x="1063" y="1334"/>
                  </a:lnTo>
                  <a:lnTo>
                    <a:pt x="1066" y="1334"/>
                  </a:lnTo>
                  <a:lnTo>
                    <a:pt x="1063" y="1337"/>
                  </a:lnTo>
                  <a:lnTo>
                    <a:pt x="1066" y="1337"/>
                  </a:lnTo>
                  <a:lnTo>
                    <a:pt x="1066" y="1337"/>
                  </a:lnTo>
                  <a:lnTo>
                    <a:pt x="1066" y="1339"/>
                  </a:lnTo>
                  <a:lnTo>
                    <a:pt x="1066" y="1339"/>
                  </a:lnTo>
                  <a:lnTo>
                    <a:pt x="1066" y="1339"/>
                  </a:lnTo>
                  <a:lnTo>
                    <a:pt x="1066" y="1341"/>
                  </a:lnTo>
                  <a:lnTo>
                    <a:pt x="1063" y="1341"/>
                  </a:lnTo>
                  <a:lnTo>
                    <a:pt x="1063" y="1344"/>
                  </a:lnTo>
                  <a:lnTo>
                    <a:pt x="1063" y="1344"/>
                  </a:lnTo>
                  <a:lnTo>
                    <a:pt x="1063" y="1344"/>
                  </a:lnTo>
                  <a:lnTo>
                    <a:pt x="1063" y="1344"/>
                  </a:lnTo>
                  <a:lnTo>
                    <a:pt x="1063" y="1346"/>
                  </a:lnTo>
                  <a:lnTo>
                    <a:pt x="1063" y="1348"/>
                  </a:lnTo>
                  <a:lnTo>
                    <a:pt x="1063" y="1348"/>
                  </a:lnTo>
                  <a:lnTo>
                    <a:pt x="1066" y="1348"/>
                  </a:lnTo>
                  <a:lnTo>
                    <a:pt x="1063" y="1351"/>
                  </a:lnTo>
                  <a:lnTo>
                    <a:pt x="1066" y="1351"/>
                  </a:lnTo>
                  <a:lnTo>
                    <a:pt x="1066" y="1353"/>
                  </a:lnTo>
                  <a:lnTo>
                    <a:pt x="1063" y="1353"/>
                  </a:lnTo>
                  <a:lnTo>
                    <a:pt x="1066" y="1353"/>
                  </a:lnTo>
                  <a:lnTo>
                    <a:pt x="1066" y="1353"/>
                  </a:lnTo>
                  <a:lnTo>
                    <a:pt x="1066" y="1355"/>
                  </a:lnTo>
                  <a:lnTo>
                    <a:pt x="1066" y="1355"/>
                  </a:lnTo>
                  <a:lnTo>
                    <a:pt x="1068" y="1358"/>
                  </a:lnTo>
                  <a:lnTo>
                    <a:pt x="1068" y="1355"/>
                  </a:lnTo>
                  <a:lnTo>
                    <a:pt x="1068" y="1358"/>
                  </a:lnTo>
                  <a:lnTo>
                    <a:pt x="1070" y="1358"/>
                  </a:lnTo>
                  <a:lnTo>
                    <a:pt x="1070" y="1358"/>
                  </a:lnTo>
                  <a:lnTo>
                    <a:pt x="1070" y="1360"/>
                  </a:lnTo>
                  <a:lnTo>
                    <a:pt x="1073" y="1360"/>
                  </a:lnTo>
                  <a:lnTo>
                    <a:pt x="1073" y="1360"/>
                  </a:lnTo>
                  <a:lnTo>
                    <a:pt x="1073" y="1363"/>
                  </a:lnTo>
                  <a:lnTo>
                    <a:pt x="1075" y="1363"/>
                  </a:lnTo>
                  <a:lnTo>
                    <a:pt x="1073" y="1363"/>
                  </a:lnTo>
                  <a:lnTo>
                    <a:pt x="1075" y="1365"/>
                  </a:lnTo>
                  <a:lnTo>
                    <a:pt x="1075" y="1365"/>
                  </a:lnTo>
                  <a:lnTo>
                    <a:pt x="1075" y="1367"/>
                  </a:lnTo>
                  <a:lnTo>
                    <a:pt x="1077" y="1370"/>
                  </a:lnTo>
                  <a:lnTo>
                    <a:pt x="1077" y="1370"/>
                  </a:lnTo>
                  <a:lnTo>
                    <a:pt x="1077" y="1372"/>
                  </a:lnTo>
                  <a:lnTo>
                    <a:pt x="1077" y="1377"/>
                  </a:lnTo>
                  <a:lnTo>
                    <a:pt x="1077" y="1377"/>
                  </a:lnTo>
                  <a:lnTo>
                    <a:pt x="1080" y="1379"/>
                  </a:lnTo>
                  <a:lnTo>
                    <a:pt x="1080" y="1379"/>
                  </a:lnTo>
                  <a:lnTo>
                    <a:pt x="1080" y="1379"/>
                  </a:lnTo>
                  <a:lnTo>
                    <a:pt x="1080" y="1381"/>
                  </a:lnTo>
                  <a:lnTo>
                    <a:pt x="1082" y="1384"/>
                  </a:lnTo>
                  <a:lnTo>
                    <a:pt x="1085" y="1389"/>
                  </a:lnTo>
                  <a:lnTo>
                    <a:pt x="1085" y="1389"/>
                  </a:lnTo>
                  <a:lnTo>
                    <a:pt x="1087" y="1391"/>
                  </a:lnTo>
                  <a:lnTo>
                    <a:pt x="1087" y="1398"/>
                  </a:lnTo>
                  <a:lnTo>
                    <a:pt x="1073" y="1398"/>
                  </a:lnTo>
                  <a:lnTo>
                    <a:pt x="1070" y="1398"/>
                  </a:lnTo>
                  <a:lnTo>
                    <a:pt x="1070" y="1396"/>
                  </a:lnTo>
                  <a:lnTo>
                    <a:pt x="1070" y="1396"/>
                  </a:lnTo>
                  <a:lnTo>
                    <a:pt x="1068" y="1396"/>
                  </a:lnTo>
                  <a:lnTo>
                    <a:pt x="1066" y="1393"/>
                  </a:lnTo>
                  <a:lnTo>
                    <a:pt x="1066" y="1393"/>
                  </a:lnTo>
                  <a:lnTo>
                    <a:pt x="1063" y="1393"/>
                  </a:lnTo>
                  <a:lnTo>
                    <a:pt x="1056" y="1393"/>
                  </a:lnTo>
                  <a:lnTo>
                    <a:pt x="1054" y="1393"/>
                  </a:lnTo>
                  <a:lnTo>
                    <a:pt x="1054" y="1393"/>
                  </a:lnTo>
                  <a:lnTo>
                    <a:pt x="1052" y="1393"/>
                  </a:lnTo>
                  <a:lnTo>
                    <a:pt x="1049" y="1393"/>
                  </a:lnTo>
                  <a:lnTo>
                    <a:pt x="1047" y="1393"/>
                  </a:lnTo>
                  <a:lnTo>
                    <a:pt x="1044" y="1393"/>
                  </a:lnTo>
                  <a:lnTo>
                    <a:pt x="1044" y="1393"/>
                  </a:lnTo>
                  <a:lnTo>
                    <a:pt x="1044" y="1391"/>
                  </a:lnTo>
                  <a:lnTo>
                    <a:pt x="1042" y="1393"/>
                  </a:lnTo>
                  <a:lnTo>
                    <a:pt x="1042" y="1391"/>
                  </a:lnTo>
                  <a:lnTo>
                    <a:pt x="1042" y="1391"/>
                  </a:lnTo>
                  <a:lnTo>
                    <a:pt x="1040" y="1391"/>
                  </a:lnTo>
                  <a:lnTo>
                    <a:pt x="1040" y="1391"/>
                  </a:lnTo>
                  <a:lnTo>
                    <a:pt x="1040" y="1391"/>
                  </a:lnTo>
                  <a:lnTo>
                    <a:pt x="1040" y="1391"/>
                  </a:lnTo>
                  <a:lnTo>
                    <a:pt x="1040" y="1391"/>
                  </a:lnTo>
                  <a:lnTo>
                    <a:pt x="1040" y="1393"/>
                  </a:lnTo>
                  <a:lnTo>
                    <a:pt x="1037" y="1391"/>
                  </a:lnTo>
                  <a:lnTo>
                    <a:pt x="1037" y="1393"/>
                  </a:lnTo>
                  <a:lnTo>
                    <a:pt x="1037" y="1393"/>
                  </a:lnTo>
                  <a:lnTo>
                    <a:pt x="1037" y="1396"/>
                  </a:lnTo>
                  <a:lnTo>
                    <a:pt x="1037" y="1396"/>
                  </a:lnTo>
                  <a:lnTo>
                    <a:pt x="1035" y="1398"/>
                  </a:lnTo>
                  <a:lnTo>
                    <a:pt x="1035" y="1398"/>
                  </a:lnTo>
                  <a:lnTo>
                    <a:pt x="1035" y="1398"/>
                  </a:lnTo>
                  <a:lnTo>
                    <a:pt x="1033" y="1398"/>
                  </a:lnTo>
                  <a:lnTo>
                    <a:pt x="1030" y="1398"/>
                  </a:lnTo>
                  <a:lnTo>
                    <a:pt x="1030" y="1398"/>
                  </a:lnTo>
                  <a:lnTo>
                    <a:pt x="1030" y="1396"/>
                  </a:lnTo>
                  <a:lnTo>
                    <a:pt x="1028" y="1396"/>
                  </a:lnTo>
                  <a:lnTo>
                    <a:pt x="1026" y="1396"/>
                  </a:lnTo>
                  <a:lnTo>
                    <a:pt x="1026" y="1396"/>
                  </a:lnTo>
                  <a:lnTo>
                    <a:pt x="1026" y="1393"/>
                  </a:lnTo>
                  <a:lnTo>
                    <a:pt x="1023" y="1393"/>
                  </a:lnTo>
                  <a:lnTo>
                    <a:pt x="1023" y="1393"/>
                  </a:lnTo>
                  <a:lnTo>
                    <a:pt x="1021" y="1393"/>
                  </a:lnTo>
                  <a:lnTo>
                    <a:pt x="1021" y="1393"/>
                  </a:lnTo>
                  <a:lnTo>
                    <a:pt x="1018" y="1393"/>
                  </a:lnTo>
                  <a:lnTo>
                    <a:pt x="1018" y="1391"/>
                  </a:lnTo>
                  <a:lnTo>
                    <a:pt x="1018" y="1391"/>
                  </a:lnTo>
                  <a:lnTo>
                    <a:pt x="1016" y="1391"/>
                  </a:lnTo>
                  <a:lnTo>
                    <a:pt x="1016" y="1391"/>
                  </a:lnTo>
                  <a:lnTo>
                    <a:pt x="1016" y="1391"/>
                  </a:lnTo>
                  <a:lnTo>
                    <a:pt x="1011" y="1391"/>
                  </a:lnTo>
                  <a:lnTo>
                    <a:pt x="1011" y="1391"/>
                  </a:lnTo>
                  <a:lnTo>
                    <a:pt x="1009" y="1391"/>
                  </a:lnTo>
                  <a:lnTo>
                    <a:pt x="1009" y="1393"/>
                  </a:lnTo>
                  <a:lnTo>
                    <a:pt x="1009" y="1393"/>
                  </a:lnTo>
                  <a:lnTo>
                    <a:pt x="1007" y="1396"/>
                  </a:lnTo>
                  <a:lnTo>
                    <a:pt x="1007" y="1393"/>
                  </a:lnTo>
                  <a:lnTo>
                    <a:pt x="1004" y="1393"/>
                  </a:lnTo>
                  <a:lnTo>
                    <a:pt x="1004" y="1393"/>
                  </a:lnTo>
                  <a:lnTo>
                    <a:pt x="1004" y="1393"/>
                  </a:lnTo>
                  <a:lnTo>
                    <a:pt x="1002" y="1393"/>
                  </a:lnTo>
                  <a:lnTo>
                    <a:pt x="1002" y="1393"/>
                  </a:lnTo>
                  <a:lnTo>
                    <a:pt x="1002" y="1393"/>
                  </a:lnTo>
                  <a:lnTo>
                    <a:pt x="997" y="1393"/>
                  </a:lnTo>
                  <a:lnTo>
                    <a:pt x="997" y="1393"/>
                  </a:lnTo>
                  <a:lnTo>
                    <a:pt x="995" y="1391"/>
                  </a:lnTo>
                  <a:lnTo>
                    <a:pt x="995" y="1391"/>
                  </a:lnTo>
                  <a:lnTo>
                    <a:pt x="995" y="1391"/>
                  </a:lnTo>
                  <a:lnTo>
                    <a:pt x="995" y="1391"/>
                  </a:lnTo>
                  <a:lnTo>
                    <a:pt x="995" y="1391"/>
                  </a:lnTo>
                  <a:lnTo>
                    <a:pt x="992" y="1391"/>
                  </a:lnTo>
                  <a:lnTo>
                    <a:pt x="992" y="1389"/>
                  </a:lnTo>
                  <a:lnTo>
                    <a:pt x="992" y="1389"/>
                  </a:lnTo>
                  <a:lnTo>
                    <a:pt x="992" y="1389"/>
                  </a:lnTo>
                  <a:lnTo>
                    <a:pt x="992" y="1389"/>
                  </a:lnTo>
                  <a:lnTo>
                    <a:pt x="992" y="1389"/>
                  </a:lnTo>
                  <a:lnTo>
                    <a:pt x="990" y="1389"/>
                  </a:lnTo>
                  <a:lnTo>
                    <a:pt x="990" y="1389"/>
                  </a:lnTo>
                  <a:lnTo>
                    <a:pt x="990" y="1386"/>
                  </a:lnTo>
                  <a:lnTo>
                    <a:pt x="990" y="1386"/>
                  </a:lnTo>
                  <a:lnTo>
                    <a:pt x="990" y="1386"/>
                  </a:lnTo>
                  <a:lnTo>
                    <a:pt x="990" y="1384"/>
                  </a:lnTo>
                  <a:lnTo>
                    <a:pt x="988" y="1384"/>
                  </a:lnTo>
                  <a:lnTo>
                    <a:pt x="988" y="1384"/>
                  </a:lnTo>
                  <a:lnTo>
                    <a:pt x="988" y="1384"/>
                  </a:lnTo>
                  <a:lnTo>
                    <a:pt x="988" y="1384"/>
                  </a:lnTo>
                  <a:lnTo>
                    <a:pt x="988" y="1384"/>
                  </a:lnTo>
                  <a:lnTo>
                    <a:pt x="985" y="1384"/>
                  </a:lnTo>
                  <a:lnTo>
                    <a:pt x="985" y="1381"/>
                  </a:lnTo>
                  <a:lnTo>
                    <a:pt x="983" y="1381"/>
                  </a:lnTo>
                  <a:lnTo>
                    <a:pt x="985" y="1384"/>
                  </a:lnTo>
                  <a:lnTo>
                    <a:pt x="983" y="1384"/>
                  </a:lnTo>
                  <a:lnTo>
                    <a:pt x="983" y="1381"/>
                  </a:lnTo>
                  <a:lnTo>
                    <a:pt x="981" y="1381"/>
                  </a:lnTo>
                  <a:lnTo>
                    <a:pt x="981" y="1381"/>
                  </a:lnTo>
                  <a:lnTo>
                    <a:pt x="981" y="1381"/>
                  </a:lnTo>
                  <a:lnTo>
                    <a:pt x="981" y="1381"/>
                  </a:lnTo>
                  <a:lnTo>
                    <a:pt x="978" y="1381"/>
                  </a:lnTo>
                  <a:lnTo>
                    <a:pt x="978" y="1381"/>
                  </a:lnTo>
                  <a:lnTo>
                    <a:pt x="976" y="1381"/>
                  </a:lnTo>
                  <a:lnTo>
                    <a:pt x="976" y="1381"/>
                  </a:lnTo>
                  <a:lnTo>
                    <a:pt x="976" y="1384"/>
                  </a:lnTo>
                  <a:lnTo>
                    <a:pt x="974" y="1381"/>
                  </a:lnTo>
                  <a:lnTo>
                    <a:pt x="976" y="1381"/>
                  </a:lnTo>
                  <a:lnTo>
                    <a:pt x="974" y="1381"/>
                  </a:lnTo>
                  <a:lnTo>
                    <a:pt x="976" y="1379"/>
                  </a:lnTo>
                  <a:lnTo>
                    <a:pt x="974" y="1379"/>
                  </a:lnTo>
                  <a:lnTo>
                    <a:pt x="974" y="1377"/>
                  </a:lnTo>
                  <a:lnTo>
                    <a:pt x="974" y="1377"/>
                  </a:lnTo>
                  <a:lnTo>
                    <a:pt x="976" y="1374"/>
                  </a:lnTo>
                  <a:lnTo>
                    <a:pt x="976" y="1374"/>
                  </a:lnTo>
                  <a:lnTo>
                    <a:pt x="976" y="1372"/>
                  </a:lnTo>
                  <a:lnTo>
                    <a:pt x="981" y="1367"/>
                  </a:lnTo>
                  <a:lnTo>
                    <a:pt x="981" y="1365"/>
                  </a:lnTo>
                  <a:lnTo>
                    <a:pt x="981" y="1365"/>
                  </a:lnTo>
                  <a:lnTo>
                    <a:pt x="981" y="1363"/>
                  </a:lnTo>
                  <a:lnTo>
                    <a:pt x="983" y="1360"/>
                  </a:lnTo>
                  <a:lnTo>
                    <a:pt x="983" y="1358"/>
                  </a:lnTo>
                  <a:lnTo>
                    <a:pt x="983" y="1358"/>
                  </a:lnTo>
                  <a:lnTo>
                    <a:pt x="985" y="1358"/>
                  </a:lnTo>
                  <a:lnTo>
                    <a:pt x="988" y="1355"/>
                  </a:lnTo>
                  <a:lnTo>
                    <a:pt x="988" y="1353"/>
                  </a:lnTo>
                  <a:lnTo>
                    <a:pt x="988" y="1353"/>
                  </a:lnTo>
                  <a:lnTo>
                    <a:pt x="992" y="1351"/>
                  </a:lnTo>
                  <a:lnTo>
                    <a:pt x="992" y="1351"/>
                  </a:lnTo>
                  <a:lnTo>
                    <a:pt x="995" y="1351"/>
                  </a:lnTo>
                  <a:lnTo>
                    <a:pt x="997" y="1351"/>
                  </a:lnTo>
                  <a:lnTo>
                    <a:pt x="997" y="1351"/>
                  </a:lnTo>
                  <a:lnTo>
                    <a:pt x="1000" y="1351"/>
                  </a:lnTo>
                  <a:lnTo>
                    <a:pt x="1000" y="1351"/>
                  </a:lnTo>
                  <a:lnTo>
                    <a:pt x="1002" y="1348"/>
                  </a:lnTo>
                  <a:lnTo>
                    <a:pt x="1004" y="1348"/>
                  </a:lnTo>
                  <a:lnTo>
                    <a:pt x="1007" y="1348"/>
                  </a:lnTo>
                  <a:lnTo>
                    <a:pt x="1007" y="1348"/>
                  </a:lnTo>
                  <a:lnTo>
                    <a:pt x="1009" y="1296"/>
                  </a:lnTo>
                  <a:lnTo>
                    <a:pt x="1007" y="1294"/>
                  </a:lnTo>
                  <a:lnTo>
                    <a:pt x="1007" y="1292"/>
                  </a:lnTo>
                  <a:lnTo>
                    <a:pt x="1007" y="1292"/>
                  </a:lnTo>
                  <a:lnTo>
                    <a:pt x="1002" y="1292"/>
                  </a:lnTo>
                  <a:lnTo>
                    <a:pt x="1000" y="1294"/>
                  </a:lnTo>
                  <a:lnTo>
                    <a:pt x="1000" y="1294"/>
                  </a:lnTo>
                  <a:lnTo>
                    <a:pt x="1000" y="1294"/>
                  </a:lnTo>
                  <a:lnTo>
                    <a:pt x="1000" y="1296"/>
                  </a:lnTo>
                  <a:lnTo>
                    <a:pt x="997" y="1296"/>
                  </a:lnTo>
                  <a:lnTo>
                    <a:pt x="997" y="1299"/>
                  </a:lnTo>
                  <a:lnTo>
                    <a:pt x="992" y="1299"/>
                  </a:lnTo>
                  <a:lnTo>
                    <a:pt x="992" y="1301"/>
                  </a:lnTo>
                  <a:lnTo>
                    <a:pt x="990" y="1303"/>
                  </a:lnTo>
                  <a:lnTo>
                    <a:pt x="990" y="1303"/>
                  </a:lnTo>
                  <a:lnTo>
                    <a:pt x="990" y="1306"/>
                  </a:lnTo>
                  <a:lnTo>
                    <a:pt x="990" y="1308"/>
                  </a:lnTo>
                  <a:lnTo>
                    <a:pt x="985" y="1311"/>
                  </a:lnTo>
                  <a:lnTo>
                    <a:pt x="983" y="1311"/>
                  </a:lnTo>
                  <a:lnTo>
                    <a:pt x="983" y="1313"/>
                  </a:lnTo>
                  <a:lnTo>
                    <a:pt x="981" y="1318"/>
                  </a:lnTo>
                  <a:lnTo>
                    <a:pt x="978" y="1318"/>
                  </a:lnTo>
                  <a:lnTo>
                    <a:pt x="978" y="1318"/>
                  </a:lnTo>
                  <a:lnTo>
                    <a:pt x="978" y="1320"/>
                  </a:lnTo>
                  <a:lnTo>
                    <a:pt x="976" y="1320"/>
                  </a:lnTo>
                  <a:lnTo>
                    <a:pt x="974" y="1322"/>
                  </a:lnTo>
                  <a:lnTo>
                    <a:pt x="971" y="1322"/>
                  </a:lnTo>
                  <a:lnTo>
                    <a:pt x="971" y="1325"/>
                  </a:lnTo>
                  <a:lnTo>
                    <a:pt x="971" y="1325"/>
                  </a:lnTo>
                  <a:lnTo>
                    <a:pt x="971" y="1325"/>
                  </a:lnTo>
                  <a:lnTo>
                    <a:pt x="969" y="1325"/>
                  </a:lnTo>
                  <a:lnTo>
                    <a:pt x="969" y="1325"/>
                  </a:lnTo>
                  <a:lnTo>
                    <a:pt x="964" y="1325"/>
                  </a:lnTo>
                  <a:lnTo>
                    <a:pt x="964" y="1327"/>
                  </a:lnTo>
                  <a:lnTo>
                    <a:pt x="964" y="1327"/>
                  </a:lnTo>
                  <a:lnTo>
                    <a:pt x="962" y="1327"/>
                  </a:lnTo>
                  <a:lnTo>
                    <a:pt x="962" y="1329"/>
                  </a:lnTo>
                  <a:lnTo>
                    <a:pt x="962" y="1327"/>
                  </a:lnTo>
                  <a:lnTo>
                    <a:pt x="962" y="1329"/>
                  </a:lnTo>
                  <a:lnTo>
                    <a:pt x="962" y="1329"/>
                  </a:lnTo>
                  <a:lnTo>
                    <a:pt x="962" y="1332"/>
                  </a:lnTo>
                  <a:lnTo>
                    <a:pt x="962" y="1332"/>
                  </a:lnTo>
                  <a:lnTo>
                    <a:pt x="962" y="1332"/>
                  </a:lnTo>
                  <a:lnTo>
                    <a:pt x="962" y="1334"/>
                  </a:lnTo>
                  <a:lnTo>
                    <a:pt x="962" y="1337"/>
                  </a:lnTo>
                  <a:lnTo>
                    <a:pt x="962" y="1337"/>
                  </a:lnTo>
                  <a:lnTo>
                    <a:pt x="959" y="1339"/>
                  </a:lnTo>
                  <a:lnTo>
                    <a:pt x="959" y="1339"/>
                  </a:lnTo>
                  <a:lnTo>
                    <a:pt x="957" y="1341"/>
                  </a:lnTo>
                  <a:lnTo>
                    <a:pt x="959" y="1344"/>
                  </a:lnTo>
                  <a:lnTo>
                    <a:pt x="957" y="1344"/>
                  </a:lnTo>
                  <a:lnTo>
                    <a:pt x="957" y="1344"/>
                  </a:lnTo>
                  <a:lnTo>
                    <a:pt x="955" y="1344"/>
                  </a:lnTo>
                  <a:lnTo>
                    <a:pt x="955" y="1344"/>
                  </a:lnTo>
                  <a:lnTo>
                    <a:pt x="955" y="1344"/>
                  </a:lnTo>
                  <a:lnTo>
                    <a:pt x="955" y="1344"/>
                  </a:lnTo>
                  <a:lnTo>
                    <a:pt x="952" y="1344"/>
                  </a:lnTo>
                  <a:lnTo>
                    <a:pt x="952" y="1344"/>
                  </a:lnTo>
                  <a:lnTo>
                    <a:pt x="950" y="1341"/>
                  </a:lnTo>
                  <a:lnTo>
                    <a:pt x="950" y="1344"/>
                  </a:lnTo>
                  <a:lnTo>
                    <a:pt x="948" y="1341"/>
                  </a:lnTo>
                  <a:lnTo>
                    <a:pt x="948" y="1341"/>
                  </a:lnTo>
                  <a:lnTo>
                    <a:pt x="945" y="1341"/>
                  </a:lnTo>
                  <a:lnTo>
                    <a:pt x="945" y="1341"/>
                  </a:lnTo>
                  <a:lnTo>
                    <a:pt x="943" y="1344"/>
                  </a:lnTo>
                  <a:lnTo>
                    <a:pt x="943" y="1344"/>
                  </a:lnTo>
                  <a:lnTo>
                    <a:pt x="943" y="1344"/>
                  </a:lnTo>
                  <a:lnTo>
                    <a:pt x="940" y="1344"/>
                  </a:lnTo>
                  <a:lnTo>
                    <a:pt x="938" y="1344"/>
                  </a:lnTo>
                  <a:lnTo>
                    <a:pt x="938" y="1344"/>
                  </a:lnTo>
                  <a:lnTo>
                    <a:pt x="936" y="1346"/>
                  </a:lnTo>
                  <a:lnTo>
                    <a:pt x="936" y="1346"/>
                  </a:lnTo>
                  <a:lnTo>
                    <a:pt x="933" y="1348"/>
                  </a:lnTo>
                  <a:lnTo>
                    <a:pt x="933" y="1348"/>
                  </a:lnTo>
                  <a:lnTo>
                    <a:pt x="931" y="1348"/>
                  </a:lnTo>
                  <a:lnTo>
                    <a:pt x="931" y="1348"/>
                  </a:lnTo>
                  <a:lnTo>
                    <a:pt x="929" y="1348"/>
                  </a:lnTo>
                  <a:lnTo>
                    <a:pt x="929" y="1348"/>
                  </a:lnTo>
                  <a:lnTo>
                    <a:pt x="926" y="1348"/>
                  </a:lnTo>
                  <a:lnTo>
                    <a:pt x="926" y="1348"/>
                  </a:lnTo>
                  <a:lnTo>
                    <a:pt x="924" y="1348"/>
                  </a:lnTo>
                  <a:lnTo>
                    <a:pt x="924" y="1348"/>
                  </a:lnTo>
                  <a:lnTo>
                    <a:pt x="924" y="1346"/>
                  </a:lnTo>
                  <a:lnTo>
                    <a:pt x="924" y="1348"/>
                  </a:lnTo>
                  <a:lnTo>
                    <a:pt x="922" y="1346"/>
                  </a:lnTo>
                  <a:lnTo>
                    <a:pt x="919" y="1346"/>
                  </a:lnTo>
                  <a:lnTo>
                    <a:pt x="919" y="1344"/>
                  </a:lnTo>
                  <a:lnTo>
                    <a:pt x="922" y="1341"/>
                  </a:lnTo>
                  <a:lnTo>
                    <a:pt x="919" y="1341"/>
                  </a:lnTo>
                  <a:lnTo>
                    <a:pt x="919" y="1341"/>
                  </a:lnTo>
                  <a:lnTo>
                    <a:pt x="919" y="1341"/>
                  </a:lnTo>
                  <a:lnTo>
                    <a:pt x="919" y="1339"/>
                  </a:lnTo>
                  <a:lnTo>
                    <a:pt x="919" y="1339"/>
                  </a:lnTo>
                  <a:lnTo>
                    <a:pt x="919" y="1337"/>
                  </a:lnTo>
                  <a:lnTo>
                    <a:pt x="919" y="1339"/>
                  </a:lnTo>
                  <a:lnTo>
                    <a:pt x="919" y="1337"/>
                  </a:lnTo>
                  <a:lnTo>
                    <a:pt x="919" y="1337"/>
                  </a:lnTo>
                  <a:lnTo>
                    <a:pt x="917" y="1337"/>
                  </a:lnTo>
                  <a:lnTo>
                    <a:pt x="917" y="1334"/>
                  </a:lnTo>
                  <a:lnTo>
                    <a:pt x="917" y="1334"/>
                  </a:lnTo>
                  <a:lnTo>
                    <a:pt x="917" y="1334"/>
                  </a:lnTo>
                  <a:lnTo>
                    <a:pt x="914" y="1332"/>
                  </a:lnTo>
                  <a:lnTo>
                    <a:pt x="914" y="1334"/>
                  </a:lnTo>
                  <a:lnTo>
                    <a:pt x="914" y="1332"/>
                  </a:lnTo>
                  <a:lnTo>
                    <a:pt x="910" y="1332"/>
                  </a:lnTo>
                  <a:lnTo>
                    <a:pt x="907" y="1329"/>
                  </a:lnTo>
                  <a:lnTo>
                    <a:pt x="907" y="1329"/>
                  </a:lnTo>
                  <a:lnTo>
                    <a:pt x="907" y="1329"/>
                  </a:lnTo>
                  <a:lnTo>
                    <a:pt x="907" y="1327"/>
                  </a:lnTo>
                  <a:lnTo>
                    <a:pt x="907" y="1327"/>
                  </a:lnTo>
                  <a:lnTo>
                    <a:pt x="907" y="1327"/>
                  </a:lnTo>
                  <a:lnTo>
                    <a:pt x="907" y="1327"/>
                  </a:lnTo>
                  <a:lnTo>
                    <a:pt x="905" y="1325"/>
                  </a:lnTo>
                  <a:lnTo>
                    <a:pt x="903" y="1325"/>
                  </a:lnTo>
                  <a:lnTo>
                    <a:pt x="900" y="1325"/>
                  </a:lnTo>
                  <a:lnTo>
                    <a:pt x="900" y="1325"/>
                  </a:lnTo>
                  <a:lnTo>
                    <a:pt x="898" y="1327"/>
                  </a:lnTo>
                  <a:lnTo>
                    <a:pt x="898" y="1325"/>
                  </a:lnTo>
                  <a:lnTo>
                    <a:pt x="896" y="1325"/>
                  </a:lnTo>
                  <a:lnTo>
                    <a:pt x="896" y="1325"/>
                  </a:lnTo>
                  <a:lnTo>
                    <a:pt x="896" y="1325"/>
                  </a:lnTo>
                  <a:lnTo>
                    <a:pt x="893" y="1325"/>
                  </a:lnTo>
                  <a:lnTo>
                    <a:pt x="891" y="1327"/>
                  </a:lnTo>
                  <a:lnTo>
                    <a:pt x="889" y="1327"/>
                  </a:lnTo>
                  <a:lnTo>
                    <a:pt x="886" y="1327"/>
                  </a:lnTo>
                  <a:lnTo>
                    <a:pt x="886" y="1327"/>
                  </a:lnTo>
                  <a:lnTo>
                    <a:pt x="884" y="1327"/>
                  </a:lnTo>
                  <a:lnTo>
                    <a:pt x="881" y="1327"/>
                  </a:lnTo>
                  <a:lnTo>
                    <a:pt x="881" y="1329"/>
                  </a:lnTo>
                  <a:lnTo>
                    <a:pt x="881" y="1327"/>
                  </a:lnTo>
                  <a:lnTo>
                    <a:pt x="879" y="1327"/>
                  </a:lnTo>
                  <a:lnTo>
                    <a:pt x="879" y="1329"/>
                  </a:lnTo>
                  <a:lnTo>
                    <a:pt x="879" y="1329"/>
                  </a:lnTo>
                  <a:lnTo>
                    <a:pt x="877" y="1329"/>
                  </a:lnTo>
                  <a:lnTo>
                    <a:pt x="877" y="1329"/>
                  </a:lnTo>
                  <a:lnTo>
                    <a:pt x="874" y="1329"/>
                  </a:lnTo>
                  <a:lnTo>
                    <a:pt x="872" y="1332"/>
                  </a:lnTo>
                  <a:lnTo>
                    <a:pt x="872" y="1334"/>
                  </a:lnTo>
                  <a:lnTo>
                    <a:pt x="872" y="1334"/>
                  </a:lnTo>
                  <a:lnTo>
                    <a:pt x="872" y="1334"/>
                  </a:lnTo>
                  <a:lnTo>
                    <a:pt x="872" y="1337"/>
                  </a:lnTo>
                  <a:lnTo>
                    <a:pt x="872" y="1337"/>
                  </a:lnTo>
                  <a:lnTo>
                    <a:pt x="872" y="1337"/>
                  </a:lnTo>
                  <a:lnTo>
                    <a:pt x="870" y="1337"/>
                  </a:lnTo>
                  <a:lnTo>
                    <a:pt x="867" y="1339"/>
                  </a:lnTo>
                  <a:lnTo>
                    <a:pt x="867" y="1339"/>
                  </a:lnTo>
                  <a:lnTo>
                    <a:pt x="865" y="1339"/>
                  </a:lnTo>
                  <a:lnTo>
                    <a:pt x="865" y="1339"/>
                  </a:lnTo>
                  <a:lnTo>
                    <a:pt x="865" y="1341"/>
                  </a:lnTo>
                  <a:lnTo>
                    <a:pt x="865" y="1341"/>
                  </a:lnTo>
                  <a:lnTo>
                    <a:pt x="863" y="1344"/>
                  </a:lnTo>
                  <a:lnTo>
                    <a:pt x="860" y="1344"/>
                  </a:lnTo>
                  <a:lnTo>
                    <a:pt x="860" y="1344"/>
                  </a:lnTo>
                  <a:lnTo>
                    <a:pt x="855" y="1344"/>
                  </a:lnTo>
                  <a:lnTo>
                    <a:pt x="855" y="1344"/>
                  </a:lnTo>
                  <a:lnTo>
                    <a:pt x="853" y="1341"/>
                  </a:lnTo>
                  <a:lnTo>
                    <a:pt x="853" y="1341"/>
                  </a:lnTo>
                  <a:lnTo>
                    <a:pt x="848" y="1341"/>
                  </a:lnTo>
                  <a:lnTo>
                    <a:pt x="848" y="1344"/>
                  </a:lnTo>
                  <a:lnTo>
                    <a:pt x="846" y="1344"/>
                  </a:lnTo>
                  <a:lnTo>
                    <a:pt x="846" y="1344"/>
                  </a:lnTo>
                  <a:lnTo>
                    <a:pt x="846" y="1344"/>
                  </a:lnTo>
                  <a:lnTo>
                    <a:pt x="844" y="1344"/>
                  </a:lnTo>
                  <a:lnTo>
                    <a:pt x="844" y="1344"/>
                  </a:lnTo>
                  <a:lnTo>
                    <a:pt x="844" y="1346"/>
                  </a:lnTo>
                  <a:lnTo>
                    <a:pt x="844" y="1346"/>
                  </a:lnTo>
                  <a:lnTo>
                    <a:pt x="841" y="1346"/>
                  </a:lnTo>
                  <a:lnTo>
                    <a:pt x="841" y="1344"/>
                  </a:lnTo>
                  <a:lnTo>
                    <a:pt x="841" y="1346"/>
                  </a:lnTo>
                  <a:lnTo>
                    <a:pt x="839" y="1344"/>
                  </a:lnTo>
                  <a:lnTo>
                    <a:pt x="839" y="1346"/>
                  </a:lnTo>
                  <a:lnTo>
                    <a:pt x="839" y="1346"/>
                  </a:lnTo>
                  <a:lnTo>
                    <a:pt x="839" y="1346"/>
                  </a:lnTo>
                  <a:lnTo>
                    <a:pt x="839" y="1346"/>
                  </a:lnTo>
                  <a:lnTo>
                    <a:pt x="837" y="1346"/>
                  </a:lnTo>
                  <a:lnTo>
                    <a:pt x="837" y="1346"/>
                  </a:lnTo>
                  <a:lnTo>
                    <a:pt x="837" y="1346"/>
                  </a:lnTo>
                  <a:lnTo>
                    <a:pt x="837" y="1346"/>
                  </a:lnTo>
                  <a:lnTo>
                    <a:pt x="834" y="1346"/>
                  </a:lnTo>
                  <a:lnTo>
                    <a:pt x="834" y="1346"/>
                  </a:lnTo>
                  <a:lnTo>
                    <a:pt x="834" y="1346"/>
                  </a:lnTo>
                  <a:lnTo>
                    <a:pt x="832" y="1346"/>
                  </a:lnTo>
                  <a:lnTo>
                    <a:pt x="832" y="1344"/>
                  </a:lnTo>
                  <a:lnTo>
                    <a:pt x="832" y="1346"/>
                  </a:lnTo>
                  <a:lnTo>
                    <a:pt x="832" y="1344"/>
                  </a:lnTo>
                  <a:lnTo>
                    <a:pt x="829" y="1346"/>
                  </a:lnTo>
                  <a:lnTo>
                    <a:pt x="829" y="1344"/>
                  </a:lnTo>
                  <a:lnTo>
                    <a:pt x="829" y="1346"/>
                  </a:lnTo>
                  <a:lnTo>
                    <a:pt x="827" y="1344"/>
                  </a:lnTo>
                  <a:lnTo>
                    <a:pt x="827" y="1346"/>
                  </a:lnTo>
                  <a:lnTo>
                    <a:pt x="825" y="1348"/>
                  </a:lnTo>
                  <a:lnTo>
                    <a:pt x="825" y="1346"/>
                  </a:lnTo>
                  <a:lnTo>
                    <a:pt x="825" y="1346"/>
                  </a:lnTo>
                  <a:lnTo>
                    <a:pt x="822" y="1346"/>
                  </a:lnTo>
                  <a:lnTo>
                    <a:pt x="822" y="1346"/>
                  </a:lnTo>
                  <a:lnTo>
                    <a:pt x="820" y="1346"/>
                  </a:lnTo>
                  <a:lnTo>
                    <a:pt x="820" y="1346"/>
                  </a:lnTo>
                  <a:lnTo>
                    <a:pt x="820" y="1346"/>
                  </a:lnTo>
                  <a:lnTo>
                    <a:pt x="820" y="1346"/>
                  </a:lnTo>
                  <a:lnTo>
                    <a:pt x="820" y="1346"/>
                  </a:lnTo>
                  <a:lnTo>
                    <a:pt x="820" y="1344"/>
                  </a:lnTo>
                  <a:lnTo>
                    <a:pt x="818" y="1344"/>
                  </a:lnTo>
                  <a:lnTo>
                    <a:pt x="818" y="1344"/>
                  </a:lnTo>
                  <a:lnTo>
                    <a:pt x="818" y="1344"/>
                  </a:lnTo>
                  <a:lnTo>
                    <a:pt x="815" y="1344"/>
                  </a:lnTo>
                  <a:lnTo>
                    <a:pt x="815" y="1344"/>
                  </a:lnTo>
                  <a:lnTo>
                    <a:pt x="813" y="1344"/>
                  </a:lnTo>
                  <a:lnTo>
                    <a:pt x="813" y="1341"/>
                  </a:lnTo>
                  <a:lnTo>
                    <a:pt x="815" y="1344"/>
                  </a:lnTo>
                  <a:lnTo>
                    <a:pt x="815" y="1341"/>
                  </a:lnTo>
                  <a:lnTo>
                    <a:pt x="813" y="1341"/>
                  </a:lnTo>
                  <a:lnTo>
                    <a:pt x="813" y="1339"/>
                  </a:lnTo>
                  <a:lnTo>
                    <a:pt x="813" y="1339"/>
                  </a:lnTo>
                  <a:lnTo>
                    <a:pt x="813" y="1341"/>
                  </a:lnTo>
                  <a:lnTo>
                    <a:pt x="811" y="1339"/>
                  </a:lnTo>
                  <a:lnTo>
                    <a:pt x="811" y="1341"/>
                  </a:lnTo>
                  <a:lnTo>
                    <a:pt x="811" y="1339"/>
                  </a:lnTo>
                  <a:lnTo>
                    <a:pt x="811" y="1339"/>
                  </a:lnTo>
                  <a:lnTo>
                    <a:pt x="811" y="1339"/>
                  </a:lnTo>
                  <a:lnTo>
                    <a:pt x="811" y="1339"/>
                  </a:lnTo>
                  <a:lnTo>
                    <a:pt x="808" y="1339"/>
                  </a:lnTo>
                  <a:lnTo>
                    <a:pt x="808" y="1337"/>
                  </a:lnTo>
                  <a:lnTo>
                    <a:pt x="808" y="1337"/>
                  </a:lnTo>
                  <a:lnTo>
                    <a:pt x="808" y="1337"/>
                  </a:lnTo>
                  <a:lnTo>
                    <a:pt x="808" y="1337"/>
                  </a:lnTo>
                  <a:lnTo>
                    <a:pt x="808" y="1334"/>
                  </a:lnTo>
                  <a:lnTo>
                    <a:pt x="808" y="1337"/>
                  </a:lnTo>
                  <a:lnTo>
                    <a:pt x="806" y="1337"/>
                  </a:lnTo>
                  <a:lnTo>
                    <a:pt x="806" y="1337"/>
                  </a:lnTo>
                  <a:lnTo>
                    <a:pt x="806" y="1334"/>
                  </a:lnTo>
                  <a:lnTo>
                    <a:pt x="806" y="1337"/>
                  </a:lnTo>
                  <a:lnTo>
                    <a:pt x="806" y="1334"/>
                  </a:lnTo>
                  <a:lnTo>
                    <a:pt x="803" y="1334"/>
                  </a:lnTo>
                  <a:lnTo>
                    <a:pt x="806" y="1334"/>
                  </a:lnTo>
                  <a:lnTo>
                    <a:pt x="803" y="1334"/>
                  </a:lnTo>
                  <a:lnTo>
                    <a:pt x="801" y="1334"/>
                  </a:lnTo>
                  <a:lnTo>
                    <a:pt x="801" y="1334"/>
                  </a:lnTo>
                  <a:lnTo>
                    <a:pt x="799" y="1334"/>
                  </a:lnTo>
                  <a:lnTo>
                    <a:pt x="801" y="1334"/>
                  </a:lnTo>
                  <a:lnTo>
                    <a:pt x="801" y="1334"/>
                  </a:lnTo>
                  <a:lnTo>
                    <a:pt x="799" y="1334"/>
                  </a:lnTo>
                  <a:lnTo>
                    <a:pt x="799" y="1334"/>
                  </a:lnTo>
                  <a:lnTo>
                    <a:pt x="799" y="1334"/>
                  </a:lnTo>
                  <a:lnTo>
                    <a:pt x="796" y="1334"/>
                  </a:lnTo>
                  <a:lnTo>
                    <a:pt x="796" y="1332"/>
                  </a:lnTo>
                  <a:lnTo>
                    <a:pt x="796" y="1332"/>
                  </a:lnTo>
                  <a:lnTo>
                    <a:pt x="794" y="1329"/>
                  </a:lnTo>
                  <a:lnTo>
                    <a:pt x="794" y="1329"/>
                  </a:lnTo>
                  <a:lnTo>
                    <a:pt x="792" y="1329"/>
                  </a:lnTo>
                  <a:lnTo>
                    <a:pt x="792" y="1329"/>
                  </a:lnTo>
                  <a:lnTo>
                    <a:pt x="792" y="1329"/>
                  </a:lnTo>
                  <a:lnTo>
                    <a:pt x="789" y="1329"/>
                  </a:lnTo>
                  <a:lnTo>
                    <a:pt x="789" y="1329"/>
                  </a:lnTo>
                  <a:lnTo>
                    <a:pt x="787" y="1329"/>
                  </a:lnTo>
                  <a:lnTo>
                    <a:pt x="787" y="1329"/>
                  </a:lnTo>
                  <a:lnTo>
                    <a:pt x="785" y="1329"/>
                  </a:lnTo>
                  <a:lnTo>
                    <a:pt x="785" y="1329"/>
                  </a:lnTo>
                  <a:lnTo>
                    <a:pt x="785" y="1327"/>
                  </a:lnTo>
                  <a:lnTo>
                    <a:pt x="782" y="1327"/>
                  </a:lnTo>
                  <a:lnTo>
                    <a:pt x="782" y="1327"/>
                  </a:lnTo>
                  <a:lnTo>
                    <a:pt x="782" y="1325"/>
                  </a:lnTo>
                  <a:lnTo>
                    <a:pt x="780" y="1325"/>
                  </a:lnTo>
                  <a:lnTo>
                    <a:pt x="780" y="1325"/>
                  </a:lnTo>
                  <a:lnTo>
                    <a:pt x="780" y="1325"/>
                  </a:lnTo>
                  <a:lnTo>
                    <a:pt x="777" y="1327"/>
                  </a:lnTo>
                  <a:lnTo>
                    <a:pt x="777" y="1325"/>
                  </a:lnTo>
                  <a:lnTo>
                    <a:pt x="777" y="1327"/>
                  </a:lnTo>
                  <a:lnTo>
                    <a:pt x="777" y="1325"/>
                  </a:lnTo>
                  <a:lnTo>
                    <a:pt x="777" y="1325"/>
                  </a:lnTo>
                  <a:lnTo>
                    <a:pt x="775" y="1325"/>
                  </a:lnTo>
                  <a:lnTo>
                    <a:pt x="775" y="1325"/>
                  </a:lnTo>
                  <a:lnTo>
                    <a:pt x="773" y="1325"/>
                  </a:lnTo>
                  <a:lnTo>
                    <a:pt x="773" y="1322"/>
                  </a:lnTo>
                  <a:lnTo>
                    <a:pt x="773" y="1322"/>
                  </a:lnTo>
                  <a:lnTo>
                    <a:pt x="770" y="1320"/>
                  </a:lnTo>
                  <a:lnTo>
                    <a:pt x="773" y="1320"/>
                  </a:lnTo>
                  <a:lnTo>
                    <a:pt x="770" y="1320"/>
                  </a:lnTo>
                  <a:lnTo>
                    <a:pt x="770" y="1320"/>
                  </a:lnTo>
                  <a:lnTo>
                    <a:pt x="770" y="1320"/>
                  </a:lnTo>
                  <a:lnTo>
                    <a:pt x="768" y="1320"/>
                  </a:lnTo>
                  <a:lnTo>
                    <a:pt x="768" y="1318"/>
                  </a:lnTo>
                  <a:lnTo>
                    <a:pt x="768" y="1318"/>
                  </a:lnTo>
                  <a:lnTo>
                    <a:pt x="768" y="1318"/>
                  </a:lnTo>
                  <a:lnTo>
                    <a:pt x="768" y="1318"/>
                  </a:lnTo>
                  <a:lnTo>
                    <a:pt x="768" y="1318"/>
                  </a:lnTo>
                  <a:lnTo>
                    <a:pt x="768" y="1315"/>
                  </a:lnTo>
                  <a:lnTo>
                    <a:pt x="768" y="1315"/>
                  </a:lnTo>
                  <a:lnTo>
                    <a:pt x="768" y="1315"/>
                  </a:lnTo>
                  <a:lnTo>
                    <a:pt x="768" y="1315"/>
                  </a:lnTo>
                  <a:lnTo>
                    <a:pt x="768" y="1313"/>
                  </a:lnTo>
                  <a:lnTo>
                    <a:pt x="768" y="1311"/>
                  </a:lnTo>
                  <a:lnTo>
                    <a:pt x="768" y="1311"/>
                  </a:lnTo>
                  <a:lnTo>
                    <a:pt x="768" y="1311"/>
                  </a:lnTo>
                  <a:lnTo>
                    <a:pt x="766" y="1311"/>
                  </a:lnTo>
                  <a:lnTo>
                    <a:pt x="766" y="1311"/>
                  </a:lnTo>
                  <a:lnTo>
                    <a:pt x="763" y="1308"/>
                  </a:lnTo>
                  <a:lnTo>
                    <a:pt x="763" y="1311"/>
                  </a:lnTo>
                  <a:lnTo>
                    <a:pt x="763" y="1311"/>
                  </a:lnTo>
                  <a:lnTo>
                    <a:pt x="761" y="1308"/>
                  </a:lnTo>
                  <a:lnTo>
                    <a:pt x="761" y="1306"/>
                  </a:lnTo>
                  <a:lnTo>
                    <a:pt x="761" y="1308"/>
                  </a:lnTo>
                  <a:lnTo>
                    <a:pt x="761" y="1308"/>
                  </a:lnTo>
                  <a:lnTo>
                    <a:pt x="761" y="1308"/>
                  </a:lnTo>
                  <a:lnTo>
                    <a:pt x="759" y="1308"/>
                  </a:lnTo>
                  <a:lnTo>
                    <a:pt x="759" y="1308"/>
                  </a:lnTo>
                  <a:lnTo>
                    <a:pt x="759" y="1306"/>
                  </a:lnTo>
                  <a:lnTo>
                    <a:pt x="756" y="1308"/>
                  </a:lnTo>
                  <a:lnTo>
                    <a:pt x="756" y="1306"/>
                  </a:lnTo>
                  <a:lnTo>
                    <a:pt x="754" y="1308"/>
                  </a:lnTo>
                  <a:lnTo>
                    <a:pt x="754" y="1306"/>
                  </a:lnTo>
                  <a:lnTo>
                    <a:pt x="751" y="1308"/>
                  </a:lnTo>
                  <a:lnTo>
                    <a:pt x="751" y="1306"/>
                  </a:lnTo>
                  <a:lnTo>
                    <a:pt x="749" y="1308"/>
                  </a:lnTo>
                  <a:lnTo>
                    <a:pt x="749" y="1306"/>
                  </a:lnTo>
                  <a:lnTo>
                    <a:pt x="749" y="1306"/>
                  </a:lnTo>
                  <a:lnTo>
                    <a:pt x="747" y="1306"/>
                  </a:lnTo>
                  <a:lnTo>
                    <a:pt x="747" y="1306"/>
                  </a:lnTo>
                  <a:lnTo>
                    <a:pt x="744" y="1306"/>
                  </a:lnTo>
                  <a:lnTo>
                    <a:pt x="744" y="1306"/>
                  </a:lnTo>
                  <a:lnTo>
                    <a:pt x="744" y="1306"/>
                  </a:lnTo>
                  <a:lnTo>
                    <a:pt x="742" y="1303"/>
                  </a:lnTo>
                  <a:lnTo>
                    <a:pt x="742" y="1306"/>
                  </a:lnTo>
                  <a:lnTo>
                    <a:pt x="742" y="1306"/>
                  </a:lnTo>
                  <a:lnTo>
                    <a:pt x="740" y="1303"/>
                  </a:lnTo>
                  <a:lnTo>
                    <a:pt x="740" y="1301"/>
                  </a:lnTo>
                  <a:lnTo>
                    <a:pt x="740" y="1301"/>
                  </a:lnTo>
                  <a:lnTo>
                    <a:pt x="737" y="1301"/>
                  </a:lnTo>
                  <a:lnTo>
                    <a:pt x="737" y="1301"/>
                  </a:lnTo>
                  <a:lnTo>
                    <a:pt x="735" y="1301"/>
                  </a:lnTo>
                  <a:lnTo>
                    <a:pt x="737" y="1301"/>
                  </a:lnTo>
                  <a:lnTo>
                    <a:pt x="735" y="1301"/>
                  </a:lnTo>
                  <a:lnTo>
                    <a:pt x="735" y="1301"/>
                  </a:lnTo>
                  <a:lnTo>
                    <a:pt x="735" y="1301"/>
                  </a:lnTo>
                  <a:lnTo>
                    <a:pt x="733" y="1299"/>
                  </a:lnTo>
                  <a:lnTo>
                    <a:pt x="733" y="1299"/>
                  </a:lnTo>
                  <a:lnTo>
                    <a:pt x="730" y="1296"/>
                  </a:lnTo>
                  <a:lnTo>
                    <a:pt x="730" y="1299"/>
                  </a:lnTo>
                  <a:lnTo>
                    <a:pt x="730" y="1299"/>
                  </a:lnTo>
                  <a:lnTo>
                    <a:pt x="730" y="1299"/>
                  </a:lnTo>
                  <a:lnTo>
                    <a:pt x="728" y="1299"/>
                  </a:lnTo>
                  <a:lnTo>
                    <a:pt x="730" y="1299"/>
                  </a:lnTo>
                  <a:lnTo>
                    <a:pt x="728" y="1299"/>
                  </a:lnTo>
                  <a:lnTo>
                    <a:pt x="728" y="1299"/>
                  </a:lnTo>
                  <a:lnTo>
                    <a:pt x="728" y="1299"/>
                  </a:lnTo>
                  <a:lnTo>
                    <a:pt x="730" y="1296"/>
                  </a:lnTo>
                  <a:lnTo>
                    <a:pt x="726" y="1296"/>
                  </a:lnTo>
                  <a:lnTo>
                    <a:pt x="723" y="1296"/>
                  </a:lnTo>
                  <a:lnTo>
                    <a:pt x="723" y="1296"/>
                  </a:lnTo>
                  <a:lnTo>
                    <a:pt x="723" y="1299"/>
                  </a:lnTo>
                  <a:lnTo>
                    <a:pt x="723" y="1299"/>
                  </a:lnTo>
                  <a:lnTo>
                    <a:pt x="721" y="1296"/>
                  </a:lnTo>
                  <a:lnTo>
                    <a:pt x="721" y="1296"/>
                  </a:lnTo>
                  <a:lnTo>
                    <a:pt x="721" y="1296"/>
                  </a:lnTo>
                  <a:lnTo>
                    <a:pt x="718" y="1296"/>
                  </a:lnTo>
                  <a:lnTo>
                    <a:pt x="718" y="1296"/>
                  </a:lnTo>
                  <a:lnTo>
                    <a:pt x="716" y="1294"/>
                  </a:lnTo>
                  <a:lnTo>
                    <a:pt x="716" y="1296"/>
                  </a:lnTo>
                  <a:lnTo>
                    <a:pt x="716" y="1294"/>
                  </a:lnTo>
                  <a:lnTo>
                    <a:pt x="716" y="1294"/>
                  </a:lnTo>
                  <a:lnTo>
                    <a:pt x="714" y="1294"/>
                  </a:lnTo>
                  <a:lnTo>
                    <a:pt x="714" y="1292"/>
                  </a:lnTo>
                  <a:lnTo>
                    <a:pt x="714" y="1294"/>
                  </a:lnTo>
                  <a:lnTo>
                    <a:pt x="714" y="1292"/>
                  </a:lnTo>
                  <a:lnTo>
                    <a:pt x="714" y="1289"/>
                  </a:lnTo>
                  <a:lnTo>
                    <a:pt x="714" y="1292"/>
                  </a:lnTo>
                  <a:lnTo>
                    <a:pt x="714" y="1289"/>
                  </a:lnTo>
                  <a:lnTo>
                    <a:pt x="714" y="1289"/>
                  </a:lnTo>
                  <a:lnTo>
                    <a:pt x="714" y="1287"/>
                  </a:lnTo>
                  <a:lnTo>
                    <a:pt x="711" y="1287"/>
                  </a:lnTo>
                  <a:lnTo>
                    <a:pt x="709" y="1285"/>
                  </a:lnTo>
                  <a:lnTo>
                    <a:pt x="709" y="1285"/>
                  </a:lnTo>
                  <a:lnTo>
                    <a:pt x="709" y="1287"/>
                  </a:lnTo>
                  <a:lnTo>
                    <a:pt x="709" y="1287"/>
                  </a:lnTo>
                  <a:lnTo>
                    <a:pt x="707" y="1285"/>
                  </a:lnTo>
                  <a:lnTo>
                    <a:pt x="707" y="1285"/>
                  </a:lnTo>
                  <a:lnTo>
                    <a:pt x="707" y="1285"/>
                  </a:lnTo>
                  <a:lnTo>
                    <a:pt x="704" y="1285"/>
                  </a:lnTo>
                  <a:lnTo>
                    <a:pt x="702" y="1285"/>
                  </a:lnTo>
                  <a:lnTo>
                    <a:pt x="700" y="1285"/>
                  </a:lnTo>
                  <a:lnTo>
                    <a:pt x="700" y="1285"/>
                  </a:lnTo>
                  <a:lnTo>
                    <a:pt x="700" y="1285"/>
                  </a:lnTo>
                  <a:lnTo>
                    <a:pt x="697" y="1285"/>
                  </a:lnTo>
                  <a:lnTo>
                    <a:pt x="697" y="1285"/>
                  </a:lnTo>
                  <a:lnTo>
                    <a:pt x="697" y="1287"/>
                  </a:lnTo>
                  <a:lnTo>
                    <a:pt x="697" y="1287"/>
                  </a:lnTo>
                  <a:lnTo>
                    <a:pt x="697" y="1287"/>
                  </a:lnTo>
                  <a:lnTo>
                    <a:pt x="695" y="1287"/>
                  </a:lnTo>
                  <a:lnTo>
                    <a:pt x="695" y="1287"/>
                  </a:lnTo>
                  <a:lnTo>
                    <a:pt x="692" y="1287"/>
                  </a:lnTo>
                  <a:lnTo>
                    <a:pt x="692" y="1287"/>
                  </a:lnTo>
                  <a:lnTo>
                    <a:pt x="690" y="1287"/>
                  </a:lnTo>
                  <a:lnTo>
                    <a:pt x="690" y="1289"/>
                  </a:lnTo>
                  <a:lnTo>
                    <a:pt x="690" y="1289"/>
                  </a:lnTo>
                  <a:lnTo>
                    <a:pt x="688" y="1289"/>
                  </a:lnTo>
                  <a:lnTo>
                    <a:pt x="688" y="1289"/>
                  </a:lnTo>
                  <a:lnTo>
                    <a:pt x="688" y="1292"/>
                  </a:lnTo>
                  <a:lnTo>
                    <a:pt x="688" y="1292"/>
                  </a:lnTo>
                  <a:lnTo>
                    <a:pt x="688" y="1292"/>
                  </a:lnTo>
                  <a:lnTo>
                    <a:pt x="685" y="1292"/>
                  </a:lnTo>
                  <a:lnTo>
                    <a:pt x="685" y="1292"/>
                  </a:lnTo>
                  <a:lnTo>
                    <a:pt x="683" y="1292"/>
                  </a:lnTo>
                  <a:lnTo>
                    <a:pt x="683" y="1292"/>
                  </a:lnTo>
                  <a:lnTo>
                    <a:pt x="681" y="1292"/>
                  </a:lnTo>
                  <a:lnTo>
                    <a:pt x="681" y="1292"/>
                  </a:lnTo>
                  <a:lnTo>
                    <a:pt x="683" y="1294"/>
                  </a:lnTo>
                  <a:lnTo>
                    <a:pt x="681" y="1294"/>
                  </a:lnTo>
                  <a:lnTo>
                    <a:pt x="681" y="1294"/>
                  </a:lnTo>
                  <a:lnTo>
                    <a:pt x="681" y="1294"/>
                  </a:lnTo>
                  <a:lnTo>
                    <a:pt x="678" y="1294"/>
                  </a:lnTo>
                  <a:lnTo>
                    <a:pt x="678" y="1294"/>
                  </a:lnTo>
                  <a:lnTo>
                    <a:pt x="678" y="1296"/>
                  </a:lnTo>
                  <a:lnTo>
                    <a:pt x="678" y="1296"/>
                  </a:lnTo>
                  <a:lnTo>
                    <a:pt x="678" y="1299"/>
                  </a:lnTo>
                  <a:lnTo>
                    <a:pt x="678" y="1299"/>
                  </a:lnTo>
                  <a:lnTo>
                    <a:pt x="676" y="1299"/>
                  </a:lnTo>
                  <a:lnTo>
                    <a:pt x="676" y="1299"/>
                  </a:lnTo>
                  <a:lnTo>
                    <a:pt x="676" y="1299"/>
                  </a:lnTo>
                  <a:lnTo>
                    <a:pt x="674" y="1299"/>
                  </a:lnTo>
                  <a:lnTo>
                    <a:pt x="674" y="1299"/>
                  </a:lnTo>
                  <a:lnTo>
                    <a:pt x="671" y="1299"/>
                  </a:lnTo>
                  <a:lnTo>
                    <a:pt x="671" y="1301"/>
                  </a:lnTo>
                  <a:lnTo>
                    <a:pt x="671" y="1299"/>
                  </a:lnTo>
                  <a:lnTo>
                    <a:pt x="671" y="1299"/>
                  </a:lnTo>
                  <a:lnTo>
                    <a:pt x="671" y="1299"/>
                  </a:lnTo>
                  <a:lnTo>
                    <a:pt x="671" y="1299"/>
                  </a:lnTo>
                  <a:lnTo>
                    <a:pt x="669" y="1296"/>
                  </a:lnTo>
                  <a:lnTo>
                    <a:pt x="669" y="1299"/>
                  </a:lnTo>
                  <a:lnTo>
                    <a:pt x="669" y="1299"/>
                  </a:lnTo>
                  <a:lnTo>
                    <a:pt x="669" y="1299"/>
                  </a:lnTo>
                  <a:lnTo>
                    <a:pt x="666" y="1299"/>
                  </a:lnTo>
                  <a:lnTo>
                    <a:pt x="666" y="1301"/>
                  </a:lnTo>
                  <a:lnTo>
                    <a:pt x="666" y="1301"/>
                  </a:lnTo>
                  <a:lnTo>
                    <a:pt x="664" y="1301"/>
                  </a:lnTo>
                  <a:lnTo>
                    <a:pt x="662" y="1303"/>
                  </a:lnTo>
                  <a:lnTo>
                    <a:pt x="662" y="1303"/>
                  </a:lnTo>
                  <a:lnTo>
                    <a:pt x="659" y="1303"/>
                  </a:lnTo>
                  <a:lnTo>
                    <a:pt x="659" y="1306"/>
                  </a:lnTo>
                  <a:lnTo>
                    <a:pt x="657" y="1306"/>
                  </a:lnTo>
                  <a:lnTo>
                    <a:pt x="657" y="1303"/>
                  </a:lnTo>
                  <a:lnTo>
                    <a:pt x="657" y="1303"/>
                  </a:lnTo>
                  <a:lnTo>
                    <a:pt x="657" y="1301"/>
                  </a:lnTo>
                  <a:lnTo>
                    <a:pt x="655" y="1301"/>
                  </a:lnTo>
                  <a:lnTo>
                    <a:pt x="655" y="1303"/>
                  </a:lnTo>
                  <a:lnTo>
                    <a:pt x="652" y="1301"/>
                  </a:lnTo>
                  <a:lnTo>
                    <a:pt x="652" y="1301"/>
                  </a:lnTo>
                  <a:lnTo>
                    <a:pt x="652" y="1299"/>
                  </a:lnTo>
                  <a:lnTo>
                    <a:pt x="650" y="1301"/>
                  </a:lnTo>
                  <a:lnTo>
                    <a:pt x="650" y="1301"/>
                  </a:lnTo>
                  <a:lnTo>
                    <a:pt x="650" y="1301"/>
                  </a:lnTo>
                  <a:lnTo>
                    <a:pt x="650" y="1301"/>
                  </a:lnTo>
                  <a:lnTo>
                    <a:pt x="650" y="1303"/>
                  </a:lnTo>
                  <a:lnTo>
                    <a:pt x="650" y="1303"/>
                  </a:lnTo>
                  <a:lnTo>
                    <a:pt x="648" y="1303"/>
                  </a:lnTo>
                  <a:lnTo>
                    <a:pt x="648" y="1303"/>
                  </a:lnTo>
                  <a:lnTo>
                    <a:pt x="645" y="1306"/>
                  </a:lnTo>
                  <a:lnTo>
                    <a:pt x="643" y="1303"/>
                  </a:lnTo>
                  <a:lnTo>
                    <a:pt x="640" y="1303"/>
                  </a:lnTo>
                  <a:lnTo>
                    <a:pt x="643" y="1306"/>
                  </a:lnTo>
                  <a:lnTo>
                    <a:pt x="640" y="1306"/>
                  </a:lnTo>
                  <a:lnTo>
                    <a:pt x="640" y="1306"/>
                  </a:lnTo>
                  <a:lnTo>
                    <a:pt x="638" y="1306"/>
                  </a:lnTo>
                  <a:lnTo>
                    <a:pt x="638" y="1306"/>
                  </a:lnTo>
                  <a:lnTo>
                    <a:pt x="638" y="1306"/>
                  </a:lnTo>
                  <a:lnTo>
                    <a:pt x="636" y="1306"/>
                  </a:lnTo>
                  <a:lnTo>
                    <a:pt x="636" y="1306"/>
                  </a:lnTo>
                  <a:lnTo>
                    <a:pt x="633" y="1306"/>
                  </a:lnTo>
                  <a:lnTo>
                    <a:pt x="633" y="1303"/>
                  </a:lnTo>
                  <a:lnTo>
                    <a:pt x="633" y="1306"/>
                  </a:lnTo>
                  <a:lnTo>
                    <a:pt x="633" y="1306"/>
                  </a:lnTo>
                  <a:lnTo>
                    <a:pt x="633" y="1306"/>
                  </a:lnTo>
                  <a:lnTo>
                    <a:pt x="631" y="1306"/>
                  </a:lnTo>
                  <a:lnTo>
                    <a:pt x="631" y="1306"/>
                  </a:lnTo>
                  <a:lnTo>
                    <a:pt x="631" y="1306"/>
                  </a:lnTo>
                  <a:lnTo>
                    <a:pt x="631" y="1306"/>
                  </a:lnTo>
                  <a:lnTo>
                    <a:pt x="629" y="1306"/>
                  </a:lnTo>
                  <a:lnTo>
                    <a:pt x="629" y="1306"/>
                  </a:lnTo>
                  <a:lnTo>
                    <a:pt x="629" y="1303"/>
                  </a:lnTo>
                  <a:lnTo>
                    <a:pt x="626" y="1306"/>
                  </a:lnTo>
                  <a:lnTo>
                    <a:pt x="626" y="1303"/>
                  </a:lnTo>
                  <a:lnTo>
                    <a:pt x="624" y="1303"/>
                  </a:lnTo>
                  <a:lnTo>
                    <a:pt x="624" y="1303"/>
                  </a:lnTo>
                  <a:lnTo>
                    <a:pt x="622" y="1303"/>
                  </a:lnTo>
                  <a:lnTo>
                    <a:pt x="622" y="1306"/>
                  </a:lnTo>
                  <a:lnTo>
                    <a:pt x="622" y="1306"/>
                  </a:lnTo>
                  <a:lnTo>
                    <a:pt x="619" y="1306"/>
                  </a:lnTo>
                  <a:lnTo>
                    <a:pt x="619" y="1306"/>
                  </a:lnTo>
                  <a:lnTo>
                    <a:pt x="617" y="1308"/>
                  </a:lnTo>
                  <a:lnTo>
                    <a:pt x="617" y="1308"/>
                  </a:lnTo>
                  <a:lnTo>
                    <a:pt x="617" y="1308"/>
                  </a:lnTo>
                  <a:lnTo>
                    <a:pt x="614" y="1311"/>
                  </a:lnTo>
                  <a:lnTo>
                    <a:pt x="614" y="1311"/>
                  </a:lnTo>
                  <a:lnTo>
                    <a:pt x="614" y="1313"/>
                  </a:lnTo>
                  <a:lnTo>
                    <a:pt x="614" y="1313"/>
                  </a:lnTo>
                  <a:lnTo>
                    <a:pt x="612" y="1313"/>
                  </a:lnTo>
                  <a:lnTo>
                    <a:pt x="610" y="1313"/>
                  </a:lnTo>
                  <a:lnTo>
                    <a:pt x="610" y="1315"/>
                  </a:lnTo>
                  <a:lnTo>
                    <a:pt x="607" y="1318"/>
                  </a:lnTo>
                  <a:lnTo>
                    <a:pt x="610" y="1318"/>
                  </a:lnTo>
                  <a:lnTo>
                    <a:pt x="610" y="1318"/>
                  </a:lnTo>
                  <a:lnTo>
                    <a:pt x="612" y="1318"/>
                  </a:lnTo>
                  <a:lnTo>
                    <a:pt x="610" y="1320"/>
                  </a:lnTo>
                  <a:lnTo>
                    <a:pt x="610" y="1320"/>
                  </a:lnTo>
                  <a:lnTo>
                    <a:pt x="607" y="1320"/>
                  </a:lnTo>
                  <a:lnTo>
                    <a:pt x="610" y="1320"/>
                  </a:lnTo>
                  <a:lnTo>
                    <a:pt x="610" y="1322"/>
                  </a:lnTo>
                  <a:lnTo>
                    <a:pt x="610" y="1322"/>
                  </a:lnTo>
                  <a:lnTo>
                    <a:pt x="607" y="1322"/>
                  </a:lnTo>
                  <a:lnTo>
                    <a:pt x="607" y="1325"/>
                  </a:lnTo>
                  <a:lnTo>
                    <a:pt x="607" y="1325"/>
                  </a:lnTo>
                  <a:lnTo>
                    <a:pt x="607" y="1327"/>
                  </a:lnTo>
                  <a:lnTo>
                    <a:pt x="605" y="1325"/>
                  </a:lnTo>
                  <a:lnTo>
                    <a:pt x="605" y="1327"/>
                  </a:lnTo>
                  <a:lnTo>
                    <a:pt x="605" y="1327"/>
                  </a:lnTo>
                  <a:lnTo>
                    <a:pt x="605" y="1329"/>
                  </a:lnTo>
                  <a:lnTo>
                    <a:pt x="605" y="1329"/>
                  </a:lnTo>
                  <a:lnTo>
                    <a:pt x="603" y="1332"/>
                  </a:lnTo>
                  <a:lnTo>
                    <a:pt x="603" y="1334"/>
                  </a:lnTo>
                  <a:lnTo>
                    <a:pt x="600" y="1332"/>
                  </a:lnTo>
                  <a:lnTo>
                    <a:pt x="598" y="1334"/>
                  </a:lnTo>
                  <a:lnTo>
                    <a:pt x="596" y="1334"/>
                  </a:lnTo>
                  <a:lnTo>
                    <a:pt x="593" y="1337"/>
                  </a:lnTo>
                  <a:lnTo>
                    <a:pt x="593" y="1337"/>
                  </a:lnTo>
                  <a:lnTo>
                    <a:pt x="591" y="1339"/>
                  </a:lnTo>
                  <a:lnTo>
                    <a:pt x="591" y="1339"/>
                  </a:lnTo>
                  <a:lnTo>
                    <a:pt x="591" y="1339"/>
                  </a:lnTo>
                  <a:lnTo>
                    <a:pt x="591" y="1341"/>
                  </a:lnTo>
                  <a:lnTo>
                    <a:pt x="591" y="1341"/>
                  </a:lnTo>
                  <a:lnTo>
                    <a:pt x="591" y="1344"/>
                  </a:lnTo>
                  <a:lnTo>
                    <a:pt x="593" y="1341"/>
                  </a:lnTo>
                  <a:lnTo>
                    <a:pt x="593" y="1344"/>
                  </a:lnTo>
                  <a:lnTo>
                    <a:pt x="591" y="1346"/>
                  </a:lnTo>
                  <a:lnTo>
                    <a:pt x="589" y="1348"/>
                  </a:lnTo>
                  <a:lnTo>
                    <a:pt x="589" y="1351"/>
                  </a:lnTo>
                  <a:lnTo>
                    <a:pt x="586" y="1351"/>
                  </a:lnTo>
                  <a:lnTo>
                    <a:pt x="586" y="1351"/>
                  </a:lnTo>
                  <a:lnTo>
                    <a:pt x="586" y="1353"/>
                  </a:lnTo>
                  <a:lnTo>
                    <a:pt x="586" y="1353"/>
                  </a:lnTo>
                  <a:lnTo>
                    <a:pt x="584" y="1353"/>
                  </a:lnTo>
                  <a:lnTo>
                    <a:pt x="584" y="1358"/>
                  </a:lnTo>
                  <a:lnTo>
                    <a:pt x="581" y="1358"/>
                  </a:lnTo>
                  <a:lnTo>
                    <a:pt x="581" y="1358"/>
                  </a:lnTo>
                  <a:lnTo>
                    <a:pt x="579" y="1358"/>
                  </a:lnTo>
                  <a:lnTo>
                    <a:pt x="579" y="1358"/>
                  </a:lnTo>
                  <a:lnTo>
                    <a:pt x="577" y="1360"/>
                  </a:lnTo>
                  <a:lnTo>
                    <a:pt x="577" y="1360"/>
                  </a:lnTo>
                  <a:lnTo>
                    <a:pt x="577" y="1363"/>
                  </a:lnTo>
                  <a:lnTo>
                    <a:pt x="574" y="1363"/>
                  </a:lnTo>
                  <a:lnTo>
                    <a:pt x="574" y="1365"/>
                  </a:lnTo>
                  <a:lnTo>
                    <a:pt x="570" y="1363"/>
                  </a:lnTo>
                  <a:lnTo>
                    <a:pt x="567" y="1365"/>
                  </a:lnTo>
                  <a:lnTo>
                    <a:pt x="565" y="1365"/>
                  </a:lnTo>
                  <a:lnTo>
                    <a:pt x="563" y="1365"/>
                  </a:lnTo>
                  <a:lnTo>
                    <a:pt x="560" y="1365"/>
                  </a:lnTo>
                  <a:lnTo>
                    <a:pt x="560" y="1365"/>
                  </a:lnTo>
                  <a:lnTo>
                    <a:pt x="560" y="1365"/>
                  </a:lnTo>
                  <a:lnTo>
                    <a:pt x="558" y="1365"/>
                  </a:lnTo>
                  <a:lnTo>
                    <a:pt x="558" y="1367"/>
                  </a:lnTo>
                  <a:lnTo>
                    <a:pt x="555" y="1365"/>
                  </a:lnTo>
                  <a:lnTo>
                    <a:pt x="558" y="1367"/>
                  </a:lnTo>
                  <a:lnTo>
                    <a:pt x="558" y="1367"/>
                  </a:lnTo>
                  <a:lnTo>
                    <a:pt x="558" y="1367"/>
                  </a:lnTo>
                  <a:lnTo>
                    <a:pt x="555" y="1367"/>
                  </a:lnTo>
                  <a:lnTo>
                    <a:pt x="555" y="1370"/>
                  </a:lnTo>
                  <a:lnTo>
                    <a:pt x="551" y="1367"/>
                  </a:lnTo>
                  <a:lnTo>
                    <a:pt x="551" y="1370"/>
                  </a:lnTo>
                  <a:lnTo>
                    <a:pt x="551" y="1370"/>
                  </a:lnTo>
                  <a:lnTo>
                    <a:pt x="551" y="1367"/>
                  </a:lnTo>
                  <a:lnTo>
                    <a:pt x="551" y="1367"/>
                  </a:lnTo>
                  <a:lnTo>
                    <a:pt x="551" y="1370"/>
                  </a:lnTo>
                  <a:lnTo>
                    <a:pt x="548" y="1367"/>
                  </a:lnTo>
                  <a:lnTo>
                    <a:pt x="548" y="1370"/>
                  </a:lnTo>
                  <a:lnTo>
                    <a:pt x="546" y="1370"/>
                  </a:lnTo>
                  <a:lnTo>
                    <a:pt x="546" y="1372"/>
                  </a:lnTo>
                  <a:lnTo>
                    <a:pt x="544" y="1372"/>
                  </a:lnTo>
                  <a:lnTo>
                    <a:pt x="544" y="1372"/>
                  </a:lnTo>
                  <a:lnTo>
                    <a:pt x="544" y="1372"/>
                  </a:lnTo>
                  <a:lnTo>
                    <a:pt x="544" y="1372"/>
                  </a:lnTo>
                  <a:lnTo>
                    <a:pt x="541" y="1372"/>
                  </a:lnTo>
                  <a:lnTo>
                    <a:pt x="541" y="1370"/>
                  </a:lnTo>
                  <a:lnTo>
                    <a:pt x="541" y="1370"/>
                  </a:lnTo>
                  <a:lnTo>
                    <a:pt x="539" y="1372"/>
                  </a:lnTo>
                  <a:lnTo>
                    <a:pt x="537" y="1372"/>
                  </a:lnTo>
                  <a:lnTo>
                    <a:pt x="537" y="1372"/>
                  </a:lnTo>
                  <a:lnTo>
                    <a:pt x="537" y="1374"/>
                  </a:lnTo>
                  <a:lnTo>
                    <a:pt x="537" y="1374"/>
                  </a:lnTo>
                  <a:lnTo>
                    <a:pt x="534" y="1374"/>
                  </a:lnTo>
                  <a:lnTo>
                    <a:pt x="532" y="1377"/>
                  </a:lnTo>
                  <a:lnTo>
                    <a:pt x="532" y="1377"/>
                  </a:lnTo>
                  <a:lnTo>
                    <a:pt x="532" y="1379"/>
                  </a:lnTo>
                  <a:lnTo>
                    <a:pt x="532" y="1381"/>
                  </a:lnTo>
                  <a:lnTo>
                    <a:pt x="529" y="1379"/>
                  </a:lnTo>
                  <a:lnTo>
                    <a:pt x="527" y="1377"/>
                  </a:lnTo>
                  <a:lnTo>
                    <a:pt x="527" y="1374"/>
                  </a:lnTo>
                  <a:lnTo>
                    <a:pt x="522" y="1374"/>
                  </a:lnTo>
                  <a:lnTo>
                    <a:pt x="520" y="1374"/>
                  </a:lnTo>
                  <a:lnTo>
                    <a:pt x="520" y="1372"/>
                  </a:lnTo>
                  <a:lnTo>
                    <a:pt x="518" y="1370"/>
                  </a:lnTo>
                  <a:lnTo>
                    <a:pt x="518" y="1370"/>
                  </a:lnTo>
                  <a:lnTo>
                    <a:pt x="515" y="1370"/>
                  </a:lnTo>
                  <a:lnTo>
                    <a:pt x="515" y="1367"/>
                  </a:lnTo>
                  <a:lnTo>
                    <a:pt x="511" y="1367"/>
                  </a:lnTo>
                  <a:lnTo>
                    <a:pt x="511" y="1367"/>
                  </a:lnTo>
                  <a:lnTo>
                    <a:pt x="511" y="1365"/>
                  </a:lnTo>
                  <a:lnTo>
                    <a:pt x="511" y="1365"/>
                  </a:lnTo>
                  <a:lnTo>
                    <a:pt x="513" y="1363"/>
                  </a:lnTo>
                  <a:lnTo>
                    <a:pt x="511" y="1363"/>
                  </a:lnTo>
                  <a:lnTo>
                    <a:pt x="511" y="1360"/>
                  </a:lnTo>
                  <a:lnTo>
                    <a:pt x="511" y="1360"/>
                  </a:lnTo>
                  <a:lnTo>
                    <a:pt x="511" y="1360"/>
                  </a:lnTo>
                  <a:lnTo>
                    <a:pt x="508" y="1358"/>
                  </a:lnTo>
                  <a:lnTo>
                    <a:pt x="506" y="1355"/>
                  </a:lnTo>
                  <a:lnTo>
                    <a:pt x="506" y="1355"/>
                  </a:lnTo>
                  <a:lnTo>
                    <a:pt x="506" y="1358"/>
                  </a:lnTo>
                  <a:lnTo>
                    <a:pt x="503" y="1358"/>
                  </a:lnTo>
                  <a:lnTo>
                    <a:pt x="503" y="1358"/>
                  </a:lnTo>
                  <a:lnTo>
                    <a:pt x="503" y="1358"/>
                  </a:lnTo>
                  <a:lnTo>
                    <a:pt x="503" y="1355"/>
                  </a:lnTo>
                  <a:lnTo>
                    <a:pt x="501" y="1355"/>
                  </a:lnTo>
                  <a:lnTo>
                    <a:pt x="501" y="1355"/>
                  </a:lnTo>
                  <a:lnTo>
                    <a:pt x="501" y="1353"/>
                  </a:lnTo>
                  <a:lnTo>
                    <a:pt x="501" y="1353"/>
                  </a:lnTo>
                  <a:lnTo>
                    <a:pt x="503" y="1351"/>
                  </a:lnTo>
                  <a:lnTo>
                    <a:pt x="503" y="1351"/>
                  </a:lnTo>
                  <a:lnTo>
                    <a:pt x="503" y="1351"/>
                  </a:lnTo>
                  <a:lnTo>
                    <a:pt x="503" y="1348"/>
                  </a:lnTo>
                  <a:lnTo>
                    <a:pt x="501" y="1348"/>
                  </a:lnTo>
                  <a:lnTo>
                    <a:pt x="501" y="1348"/>
                  </a:lnTo>
                  <a:lnTo>
                    <a:pt x="501" y="1346"/>
                  </a:lnTo>
                  <a:lnTo>
                    <a:pt x="501" y="1346"/>
                  </a:lnTo>
                  <a:lnTo>
                    <a:pt x="501" y="1346"/>
                  </a:lnTo>
                  <a:lnTo>
                    <a:pt x="501" y="1344"/>
                  </a:lnTo>
                  <a:lnTo>
                    <a:pt x="501" y="1344"/>
                  </a:lnTo>
                  <a:lnTo>
                    <a:pt x="499" y="1341"/>
                  </a:lnTo>
                  <a:lnTo>
                    <a:pt x="499" y="1339"/>
                  </a:lnTo>
                  <a:lnTo>
                    <a:pt x="499" y="1337"/>
                  </a:lnTo>
                  <a:lnTo>
                    <a:pt x="496" y="1337"/>
                  </a:lnTo>
                  <a:lnTo>
                    <a:pt x="496" y="1334"/>
                  </a:lnTo>
                  <a:lnTo>
                    <a:pt x="496" y="1332"/>
                  </a:lnTo>
                  <a:lnTo>
                    <a:pt x="494" y="1332"/>
                  </a:lnTo>
                  <a:lnTo>
                    <a:pt x="492" y="1337"/>
                  </a:lnTo>
                  <a:lnTo>
                    <a:pt x="475" y="1320"/>
                  </a:lnTo>
                  <a:lnTo>
                    <a:pt x="463" y="1329"/>
                  </a:lnTo>
                  <a:lnTo>
                    <a:pt x="461" y="1329"/>
                  </a:lnTo>
                  <a:lnTo>
                    <a:pt x="461" y="1327"/>
                  </a:lnTo>
                  <a:lnTo>
                    <a:pt x="461" y="1329"/>
                  </a:lnTo>
                  <a:lnTo>
                    <a:pt x="459" y="1327"/>
                  </a:lnTo>
                  <a:lnTo>
                    <a:pt x="459" y="1327"/>
                  </a:lnTo>
                  <a:lnTo>
                    <a:pt x="459" y="1327"/>
                  </a:lnTo>
                  <a:lnTo>
                    <a:pt x="456" y="1327"/>
                  </a:lnTo>
                  <a:lnTo>
                    <a:pt x="456" y="1327"/>
                  </a:lnTo>
                  <a:lnTo>
                    <a:pt x="456" y="1322"/>
                  </a:lnTo>
                  <a:lnTo>
                    <a:pt x="454" y="1320"/>
                  </a:lnTo>
                  <a:lnTo>
                    <a:pt x="451" y="1320"/>
                  </a:lnTo>
                  <a:lnTo>
                    <a:pt x="449" y="1322"/>
                  </a:lnTo>
                  <a:lnTo>
                    <a:pt x="447" y="1320"/>
                  </a:lnTo>
                  <a:lnTo>
                    <a:pt x="447" y="1318"/>
                  </a:lnTo>
                  <a:lnTo>
                    <a:pt x="444" y="1315"/>
                  </a:lnTo>
                  <a:lnTo>
                    <a:pt x="442" y="1318"/>
                  </a:lnTo>
                  <a:lnTo>
                    <a:pt x="442" y="1315"/>
                  </a:lnTo>
                  <a:lnTo>
                    <a:pt x="442" y="1315"/>
                  </a:lnTo>
                  <a:lnTo>
                    <a:pt x="442" y="1313"/>
                  </a:lnTo>
                  <a:lnTo>
                    <a:pt x="437" y="1313"/>
                  </a:lnTo>
                  <a:lnTo>
                    <a:pt x="435" y="1313"/>
                  </a:lnTo>
                  <a:lnTo>
                    <a:pt x="437" y="1311"/>
                  </a:lnTo>
                  <a:lnTo>
                    <a:pt x="435" y="1308"/>
                  </a:lnTo>
                  <a:lnTo>
                    <a:pt x="433" y="1308"/>
                  </a:lnTo>
                  <a:lnTo>
                    <a:pt x="433" y="1308"/>
                  </a:lnTo>
                  <a:lnTo>
                    <a:pt x="433" y="1308"/>
                  </a:lnTo>
                  <a:lnTo>
                    <a:pt x="430" y="1308"/>
                  </a:lnTo>
                  <a:lnTo>
                    <a:pt x="430" y="1308"/>
                  </a:lnTo>
                  <a:lnTo>
                    <a:pt x="430" y="1308"/>
                  </a:lnTo>
                  <a:lnTo>
                    <a:pt x="428" y="1308"/>
                  </a:lnTo>
                  <a:lnTo>
                    <a:pt x="428" y="1308"/>
                  </a:lnTo>
                  <a:lnTo>
                    <a:pt x="428" y="1308"/>
                  </a:lnTo>
                  <a:lnTo>
                    <a:pt x="428" y="1306"/>
                  </a:lnTo>
                  <a:lnTo>
                    <a:pt x="426" y="1306"/>
                  </a:lnTo>
                  <a:lnTo>
                    <a:pt x="426" y="1301"/>
                  </a:lnTo>
                  <a:lnTo>
                    <a:pt x="423" y="1301"/>
                  </a:lnTo>
                  <a:lnTo>
                    <a:pt x="423" y="1301"/>
                  </a:lnTo>
                  <a:lnTo>
                    <a:pt x="423" y="1301"/>
                  </a:lnTo>
                  <a:lnTo>
                    <a:pt x="423" y="1299"/>
                  </a:lnTo>
                  <a:lnTo>
                    <a:pt x="423" y="1299"/>
                  </a:lnTo>
                  <a:lnTo>
                    <a:pt x="423" y="1299"/>
                  </a:lnTo>
                  <a:lnTo>
                    <a:pt x="421" y="1296"/>
                  </a:lnTo>
                  <a:lnTo>
                    <a:pt x="421" y="1296"/>
                  </a:lnTo>
                  <a:lnTo>
                    <a:pt x="421" y="1296"/>
                  </a:lnTo>
                  <a:lnTo>
                    <a:pt x="418" y="1294"/>
                  </a:lnTo>
                  <a:lnTo>
                    <a:pt x="418" y="1292"/>
                  </a:lnTo>
                  <a:lnTo>
                    <a:pt x="418" y="1292"/>
                  </a:lnTo>
                  <a:lnTo>
                    <a:pt x="416" y="1289"/>
                  </a:lnTo>
                  <a:lnTo>
                    <a:pt x="414" y="1289"/>
                  </a:lnTo>
                  <a:lnTo>
                    <a:pt x="414" y="1289"/>
                  </a:lnTo>
                  <a:lnTo>
                    <a:pt x="414" y="1289"/>
                  </a:lnTo>
                  <a:lnTo>
                    <a:pt x="411" y="1287"/>
                  </a:lnTo>
                  <a:lnTo>
                    <a:pt x="411" y="1280"/>
                  </a:lnTo>
                  <a:lnTo>
                    <a:pt x="411" y="1278"/>
                  </a:lnTo>
                  <a:lnTo>
                    <a:pt x="411" y="1275"/>
                  </a:lnTo>
                  <a:lnTo>
                    <a:pt x="411" y="1275"/>
                  </a:lnTo>
                  <a:lnTo>
                    <a:pt x="409" y="1278"/>
                  </a:lnTo>
                  <a:lnTo>
                    <a:pt x="407" y="1278"/>
                  </a:lnTo>
                  <a:lnTo>
                    <a:pt x="407" y="1275"/>
                  </a:lnTo>
                  <a:lnTo>
                    <a:pt x="407" y="1273"/>
                  </a:lnTo>
                  <a:lnTo>
                    <a:pt x="407" y="1273"/>
                  </a:lnTo>
                  <a:lnTo>
                    <a:pt x="407" y="1273"/>
                  </a:lnTo>
                  <a:lnTo>
                    <a:pt x="407" y="1273"/>
                  </a:lnTo>
                  <a:lnTo>
                    <a:pt x="407" y="1270"/>
                  </a:lnTo>
                  <a:lnTo>
                    <a:pt x="409" y="1268"/>
                  </a:lnTo>
                  <a:lnTo>
                    <a:pt x="407" y="1268"/>
                  </a:lnTo>
                  <a:lnTo>
                    <a:pt x="407" y="1268"/>
                  </a:lnTo>
                  <a:lnTo>
                    <a:pt x="407" y="1266"/>
                  </a:lnTo>
                  <a:lnTo>
                    <a:pt x="409" y="1266"/>
                  </a:lnTo>
                  <a:lnTo>
                    <a:pt x="409" y="1266"/>
                  </a:lnTo>
                  <a:lnTo>
                    <a:pt x="407" y="1266"/>
                  </a:lnTo>
                  <a:lnTo>
                    <a:pt x="407" y="1263"/>
                  </a:lnTo>
                  <a:lnTo>
                    <a:pt x="407" y="1263"/>
                  </a:lnTo>
                  <a:lnTo>
                    <a:pt x="409" y="1261"/>
                  </a:lnTo>
                  <a:lnTo>
                    <a:pt x="407" y="1261"/>
                  </a:lnTo>
                  <a:lnTo>
                    <a:pt x="404" y="1259"/>
                  </a:lnTo>
                  <a:lnTo>
                    <a:pt x="404" y="1259"/>
                  </a:lnTo>
                  <a:lnTo>
                    <a:pt x="404" y="1259"/>
                  </a:lnTo>
                  <a:lnTo>
                    <a:pt x="402" y="1259"/>
                  </a:lnTo>
                  <a:lnTo>
                    <a:pt x="402" y="1256"/>
                  </a:lnTo>
                  <a:lnTo>
                    <a:pt x="404" y="1254"/>
                  </a:lnTo>
                  <a:lnTo>
                    <a:pt x="402" y="1254"/>
                  </a:lnTo>
                  <a:lnTo>
                    <a:pt x="402" y="1254"/>
                  </a:lnTo>
                  <a:lnTo>
                    <a:pt x="402" y="1254"/>
                  </a:lnTo>
                  <a:lnTo>
                    <a:pt x="402" y="1252"/>
                  </a:lnTo>
                  <a:lnTo>
                    <a:pt x="402" y="1252"/>
                  </a:lnTo>
                  <a:lnTo>
                    <a:pt x="402" y="1252"/>
                  </a:lnTo>
                  <a:lnTo>
                    <a:pt x="402" y="1249"/>
                  </a:lnTo>
                  <a:lnTo>
                    <a:pt x="402" y="1249"/>
                  </a:lnTo>
                  <a:lnTo>
                    <a:pt x="402" y="1244"/>
                  </a:lnTo>
                  <a:lnTo>
                    <a:pt x="402" y="1244"/>
                  </a:lnTo>
                  <a:lnTo>
                    <a:pt x="402" y="1244"/>
                  </a:lnTo>
                  <a:lnTo>
                    <a:pt x="402" y="1244"/>
                  </a:lnTo>
                  <a:lnTo>
                    <a:pt x="402" y="1242"/>
                  </a:lnTo>
                  <a:lnTo>
                    <a:pt x="402" y="1242"/>
                  </a:lnTo>
                  <a:lnTo>
                    <a:pt x="402" y="1242"/>
                  </a:lnTo>
                  <a:lnTo>
                    <a:pt x="402" y="1240"/>
                  </a:lnTo>
                  <a:lnTo>
                    <a:pt x="402" y="1237"/>
                  </a:lnTo>
                  <a:lnTo>
                    <a:pt x="402" y="1235"/>
                  </a:lnTo>
                  <a:lnTo>
                    <a:pt x="402" y="1235"/>
                  </a:lnTo>
                  <a:lnTo>
                    <a:pt x="402" y="1235"/>
                  </a:lnTo>
                  <a:lnTo>
                    <a:pt x="402" y="1233"/>
                  </a:lnTo>
                  <a:lnTo>
                    <a:pt x="402" y="1230"/>
                  </a:lnTo>
                  <a:lnTo>
                    <a:pt x="402" y="1228"/>
                  </a:lnTo>
                  <a:lnTo>
                    <a:pt x="402" y="1226"/>
                  </a:lnTo>
                  <a:lnTo>
                    <a:pt x="402" y="1223"/>
                  </a:lnTo>
                  <a:lnTo>
                    <a:pt x="402" y="1218"/>
                  </a:lnTo>
                  <a:lnTo>
                    <a:pt x="402" y="1216"/>
                  </a:lnTo>
                  <a:lnTo>
                    <a:pt x="407" y="1209"/>
                  </a:lnTo>
                  <a:lnTo>
                    <a:pt x="407" y="1209"/>
                  </a:lnTo>
                  <a:lnTo>
                    <a:pt x="409" y="1207"/>
                  </a:lnTo>
                  <a:lnTo>
                    <a:pt x="411" y="1204"/>
                  </a:lnTo>
                  <a:lnTo>
                    <a:pt x="411" y="1202"/>
                  </a:lnTo>
                  <a:lnTo>
                    <a:pt x="416" y="1200"/>
                  </a:lnTo>
                  <a:lnTo>
                    <a:pt x="418" y="1200"/>
                  </a:lnTo>
                  <a:lnTo>
                    <a:pt x="418" y="1195"/>
                  </a:lnTo>
                  <a:lnTo>
                    <a:pt x="418" y="1192"/>
                  </a:lnTo>
                  <a:lnTo>
                    <a:pt x="418" y="1190"/>
                  </a:lnTo>
                  <a:lnTo>
                    <a:pt x="416" y="1188"/>
                  </a:lnTo>
                  <a:lnTo>
                    <a:pt x="418" y="1183"/>
                  </a:lnTo>
                  <a:lnTo>
                    <a:pt x="418" y="1183"/>
                  </a:lnTo>
                  <a:lnTo>
                    <a:pt x="418" y="1181"/>
                  </a:lnTo>
                  <a:lnTo>
                    <a:pt x="418" y="1183"/>
                  </a:lnTo>
                  <a:lnTo>
                    <a:pt x="421" y="1181"/>
                  </a:lnTo>
                  <a:lnTo>
                    <a:pt x="423" y="1181"/>
                  </a:lnTo>
                  <a:lnTo>
                    <a:pt x="421" y="1178"/>
                  </a:lnTo>
                  <a:lnTo>
                    <a:pt x="423" y="1174"/>
                  </a:lnTo>
                  <a:lnTo>
                    <a:pt x="423" y="1171"/>
                  </a:lnTo>
                  <a:lnTo>
                    <a:pt x="421" y="1169"/>
                  </a:lnTo>
                  <a:lnTo>
                    <a:pt x="421" y="1166"/>
                  </a:lnTo>
                  <a:lnTo>
                    <a:pt x="418" y="1166"/>
                  </a:lnTo>
                  <a:lnTo>
                    <a:pt x="418" y="1166"/>
                  </a:lnTo>
                  <a:lnTo>
                    <a:pt x="416" y="1166"/>
                  </a:lnTo>
                  <a:lnTo>
                    <a:pt x="414" y="1166"/>
                  </a:lnTo>
                  <a:lnTo>
                    <a:pt x="411" y="1164"/>
                  </a:lnTo>
                  <a:lnTo>
                    <a:pt x="411" y="1171"/>
                  </a:lnTo>
                  <a:lnTo>
                    <a:pt x="409" y="1171"/>
                  </a:lnTo>
                  <a:lnTo>
                    <a:pt x="407" y="1174"/>
                  </a:lnTo>
                  <a:lnTo>
                    <a:pt x="362" y="1171"/>
                  </a:lnTo>
                  <a:lnTo>
                    <a:pt x="274" y="1169"/>
                  </a:lnTo>
                  <a:lnTo>
                    <a:pt x="185" y="1166"/>
                  </a:lnTo>
                  <a:lnTo>
                    <a:pt x="182" y="1117"/>
                  </a:lnTo>
                  <a:lnTo>
                    <a:pt x="177" y="1063"/>
                  </a:lnTo>
                  <a:lnTo>
                    <a:pt x="135" y="1015"/>
                  </a:lnTo>
                  <a:lnTo>
                    <a:pt x="144" y="1013"/>
                  </a:lnTo>
                  <a:lnTo>
                    <a:pt x="175" y="1013"/>
                  </a:lnTo>
                  <a:lnTo>
                    <a:pt x="173" y="952"/>
                  </a:lnTo>
                  <a:lnTo>
                    <a:pt x="170" y="952"/>
                  </a:lnTo>
                  <a:lnTo>
                    <a:pt x="166" y="949"/>
                  </a:lnTo>
                  <a:lnTo>
                    <a:pt x="166" y="947"/>
                  </a:lnTo>
                  <a:lnTo>
                    <a:pt x="166" y="944"/>
                  </a:lnTo>
                  <a:lnTo>
                    <a:pt x="166" y="944"/>
                  </a:lnTo>
                  <a:lnTo>
                    <a:pt x="166" y="942"/>
                  </a:lnTo>
                  <a:lnTo>
                    <a:pt x="166" y="940"/>
                  </a:lnTo>
                  <a:lnTo>
                    <a:pt x="163" y="940"/>
                  </a:lnTo>
                  <a:lnTo>
                    <a:pt x="166" y="940"/>
                  </a:lnTo>
                  <a:lnTo>
                    <a:pt x="163" y="940"/>
                  </a:lnTo>
                  <a:lnTo>
                    <a:pt x="163" y="937"/>
                  </a:lnTo>
                  <a:lnTo>
                    <a:pt x="163" y="935"/>
                  </a:lnTo>
                  <a:lnTo>
                    <a:pt x="163" y="935"/>
                  </a:lnTo>
                  <a:lnTo>
                    <a:pt x="161" y="933"/>
                  </a:lnTo>
                  <a:lnTo>
                    <a:pt x="161" y="933"/>
                  </a:lnTo>
                  <a:lnTo>
                    <a:pt x="161" y="933"/>
                  </a:lnTo>
                  <a:lnTo>
                    <a:pt x="161" y="933"/>
                  </a:lnTo>
                  <a:lnTo>
                    <a:pt x="159" y="930"/>
                  </a:lnTo>
                  <a:lnTo>
                    <a:pt x="161" y="930"/>
                  </a:lnTo>
                  <a:lnTo>
                    <a:pt x="159" y="930"/>
                  </a:lnTo>
                  <a:lnTo>
                    <a:pt x="159" y="928"/>
                  </a:lnTo>
                  <a:lnTo>
                    <a:pt x="159" y="926"/>
                  </a:lnTo>
                  <a:lnTo>
                    <a:pt x="156" y="926"/>
                  </a:lnTo>
                  <a:lnTo>
                    <a:pt x="156" y="926"/>
                  </a:lnTo>
                  <a:lnTo>
                    <a:pt x="156" y="926"/>
                  </a:lnTo>
                  <a:lnTo>
                    <a:pt x="156" y="926"/>
                  </a:lnTo>
                  <a:lnTo>
                    <a:pt x="156" y="926"/>
                  </a:lnTo>
                  <a:lnTo>
                    <a:pt x="156" y="923"/>
                  </a:lnTo>
                  <a:lnTo>
                    <a:pt x="156" y="923"/>
                  </a:lnTo>
                  <a:lnTo>
                    <a:pt x="156" y="923"/>
                  </a:lnTo>
                  <a:lnTo>
                    <a:pt x="156" y="923"/>
                  </a:lnTo>
                  <a:lnTo>
                    <a:pt x="156" y="921"/>
                  </a:lnTo>
                  <a:lnTo>
                    <a:pt x="156" y="921"/>
                  </a:lnTo>
                  <a:lnTo>
                    <a:pt x="156" y="921"/>
                  </a:lnTo>
                  <a:lnTo>
                    <a:pt x="156" y="921"/>
                  </a:lnTo>
                  <a:lnTo>
                    <a:pt x="156" y="918"/>
                  </a:lnTo>
                  <a:lnTo>
                    <a:pt x="156" y="916"/>
                  </a:lnTo>
                  <a:lnTo>
                    <a:pt x="156" y="918"/>
                  </a:lnTo>
                  <a:lnTo>
                    <a:pt x="156" y="916"/>
                  </a:lnTo>
                  <a:lnTo>
                    <a:pt x="156" y="918"/>
                  </a:lnTo>
                  <a:lnTo>
                    <a:pt x="156" y="916"/>
                  </a:lnTo>
                  <a:lnTo>
                    <a:pt x="156" y="916"/>
                  </a:lnTo>
                  <a:lnTo>
                    <a:pt x="154" y="916"/>
                  </a:lnTo>
                  <a:lnTo>
                    <a:pt x="154" y="916"/>
                  </a:lnTo>
                  <a:lnTo>
                    <a:pt x="154" y="916"/>
                  </a:lnTo>
                  <a:lnTo>
                    <a:pt x="154" y="916"/>
                  </a:lnTo>
                  <a:lnTo>
                    <a:pt x="154" y="916"/>
                  </a:lnTo>
                  <a:lnTo>
                    <a:pt x="154" y="914"/>
                  </a:lnTo>
                  <a:lnTo>
                    <a:pt x="151" y="914"/>
                  </a:lnTo>
                  <a:lnTo>
                    <a:pt x="151" y="911"/>
                  </a:lnTo>
                  <a:lnTo>
                    <a:pt x="151" y="911"/>
                  </a:lnTo>
                  <a:lnTo>
                    <a:pt x="151" y="911"/>
                  </a:lnTo>
                  <a:lnTo>
                    <a:pt x="149" y="909"/>
                  </a:lnTo>
                  <a:lnTo>
                    <a:pt x="149" y="907"/>
                  </a:lnTo>
                  <a:lnTo>
                    <a:pt x="149" y="907"/>
                  </a:lnTo>
                  <a:lnTo>
                    <a:pt x="149" y="907"/>
                  </a:lnTo>
                  <a:lnTo>
                    <a:pt x="149" y="904"/>
                  </a:lnTo>
                  <a:lnTo>
                    <a:pt x="149" y="904"/>
                  </a:lnTo>
                  <a:lnTo>
                    <a:pt x="151" y="902"/>
                  </a:lnTo>
                  <a:lnTo>
                    <a:pt x="151" y="902"/>
                  </a:lnTo>
                  <a:lnTo>
                    <a:pt x="149" y="902"/>
                  </a:lnTo>
                  <a:lnTo>
                    <a:pt x="149" y="900"/>
                  </a:lnTo>
                  <a:lnTo>
                    <a:pt x="147" y="897"/>
                  </a:lnTo>
                  <a:lnTo>
                    <a:pt x="147" y="897"/>
                  </a:lnTo>
                  <a:lnTo>
                    <a:pt x="147" y="895"/>
                  </a:lnTo>
                  <a:lnTo>
                    <a:pt x="147" y="895"/>
                  </a:lnTo>
                  <a:lnTo>
                    <a:pt x="144" y="895"/>
                  </a:lnTo>
                  <a:lnTo>
                    <a:pt x="144" y="895"/>
                  </a:lnTo>
                  <a:lnTo>
                    <a:pt x="144" y="892"/>
                  </a:lnTo>
                  <a:lnTo>
                    <a:pt x="147" y="892"/>
                  </a:lnTo>
                  <a:lnTo>
                    <a:pt x="147" y="890"/>
                  </a:lnTo>
                  <a:lnTo>
                    <a:pt x="147" y="890"/>
                  </a:lnTo>
                  <a:lnTo>
                    <a:pt x="147" y="888"/>
                  </a:lnTo>
                  <a:lnTo>
                    <a:pt x="147" y="888"/>
                  </a:lnTo>
                  <a:lnTo>
                    <a:pt x="147" y="885"/>
                  </a:lnTo>
                  <a:lnTo>
                    <a:pt x="147" y="885"/>
                  </a:lnTo>
                  <a:lnTo>
                    <a:pt x="147" y="883"/>
                  </a:lnTo>
                  <a:lnTo>
                    <a:pt x="147" y="883"/>
                  </a:lnTo>
                  <a:lnTo>
                    <a:pt x="147" y="883"/>
                  </a:lnTo>
                  <a:lnTo>
                    <a:pt x="149" y="883"/>
                  </a:lnTo>
                  <a:lnTo>
                    <a:pt x="151" y="881"/>
                  </a:lnTo>
                  <a:lnTo>
                    <a:pt x="154" y="878"/>
                  </a:lnTo>
                  <a:lnTo>
                    <a:pt x="154" y="878"/>
                  </a:lnTo>
                  <a:lnTo>
                    <a:pt x="154" y="876"/>
                  </a:lnTo>
                  <a:lnTo>
                    <a:pt x="156" y="874"/>
                  </a:lnTo>
                  <a:lnTo>
                    <a:pt x="156" y="874"/>
                  </a:lnTo>
                  <a:lnTo>
                    <a:pt x="156" y="871"/>
                  </a:lnTo>
                  <a:lnTo>
                    <a:pt x="156" y="869"/>
                  </a:lnTo>
                  <a:lnTo>
                    <a:pt x="156" y="869"/>
                  </a:lnTo>
                  <a:lnTo>
                    <a:pt x="156" y="869"/>
                  </a:lnTo>
                  <a:lnTo>
                    <a:pt x="156" y="869"/>
                  </a:lnTo>
                  <a:lnTo>
                    <a:pt x="159" y="869"/>
                  </a:lnTo>
                  <a:lnTo>
                    <a:pt x="159" y="869"/>
                  </a:lnTo>
                  <a:lnTo>
                    <a:pt x="159" y="866"/>
                  </a:lnTo>
                  <a:lnTo>
                    <a:pt x="154" y="866"/>
                  </a:lnTo>
                  <a:lnTo>
                    <a:pt x="154" y="864"/>
                  </a:lnTo>
                  <a:lnTo>
                    <a:pt x="154" y="866"/>
                  </a:lnTo>
                  <a:lnTo>
                    <a:pt x="154" y="864"/>
                  </a:lnTo>
                  <a:lnTo>
                    <a:pt x="156" y="864"/>
                  </a:lnTo>
                  <a:lnTo>
                    <a:pt x="154" y="864"/>
                  </a:lnTo>
                  <a:lnTo>
                    <a:pt x="154" y="862"/>
                  </a:lnTo>
                  <a:lnTo>
                    <a:pt x="154" y="862"/>
                  </a:lnTo>
                  <a:lnTo>
                    <a:pt x="154" y="862"/>
                  </a:lnTo>
                  <a:lnTo>
                    <a:pt x="151" y="862"/>
                  </a:lnTo>
                  <a:lnTo>
                    <a:pt x="151" y="862"/>
                  </a:lnTo>
                  <a:lnTo>
                    <a:pt x="151" y="862"/>
                  </a:lnTo>
                  <a:lnTo>
                    <a:pt x="151" y="862"/>
                  </a:lnTo>
                  <a:lnTo>
                    <a:pt x="151" y="857"/>
                  </a:lnTo>
                  <a:lnTo>
                    <a:pt x="149" y="857"/>
                  </a:lnTo>
                  <a:lnTo>
                    <a:pt x="151" y="855"/>
                  </a:lnTo>
                  <a:lnTo>
                    <a:pt x="151" y="855"/>
                  </a:lnTo>
                  <a:lnTo>
                    <a:pt x="149" y="855"/>
                  </a:lnTo>
                  <a:lnTo>
                    <a:pt x="149" y="855"/>
                  </a:lnTo>
                  <a:lnTo>
                    <a:pt x="147" y="855"/>
                  </a:lnTo>
                  <a:lnTo>
                    <a:pt x="147" y="857"/>
                  </a:lnTo>
                  <a:lnTo>
                    <a:pt x="147" y="855"/>
                  </a:lnTo>
                  <a:lnTo>
                    <a:pt x="147" y="855"/>
                  </a:lnTo>
                  <a:lnTo>
                    <a:pt x="149" y="852"/>
                  </a:lnTo>
                  <a:lnTo>
                    <a:pt x="149" y="852"/>
                  </a:lnTo>
                  <a:lnTo>
                    <a:pt x="149" y="850"/>
                  </a:lnTo>
                  <a:lnTo>
                    <a:pt x="147" y="850"/>
                  </a:lnTo>
                  <a:lnTo>
                    <a:pt x="147" y="850"/>
                  </a:lnTo>
                  <a:lnTo>
                    <a:pt x="147" y="850"/>
                  </a:lnTo>
                  <a:lnTo>
                    <a:pt x="144" y="850"/>
                  </a:lnTo>
                  <a:lnTo>
                    <a:pt x="147" y="848"/>
                  </a:lnTo>
                  <a:lnTo>
                    <a:pt x="147" y="848"/>
                  </a:lnTo>
                  <a:lnTo>
                    <a:pt x="147" y="848"/>
                  </a:lnTo>
                  <a:lnTo>
                    <a:pt x="144" y="848"/>
                  </a:lnTo>
                  <a:lnTo>
                    <a:pt x="144" y="848"/>
                  </a:lnTo>
                  <a:lnTo>
                    <a:pt x="147" y="848"/>
                  </a:lnTo>
                  <a:lnTo>
                    <a:pt x="147" y="848"/>
                  </a:lnTo>
                  <a:lnTo>
                    <a:pt x="149" y="845"/>
                  </a:lnTo>
                  <a:lnTo>
                    <a:pt x="147" y="845"/>
                  </a:lnTo>
                  <a:lnTo>
                    <a:pt x="147" y="843"/>
                  </a:lnTo>
                  <a:lnTo>
                    <a:pt x="147" y="843"/>
                  </a:lnTo>
                  <a:lnTo>
                    <a:pt x="149" y="843"/>
                  </a:lnTo>
                  <a:lnTo>
                    <a:pt x="147" y="843"/>
                  </a:lnTo>
                  <a:lnTo>
                    <a:pt x="144" y="843"/>
                  </a:lnTo>
                  <a:lnTo>
                    <a:pt x="144" y="843"/>
                  </a:lnTo>
                  <a:lnTo>
                    <a:pt x="144" y="843"/>
                  </a:lnTo>
                  <a:lnTo>
                    <a:pt x="142" y="843"/>
                  </a:lnTo>
                  <a:lnTo>
                    <a:pt x="140" y="843"/>
                  </a:lnTo>
                  <a:lnTo>
                    <a:pt x="142" y="841"/>
                  </a:lnTo>
                  <a:lnTo>
                    <a:pt x="142" y="841"/>
                  </a:lnTo>
                  <a:lnTo>
                    <a:pt x="140" y="841"/>
                  </a:lnTo>
                  <a:lnTo>
                    <a:pt x="137" y="841"/>
                  </a:lnTo>
                  <a:lnTo>
                    <a:pt x="137" y="841"/>
                  </a:lnTo>
                  <a:lnTo>
                    <a:pt x="137" y="841"/>
                  </a:lnTo>
                  <a:lnTo>
                    <a:pt x="137" y="841"/>
                  </a:lnTo>
                  <a:lnTo>
                    <a:pt x="135" y="841"/>
                  </a:lnTo>
                  <a:lnTo>
                    <a:pt x="135" y="838"/>
                  </a:lnTo>
                  <a:lnTo>
                    <a:pt x="135" y="838"/>
                  </a:lnTo>
                  <a:lnTo>
                    <a:pt x="135" y="838"/>
                  </a:lnTo>
                  <a:lnTo>
                    <a:pt x="133" y="838"/>
                  </a:lnTo>
                  <a:lnTo>
                    <a:pt x="133" y="836"/>
                  </a:lnTo>
                  <a:lnTo>
                    <a:pt x="133" y="838"/>
                  </a:lnTo>
                  <a:lnTo>
                    <a:pt x="130" y="838"/>
                  </a:lnTo>
                  <a:lnTo>
                    <a:pt x="130" y="836"/>
                  </a:lnTo>
                  <a:lnTo>
                    <a:pt x="130" y="836"/>
                  </a:lnTo>
                  <a:lnTo>
                    <a:pt x="130" y="836"/>
                  </a:lnTo>
                  <a:lnTo>
                    <a:pt x="130" y="833"/>
                  </a:lnTo>
                  <a:lnTo>
                    <a:pt x="128" y="833"/>
                  </a:lnTo>
                  <a:lnTo>
                    <a:pt x="128" y="833"/>
                  </a:lnTo>
                  <a:lnTo>
                    <a:pt x="125" y="833"/>
                  </a:lnTo>
                  <a:lnTo>
                    <a:pt x="125" y="836"/>
                  </a:lnTo>
                  <a:lnTo>
                    <a:pt x="125" y="836"/>
                  </a:lnTo>
                  <a:lnTo>
                    <a:pt x="125" y="833"/>
                  </a:lnTo>
                  <a:lnTo>
                    <a:pt x="125" y="836"/>
                  </a:lnTo>
                  <a:lnTo>
                    <a:pt x="123" y="833"/>
                  </a:lnTo>
                  <a:lnTo>
                    <a:pt x="121" y="833"/>
                  </a:lnTo>
                  <a:lnTo>
                    <a:pt x="121" y="831"/>
                  </a:lnTo>
                  <a:lnTo>
                    <a:pt x="118" y="831"/>
                  </a:lnTo>
                  <a:lnTo>
                    <a:pt x="118" y="833"/>
                  </a:lnTo>
                  <a:lnTo>
                    <a:pt x="118" y="831"/>
                  </a:lnTo>
                  <a:lnTo>
                    <a:pt x="118" y="829"/>
                  </a:lnTo>
                  <a:lnTo>
                    <a:pt x="116" y="829"/>
                  </a:lnTo>
                  <a:lnTo>
                    <a:pt x="116" y="829"/>
                  </a:lnTo>
                  <a:lnTo>
                    <a:pt x="118" y="829"/>
                  </a:lnTo>
                  <a:lnTo>
                    <a:pt x="118" y="826"/>
                  </a:lnTo>
                  <a:lnTo>
                    <a:pt x="118" y="826"/>
                  </a:lnTo>
                  <a:lnTo>
                    <a:pt x="118" y="826"/>
                  </a:lnTo>
                  <a:lnTo>
                    <a:pt x="118" y="824"/>
                  </a:lnTo>
                  <a:lnTo>
                    <a:pt x="118" y="824"/>
                  </a:lnTo>
                  <a:lnTo>
                    <a:pt x="118" y="824"/>
                  </a:lnTo>
                  <a:lnTo>
                    <a:pt x="118" y="824"/>
                  </a:lnTo>
                  <a:lnTo>
                    <a:pt x="121" y="824"/>
                  </a:lnTo>
                  <a:lnTo>
                    <a:pt x="118" y="824"/>
                  </a:lnTo>
                  <a:lnTo>
                    <a:pt x="121" y="822"/>
                  </a:lnTo>
                  <a:lnTo>
                    <a:pt x="121" y="822"/>
                  </a:lnTo>
                  <a:lnTo>
                    <a:pt x="121" y="822"/>
                  </a:lnTo>
                  <a:lnTo>
                    <a:pt x="123" y="819"/>
                  </a:lnTo>
                  <a:lnTo>
                    <a:pt x="123" y="819"/>
                  </a:lnTo>
                  <a:lnTo>
                    <a:pt x="123" y="819"/>
                  </a:lnTo>
                  <a:lnTo>
                    <a:pt x="123" y="819"/>
                  </a:lnTo>
                  <a:lnTo>
                    <a:pt x="125" y="819"/>
                  </a:lnTo>
                  <a:lnTo>
                    <a:pt x="125" y="817"/>
                  </a:lnTo>
                  <a:lnTo>
                    <a:pt x="125" y="817"/>
                  </a:lnTo>
                  <a:lnTo>
                    <a:pt x="125" y="817"/>
                  </a:lnTo>
                  <a:lnTo>
                    <a:pt x="125" y="815"/>
                  </a:lnTo>
                  <a:lnTo>
                    <a:pt x="128" y="815"/>
                  </a:lnTo>
                  <a:lnTo>
                    <a:pt x="128" y="815"/>
                  </a:lnTo>
                  <a:lnTo>
                    <a:pt x="130" y="812"/>
                  </a:lnTo>
                  <a:lnTo>
                    <a:pt x="133" y="815"/>
                  </a:lnTo>
                  <a:lnTo>
                    <a:pt x="133" y="815"/>
                  </a:lnTo>
                  <a:lnTo>
                    <a:pt x="133" y="812"/>
                  </a:lnTo>
                  <a:lnTo>
                    <a:pt x="135" y="812"/>
                  </a:lnTo>
                  <a:lnTo>
                    <a:pt x="137" y="812"/>
                  </a:lnTo>
                  <a:lnTo>
                    <a:pt x="137" y="810"/>
                  </a:lnTo>
                  <a:lnTo>
                    <a:pt x="137" y="810"/>
                  </a:lnTo>
                  <a:lnTo>
                    <a:pt x="137" y="810"/>
                  </a:lnTo>
                  <a:lnTo>
                    <a:pt x="140" y="810"/>
                  </a:lnTo>
                  <a:lnTo>
                    <a:pt x="140" y="807"/>
                  </a:lnTo>
                  <a:lnTo>
                    <a:pt x="144" y="805"/>
                  </a:lnTo>
                  <a:lnTo>
                    <a:pt x="147" y="803"/>
                  </a:lnTo>
                  <a:lnTo>
                    <a:pt x="147" y="805"/>
                  </a:lnTo>
                  <a:lnTo>
                    <a:pt x="147" y="803"/>
                  </a:lnTo>
                  <a:lnTo>
                    <a:pt x="149" y="803"/>
                  </a:lnTo>
                  <a:lnTo>
                    <a:pt x="149" y="803"/>
                  </a:lnTo>
                  <a:lnTo>
                    <a:pt x="154" y="803"/>
                  </a:lnTo>
                  <a:lnTo>
                    <a:pt x="154" y="803"/>
                  </a:lnTo>
                  <a:lnTo>
                    <a:pt x="156" y="800"/>
                  </a:lnTo>
                  <a:lnTo>
                    <a:pt x="156" y="800"/>
                  </a:lnTo>
                  <a:lnTo>
                    <a:pt x="156" y="798"/>
                  </a:lnTo>
                  <a:lnTo>
                    <a:pt x="159" y="798"/>
                  </a:lnTo>
                  <a:lnTo>
                    <a:pt x="159" y="796"/>
                  </a:lnTo>
                  <a:lnTo>
                    <a:pt x="159" y="793"/>
                  </a:lnTo>
                  <a:lnTo>
                    <a:pt x="159" y="793"/>
                  </a:lnTo>
                  <a:lnTo>
                    <a:pt x="161" y="793"/>
                  </a:lnTo>
                  <a:lnTo>
                    <a:pt x="159" y="791"/>
                  </a:lnTo>
                  <a:lnTo>
                    <a:pt x="159" y="789"/>
                  </a:lnTo>
                  <a:lnTo>
                    <a:pt x="161" y="789"/>
                  </a:lnTo>
                  <a:lnTo>
                    <a:pt x="161" y="786"/>
                  </a:lnTo>
                  <a:lnTo>
                    <a:pt x="161" y="786"/>
                  </a:lnTo>
                  <a:lnTo>
                    <a:pt x="161" y="786"/>
                  </a:lnTo>
                  <a:lnTo>
                    <a:pt x="161" y="784"/>
                  </a:lnTo>
                  <a:lnTo>
                    <a:pt x="161" y="784"/>
                  </a:lnTo>
                  <a:lnTo>
                    <a:pt x="161" y="784"/>
                  </a:lnTo>
                  <a:lnTo>
                    <a:pt x="161" y="781"/>
                  </a:lnTo>
                  <a:lnTo>
                    <a:pt x="161" y="781"/>
                  </a:lnTo>
                  <a:lnTo>
                    <a:pt x="161" y="779"/>
                  </a:lnTo>
                  <a:lnTo>
                    <a:pt x="161" y="779"/>
                  </a:lnTo>
                  <a:lnTo>
                    <a:pt x="161" y="777"/>
                  </a:lnTo>
                  <a:lnTo>
                    <a:pt x="161" y="779"/>
                  </a:lnTo>
                  <a:lnTo>
                    <a:pt x="163" y="777"/>
                  </a:lnTo>
                  <a:lnTo>
                    <a:pt x="163" y="777"/>
                  </a:lnTo>
                  <a:lnTo>
                    <a:pt x="163" y="774"/>
                  </a:lnTo>
                  <a:lnTo>
                    <a:pt x="163" y="774"/>
                  </a:lnTo>
                  <a:lnTo>
                    <a:pt x="166" y="772"/>
                  </a:lnTo>
                  <a:lnTo>
                    <a:pt x="166" y="772"/>
                  </a:lnTo>
                  <a:lnTo>
                    <a:pt x="166" y="770"/>
                  </a:lnTo>
                  <a:lnTo>
                    <a:pt x="166" y="770"/>
                  </a:lnTo>
                  <a:lnTo>
                    <a:pt x="166" y="767"/>
                  </a:lnTo>
                  <a:lnTo>
                    <a:pt x="168" y="765"/>
                  </a:lnTo>
                  <a:lnTo>
                    <a:pt x="168" y="765"/>
                  </a:lnTo>
                  <a:lnTo>
                    <a:pt x="168" y="763"/>
                  </a:lnTo>
                  <a:lnTo>
                    <a:pt x="170" y="763"/>
                  </a:lnTo>
                  <a:lnTo>
                    <a:pt x="170" y="763"/>
                  </a:lnTo>
                  <a:lnTo>
                    <a:pt x="173" y="758"/>
                  </a:lnTo>
                  <a:lnTo>
                    <a:pt x="173" y="758"/>
                  </a:lnTo>
                  <a:lnTo>
                    <a:pt x="173" y="755"/>
                  </a:lnTo>
                  <a:lnTo>
                    <a:pt x="173" y="755"/>
                  </a:lnTo>
                  <a:lnTo>
                    <a:pt x="173" y="753"/>
                  </a:lnTo>
                  <a:lnTo>
                    <a:pt x="173" y="753"/>
                  </a:lnTo>
                  <a:lnTo>
                    <a:pt x="170" y="751"/>
                  </a:lnTo>
                  <a:lnTo>
                    <a:pt x="173" y="751"/>
                  </a:lnTo>
                  <a:lnTo>
                    <a:pt x="173" y="748"/>
                  </a:lnTo>
                  <a:lnTo>
                    <a:pt x="173" y="748"/>
                  </a:lnTo>
                  <a:lnTo>
                    <a:pt x="175" y="746"/>
                  </a:lnTo>
                  <a:lnTo>
                    <a:pt x="175" y="746"/>
                  </a:lnTo>
                  <a:lnTo>
                    <a:pt x="177" y="746"/>
                  </a:lnTo>
                  <a:lnTo>
                    <a:pt x="177" y="744"/>
                  </a:lnTo>
                  <a:lnTo>
                    <a:pt x="180" y="744"/>
                  </a:lnTo>
                  <a:lnTo>
                    <a:pt x="180" y="741"/>
                  </a:lnTo>
                  <a:lnTo>
                    <a:pt x="180" y="741"/>
                  </a:lnTo>
                  <a:lnTo>
                    <a:pt x="180" y="739"/>
                  </a:lnTo>
                  <a:lnTo>
                    <a:pt x="182" y="739"/>
                  </a:lnTo>
                  <a:lnTo>
                    <a:pt x="182" y="737"/>
                  </a:lnTo>
                  <a:lnTo>
                    <a:pt x="182" y="737"/>
                  </a:lnTo>
                  <a:lnTo>
                    <a:pt x="182" y="737"/>
                  </a:lnTo>
                  <a:lnTo>
                    <a:pt x="185" y="734"/>
                  </a:lnTo>
                  <a:lnTo>
                    <a:pt x="187" y="737"/>
                  </a:lnTo>
                  <a:lnTo>
                    <a:pt x="187" y="734"/>
                  </a:lnTo>
                  <a:lnTo>
                    <a:pt x="189" y="734"/>
                  </a:lnTo>
                  <a:lnTo>
                    <a:pt x="189" y="734"/>
                  </a:lnTo>
                  <a:lnTo>
                    <a:pt x="189" y="737"/>
                  </a:lnTo>
                  <a:lnTo>
                    <a:pt x="192" y="734"/>
                  </a:lnTo>
                  <a:lnTo>
                    <a:pt x="192" y="734"/>
                  </a:lnTo>
                  <a:lnTo>
                    <a:pt x="194" y="729"/>
                  </a:lnTo>
                  <a:lnTo>
                    <a:pt x="196" y="727"/>
                  </a:lnTo>
                  <a:lnTo>
                    <a:pt x="199" y="722"/>
                  </a:lnTo>
                  <a:lnTo>
                    <a:pt x="196" y="718"/>
                  </a:lnTo>
                  <a:lnTo>
                    <a:pt x="199" y="713"/>
                  </a:lnTo>
                  <a:lnTo>
                    <a:pt x="199" y="711"/>
                  </a:lnTo>
                  <a:lnTo>
                    <a:pt x="196" y="706"/>
                  </a:lnTo>
                  <a:lnTo>
                    <a:pt x="196" y="704"/>
                  </a:lnTo>
                  <a:lnTo>
                    <a:pt x="196" y="704"/>
                  </a:lnTo>
                  <a:lnTo>
                    <a:pt x="199" y="699"/>
                  </a:lnTo>
                  <a:lnTo>
                    <a:pt x="199" y="694"/>
                  </a:lnTo>
                  <a:lnTo>
                    <a:pt x="199" y="692"/>
                  </a:lnTo>
                  <a:lnTo>
                    <a:pt x="199" y="692"/>
                  </a:lnTo>
                  <a:lnTo>
                    <a:pt x="199" y="689"/>
                  </a:lnTo>
                  <a:lnTo>
                    <a:pt x="201" y="687"/>
                  </a:lnTo>
                  <a:lnTo>
                    <a:pt x="201" y="687"/>
                  </a:lnTo>
                  <a:lnTo>
                    <a:pt x="203" y="687"/>
                  </a:lnTo>
                  <a:lnTo>
                    <a:pt x="203" y="685"/>
                  </a:lnTo>
                  <a:lnTo>
                    <a:pt x="203" y="682"/>
                  </a:lnTo>
                  <a:lnTo>
                    <a:pt x="203" y="682"/>
                  </a:lnTo>
                  <a:lnTo>
                    <a:pt x="206" y="680"/>
                  </a:lnTo>
                  <a:lnTo>
                    <a:pt x="208" y="678"/>
                  </a:lnTo>
                  <a:lnTo>
                    <a:pt x="211" y="678"/>
                  </a:lnTo>
                  <a:lnTo>
                    <a:pt x="213" y="675"/>
                  </a:lnTo>
                  <a:lnTo>
                    <a:pt x="215" y="673"/>
                  </a:lnTo>
                  <a:lnTo>
                    <a:pt x="215" y="673"/>
                  </a:lnTo>
                  <a:lnTo>
                    <a:pt x="215" y="673"/>
                  </a:lnTo>
                  <a:lnTo>
                    <a:pt x="218" y="673"/>
                  </a:lnTo>
                  <a:lnTo>
                    <a:pt x="218" y="670"/>
                  </a:lnTo>
                  <a:lnTo>
                    <a:pt x="218" y="670"/>
                  </a:lnTo>
                  <a:lnTo>
                    <a:pt x="220" y="670"/>
                  </a:lnTo>
                  <a:lnTo>
                    <a:pt x="220" y="670"/>
                  </a:lnTo>
                  <a:lnTo>
                    <a:pt x="220" y="670"/>
                  </a:lnTo>
                  <a:lnTo>
                    <a:pt x="222" y="670"/>
                  </a:lnTo>
                  <a:lnTo>
                    <a:pt x="222" y="670"/>
                  </a:lnTo>
                  <a:lnTo>
                    <a:pt x="225" y="673"/>
                  </a:lnTo>
                  <a:lnTo>
                    <a:pt x="227" y="670"/>
                  </a:lnTo>
                  <a:lnTo>
                    <a:pt x="227" y="670"/>
                  </a:lnTo>
                  <a:lnTo>
                    <a:pt x="227" y="668"/>
                  </a:lnTo>
                  <a:lnTo>
                    <a:pt x="227" y="663"/>
                  </a:lnTo>
                  <a:lnTo>
                    <a:pt x="229" y="663"/>
                  </a:lnTo>
                  <a:lnTo>
                    <a:pt x="229" y="661"/>
                  </a:lnTo>
                  <a:lnTo>
                    <a:pt x="229" y="659"/>
                  </a:lnTo>
                  <a:lnTo>
                    <a:pt x="229" y="659"/>
                  </a:lnTo>
                  <a:lnTo>
                    <a:pt x="229" y="659"/>
                  </a:lnTo>
                  <a:lnTo>
                    <a:pt x="232" y="656"/>
                  </a:lnTo>
                  <a:lnTo>
                    <a:pt x="232" y="656"/>
                  </a:lnTo>
                  <a:lnTo>
                    <a:pt x="234" y="654"/>
                  </a:lnTo>
                  <a:lnTo>
                    <a:pt x="237" y="654"/>
                  </a:lnTo>
                  <a:lnTo>
                    <a:pt x="222" y="640"/>
                  </a:lnTo>
                  <a:lnTo>
                    <a:pt x="220" y="640"/>
                  </a:lnTo>
                  <a:lnTo>
                    <a:pt x="220" y="640"/>
                  </a:lnTo>
                  <a:lnTo>
                    <a:pt x="220" y="640"/>
                  </a:lnTo>
                  <a:lnTo>
                    <a:pt x="220" y="637"/>
                  </a:lnTo>
                  <a:lnTo>
                    <a:pt x="220" y="637"/>
                  </a:lnTo>
                  <a:lnTo>
                    <a:pt x="220" y="635"/>
                  </a:lnTo>
                  <a:lnTo>
                    <a:pt x="220" y="633"/>
                  </a:lnTo>
                  <a:lnTo>
                    <a:pt x="220" y="630"/>
                  </a:lnTo>
                  <a:lnTo>
                    <a:pt x="220" y="630"/>
                  </a:lnTo>
                  <a:lnTo>
                    <a:pt x="220" y="628"/>
                  </a:lnTo>
                  <a:lnTo>
                    <a:pt x="220" y="623"/>
                  </a:lnTo>
                  <a:lnTo>
                    <a:pt x="218" y="621"/>
                  </a:lnTo>
                  <a:lnTo>
                    <a:pt x="218" y="621"/>
                  </a:lnTo>
                  <a:lnTo>
                    <a:pt x="218" y="618"/>
                  </a:lnTo>
                  <a:lnTo>
                    <a:pt x="215" y="616"/>
                  </a:lnTo>
                  <a:lnTo>
                    <a:pt x="213" y="616"/>
                  </a:lnTo>
                  <a:lnTo>
                    <a:pt x="213" y="616"/>
                  </a:lnTo>
                  <a:lnTo>
                    <a:pt x="213" y="616"/>
                  </a:lnTo>
                  <a:lnTo>
                    <a:pt x="213" y="616"/>
                  </a:lnTo>
                  <a:lnTo>
                    <a:pt x="211" y="614"/>
                  </a:lnTo>
                  <a:lnTo>
                    <a:pt x="211" y="611"/>
                  </a:lnTo>
                  <a:lnTo>
                    <a:pt x="211" y="611"/>
                  </a:lnTo>
                  <a:lnTo>
                    <a:pt x="211" y="611"/>
                  </a:lnTo>
                  <a:lnTo>
                    <a:pt x="211" y="609"/>
                  </a:lnTo>
                  <a:lnTo>
                    <a:pt x="211" y="609"/>
                  </a:lnTo>
                  <a:lnTo>
                    <a:pt x="211" y="607"/>
                  </a:lnTo>
                  <a:lnTo>
                    <a:pt x="211" y="607"/>
                  </a:lnTo>
                  <a:lnTo>
                    <a:pt x="211" y="607"/>
                  </a:lnTo>
                  <a:lnTo>
                    <a:pt x="211" y="607"/>
                  </a:lnTo>
                  <a:lnTo>
                    <a:pt x="211" y="607"/>
                  </a:lnTo>
                  <a:lnTo>
                    <a:pt x="211" y="604"/>
                  </a:lnTo>
                  <a:lnTo>
                    <a:pt x="208" y="602"/>
                  </a:lnTo>
                  <a:lnTo>
                    <a:pt x="211" y="602"/>
                  </a:lnTo>
                  <a:lnTo>
                    <a:pt x="211" y="602"/>
                  </a:lnTo>
                  <a:lnTo>
                    <a:pt x="211" y="602"/>
                  </a:lnTo>
                  <a:lnTo>
                    <a:pt x="208" y="600"/>
                  </a:lnTo>
                  <a:lnTo>
                    <a:pt x="211" y="597"/>
                  </a:lnTo>
                  <a:lnTo>
                    <a:pt x="208" y="597"/>
                  </a:lnTo>
                  <a:lnTo>
                    <a:pt x="208" y="597"/>
                  </a:lnTo>
                  <a:lnTo>
                    <a:pt x="206" y="595"/>
                  </a:lnTo>
                  <a:lnTo>
                    <a:pt x="203" y="595"/>
                  </a:lnTo>
                  <a:lnTo>
                    <a:pt x="203" y="595"/>
                  </a:lnTo>
                  <a:lnTo>
                    <a:pt x="203" y="595"/>
                  </a:lnTo>
                  <a:lnTo>
                    <a:pt x="201" y="595"/>
                  </a:lnTo>
                  <a:lnTo>
                    <a:pt x="201" y="595"/>
                  </a:lnTo>
                  <a:lnTo>
                    <a:pt x="199" y="595"/>
                  </a:lnTo>
                  <a:lnTo>
                    <a:pt x="199" y="592"/>
                  </a:lnTo>
                  <a:lnTo>
                    <a:pt x="199" y="592"/>
                  </a:lnTo>
                  <a:lnTo>
                    <a:pt x="199" y="592"/>
                  </a:lnTo>
                  <a:lnTo>
                    <a:pt x="196" y="590"/>
                  </a:lnTo>
                  <a:lnTo>
                    <a:pt x="196" y="590"/>
                  </a:lnTo>
                  <a:lnTo>
                    <a:pt x="196" y="590"/>
                  </a:lnTo>
                  <a:lnTo>
                    <a:pt x="196" y="590"/>
                  </a:lnTo>
                  <a:lnTo>
                    <a:pt x="194" y="590"/>
                  </a:lnTo>
                  <a:lnTo>
                    <a:pt x="194" y="590"/>
                  </a:lnTo>
                  <a:lnTo>
                    <a:pt x="194" y="588"/>
                  </a:lnTo>
                  <a:lnTo>
                    <a:pt x="194" y="588"/>
                  </a:lnTo>
                  <a:lnTo>
                    <a:pt x="194" y="585"/>
                  </a:lnTo>
                  <a:lnTo>
                    <a:pt x="194" y="588"/>
                  </a:lnTo>
                  <a:lnTo>
                    <a:pt x="194" y="585"/>
                  </a:lnTo>
                  <a:lnTo>
                    <a:pt x="194" y="585"/>
                  </a:lnTo>
                  <a:lnTo>
                    <a:pt x="194" y="585"/>
                  </a:lnTo>
                  <a:lnTo>
                    <a:pt x="194" y="583"/>
                  </a:lnTo>
                  <a:lnTo>
                    <a:pt x="194" y="583"/>
                  </a:lnTo>
                  <a:lnTo>
                    <a:pt x="194" y="583"/>
                  </a:lnTo>
                  <a:lnTo>
                    <a:pt x="194" y="583"/>
                  </a:lnTo>
                  <a:lnTo>
                    <a:pt x="194" y="581"/>
                  </a:lnTo>
                  <a:lnTo>
                    <a:pt x="194" y="581"/>
                  </a:lnTo>
                  <a:lnTo>
                    <a:pt x="194" y="581"/>
                  </a:lnTo>
                  <a:lnTo>
                    <a:pt x="194" y="581"/>
                  </a:lnTo>
                  <a:lnTo>
                    <a:pt x="194" y="581"/>
                  </a:lnTo>
                  <a:lnTo>
                    <a:pt x="194" y="578"/>
                  </a:lnTo>
                  <a:lnTo>
                    <a:pt x="194" y="578"/>
                  </a:lnTo>
                  <a:lnTo>
                    <a:pt x="194" y="578"/>
                  </a:lnTo>
                  <a:lnTo>
                    <a:pt x="194" y="576"/>
                  </a:lnTo>
                  <a:lnTo>
                    <a:pt x="194" y="576"/>
                  </a:lnTo>
                  <a:lnTo>
                    <a:pt x="194" y="576"/>
                  </a:lnTo>
                  <a:lnTo>
                    <a:pt x="192" y="574"/>
                  </a:lnTo>
                  <a:lnTo>
                    <a:pt x="194" y="571"/>
                  </a:lnTo>
                  <a:lnTo>
                    <a:pt x="192" y="571"/>
                  </a:lnTo>
                  <a:lnTo>
                    <a:pt x="192" y="571"/>
                  </a:lnTo>
                  <a:lnTo>
                    <a:pt x="192" y="569"/>
                  </a:lnTo>
                  <a:lnTo>
                    <a:pt x="192" y="567"/>
                  </a:lnTo>
                  <a:lnTo>
                    <a:pt x="192" y="567"/>
                  </a:lnTo>
                  <a:lnTo>
                    <a:pt x="192" y="567"/>
                  </a:lnTo>
                  <a:lnTo>
                    <a:pt x="192" y="564"/>
                  </a:lnTo>
                  <a:lnTo>
                    <a:pt x="192" y="564"/>
                  </a:lnTo>
                  <a:lnTo>
                    <a:pt x="192" y="562"/>
                  </a:lnTo>
                  <a:lnTo>
                    <a:pt x="194" y="562"/>
                  </a:lnTo>
                  <a:lnTo>
                    <a:pt x="192" y="562"/>
                  </a:lnTo>
                  <a:lnTo>
                    <a:pt x="194" y="559"/>
                  </a:lnTo>
                  <a:lnTo>
                    <a:pt x="192" y="559"/>
                  </a:lnTo>
                  <a:lnTo>
                    <a:pt x="194" y="557"/>
                  </a:lnTo>
                  <a:lnTo>
                    <a:pt x="192" y="557"/>
                  </a:lnTo>
                  <a:lnTo>
                    <a:pt x="194" y="555"/>
                  </a:lnTo>
                  <a:lnTo>
                    <a:pt x="192" y="555"/>
                  </a:lnTo>
                  <a:lnTo>
                    <a:pt x="194" y="555"/>
                  </a:lnTo>
                  <a:lnTo>
                    <a:pt x="194" y="555"/>
                  </a:lnTo>
                  <a:lnTo>
                    <a:pt x="194" y="555"/>
                  </a:lnTo>
                  <a:lnTo>
                    <a:pt x="194" y="552"/>
                  </a:lnTo>
                  <a:lnTo>
                    <a:pt x="196" y="552"/>
                  </a:lnTo>
                  <a:lnTo>
                    <a:pt x="194" y="552"/>
                  </a:lnTo>
                  <a:lnTo>
                    <a:pt x="196" y="552"/>
                  </a:lnTo>
                  <a:lnTo>
                    <a:pt x="194" y="552"/>
                  </a:lnTo>
                  <a:lnTo>
                    <a:pt x="196" y="550"/>
                  </a:lnTo>
                  <a:lnTo>
                    <a:pt x="196" y="552"/>
                  </a:lnTo>
                  <a:lnTo>
                    <a:pt x="196" y="550"/>
                  </a:lnTo>
                  <a:lnTo>
                    <a:pt x="199" y="550"/>
                  </a:lnTo>
                  <a:lnTo>
                    <a:pt x="199" y="550"/>
                  </a:lnTo>
                  <a:lnTo>
                    <a:pt x="201" y="548"/>
                  </a:lnTo>
                  <a:lnTo>
                    <a:pt x="201" y="548"/>
                  </a:lnTo>
                  <a:lnTo>
                    <a:pt x="201" y="545"/>
                  </a:lnTo>
                  <a:lnTo>
                    <a:pt x="203" y="543"/>
                  </a:lnTo>
                  <a:lnTo>
                    <a:pt x="203" y="543"/>
                  </a:lnTo>
                  <a:lnTo>
                    <a:pt x="203" y="543"/>
                  </a:lnTo>
                  <a:lnTo>
                    <a:pt x="203" y="543"/>
                  </a:lnTo>
                  <a:lnTo>
                    <a:pt x="206" y="543"/>
                  </a:lnTo>
                  <a:lnTo>
                    <a:pt x="206" y="541"/>
                  </a:lnTo>
                  <a:lnTo>
                    <a:pt x="208" y="541"/>
                  </a:lnTo>
                  <a:lnTo>
                    <a:pt x="208" y="538"/>
                  </a:lnTo>
                  <a:lnTo>
                    <a:pt x="211" y="536"/>
                  </a:lnTo>
                  <a:lnTo>
                    <a:pt x="213" y="536"/>
                  </a:lnTo>
                  <a:lnTo>
                    <a:pt x="215" y="533"/>
                  </a:lnTo>
                  <a:lnTo>
                    <a:pt x="215" y="533"/>
                  </a:lnTo>
                  <a:lnTo>
                    <a:pt x="215" y="533"/>
                  </a:lnTo>
                  <a:lnTo>
                    <a:pt x="218" y="533"/>
                  </a:lnTo>
                  <a:lnTo>
                    <a:pt x="218" y="531"/>
                  </a:lnTo>
                  <a:lnTo>
                    <a:pt x="218" y="529"/>
                  </a:lnTo>
                  <a:lnTo>
                    <a:pt x="218" y="529"/>
                  </a:lnTo>
                  <a:lnTo>
                    <a:pt x="218" y="526"/>
                  </a:lnTo>
                  <a:lnTo>
                    <a:pt x="218" y="524"/>
                  </a:lnTo>
                  <a:lnTo>
                    <a:pt x="218" y="524"/>
                  </a:lnTo>
                  <a:lnTo>
                    <a:pt x="218" y="524"/>
                  </a:lnTo>
                  <a:lnTo>
                    <a:pt x="218" y="524"/>
                  </a:lnTo>
                  <a:lnTo>
                    <a:pt x="218" y="522"/>
                  </a:lnTo>
                  <a:lnTo>
                    <a:pt x="218" y="519"/>
                  </a:lnTo>
                  <a:lnTo>
                    <a:pt x="215" y="517"/>
                  </a:lnTo>
                  <a:lnTo>
                    <a:pt x="213" y="517"/>
                  </a:lnTo>
                  <a:lnTo>
                    <a:pt x="213" y="515"/>
                  </a:lnTo>
                  <a:lnTo>
                    <a:pt x="211" y="512"/>
                  </a:lnTo>
                  <a:lnTo>
                    <a:pt x="211" y="510"/>
                  </a:lnTo>
                  <a:lnTo>
                    <a:pt x="211" y="507"/>
                  </a:lnTo>
                  <a:lnTo>
                    <a:pt x="211" y="505"/>
                  </a:lnTo>
                  <a:lnTo>
                    <a:pt x="211" y="503"/>
                  </a:lnTo>
                  <a:lnTo>
                    <a:pt x="211" y="503"/>
                  </a:lnTo>
                  <a:lnTo>
                    <a:pt x="211" y="503"/>
                  </a:lnTo>
                  <a:lnTo>
                    <a:pt x="213" y="503"/>
                  </a:lnTo>
                  <a:lnTo>
                    <a:pt x="211" y="503"/>
                  </a:lnTo>
                  <a:lnTo>
                    <a:pt x="211" y="500"/>
                  </a:lnTo>
                  <a:lnTo>
                    <a:pt x="211" y="500"/>
                  </a:lnTo>
                  <a:lnTo>
                    <a:pt x="208" y="500"/>
                  </a:lnTo>
                  <a:lnTo>
                    <a:pt x="208" y="498"/>
                  </a:lnTo>
                  <a:lnTo>
                    <a:pt x="208" y="498"/>
                  </a:lnTo>
                  <a:lnTo>
                    <a:pt x="208" y="498"/>
                  </a:lnTo>
                  <a:lnTo>
                    <a:pt x="211" y="498"/>
                  </a:lnTo>
                  <a:lnTo>
                    <a:pt x="208" y="496"/>
                  </a:lnTo>
                  <a:lnTo>
                    <a:pt x="211" y="496"/>
                  </a:lnTo>
                  <a:lnTo>
                    <a:pt x="211" y="493"/>
                  </a:lnTo>
                  <a:lnTo>
                    <a:pt x="208" y="493"/>
                  </a:lnTo>
                  <a:lnTo>
                    <a:pt x="208" y="493"/>
                  </a:lnTo>
                  <a:lnTo>
                    <a:pt x="208" y="493"/>
                  </a:lnTo>
                  <a:lnTo>
                    <a:pt x="206" y="493"/>
                  </a:lnTo>
                  <a:lnTo>
                    <a:pt x="206" y="493"/>
                  </a:lnTo>
                  <a:lnTo>
                    <a:pt x="203" y="493"/>
                  </a:lnTo>
                  <a:lnTo>
                    <a:pt x="203" y="493"/>
                  </a:lnTo>
                  <a:lnTo>
                    <a:pt x="203" y="493"/>
                  </a:lnTo>
                  <a:lnTo>
                    <a:pt x="201" y="493"/>
                  </a:lnTo>
                  <a:lnTo>
                    <a:pt x="199" y="493"/>
                  </a:lnTo>
                  <a:lnTo>
                    <a:pt x="199" y="491"/>
                  </a:lnTo>
                  <a:lnTo>
                    <a:pt x="196" y="491"/>
                  </a:lnTo>
                  <a:lnTo>
                    <a:pt x="196" y="491"/>
                  </a:lnTo>
                  <a:lnTo>
                    <a:pt x="196" y="491"/>
                  </a:lnTo>
                  <a:lnTo>
                    <a:pt x="194" y="491"/>
                  </a:lnTo>
                  <a:lnTo>
                    <a:pt x="194" y="491"/>
                  </a:lnTo>
                  <a:lnTo>
                    <a:pt x="194" y="491"/>
                  </a:lnTo>
                  <a:lnTo>
                    <a:pt x="192" y="491"/>
                  </a:lnTo>
                  <a:lnTo>
                    <a:pt x="192" y="491"/>
                  </a:lnTo>
                  <a:lnTo>
                    <a:pt x="189" y="491"/>
                  </a:lnTo>
                  <a:lnTo>
                    <a:pt x="189" y="491"/>
                  </a:lnTo>
                  <a:lnTo>
                    <a:pt x="187" y="491"/>
                  </a:lnTo>
                  <a:lnTo>
                    <a:pt x="185" y="491"/>
                  </a:lnTo>
                  <a:lnTo>
                    <a:pt x="185" y="491"/>
                  </a:lnTo>
                  <a:lnTo>
                    <a:pt x="182" y="493"/>
                  </a:lnTo>
                  <a:lnTo>
                    <a:pt x="182" y="491"/>
                  </a:lnTo>
                  <a:lnTo>
                    <a:pt x="180" y="491"/>
                  </a:lnTo>
                  <a:lnTo>
                    <a:pt x="180" y="491"/>
                  </a:lnTo>
                  <a:lnTo>
                    <a:pt x="177" y="491"/>
                  </a:lnTo>
                  <a:lnTo>
                    <a:pt x="175" y="491"/>
                  </a:lnTo>
                  <a:lnTo>
                    <a:pt x="173" y="491"/>
                  </a:lnTo>
                  <a:lnTo>
                    <a:pt x="173" y="491"/>
                  </a:lnTo>
                  <a:lnTo>
                    <a:pt x="173" y="489"/>
                  </a:lnTo>
                  <a:lnTo>
                    <a:pt x="173" y="489"/>
                  </a:lnTo>
                  <a:lnTo>
                    <a:pt x="173" y="486"/>
                  </a:lnTo>
                  <a:lnTo>
                    <a:pt x="173" y="486"/>
                  </a:lnTo>
                  <a:lnTo>
                    <a:pt x="170" y="486"/>
                  </a:lnTo>
                  <a:lnTo>
                    <a:pt x="170" y="486"/>
                  </a:lnTo>
                  <a:lnTo>
                    <a:pt x="170" y="484"/>
                  </a:lnTo>
                  <a:lnTo>
                    <a:pt x="168" y="486"/>
                  </a:lnTo>
                  <a:lnTo>
                    <a:pt x="168" y="486"/>
                  </a:lnTo>
                  <a:lnTo>
                    <a:pt x="166" y="489"/>
                  </a:lnTo>
                  <a:lnTo>
                    <a:pt x="163" y="489"/>
                  </a:lnTo>
                  <a:lnTo>
                    <a:pt x="163" y="489"/>
                  </a:lnTo>
                  <a:lnTo>
                    <a:pt x="163" y="491"/>
                  </a:lnTo>
                  <a:lnTo>
                    <a:pt x="163" y="491"/>
                  </a:lnTo>
                  <a:lnTo>
                    <a:pt x="163" y="491"/>
                  </a:lnTo>
                  <a:lnTo>
                    <a:pt x="161" y="491"/>
                  </a:lnTo>
                  <a:lnTo>
                    <a:pt x="161" y="491"/>
                  </a:lnTo>
                  <a:lnTo>
                    <a:pt x="159" y="491"/>
                  </a:lnTo>
                  <a:lnTo>
                    <a:pt x="159" y="491"/>
                  </a:lnTo>
                  <a:lnTo>
                    <a:pt x="156" y="489"/>
                  </a:lnTo>
                  <a:lnTo>
                    <a:pt x="156" y="489"/>
                  </a:lnTo>
                  <a:lnTo>
                    <a:pt x="156" y="489"/>
                  </a:lnTo>
                  <a:lnTo>
                    <a:pt x="156" y="486"/>
                  </a:lnTo>
                  <a:lnTo>
                    <a:pt x="156" y="486"/>
                  </a:lnTo>
                  <a:lnTo>
                    <a:pt x="154" y="486"/>
                  </a:lnTo>
                  <a:lnTo>
                    <a:pt x="156" y="484"/>
                  </a:lnTo>
                  <a:lnTo>
                    <a:pt x="154" y="484"/>
                  </a:lnTo>
                  <a:lnTo>
                    <a:pt x="154" y="481"/>
                  </a:lnTo>
                  <a:lnTo>
                    <a:pt x="151" y="484"/>
                  </a:lnTo>
                  <a:lnTo>
                    <a:pt x="151" y="484"/>
                  </a:lnTo>
                  <a:lnTo>
                    <a:pt x="151" y="479"/>
                  </a:lnTo>
                  <a:lnTo>
                    <a:pt x="151" y="479"/>
                  </a:lnTo>
                  <a:lnTo>
                    <a:pt x="151" y="479"/>
                  </a:lnTo>
                  <a:lnTo>
                    <a:pt x="151" y="477"/>
                  </a:lnTo>
                  <a:lnTo>
                    <a:pt x="149" y="477"/>
                  </a:lnTo>
                  <a:lnTo>
                    <a:pt x="81" y="477"/>
                  </a:lnTo>
                  <a:lnTo>
                    <a:pt x="26" y="477"/>
                  </a:lnTo>
                  <a:lnTo>
                    <a:pt x="10" y="474"/>
                  </a:lnTo>
                  <a:lnTo>
                    <a:pt x="10" y="474"/>
                  </a:lnTo>
                  <a:lnTo>
                    <a:pt x="12" y="474"/>
                  </a:lnTo>
                  <a:lnTo>
                    <a:pt x="14" y="474"/>
                  </a:lnTo>
                  <a:lnTo>
                    <a:pt x="14" y="472"/>
                  </a:lnTo>
                  <a:lnTo>
                    <a:pt x="14" y="472"/>
                  </a:lnTo>
                  <a:lnTo>
                    <a:pt x="14" y="470"/>
                  </a:lnTo>
                  <a:lnTo>
                    <a:pt x="14" y="467"/>
                  </a:lnTo>
                  <a:lnTo>
                    <a:pt x="14" y="465"/>
                  </a:lnTo>
                  <a:lnTo>
                    <a:pt x="14" y="465"/>
                  </a:lnTo>
                  <a:lnTo>
                    <a:pt x="14" y="463"/>
                  </a:lnTo>
                  <a:lnTo>
                    <a:pt x="14" y="463"/>
                  </a:lnTo>
                  <a:lnTo>
                    <a:pt x="14" y="463"/>
                  </a:lnTo>
                  <a:lnTo>
                    <a:pt x="14" y="460"/>
                  </a:lnTo>
                  <a:lnTo>
                    <a:pt x="14" y="458"/>
                  </a:lnTo>
                  <a:lnTo>
                    <a:pt x="17" y="455"/>
                  </a:lnTo>
                  <a:lnTo>
                    <a:pt x="17" y="453"/>
                  </a:lnTo>
                  <a:lnTo>
                    <a:pt x="17" y="453"/>
                  </a:lnTo>
                  <a:lnTo>
                    <a:pt x="17" y="451"/>
                  </a:lnTo>
                  <a:lnTo>
                    <a:pt x="17" y="451"/>
                  </a:lnTo>
                  <a:lnTo>
                    <a:pt x="17" y="448"/>
                  </a:lnTo>
                  <a:lnTo>
                    <a:pt x="17" y="451"/>
                  </a:lnTo>
                  <a:lnTo>
                    <a:pt x="19" y="451"/>
                  </a:lnTo>
                  <a:lnTo>
                    <a:pt x="19" y="451"/>
                  </a:lnTo>
                  <a:lnTo>
                    <a:pt x="19" y="451"/>
                  </a:lnTo>
                  <a:lnTo>
                    <a:pt x="19" y="451"/>
                  </a:lnTo>
                  <a:lnTo>
                    <a:pt x="19" y="446"/>
                  </a:lnTo>
                  <a:lnTo>
                    <a:pt x="19" y="446"/>
                  </a:lnTo>
                  <a:lnTo>
                    <a:pt x="19" y="444"/>
                  </a:lnTo>
                  <a:lnTo>
                    <a:pt x="19" y="444"/>
                  </a:lnTo>
                  <a:lnTo>
                    <a:pt x="19" y="441"/>
                  </a:lnTo>
                  <a:lnTo>
                    <a:pt x="19" y="441"/>
                  </a:lnTo>
                  <a:lnTo>
                    <a:pt x="19" y="441"/>
                  </a:lnTo>
                  <a:lnTo>
                    <a:pt x="19" y="441"/>
                  </a:lnTo>
                  <a:lnTo>
                    <a:pt x="17" y="439"/>
                  </a:lnTo>
                  <a:lnTo>
                    <a:pt x="17" y="437"/>
                  </a:lnTo>
                  <a:lnTo>
                    <a:pt x="19" y="434"/>
                  </a:lnTo>
                  <a:lnTo>
                    <a:pt x="19" y="434"/>
                  </a:lnTo>
                  <a:lnTo>
                    <a:pt x="19" y="434"/>
                  </a:lnTo>
                  <a:lnTo>
                    <a:pt x="19" y="432"/>
                  </a:lnTo>
                  <a:lnTo>
                    <a:pt x="19" y="429"/>
                  </a:lnTo>
                  <a:lnTo>
                    <a:pt x="19" y="429"/>
                  </a:lnTo>
                  <a:lnTo>
                    <a:pt x="19" y="429"/>
                  </a:lnTo>
                  <a:lnTo>
                    <a:pt x="19" y="427"/>
                  </a:lnTo>
                  <a:lnTo>
                    <a:pt x="19" y="425"/>
                  </a:lnTo>
                  <a:lnTo>
                    <a:pt x="19" y="425"/>
                  </a:lnTo>
                  <a:lnTo>
                    <a:pt x="19" y="420"/>
                  </a:lnTo>
                  <a:lnTo>
                    <a:pt x="22" y="420"/>
                  </a:lnTo>
                  <a:lnTo>
                    <a:pt x="22" y="418"/>
                  </a:lnTo>
                  <a:lnTo>
                    <a:pt x="19" y="415"/>
                  </a:lnTo>
                  <a:lnTo>
                    <a:pt x="19" y="411"/>
                  </a:lnTo>
                  <a:lnTo>
                    <a:pt x="22" y="408"/>
                  </a:lnTo>
                  <a:lnTo>
                    <a:pt x="19" y="406"/>
                  </a:lnTo>
                  <a:lnTo>
                    <a:pt x="22" y="406"/>
                  </a:lnTo>
                  <a:lnTo>
                    <a:pt x="22" y="401"/>
                  </a:lnTo>
                  <a:lnTo>
                    <a:pt x="22" y="401"/>
                  </a:lnTo>
                  <a:lnTo>
                    <a:pt x="19" y="401"/>
                  </a:lnTo>
                  <a:lnTo>
                    <a:pt x="19" y="401"/>
                  </a:lnTo>
                  <a:lnTo>
                    <a:pt x="22" y="399"/>
                  </a:lnTo>
                  <a:lnTo>
                    <a:pt x="19" y="399"/>
                  </a:lnTo>
                  <a:lnTo>
                    <a:pt x="19" y="399"/>
                  </a:lnTo>
                  <a:lnTo>
                    <a:pt x="17" y="399"/>
                  </a:lnTo>
                  <a:lnTo>
                    <a:pt x="17" y="396"/>
                  </a:lnTo>
                  <a:lnTo>
                    <a:pt x="17" y="392"/>
                  </a:lnTo>
                  <a:lnTo>
                    <a:pt x="17" y="392"/>
                  </a:lnTo>
                  <a:lnTo>
                    <a:pt x="14" y="389"/>
                  </a:lnTo>
                  <a:lnTo>
                    <a:pt x="14" y="389"/>
                  </a:lnTo>
                  <a:lnTo>
                    <a:pt x="12" y="389"/>
                  </a:lnTo>
                  <a:lnTo>
                    <a:pt x="12" y="389"/>
                  </a:lnTo>
                  <a:lnTo>
                    <a:pt x="10" y="389"/>
                  </a:lnTo>
                  <a:lnTo>
                    <a:pt x="10" y="387"/>
                  </a:lnTo>
                  <a:lnTo>
                    <a:pt x="12" y="387"/>
                  </a:lnTo>
                  <a:lnTo>
                    <a:pt x="10" y="382"/>
                  </a:lnTo>
                  <a:lnTo>
                    <a:pt x="7" y="380"/>
                  </a:lnTo>
                  <a:lnTo>
                    <a:pt x="7" y="380"/>
                  </a:lnTo>
                  <a:lnTo>
                    <a:pt x="7" y="378"/>
                  </a:lnTo>
                  <a:lnTo>
                    <a:pt x="7" y="375"/>
                  </a:lnTo>
                  <a:lnTo>
                    <a:pt x="7" y="373"/>
                  </a:lnTo>
                  <a:lnTo>
                    <a:pt x="10" y="373"/>
                  </a:lnTo>
                  <a:lnTo>
                    <a:pt x="10" y="373"/>
                  </a:lnTo>
                  <a:lnTo>
                    <a:pt x="10" y="370"/>
                  </a:lnTo>
                  <a:lnTo>
                    <a:pt x="10" y="370"/>
                  </a:lnTo>
                  <a:lnTo>
                    <a:pt x="7" y="368"/>
                  </a:lnTo>
                  <a:lnTo>
                    <a:pt x="7" y="368"/>
                  </a:lnTo>
                  <a:lnTo>
                    <a:pt x="5" y="368"/>
                  </a:lnTo>
                  <a:lnTo>
                    <a:pt x="5" y="368"/>
                  </a:lnTo>
                  <a:lnTo>
                    <a:pt x="5" y="363"/>
                  </a:lnTo>
                  <a:lnTo>
                    <a:pt x="5" y="361"/>
                  </a:lnTo>
                  <a:lnTo>
                    <a:pt x="7" y="359"/>
                  </a:lnTo>
                  <a:lnTo>
                    <a:pt x="7" y="359"/>
                  </a:lnTo>
                  <a:lnTo>
                    <a:pt x="7" y="359"/>
                  </a:lnTo>
                  <a:lnTo>
                    <a:pt x="7" y="354"/>
                  </a:lnTo>
                  <a:lnTo>
                    <a:pt x="7" y="354"/>
                  </a:lnTo>
                  <a:lnTo>
                    <a:pt x="7" y="354"/>
                  </a:lnTo>
                  <a:lnTo>
                    <a:pt x="10" y="352"/>
                  </a:lnTo>
                  <a:lnTo>
                    <a:pt x="12" y="347"/>
                  </a:lnTo>
                  <a:lnTo>
                    <a:pt x="12" y="347"/>
                  </a:lnTo>
                  <a:lnTo>
                    <a:pt x="14" y="344"/>
                  </a:lnTo>
                  <a:lnTo>
                    <a:pt x="14" y="342"/>
                  </a:lnTo>
                  <a:lnTo>
                    <a:pt x="12" y="342"/>
                  </a:lnTo>
                  <a:lnTo>
                    <a:pt x="14" y="340"/>
                  </a:lnTo>
                  <a:lnTo>
                    <a:pt x="14" y="340"/>
                  </a:lnTo>
                  <a:lnTo>
                    <a:pt x="14" y="340"/>
                  </a:lnTo>
                  <a:lnTo>
                    <a:pt x="14" y="337"/>
                  </a:lnTo>
                  <a:lnTo>
                    <a:pt x="14" y="337"/>
                  </a:lnTo>
                  <a:lnTo>
                    <a:pt x="14" y="335"/>
                  </a:lnTo>
                  <a:lnTo>
                    <a:pt x="17" y="333"/>
                  </a:lnTo>
                  <a:lnTo>
                    <a:pt x="17" y="330"/>
                  </a:lnTo>
                  <a:lnTo>
                    <a:pt x="17" y="328"/>
                  </a:lnTo>
                  <a:lnTo>
                    <a:pt x="14" y="326"/>
                  </a:lnTo>
                  <a:lnTo>
                    <a:pt x="14" y="323"/>
                  </a:lnTo>
                  <a:lnTo>
                    <a:pt x="14" y="323"/>
                  </a:lnTo>
                  <a:lnTo>
                    <a:pt x="14" y="321"/>
                  </a:lnTo>
                  <a:lnTo>
                    <a:pt x="14" y="321"/>
                  </a:lnTo>
                  <a:lnTo>
                    <a:pt x="12" y="318"/>
                  </a:lnTo>
                  <a:lnTo>
                    <a:pt x="10" y="318"/>
                  </a:lnTo>
                  <a:lnTo>
                    <a:pt x="14" y="316"/>
                  </a:lnTo>
                  <a:lnTo>
                    <a:pt x="14" y="314"/>
                  </a:lnTo>
                  <a:lnTo>
                    <a:pt x="10" y="311"/>
                  </a:lnTo>
                  <a:lnTo>
                    <a:pt x="7" y="311"/>
                  </a:lnTo>
                  <a:lnTo>
                    <a:pt x="7" y="309"/>
                  </a:lnTo>
                  <a:lnTo>
                    <a:pt x="10" y="309"/>
                  </a:lnTo>
                  <a:lnTo>
                    <a:pt x="12" y="309"/>
                  </a:lnTo>
                  <a:lnTo>
                    <a:pt x="14" y="309"/>
                  </a:lnTo>
                  <a:lnTo>
                    <a:pt x="14" y="307"/>
                  </a:lnTo>
                  <a:lnTo>
                    <a:pt x="17" y="307"/>
                  </a:lnTo>
                  <a:lnTo>
                    <a:pt x="17" y="304"/>
                  </a:lnTo>
                  <a:lnTo>
                    <a:pt x="17" y="302"/>
                  </a:lnTo>
                  <a:lnTo>
                    <a:pt x="17" y="302"/>
                  </a:lnTo>
                  <a:lnTo>
                    <a:pt x="19" y="300"/>
                  </a:lnTo>
                  <a:lnTo>
                    <a:pt x="19" y="297"/>
                  </a:lnTo>
                  <a:lnTo>
                    <a:pt x="19" y="297"/>
                  </a:lnTo>
                  <a:lnTo>
                    <a:pt x="19" y="297"/>
                  </a:lnTo>
                  <a:lnTo>
                    <a:pt x="19" y="297"/>
                  </a:lnTo>
                  <a:lnTo>
                    <a:pt x="17" y="297"/>
                  </a:lnTo>
                  <a:lnTo>
                    <a:pt x="17" y="297"/>
                  </a:lnTo>
                  <a:lnTo>
                    <a:pt x="17" y="292"/>
                  </a:lnTo>
                  <a:lnTo>
                    <a:pt x="17" y="290"/>
                  </a:lnTo>
                  <a:lnTo>
                    <a:pt x="17" y="290"/>
                  </a:lnTo>
                  <a:lnTo>
                    <a:pt x="17" y="290"/>
                  </a:lnTo>
                  <a:lnTo>
                    <a:pt x="17" y="290"/>
                  </a:lnTo>
                  <a:lnTo>
                    <a:pt x="17" y="288"/>
                  </a:lnTo>
                  <a:lnTo>
                    <a:pt x="14" y="288"/>
                  </a:lnTo>
                  <a:lnTo>
                    <a:pt x="14" y="285"/>
                  </a:lnTo>
                  <a:lnTo>
                    <a:pt x="14" y="285"/>
                  </a:lnTo>
                  <a:lnTo>
                    <a:pt x="10" y="283"/>
                  </a:lnTo>
                  <a:lnTo>
                    <a:pt x="10" y="283"/>
                  </a:lnTo>
                  <a:lnTo>
                    <a:pt x="14" y="281"/>
                  </a:lnTo>
                  <a:lnTo>
                    <a:pt x="10" y="278"/>
                  </a:lnTo>
                  <a:lnTo>
                    <a:pt x="7" y="278"/>
                  </a:lnTo>
                  <a:lnTo>
                    <a:pt x="7" y="278"/>
                  </a:lnTo>
                  <a:lnTo>
                    <a:pt x="7" y="276"/>
                  </a:lnTo>
                  <a:lnTo>
                    <a:pt x="7" y="276"/>
                  </a:lnTo>
                  <a:lnTo>
                    <a:pt x="10" y="274"/>
                  </a:lnTo>
                  <a:lnTo>
                    <a:pt x="10" y="274"/>
                  </a:lnTo>
                  <a:lnTo>
                    <a:pt x="10" y="271"/>
                  </a:lnTo>
                  <a:lnTo>
                    <a:pt x="10" y="271"/>
                  </a:lnTo>
                  <a:lnTo>
                    <a:pt x="10" y="269"/>
                  </a:lnTo>
                  <a:lnTo>
                    <a:pt x="10" y="267"/>
                  </a:lnTo>
                  <a:lnTo>
                    <a:pt x="10" y="267"/>
                  </a:lnTo>
                  <a:lnTo>
                    <a:pt x="7" y="264"/>
                  </a:lnTo>
                  <a:lnTo>
                    <a:pt x="5" y="264"/>
                  </a:lnTo>
                  <a:lnTo>
                    <a:pt x="3" y="264"/>
                  </a:lnTo>
                  <a:lnTo>
                    <a:pt x="3" y="262"/>
                  </a:lnTo>
                  <a:lnTo>
                    <a:pt x="0" y="264"/>
                  </a:lnTo>
                  <a:lnTo>
                    <a:pt x="0" y="262"/>
                  </a:lnTo>
                  <a:lnTo>
                    <a:pt x="0" y="259"/>
                  </a:lnTo>
                  <a:lnTo>
                    <a:pt x="3" y="259"/>
                  </a:lnTo>
                  <a:lnTo>
                    <a:pt x="3" y="257"/>
                  </a:lnTo>
                  <a:lnTo>
                    <a:pt x="3" y="255"/>
                  </a:lnTo>
                  <a:lnTo>
                    <a:pt x="3" y="252"/>
                  </a:lnTo>
                  <a:lnTo>
                    <a:pt x="3" y="252"/>
                  </a:lnTo>
                  <a:lnTo>
                    <a:pt x="0" y="252"/>
                  </a:lnTo>
                  <a:lnTo>
                    <a:pt x="0" y="252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 cap="flat">
              <a:solidFill>
                <a:schemeClr val="bg2">
                  <a:lumMod val="7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>
                <a:solidFill>
                  <a:srgbClr val="000000"/>
                </a:solidFill>
              </a:endParaRPr>
            </a:p>
          </p:txBody>
        </p:sp>
        <p:sp>
          <p:nvSpPr>
            <p:cNvPr id="19" name="Freeform 22"/>
            <p:cNvSpPr>
              <a:spLocks/>
            </p:cNvSpPr>
            <p:nvPr/>
          </p:nvSpPr>
          <p:spPr bwMode="gray">
            <a:xfrm>
              <a:off x="1807606" y="4808247"/>
              <a:ext cx="742593" cy="789594"/>
            </a:xfrm>
            <a:custGeom>
              <a:avLst/>
              <a:gdLst/>
              <a:ahLst/>
              <a:cxnLst>
                <a:cxn ang="0">
                  <a:pos x="54" y="68"/>
                </a:cxn>
                <a:cxn ang="0">
                  <a:pos x="61" y="63"/>
                </a:cxn>
                <a:cxn ang="0">
                  <a:pos x="87" y="89"/>
                </a:cxn>
                <a:cxn ang="0">
                  <a:pos x="118" y="82"/>
                </a:cxn>
                <a:cxn ang="0">
                  <a:pos x="151" y="54"/>
                </a:cxn>
                <a:cxn ang="0">
                  <a:pos x="174" y="26"/>
                </a:cxn>
                <a:cxn ang="0">
                  <a:pos x="200" y="18"/>
                </a:cxn>
                <a:cxn ang="0">
                  <a:pos x="231" y="14"/>
                </a:cxn>
                <a:cxn ang="0">
                  <a:pos x="252" y="2"/>
                </a:cxn>
                <a:cxn ang="0">
                  <a:pos x="278" y="11"/>
                </a:cxn>
                <a:cxn ang="0">
                  <a:pos x="302" y="18"/>
                </a:cxn>
                <a:cxn ang="0">
                  <a:pos x="328" y="30"/>
                </a:cxn>
                <a:cxn ang="0">
                  <a:pos x="349" y="44"/>
                </a:cxn>
                <a:cxn ang="0">
                  <a:pos x="371" y="54"/>
                </a:cxn>
                <a:cxn ang="0">
                  <a:pos x="392" y="59"/>
                </a:cxn>
                <a:cxn ang="0">
                  <a:pos x="423" y="59"/>
                </a:cxn>
                <a:cxn ang="0">
                  <a:pos x="458" y="42"/>
                </a:cxn>
                <a:cxn ang="0">
                  <a:pos x="484" y="61"/>
                </a:cxn>
                <a:cxn ang="0">
                  <a:pos x="517" y="56"/>
                </a:cxn>
                <a:cxn ang="0">
                  <a:pos x="550" y="18"/>
                </a:cxn>
                <a:cxn ang="0">
                  <a:pos x="541" y="80"/>
                </a:cxn>
                <a:cxn ang="0">
                  <a:pos x="550" y="101"/>
                </a:cxn>
                <a:cxn ang="0">
                  <a:pos x="578" y="106"/>
                </a:cxn>
                <a:cxn ang="0">
                  <a:pos x="604" y="108"/>
                </a:cxn>
                <a:cxn ang="0">
                  <a:pos x="654" y="151"/>
                </a:cxn>
                <a:cxn ang="0">
                  <a:pos x="666" y="191"/>
                </a:cxn>
                <a:cxn ang="0">
                  <a:pos x="732" y="207"/>
                </a:cxn>
                <a:cxn ang="0">
                  <a:pos x="763" y="224"/>
                </a:cxn>
                <a:cxn ang="0">
                  <a:pos x="786" y="236"/>
                </a:cxn>
                <a:cxn ang="0">
                  <a:pos x="812" y="250"/>
                </a:cxn>
                <a:cxn ang="0">
                  <a:pos x="848" y="259"/>
                </a:cxn>
                <a:cxn ang="0">
                  <a:pos x="881" y="274"/>
                </a:cxn>
                <a:cxn ang="0">
                  <a:pos x="916" y="300"/>
                </a:cxn>
                <a:cxn ang="0">
                  <a:pos x="909" y="370"/>
                </a:cxn>
                <a:cxn ang="0">
                  <a:pos x="836" y="451"/>
                </a:cxn>
                <a:cxn ang="0">
                  <a:pos x="798" y="526"/>
                </a:cxn>
                <a:cxn ang="0">
                  <a:pos x="765" y="600"/>
                </a:cxn>
                <a:cxn ang="0">
                  <a:pos x="680" y="682"/>
                </a:cxn>
                <a:cxn ang="0">
                  <a:pos x="604" y="737"/>
                </a:cxn>
                <a:cxn ang="0">
                  <a:pos x="526" y="829"/>
                </a:cxn>
                <a:cxn ang="0">
                  <a:pos x="474" y="883"/>
                </a:cxn>
                <a:cxn ang="0">
                  <a:pos x="432" y="876"/>
                </a:cxn>
                <a:cxn ang="0">
                  <a:pos x="394" y="890"/>
                </a:cxn>
                <a:cxn ang="0">
                  <a:pos x="354" y="888"/>
                </a:cxn>
                <a:cxn ang="0">
                  <a:pos x="340" y="845"/>
                </a:cxn>
                <a:cxn ang="0">
                  <a:pos x="333" y="798"/>
                </a:cxn>
                <a:cxn ang="0">
                  <a:pos x="321" y="753"/>
                </a:cxn>
                <a:cxn ang="0">
                  <a:pos x="314" y="706"/>
                </a:cxn>
                <a:cxn ang="0">
                  <a:pos x="276" y="668"/>
                </a:cxn>
                <a:cxn ang="0">
                  <a:pos x="241" y="661"/>
                </a:cxn>
                <a:cxn ang="0">
                  <a:pos x="219" y="642"/>
                </a:cxn>
                <a:cxn ang="0">
                  <a:pos x="198" y="659"/>
                </a:cxn>
                <a:cxn ang="0">
                  <a:pos x="174" y="666"/>
                </a:cxn>
                <a:cxn ang="0">
                  <a:pos x="149" y="661"/>
                </a:cxn>
                <a:cxn ang="0">
                  <a:pos x="120" y="659"/>
                </a:cxn>
                <a:cxn ang="0">
                  <a:pos x="99" y="659"/>
                </a:cxn>
                <a:cxn ang="0">
                  <a:pos x="71" y="642"/>
                </a:cxn>
                <a:cxn ang="0">
                  <a:pos x="30" y="647"/>
                </a:cxn>
                <a:cxn ang="0">
                  <a:pos x="28" y="597"/>
                </a:cxn>
                <a:cxn ang="0">
                  <a:pos x="37" y="519"/>
                </a:cxn>
                <a:cxn ang="0">
                  <a:pos x="37" y="467"/>
                </a:cxn>
                <a:cxn ang="0">
                  <a:pos x="7" y="401"/>
                </a:cxn>
                <a:cxn ang="0">
                  <a:pos x="37" y="368"/>
                </a:cxn>
              </a:cxnLst>
              <a:rect l="0" t="0" r="r" b="b"/>
              <a:pathLst>
                <a:path w="919" h="902">
                  <a:moveTo>
                    <a:pt x="16" y="311"/>
                  </a:moveTo>
                  <a:lnTo>
                    <a:pt x="35" y="271"/>
                  </a:lnTo>
                  <a:lnTo>
                    <a:pt x="49" y="243"/>
                  </a:lnTo>
                  <a:lnTo>
                    <a:pt x="59" y="243"/>
                  </a:lnTo>
                  <a:lnTo>
                    <a:pt x="61" y="241"/>
                  </a:lnTo>
                  <a:lnTo>
                    <a:pt x="59" y="241"/>
                  </a:lnTo>
                  <a:lnTo>
                    <a:pt x="61" y="238"/>
                  </a:lnTo>
                  <a:lnTo>
                    <a:pt x="59" y="236"/>
                  </a:lnTo>
                  <a:lnTo>
                    <a:pt x="56" y="236"/>
                  </a:lnTo>
                  <a:lnTo>
                    <a:pt x="56" y="236"/>
                  </a:lnTo>
                  <a:lnTo>
                    <a:pt x="56" y="226"/>
                  </a:lnTo>
                  <a:lnTo>
                    <a:pt x="52" y="226"/>
                  </a:lnTo>
                  <a:lnTo>
                    <a:pt x="78" y="139"/>
                  </a:lnTo>
                  <a:lnTo>
                    <a:pt x="89" y="139"/>
                  </a:lnTo>
                  <a:lnTo>
                    <a:pt x="89" y="137"/>
                  </a:lnTo>
                  <a:lnTo>
                    <a:pt x="89" y="137"/>
                  </a:lnTo>
                  <a:lnTo>
                    <a:pt x="87" y="137"/>
                  </a:lnTo>
                  <a:lnTo>
                    <a:pt x="87" y="134"/>
                  </a:lnTo>
                  <a:lnTo>
                    <a:pt x="87" y="134"/>
                  </a:lnTo>
                  <a:lnTo>
                    <a:pt x="87" y="134"/>
                  </a:lnTo>
                  <a:lnTo>
                    <a:pt x="85" y="134"/>
                  </a:lnTo>
                  <a:lnTo>
                    <a:pt x="85" y="134"/>
                  </a:lnTo>
                  <a:lnTo>
                    <a:pt x="85" y="134"/>
                  </a:lnTo>
                  <a:lnTo>
                    <a:pt x="75" y="125"/>
                  </a:lnTo>
                  <a:lnTo>
                    <a:pt x="73" y="122"/>
                  </a:lnTo>
                  <a:lnTo>
                    <a:pt x="73" y="115"/>
                  </a:lnTo>
                  <a:lnTo>
                    <a:pt x="56" y="85"/>
                  </a:lnTo>
                  <a:lnTo>
                    <a:pt x="61" y="85"/>
                  </a:lnTo>
                  <a:lnTo>
                    <a:pt x="61" y="82"/>
                  </a:lnTo>
                  <a:lnTo>
                    <a:pt x="56" y="78"/>
                  </a:lnTo>
                  <a:lnTo>
                    <a:pt x="59" y="73"/>
                  </a:lnTo>
                  <a:lnTo>
                    <a:pt x="56" y="70"/>
                  </a:lnTo>
                  <a:lnTo>
                    <a:pt x="56" y="70"/>
                  </a:lnTo>
                  <a:lnTo>
                    <a:pt x="54" y="68"/>
                  </a:lnTo>
                  <a:lnTo>
                    <a:pt x="54" y="68"/>
                  </a:lnTo>
                  <a:lnTo>
                    <a:pt x="52" y="63"/>
                  </a:lnTo>
                  <a:lnTo>
                    <a:pt x="49" y="63"/>
                  </a:lnTo>
                  <a:lnTo>
                    <a:pt x="49" y="61"/>
                  </a:lnTo>
                  <a:lnTo>
                    <a:pt x="49" y="59"/>
                  </a:lnTo>
                  <a:lnTo>
                    <a:pt x="49" y="59"/>
                  </a:lnTo>
                  <a:lnTo>
                    <a:pt x="49" y="56"/>
                  </a:lnTo>
                  <a:lnTo>
                    <a:pt x="49" y="59"/>
                  </a:lnTo>
                  <a:lnTo>
                    <a:pt x="49" y="56"/>
                  </a:lnTo>
                  <a:lnTo>
                    <a:pt x="49" y="54"/>
                  </a:lnTo>
                  <a:lnTo>
                    <a:pt x="47" y="54"/>
                  </a:lnTo>
                  <a:lnTo>
                    <a:pt x="49" y="54"/>
                  </a:lnTo>
                  <a:lnTo>
                    <a:pt x="49" y="54"/>
                  </a:lnTo>
                  <a:lnTo>
                    <a:pt x="47" y="54"/>
                  </a:lnTo>
                  <a:lnTo>
                    <a:pt x="47" y="54"/>
                  </a:lnTo>
                  <a:lnTo>
                    <a:pt x="49" y="52"/>
                  </a:lnTo>
                  <a:lnTo>
                    <a:pt x="49" y="52"/>
                  </a:lnTo>
                  <a:lnTo>
                    <a:pt x="47" y="52"/>
                  </a:lnTo>
                  <a:lnTo>
                    <a:pt x="47" y="49"/>
                  </a:lnTo>
                  <a:lnTo>
                    <a:pt x="47" y="49"/>
                  </a:lnTo>
                  <a:lnTo>
                    <a:pt x="52" y="52"/>
                  </a:lnTo>
                  <a:lnTo>
                    <a:pt x="54" y="47"/>
                  </a:lnTo>
                  <a:lnTo>
                    <a:pt x="56" y="47"/>
                  </a:lnTo>
                  <a:lnTo>
                    <a:pt x="56" y="49"/>
                  </a:lnTo>
                  <a:lnTo>
                    <a:pt x="56" y="52"/>
                  </a:lnTo>
                  <a:lnTo>
                    <a:pt x="59" y="52"/>
                  </a:lnTo>
                  <a:lnTo>
                    <a:pt x="59" y="54"/>
                  </a:lnTo>
                  <a:lnTo>
                    <a:pt x="59" y="56"/>
                  </a:lnTo>
                  <a:lnTo>
                    <a:pt x="61" y="59"/>
                  </a:lnTo>
                  <a:lnTo>
                    <a:pt x="61" y="59"/>
                  </a:lnTo>
                  <a:lnTo>
                    <a:pt x="61" y="61"/>
                  </a:lnTo>
                  <a:lnTo>
                    <a:pt x="61" y="61"/>
                  </a:lnTo>
                  <a:lnTo>
                    <a:pt x="61" y="61"/>
                  </a:lnTo>
                  <a:lnTo>
                    <a:pt x="61" y="63"/>
                  </a:lnTo>
                  <a:lnTo>
                    <a:pt x="61" y="63"/>
                  </a:lnTo>
                  <a:lnTo>
                    <a:pt x="63" y="63"/>
                  </a:lnTo>
                  <a:lnTo>
                    <a:pt x="63" y="66"/>
                  </a:lnTo>
                  <a:lnTo>
                    <a:pt x="63" y="66"/>
                  </a:lnTo>
                  <a:lnTo>
                    <a:pt x="63" y="66"/>
                  </a:lnTo>
                  <a:lnTo>
                    <a:pt x="61" y="68"/>
                  </a:lnTo>
                  <a:lnTo>
                    <a:pt x="61" y="68"/>
                  </a:lnTo>
                  <a:lnTo>
                    <a:pt x="61" y="70"/>
                  </a:lnTo>
                  <a:lnTo>
                    <a:pt x="61" y="70"/>
                  </a:lnTo>
                  <a:lnTo>
                    <a:pt x="63" y="70"/>
                  </a:lnTo>
                  <a:lnTo>
                    <a:pt x="63" y="73"/>
                  </a:lnTo>
                  <a:lnTo>
                    <a:pt x="63" y="73"/>
                  </a:lnTo>
                  <a:lnTo>
                    <a:pt x="63" y="73"/>
                  </a:lnTo>
                  <a:lnTo>
                    <a:pt x="66" y="73"/>
                  </a:lnTo>
                  <a:lnTo>
                    <a:pt x="66" y="70"/>
                  </a:lnTo>
                  <a:lnTo>
                    <a:pt x="66" y="70"/>
                  </a:lnTo>
                  <a:lnTo>
                    <a:pt x="68" y="73"/>
                  </a:lnTo>
                  <a:lnTo>
                    <a:pt x="71" y="75"/>
                  </a:lnTo>
                  <a:lnTo>
                    <a:pt x="71" y="75"/>
                  </a:lnTo>
                  <a:lnTo>
                    <a:pt x="71" y="75"/>
                  </a:lnTo>
                  <a:lnTo>
                    <a:pt x="71" y="78"/>
                  </a:lnTo>
                  <a:lnTo>
                    <a:pt x="73" y="78"/>
                  </a:lnTo>
                  <a:lnTo>
                    <a:pt x="71" y="80"/>
                  </a:lnTo>
                  <a:lnTo>
                    <a:pt x="71" y="80"/>
                  </a:lnTo>
                  <a:lnTo>
                    <a:pt x="71" y="82"/>
                  </a:lnTo>
                  <a:lnTo>
                    <a:pt x="71" y="82"/>
                  </a:lnTo>
                  <a:lnTo>
                    <a:pt x="75" y="82"/>
                  </a:lnTo>
                  <a:lnTo>
                    <a:pt x="75" y="85"/>
                  </a:lnTo>
                  <a:lnTo>
                    <a:pt x="78" y="85"/>
                  </a:lnTo>
                  <a:lnTo>
                    <a:pt x="78" y="85"/>
                  </a:lnTo>
                  <a:lnTo>
                    <a:pt x="80" y="87"/>
                  </a:lnTo>
                  <a:lnTo>
                    <a:pt x="80" y="89"/>
                  </a:lnTo>
                  <a:lnTo>
                    <a:pt x="82" y="89"/>
                  </a:lnTo>
                  <a:lnTo>
                    <a:pt x="87" y="89"/>
                  </a:lnTo>
                  <a:lnTo>
                    <a:pt x="87" y="92"/>
                  </a:lnTo>
                  <a:lnTo>
                    <a:pt x="89" y="94"/>
                  </a:lnTo>
                  <a:lnTo>
                    <a:pt x="92" y="96"/>
                  </a:lnTo>
                  <a:lnTo>
                    <a:pt x="92" y="94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94" y="89"/>
                  </a:lnTo>
                  <a:lnTo>
                    <a:pt x="97" y="89"/>
                  </a:lnTo>
                  <a:lnTo>
                    <a:pt x="97" y="89"/>
                  </a:lnTo>
                  <a:lnTo>
                    <a:pt x="97" y="87"/>
                  </a:lnTo>
                  <a:lnTo>
                    <a:pt x="97" y="87"/>
                  </a:lnTo>
                  <a:lnTo>
                    <a:pt x="99" y="87"/>
                  </a:lnTo>
                  <a:lnTo>
                    <a:pt x="101" y="85"/>
                  </a:lnTo>
                  <a:lnTo>
                    <a:pt x="101" y="85"/>
                  </a:lnTo>
                  <a:lnTo>
                    <a:pt x="101" y="87"/>
                  </a:lnTo>
                  <a:lnTo>
                    <a:pt x="104" y="87"/>
                  </a:lnTo>
                  <a:lnTo>
                    <a:pt x="104" y="87"/>
                  </a:lnTo>
                  <a:lnTo>
                    <a:pt x="104" y="87"/>
                  </a:lnTo>
                  <a:lnTo>
                    <a:pt x="104" y="87"/>
                  </a:lnTo>
                  <a:lnTo>
                    <a:pt x="106" y="87"/>
                  </a:lnTo>
                  <a:lnTo>
                    <a:pt x="106" y="85"/>
                  </a:lnTo>
                  <a:lnTo>
                    <a:pt x="108" y="85"/>
                  </a:lnTo>
                  <a:lnTo>
                    <a:pt x="108" y="82"/>
                  </a:lnTo>
                  <a:lnTo>
                    <a:pt x="111" y="85"/>
                  </a:lnTo>
                  <a:lnTo>
                    <a:pt x="111" y="82"/>
                  </a:lnTo>
                  <a:lnTo>
                    <a:pt x="111" y="82"/>
                  </a:lnTo>
                  <a:lnTo>
                    <a:pt x="111" y="85"/>
                  </a:lnTo>
                  <a:lnTo>
                    <a:pt x="111" y="85"/>
                  </a:lnTo>
                  <a:lnTo>
                    <a:pt x="111" y="82"/>
                  </a:lnTo>
                  <a:lnTo>
                    <a:pt x="115" y="85"/>
                  </a:lnTo>
                  <a:lnTo>
                    <a:pt x="115" y="82"/>
                  </a:lnTo>
                  <a:lnTo>
                    <a:pt x="118" y="82"/>
                  </a:lnTo>
                  <a:lnTo>
                    <a:pt x="118" y="82"/>
                  </a:lnTo>
                  <a:lnTo>
                    <a:pt x="118" y="82"/>
                  </a:lnTo>
                  <a:lnTo>
                    <a:pt x="115" y="80"/>
                  </a:lnTo>
                  <a:lnTo>
                    <a:pt x="118" y="82"/>
                  </a:lnTo>
                  <a:lnTo>
                    <a:pt x="118" y="80"/>
                  </a:lnTo>
                  <a:lnTo>
                    <a:pt x="120" y="80"/>
                  </a:lnTo>
                  <a:lnTo>
                    <a:pt x="120" y="80"/>
                  </a:lnTo>
                  <a:lnTo>
                    <a:pt x="120" y="80"/>
                  </a:lnTo>
                  <a:lnTo>
                    <a:pt x="123" y="80"/>
                  </a:lnTo>
                  <a:lnTo>
                    <a:pt x="125" y="80"/>
                  </a:lnTo>
                  <a:lnTo>
                    <a:pt x="127" y="80"/>
                  </a:lnTo>
                  <a:lnTo>
                    <a:pt x="130" y="78"/>
                  </a:lnTo>
                  <a:lnTo>
                    <a:pt x="134" y="80"/>
                  </a:lnTo>
                  <a:lnTo>
                    <a:pt x="134" y="78"/>
                  </a:lnTo>
                  <a:lnTo>
                    <a:pt x="137" y="78"/>
                  </a:lnTo>
                  <a:lnTo>
                    <a:pt x="137" y="75"/>
                  </a:lnTo>
                  <a:lnTo>
                    <a:pt x="137" y="75"/>
                  </a:lnTo>
                  <a:lnTo>
                    <a:pt x="139" y="73"/>
                  </a:lnTo>
                  <a:lnTo>
                    <a:pt x="139" y="73"/>
                  </a:lnTo>
                  <a:lnTo>
                    <a:pt x="141" y="73"/>
                  </a:lnTo>
                  <a:lnTo>
                    <a:pt x="141" y="73"/>
                  </a:lnTo>
                  <a:lnTo>
                    <a:pt x="144" y="73"/>
                  </a:lnTo>
                  <a:lnTo>
                    <a:pt x="144" y="68"/>
                  </a:lnTo>
                  <a:lnTo>
                    <a:pt x="146" y="68"/>
                  </a:lnTo>
                  <a:lnTo>
                    <a:pt x="146" y="68"/>
                  </a:lnTo>
                  <a:lnTo>
                    <a:pt x="146" y="66"/>
                  </a:lnTo>
                  <a:lnTo>
                    <a:pt x="146" y="66"/>
                  </a:lnTo>
                  <a:lnTo>
                    <a:pt x="149" y="66"/>
                  </a:lnTo>
                  <a:lnTo>
                    <a:pt x="149" y="63"/>
                  </a:lnTo>
                  <a:lnTo>
                    <a:pt x="151" y="61"/>
                  </a:lnTo>
                  <a:lnTo>
                    <a:pt x="153" y="59"/>
                  </a:lnTo>
                  <a:lnTo>
                    <a:pt x="153" y="56"/>
                  </a:lnTo>
                  <a:lnTo>
                    <a:pt x="151" y="59"/>
                  </a:lnTo>
                  <a:lnTo>
                    <a:pt x="151" y="56"/>
                  </a:lnTo>
                  <a:lnTo>
                    <a:pt x="151" y="56"/>
                  </a:lnTo>
                  <a:lnTo>
                    <a:pt x="151" y="54"/>
                  </a:lnTo>
                  <a:lnTo>
                    <a:pt x="151" y="54"/>
                  </a:lnTo>
                  <a:lnTo>
                    <a:pt x="151" y="54"/>
                  </a:lnTo>
                  <a:lnTo>
                    <a:pt x="153" y="52"/>
                  </a:lnTo>
                  <a:lnTo>
                    <a:pt x="153" y="52"/>
                  </a:lnTo>
                  <a:lnTo>
                    <a:pt x="156" y="49"/>
                  </a:lnTo>
                  <a:lnTo>
                    <a:pt x="158" y="49"/>
                  </a:lnTo>
                  <a:lnTo>
                    <a:pt x="160" y="47"/>
                  </a:lnTo>
                  <a:lnTo>
                    <a:pt x="163" y="49"/>
                  </a:lnTo>
                  <a:lnTo>
                    <a:pt x="163" y="47"/>
                  </a:lnTo>
                  <a:lnTo>
                    <a:pt x="165" y="44"/>
                  </a:lnTo>
                  <a:lnTo>
                    <a:pt x="165" y="44"/>
                  </a:lnTo>
                  <a:lnTo>
                    <a:pt x="165" y="42"/>
                  </a:lnTo>
                  <a:lnTo>
                    <a:pt x="165" y="42"/>
                  </a:lnTo>
                  <a:lnTo>
                    <a:pt x="165" y="40"/>
                  </a:lnTo>
                  <a:lnTo>
                    <a:pt x="167" y="42"/>
                  </a:lnTo>
                  <a:lnTo>
                    <a:pt x="167" y="40"/>
                  </a:lnTo>
                  <a:lnTo>
                    <a:pt x="167" y="40"/>
                  </a:lnTo>
                  <a:lnTo>
                    <a:pt x="167" y="37"/>
                  </a:lnTo>
                  <a:lnTo>
                    <a:pt x="170" y="37"/>
                  </a:lnTo>
                  <a:lnTo>
                    <a:pt x="170" y="37"/>
                  </a:lnTo>
                  <a:lnTo>
                    <a:pt x="170" y="35"/>
                  </a:lnTo>
                  <a:lnTo>
                    <a:pt x="167" y="35"/>
                  </a:lnTo>
                  <a:lnTo>
                    <a:pt x="170" y="35"/>
                  </a:lnTo>
                  <a:lnTo>
                    <a:pt x="170" y="35"/>
                  </a:lnTo>
                  <a:lnTo>
                    <a:pt x="172" y="33"/>
                  </a:lnTo>
                  <a:lnTo>
                    <a:pt x="170" y="33"/>
                  </a:lnTo>
                  <a:lnTo>
                    <a:pt x="170" y="33"/>
                  </a:lnTo>
                  <a:lnTo>
                    <a:pt x="167" y="33"/>
                  </a:lnTo>
                  <a:lnTo>
                    <a:pt x="170" y="30"/>
                  </a:lnTo>
                  <a:lnTo>
                    <a:pt x="170" y="28"/>
                  </a:lnTo>
                  <a:lnTo>
                    <a:pt x="172" y="28"/>
                  </a:lnTo>
                  <a:lnTo>
                    <a:pt x="174" y="28"/>
                  </a:lnTo>
                  <a:lnTo>
                    <a:pt x="174" y="28"/>
                  </a:lnTo>
                  <a:lnTo>
                    <a:pt x="174" y="26"/>
                  </a:lnTo>
                  <a:lnTo>
                    <a:pt x="174" y="26"/>
                  </a:lnTo>
                  <a:lnTo>
                    <a:pt x="177" y="23"/>
                  </a:lnTo>
                  <a:lnTo>
                    <a:pt x="177" y="23"/>
                  </a:lnTo>
                  <a:lnTo>
                    <a:pt x="177" y="23"/>
                  </a:lnTo>
                  <a:lnTo>
                    <a:pt x="179" y="21"/>
                  </a:lnTo>
                  <a:lnTo>
                    <a:pt x="179" y="21"/>
                  </a:lnTo>
                  <a:lnTo>
                    <a:pt x="182" y="21"/>
                  </a:lnTo>
                  <a:lnTo>
                    <a:pt x="182" y="21"/>
                  </a:lnTo>
                  <a:lnTo>
                    <a:pt x="182" y="18"/>
                  </a:lnTo>
                  <a:lnTo>
                    <a:pt x="184" y="18"/>
                  </a:lnTo>
                  <a:lnTo>
                    <a:pt x="184" y="18"/>
                  </a:lnTo>
                  <a:lnTo>
                    <a:pt x="186" y="18"/>
                  </a:lnTo>
                  <a:lnTo>
                    <a:pt x="186" y="21"/>
                  </a:lnTo>
                  <a:lnTo>
                    <a:pt x="189" y="18"/>
                  </a:lnTo>
                  <a:lnTo>
                    <a:pt x="189" y="21"/>
                  </a:lnTo>
                  <a:lnTo>
                    <a:pt x="189" y="21"/>
                  </a:lnTo>
                  <a:lnTo>
                    <a:pt x="191" y="21"/>
                  </a:lnTo>
                  <a:lnTo>
                    <a:pt x="191" y="21"/>
                  </a:lnTo>
                  <a:lnTo>
                    <a:pt x="191" y="21"/>
                  </a:lnTo>
                  <a:lnTo>
                    <a:pt x="191" y="21"/>
                  </a:lnTo>
                  <a:lnTo>
                    <a:pt x="193" y="21"/>
                  </a:lnTo>
                  <a:lnTo>
                    <a:pt x="193" y="21"/>
                  </a:lnTo>
                  <a:lnTo>
                    <a:pt x="193" y="21"/>
                  </a:lnTo>
                  <a:lnTo>
                    <a:pt x="193" y="18"/>
                  </a:lnTo>
                  <a:lnTo>
                    <a:pt x="193" y="21"/>
                  </a:lnTo>
                  <a:lnTo>
                    <a:pt x="196" y="21"/>
                  </a:lnTo>
                  <a:lnTo>
                    <a:pt x="196" y="21"/>
                  </a:lnTo>
                  <a:lnTo>
                    <a:pt x="198" y="21"/>
                  </a:lnTo>
                  <a:lnTo>
                    <a:pt x="198" y="21"/>
                  </a:lnTo>
                  <a:lnTo>
                    <a:pt x="198" y="21"/>
                  </a:lnTo>
                  <a:lnTo>
                    <a:pt x="200" y="21"/>
                  </a:lnTo>
                  <a:lnTo>
                    <a:pt x="200" y="21"/>
                  </a:lnTo>
                  <a:lnTo>
                    <a:pt x="203" y="21"/>
                  </a:lnTo>
                  <a:lnTo>
                    <a:pt x="200" y="18"/>
                  </a:lnTo>
                  <a:lnTo>
                    <a:pt x="203" y="18"/>
                  </a:lnTo>
                  <a:lnTo>
                    <a:pt x="205" y="21"/>
                  </a:lnTo>
                  <a:lnTo>
                    <a:pt x="208" y="18"/>
                  </a:lnTo>
                  <a:lnTo>
                    <a:pt x="208" y="18"/>
                  </a:lnTo>
                  <a:lnTo>
                    <a:pt x="210" y="18"/>
                  </a:lnTo>
                  <a:lnTo>
                    <a:pt x="210" y="18"/>
                  </a:lnTo>
                  <a:lnTo>
                    <a:pt x="210" y="16"/>
                  </a:lnTo>
                  <a:lnTo>
                    <a:pt x="210" y="16"/>
                  </a:lnTo>
                  <a:lnTo>
                    <a:pt x="210" y="16"/>
                  </a:lnTo>
                  <a:lnTo>
                    <a:pt x="210" y="16"/>
                  </a:lnTo>
                  <a:lnTo>
                    <a:pt x="212" y="14"/>
                  </a:lnTo>
                  <a:lnTo>
                    <a:pt x="212" y="16"/>
                  </a:lnTo>
                  <a:lnTo>
                    <a:pt x="212" y="16"/>
                  </a:lnTo>
                  <a:lnTo>
                    <a:pt x="215" y="18"/>
                  </a:lnTo>
                  <a:lnTo>
                    <a:pt x="215" y="16"/>
                  </a:lnTo>
                  <a:lnTo>
                    <a:pt x="217" y="16"/>
                  </a:lnTo>
                  <a:lnTo>
                    <a:pt x="217" y="18"/>
                  </a:lnTo>
                  <a:lnTo>
                    <a:pt x="217" y="18"/>
                  </a:lnTo>
                  <a:lnTo>
                    <a:pt x="217" y="21"/>
                  </a:lnTo>
                  <a:lnTo>
                    <a:pt x="219" y="21"/>
                  </a:lnTo>
                  <a:lnTo>
                    <a:pt x="219" y="18"/>
                  </a:lnTo>
                  <a:lnTo>
                    <a:pt x="222" y="18"/>
                  </a:lnTo>
                  <a:lnTo>
                    <a:pt x="222" y="18"/>
                  </a:lnTo>
                  <a:lnTo>
                    <a:pt x="224" y="16"/>
                  </a:lnTo>
                  <a:lnTo>
                    <a:pt x="226" y="16"/>
                  </a:lnTo>
                  <a:lnTo>
                    <a:pt x="226" y="16"/>
                  </a:lnTo>
                  <a:lnTo>
                    <a:pt x="226" y="14"/>
                  </a:lnTo>
                  <a:lnTo>
                    <a:pt x="229" y="14"/>
                  </a:lnTo>
                  <a:lnTo>
                    <a:pt x="229" y="14"/>
                  </a:lnTo>
                  <a:lnTo>
                    <a:pt x="229" y="14"/>
                  </a:lnTo>
                  <a:lnTo>
                    <a:pt x="229" y="11"/>
                  </a:lnTo>
                  <a:lnTo>
                    <a:pt x="231" y="14"/>
                  </a:lnTo>
                  <a:lnTo>
                    <a:pt x="231" y="14"/>
                  </a:lnTo>
                  <a:lnTo>
                    <a:pt x="231" y="14"/>
                  </a:lnTo>
                  <a:lnTo>
                    <a:pt x="231" y="14"/>
                  </a:lnTo>
                  <a:lnTo>
                    <a:pt x="231" y="16"/>
                  </a:lnTo>
                  <a:lnTo>
                    <a:pt x="231" y="14"/>
                  </a:lnTo>
                  <a:lnTo>
                    <a:pt x="234" y="14"/>
                  </a:lnTo>
                  <a:lnTo>
                    <a:pt x="234" y="14"/>
                  </a:lnTo>
                  <a:lnTo>
                    <a:pt x="236" y="14"/>
                  </a:lnTo>
                  <a:lnTo>
                    <a:pt x="236" y="14"/>
                  </a:lnTo>
                  <a:lnTo>
                    <a:pt x="236" y="14"/>
                  </a:lnTo>
                  <a:lnTo>
                    <a:pt x="238" y="14"/>
                  </a:lnTo>
                  <a:lnTo>
                    <a:pt x="238" y="14"/>
                  </a:lnTo>
                  <a:lnTo>
                    <a:pt x="238" y="11"/>
                  </a:lnTo>
                  <a:lnTo>
                    <a:pt x="238" y="11"/>
                  </a:lnTo>
                  <a:lnTo>
                    <a:pt x="238" y="9"/>
                  </a:lnTo>
                  <a:lnTo>
                    <a:pt x="238" y="9"/>
                  </a:lnTo>
                  <a:lnTo>
                    <a:pt x="241" y="9"/>
                  </a:lnTo>
                  <a:lnTo>
                    <a:pt x="241" y="9"/>
                  </a:lnTo>
                  <a:lnTo>
                    <a:pt x="241" y="9"/>
                  </a:lnTo>
                  <a:lnTo>
                    <a:pt x="243" y="9"/>
                  </a:lnTo>
                  <a:lnTo>
                    <a:pt x="241" y="7"/>
                  </a:lnTo>
                  <a:lnTo>
                    <a:pt x="241" y="7"/>
                  </a:lnTo>
                  <a:lnTo>
                    <a:pt x="243" y="7"/>
                  </a:lnTo>
                  <a:lnTo>
                    <a:pt x="243" y="7"/>
                  </a:lnTo>
                  <a:lnTo>
                    <a:pt x="245" y="7"/>
                  </a:lnTo>
                  <a:lnTo>
                    <a:pt x="245" y="7"/>
                  </a:lnTo>
                  <a:lnTo>
                    <a:pt x="248" y="7"/>
                  </a:lnTo>
                  <a:lnTo>
                    <a:pt x="248" y="7"/>
                  </a:lnTo>
                  <a:lnTo>
                    <a:pt x="248" y="7"/>
                  </a:lnTo>
                  <a:lnTo>
                    <a:pt x="248" y="4"/>
                  </a:lnTo>
                  <a:lnTo>
                    <a:pt x="248" y="4"/>
                  </a:lnTo>
                  <a:lnTo>
                    <a:pt x="250" y="4"/>
                  </a:lnTo>
                  <a:lnTo>
                    <a:pt x="250" y="4"/>
                  </a:lnTo>
                  <a:lnTo>
                    <a:pt x="250" y="2"/>
                  </a:lnTo>
                  <a:lnTo>
                    <a:pt x="252" y="2"/>
                  </a:lnTo>
                  <a:lnTo>
                    <a:pt x="252" y="2"/>
                  </a:lnTo>
                  <a:lnTo>
                    <a:pt x="255" y="2"/>
                  </a:lnTo>
                  <a:lnTo>
                    <a:pt x="255" y="2"/>
                  </a:lnTo>
                  <a:lnTo>
                    <a:pt x="257" y="2"/>
                  </a:lnTo>
                  <a:lnTo>
                    <a:pt x="257" y="2"/>
                  </a:lnTo>
                  <a:lnTo>
                    <a:pt x="257" y="2"/>
                  </a:lnTo>
                  <a:lnTo>
                    <a:pt x="257" y="0"/>
                  </a:lnTo>
                  <a:lnTo>
                    <a:pt x="257" y="0"/>
                  </a:lnTo>
                  <a:lnTo>
                    <a:pt x="260" y="0"/>
                  </a:lnTo>
                  <a:lnTo>
                    <a:pt x="260" y="0"/>
                  </a:lnTo>
                  <a:lnTo>
                    <a:pt x="260" y="0"/>
                  </a:lnTo>
                  <a:lnTo>
                    <a:pt x="262" y="0"/>
                  </a:lnTo>
                  <a:lnTo>
                    <a:pt x="264" y="0"/>
                  </a:lnTo>
                  <a:lnTo>
                    <a:pt x="267" y="0"/>
                  </a:lnTo>
                  <a:lnTo>
                    <a:pt x="267" y="0"/>
                  </a:lnTo>
                  <a:lnTo>
                    <a:pt x="267" y="0"/>
                  </a:lnTo>
                  <a:lnTo>
                    <a:pt x="269" y="2"/>
                  </a:lnTo>
                  <a:lnTo>
                    <a:pt x="269" y="2"/>
                  </a:lnTo>
                  <a:lnTo>
                    <a:pt x="269" y="0"/>
                  </a:lnTo>
                  <a:lnTo>
                    <a:pt x="269" y="0"/>
                  </a:lnTo>
                  <a:lnTo>
                    <a:pt x="271" y="2"/>
                  </a:lnTo>
                  <a:lnTo>
                    <a:pt x="274" y="2"/>
                  </a:lnTo>
                  <a:lnTo>
                    <a:pt x="274" y="4"/>
                  </a:lnTo>
                  <a:lnTo>
                    <a:pt x="274" y="4"/>
                  </a:lnTo>
                  <a:lnTo>
                    <a:pt x="274" y="7"/>
                  </a:lnTo>
                  <a:lnTo>
                    <a:pt x="274" y="4"/>
                  </a:lnTo>
                  <a:lnTo>
                    <a:pt x="274" y="7"/>
                  </a:lnTo>
                  <a:lnTo>
                    <a:pt x="274" y="9"/>
                  </a:lnTo>
                  <a:lnTo>
                    <a:pt x="274" y="7"/>
                  </a:lnTo>
                  <a:lnTo>
                    <a:pt x="274" y="9"/>
                  </a:lnTo>
                  <a:lnTo>
                    <a:pt x="276" y="9"/>
                  </a:lnTo>
                  <a:lnTo>
                    <a:pt x="276" y="9"/>
                  </a:lnTo>
                  <a:lnTo>
                    <a:pt x="276" y="11"/>
                  </a:lnTo>
                  <a:lnTo>
                    <a:pt x="276" y="9"/>
                  </a:lnTo>
                  <a:lnTo>
                    <a:pt x="278" y="11"/>
                  </a:lnTo>
                  <a:lnTo>
                    <a:pt x="278" y="11"/>
                  </a:lnTo>
                  <a:lnTo>
                    <a:pt x="281" y="11"/>
                  </a:lnTo>
                  <a:lnTo>
                    <a:pt x="281" y="11"/>
                  </a:lnTo>
                  <a:lnTo>
                    <a:pt x="281" y="11"/>
                  </a:lnTo>
                  <a:lnTo>
                    <a:pt x="283" y="14"/>
                  </a:lnTo>
                  <a:lnTo>
                    <a:pt x="283" y="14"/>
                  </a:lnTo>
                  <a:lnTo>
                    <a:pt x="283" y="11"/>
                  </a:lnTo>
                  <a:lnTo>
                    <a:pt x="283" y="11"/>
                  </a:lnTo>
                  <a:lnTo>
                    <a:pt x="286" y="11"/>
                  </a:lnTo>
                  <a:lnTo>
                    <a:pt x="290" y="11"/>
                  </a:lnTo>
                  <a:lnTo>
                    <a:pt x="288" y="14"/>
                  </a:lnTo>
                  <a:lnTo>
                    <a:pt x="288" y="14"/>
                  </a:lnTo>
                  <a:lnTo>
                    <a:pt x="288" y="14"/>
                  </a:lnTo>
                  <a:lnTo>
                    <a:pt x="290" y="14"/>
                  </a:lnTo>
                  <a:lnTo>
                    <a:pt x="288" y="14"/>
                  </a:lnTo>
                  <a:lnTo>
                    <a:pt x="290" y="14"/>
                  </a:lnTo>
                  <a:lnTo>
                    <a:pt x="290" y="14"/>
                  </a:lnTo>
                  <a:lnTo>
                    <a:pt x="290" y="14"/>
                  </a:lnTo>
                  <a:lnTo>
                    <a:pt x="290" y="11"/>
                  </a:lnTo>
                  <a:lnTo>
                    <a:pt x="293" y="14"/>
                  </a:lnTo>
                  <a:lnTo>
                    <a:pt x="293" y="14"/>
                  </a:lnTo>
                  <a:lnTo>
                    <a:pt x="295" y="16"/>
                  </a:lnTo>
                  <a:lnTo>
                    <a:pt x="295" y="16"/>
                  </a:lnTo>
                  <a:lnTo>
                    <a:pt x="295" y="16"/>
                  </a:lnTo>
                  <a:lnTo>
                    <a:pt x="297" y="16"/>
                  </a:lnTo>
                  <a:lnTo>
                    <a:pt x="295" y="16"/>
                  </a:lnTo>
                  <a:lnTo>
                    <a:pt x="297" y="16"/>
                  </a:lnTo>
                  <a:lnTo>
                    <a:pt x="297" y="16"/>
                  </a:lnTo>
                  <a:lnTo>
                    <a:pt x="300" y="16"/>
                  </a:lnTo>
                  <a:lnTo>
                    <a:pt x="300" y="16"/>
                  </a:lnTo>
                  <a:lnTo>
                    <a:pt x="300" y="18"/>
                  </a:lnTo>
                  <a:lnTo>
                    <a:pt x="302" y="21"/>
                  </a:lnTo>
                  <a:lnTo>
                    <a:pt x="302" y="21"/>
                  </a:lnTo>
                  <a:lnTo>
                    <a:pt x="302" y="18"/>
                  </a:lnTo>
                  <a:lnTo>
                    <a:pt x="304" y="21"/>
                  </a:lnTo>
                  <a:lnTo>
                    <a:pt x="304" y="21"/>
                  </a:lnTo>
                  <a:lnTo>
                    <a:pt x="304" y="21"/>
                  </a:lnTo>
                  <a:lnTo>
                    <a:pt x="307" y="21"/>
                  </a:lnTo>
                  <a:lnTo>
                    <a:pt x="307" y="21"/>
                  </a:lnTo>
                  <a:lnTo>
                    <a:pt x="309" y="21"/>
                  </a:lnTo>
                  <a:lnTo>
                    <a:pt x="309" y="21"/>
                  </a:lnTo>
                  <a:lnTo>
                    <a:pt x="309" y="23"/>
                  </a:lnTo>
                  <a:lnTo>
                    <a:pt x="311" y="21"/>
                  </a:lnTo>
                  <a:lnTo>
                    <a:pt x="311" y="23"/>
                  </a:lnTo>
                  <a:lnTo>
                    <a:pt x="314" y="21"/>
                  </a:lnTo>
                  <a:lnTo>
                    <a:pt x="314" y="23"/>
                  </a:lnTo>
                  <a:lnTo>
                    <a:pt x="316" y="21"/>
                  </a:lnTo>
                  <a:lnTo>
                    <a:pt x="316" y="23"/>
                  </a:lnTo>
                  <a:lnTo>
                    <a:pt x="319" y="21"/>
                  </a:lnTo>
                  <a:lnTo>
                    <a:pt x="319" y="23"/>
                  </a:lnTo>
                  <a:lnTo>
                    <a:pt x="319" y="23"/>
                  </a:lnTo>
                  <a:lnTo>
                    <a:pt x="321" y="23"/>
                  </a:lnTo>
                  <a:lnTo>
                    <a:pt x="321" y="23"/>
                  </a:lnTo>
                  <a:lnTo>
                    <a:pt x="321" y="23"/>
                  </a:lnTo>
                  <a:lnTo>
                    <a:pt x="321" y="21"/>
                  </a:lnTo>
                  <a:lnTo>
                    <a:pt x="321" y="23"/>
                  </a:lnTo>
                  <a:lnTo>
                    <a:pt x="323" y="26"/>
                  </a:lnTo>
                  <a:lnTo>
                    <a:pt x="323" y="26"/>
                  </a:lnTo>
                  <a:lnTo>
                    <a:pt x="323" y="23"/>
                  </a:lnTo>
                  <a:lnTo>
                    <a:pt x="326" y="26"/>
                  </a:lnTo>
                  <a:lnTo>
                    <a:pt x="326" y="26"/>
                  </a:lnTo>
                  <a:lnTo>
                    <a:pt x="328" y="26"/>
                  </a:lnTo>
                  <a:lnTo>
                    <a:pt x="328" y="26"/>
                  </a:lnTo>
                  <a:lnTo>
                    <a:pt x="328" y="26"/>
                  </a:lnTo>
                  <a:lnTo>
                    <a:pt x="328" y="28"/>
                  </a:lnTo>
                  <a:lnTo>
                    <a:pt x="328" y="30"/>
                  </a:lnTo>
                  <a:lnTo>
                    <a:pt x="328" y="30"/>
                  </a:lnTo>
                  <a:lnTo>
                    <a:pt x="328" y="30"/>
                  </a:lnTo>
                  <a:lnTo>
                    <a:pt x="328" y="30"/>
                  </a:lnTo>
                  <a:lnTo>
                    <a:pt x="328" y="33"/>
                  </a:lnTo>
                  <a:lnTo>
                    <a:pt x="328" y="33"/>
                  </a:lnTo>
                  <a:lnTo>
                    <a:pt x="328" y="33"/>
                  </a:lnTo>
                  <a:lnTo>
                    <a:pt x="328" y="33"/>
                  </a:lnTo>
                  <a:lnTo>
                    <a:pt x="328" y="33"/>
                  </a:lnTo>
                  <a:lnTo>
                    <a:pt x="328" y="35"/>
                  </a:lnTo>
                  <a:lnTo>
                    <a:pt x="330" y="35"/>
                  </a:lnTo>
                  <a:lnTo>
                    <a:pt x="330" y="35"/>
                  </a:lnTo>
                  <a:lnTo>
                    <a:pt x="330" y="35"/>
                  </a:lnTo>
                  <a:lnTo>
                    <a:pt x="333" y="35"/>
                  </a:lnTo>
                  <a:lnTo>
                    <a:pt x="330" y="35"/>
                  </a:lnTo>
                  <a:lnTo>
                    <a:pt x="333" y="37"/>
                  </a:lnTo>
                  <a:lnTo>
                    <a:pt x="333" y="37"/>
                  </a:lnTo>
                  <a:lnTo>
                    <a:pt x="333" y="40"/>
                  </a:lnTo>
                  <a:lnTo>
                    <a:pt x="335" y="40"/>
                  </a:lnTo>
                  <a:lnTo>
                    <a:pt x="335" y="40"/>
                  </a:lnTo>
                  <a:lnTo>
                    <a:pt x="337" y="40"/>
                  </a:lnTo>
                  <a:lnTo>
                    <a:pt x="337" y="40"/>
                  </a:lnTo>
                  <a:lnTo>
                    <a:pt x="337" y="42"/>
                  </a:lnTo>
                  <a:lnTo>
                    <a:pt x="337" y="40"/>
                  </a:lnTo>
                  <a:lnTo>
                    <a:pt x="337" y="42"/>
                  </a:lnTo>
                  <a:lnTo>
                    <a:pt x="340" y="40"/>
                  </a:lnTo>
                  <a:lnTo>
                    <a:pt x="340" y="40"/>
                  </a:lnTo>
                  <a:lnTo>
                    <a:pt x="340" y="40"/>
                  </a:lnTo>
                  <a:lnTo>
                    <a:pt x="342" y="40"/>
                  </a:lnTo>
                  <a:lnTo>
                    <a:pt x="342" y="42"/>
                  </a:lnTo>
                  <a:lnTo>
                    <a:pt x="342" y="42"/>
                  </a:lnTo>
                  <a:lnTo>
                    <a:pt x="345" y="42"/>
                  </a:lnTo>
                  <a:lnTo>
                    <a:pt x="345" y="44"/>
                  </a:lnTo>
                  <a:lnTo>
                    <a:pt x="345" y="44"/>
                  </a:lnTo>
                  <a:lnTo>
                    <a:pt x="347" y="44"/>
                  </a:lnTo>
                  <a:lnTo>
                    <a:pt x="347" y="44"/>
                  </a:lnTo>
                  <a:lnTo>
                    <a:pt x="349" y="44"/>
                  </a:lnTo>
                  <a:lnTo>
                    <a:pt x="349" y="44"/>
                  </a:lnTo>
                  <a:lnTo>
                    <a:pt x="352" y="44"/>
                  </a:lnTo>
                  <a:lnTo>
                    <a:pt x="352" y="44"/>
                  </a:lnTo>
                  <a:lnTo>
                    <a:pt x="352" y="44"/>
                  </a:lnTo>
                  <a:lnTo>
                    <a:pt x="354" y="44"/>
                  </a:lnTo>
                  <a:lnTo>
                    <a:pt x="354" y="44"/>
                  </a:lnTo>
                  <a:lnTo>
                    <a:pt x="356" y="47"/>
                  </a:lnTo>
                  <a:lnTo>
                    <a:pt x="356" y="47"/>
                  </a:lnTo>
                  <a:lnTo>
                    <a:pt x="356" y="49"/>
                  </a:lnTo>
                  <a:lnTo>
                    <a:pt x="359" y="49"/>
                  </a:lnTo>
                  <a:lnTo>
                    <a:pt x="359" y="49"/>
                  </a:lnTo>
                  <a:lnTo>
                    <a:pt x="359" y="49"/>
                  </a:lnTo>
                  <a:lnTo>
                    <a:pt x="361" y="49"/>
                  </a:lnTo>
                  <a:lnTo>
                    <a:pt x="361" y="49"/>
                  </a:lnTo>
                  <a:lnTo>
                    <a:pt x="359" y="49"/>
                  </a:lnTo>
                  <a:lnTo>
                    <a:pt x="361" y="49"/>
                  </a:lnTo>
                  <a:lnTo>
                    <a:pt x="361" y="49"/>
                  </a:lnTo>
                  <a:lnTo>
                    <a:pt x="363" y="49"/>
                  </a:lnTo>
                  <a:lnTo>
                    <a:pt x="366" y="49"/>
                  </a:lnTo>
                  <a:lnTo>
                    <a:pt x="363" y="49"/>
                  </a:lnTo>
                  <a:lnTo>
                    <a:pt x="366" y="49"/>
                  </a:lnTo>
                  <a:lnTo>
                    <a:pt x="366" y="52"/>
                  </a:lnTo>
                  <a:lnTo>
                    <a:pt x="366" y="49"/>
                  </a:lnTo>
                  <a:lnTo>
                    <a:pt x="366" y="52"/>
                  </a:lnTo>
                  <a:lnTo>
                    <a:pt x="366" y="52"/>
                  </a:lnTo>
                  <a:lnTo>
                    <a:pt x="368" y="52"/>
                  </a:lnTo>
                  <a:lnTo>
                    <a:pt x="368" y="49"/>
                  </a:lnTo>
                  <a:lnTo>
                    <a:pt x="368" y="52"/>
                  </a:lnTo>
                  <a:lnTo>
                    <a:pt x="368" y="52"/>
                  </a:lnTo>
                  <a:lnTo>
                    <a:pt x="368" y="52"/>
                  </a:lnTo>
                  <a:lnTo>
                    <a:pt x="368" y="52"/>
                  </a:lnTo>
                  <a:lnTo>
                    <a:pt x="368" y="54"/>
                  </a:lnTo>
                  <a:lnTo>
                    <a:pt x="371" y="54"/>
                  </a:lnTo>
                  <a:lnTo>
                    <a:pt x="371" y="54"/>
                  </a:lnTo>
                  <a:lnTo>
                    <a:pt x="371" y="54"/>
                  </a:lnTo>
                  <a:lnTo>
                    <a:pt x="371" y="54"/>
                  </a:lnTo>
                  <a:lnTo>
                    <a:pt x="371" y="56"/>
                  </a:lnTo>
                  <a:lnTo>
                    <a:pt x="371" y="54"/>
                  </a:lnTo>
                  <a:lnTo>
                    <a:pt x="373" y="56"/>
                  </a:lnTo>
                  <a:lnTo>
                    <a:pt x="373" y="54"/>
                  </a:lnTo>
                  <a:lnTo>
                    <a:pt x="373" y="54"/>
                  </a:lnTo>
                  <a:lnTo>
                    <a:pt x="373" y="56"/>
                  </a:lnTo>
                  <a:lnTo>
                    <a:pt x="375" y="56"/>
                  </a:lnTo>
                  <a:lnTo>
                    <a:pt x="375" y="59"/>
                  </a:lnTo>
                  <a:lnTo>
                    <a:pt x="373" y="56"/>
                  </a:lnTo>
                  <a:lnTo>
                    <a:pt x="373" y="59"/>
                  </a:lnTo>
                  <a:lnTo>
                    <a:pt x="375" y="59"/>
                  </a:lnTo>
                  <a:lnTo>
                    <a:pt x="375" y="59"/>
                  </a:lnTo>
                  <a:lnTo>
                    <a:pt x="378" y="59"/>
                  </a:lnTo>
                  <a:lnTo>
                    <a:pt x="378" y="59"/>
                  </a:lnTo>
                  <a:lnTo>
                    <a:pt x="378" y="59"/>
                  </a:lnTo>
                  <a:lnTo>
                    <a:pt x="380" y="59"/>
                  </a:lnTo>
                  <a:lnTo>
                    <a:pt x="380" y="61"/>
                  </a:lnTo>
                  <a:lnTo>
                    <a:pt x="380" y="61"/>
                  </a:lnTo>
                  <a:lnTo>
                    <a:pt x="380" y="61"/>
                  </a:lnTo>
                  <a:lnTo>
                    <a:pt x="380" y="61"/>
                  </a:lnTo>
                  <a:lnTo>
                    <a:pt x="380" y="61"/>
                  </a:lnTo>
                  <a:lnTo>
                    <a:pt x="382" y="61"/>
                  </a:lnTo>
                  <a:lnTo>
                    <a:pt x="382" y="61"/>
                  </a:lnTo>
                  <a:lnTo>
                    <a:pt x="385" y="61"/>
                  </a:lnTo>
                  <a:lnTo>
                    <a:pt x="385" y="61"/>
                  </a:lnTo>
                  <a:lnTo>
                    <a:pt x="385" y="63"/>
                  </a:lnTo>
                  <a:lnTo>
                    <a:pt x="387" y="61"/>
                  </a:lnTo>
                  <a:lnTo>
                    <a:pt x="387" y="59"/>
                  </a:lnTo>
                  <a:lnTo>
                    <a:pt x="389" y="61"/>
                  </a:lnTo>
                  <a:lnTo>
                    <a:pt x="389" y="59"/>
                  </a:lnTo>
                  <a:lnTo>
                    <a:pt x="389" y="61"/>
                  </a:lnTo>
                  <a:lnTo>
                    <a:pt x="392" y="59"/>
                  </a:lnTo>
                  <a:lnTo>
                    <a:pt x="392" y="61"/>
                  </a:lnTo>
                  <a:lnTo>
                    <a:pt x="392" y="59"/>
                  </a:lnTo>
                  <a:lnTo>
                    <a:pt x="392" y="61"/>
                  </a:lnTo>
                  <a:lnTo>
                    <a:pt x="394" y="61"/>
                  </a:lnTo>
                  <a:lnTo>
                    <a:pt x="394" y="61"/>
                  </a:lnTo>
                  <a:lnTo>
                    <a:pt x="394" y="61"/>
                  </a:lnTo>
                  <a:lnTo>
                    <a:pt x="397" y="61"/>
                  </a:lnTo>
                  <a:lnTo>
                    <a:pt x="397" y="61"/>
                  </a:lnTo>
                  <a:lnTo>
                    <a:pt x="397" y="61"/>
                  </a:lnTo>
                  <a:lnTo>
                    <a:pt x="397" y="61"/>
                  </a:lnTo>
                  <a:lnTo>
                    <a:pt x="399" y="61"/>
                  </a:lnTo>
                  <a:lnTo>
                    <a:pt x="399" y="61"/>
                  </a:lnTo>
                  <a:lnTo>
                    <a:pt x="399" y="61"/>
                  </a:lnTo>
                  <a:lnTo>
                    <a:pt x="399" y="61"/>
                  </a:lnTo>
                  <a:lnTo>
                    <a:pt x="399" y="59"/>
                  </a:lnTo>
                  <a:lnTo>
                    <a:pt x="401" y="61"/>
                  </a:lnTo>
                  <a:lnTo>
                    <a:pt x="401" y="59"/>
                  </a:lnTo>
                  <a:lnTo>
                    <a:pt x="401" y="61"/>
                  </a:lnTo>
                  <a:lnTo>
                    <a:pt x="404" y="61"/>
                  </a:lnTo>
                  <a:lnTo>
                    <a:pt x="404" y="61"/>
                  </a:lnTo>
                  <a:lnTo>
                    <a:pt x="404" y="59"/>
                  </a:lnTo>
                  <a:lnTo>
                    <a:pt x="404" y="59"/>
                  </a:lnTo>
                  <a:lnTo>
                    <a:pt x="406" y="59"/>
                  </a:lnTo>
                  <a:lnTo>
                    <a:pt x="406" y="59"/>
                  </a:lnTo>
                  <a:lnTo>
                    <a:pt x="406" y="59"/>
                  </a:lnTo>
                  <a:lnTo>
                    <a:pt x="408" y="59"/>
                  </a:lnTo>
                  <a:lnTo>
                    <a:pt x="408" y="56"/>
                  </a:lnTo>
                  <a:lnTo>
                    <a:pt x="413" y="56"/>
                  </a:lnTo>
                  <a:lnTo>
                    <a:pt x="413" y="56"/>
                  </a:lnTo>
                  <a:lnTo>
                    <a:pt x="415" y="59"/>
                  </a:lnTo>
                  <a:lnTo>
                    <a:pt x="415" y="59"/>
                  </a:lnTo>
                  <a:lnTo>
                    <a:pt x="420" y="59"/>
                  </a:lnTo>
                  <a:lnTo>
                    <a:pt x="420" y="59"/>
                  </a:lnTo>
                  <a:lnTo>
                    <a:pt x="423" y="59"/>
                  </a:lnTo>
                  <a:lnTo>
                    <a:pt x="425" y="56"/>
                  </a:lnTo>
                  <a:lnTo>
                    <a:pt x="425" y="56"/>
                  </a:lnTo>
                  <a:lnTo>
                    <a:pt x="425" y="54"/>
                  </a:lnTo>
                  <a:lnTo>
                    <a:pt x="425" y="54"/>
                  </a:lnTo>
                  <a:lnTo>
                    <a:pt x="427" y="54"/>
                  </a:lnTo>
                  <a:lnTo>
                    <a:pt x="427" y="54"/>
                  </a:lnTo>
                  <a:lnTo>
                    <a:pt x="430" y="52"/>
                  </a:lnTo>
                  <a:lnTo>
                    <a:pt x="432" y="52"/>
                  </a:lnTo>
                  <a:lnTo>
                    <a:pt x="432" y="52"/>
                  </a:lnTo>
                  <a:lnTo>
                    <a:pt x="432" y="52"/>
                  </a:lnTo>
                  <a:lnTo>
                    <a:pt x="432" y="49"/>
                  </a:lnTo>
                  <a:lnTo>
                    <a:pt x="432" y="49"/>
                  </a:lnTo>
                  <a:lnTo>
                    <a:pt x="432" y="49"/>
                  </a:lnTo>
                  <a:lnTo>
                    <a:pt x="432" y="47"/>
                  </a:lnTo>
                  <a:lnTo>
                    <a:pt x="434" y="44"/>
                  </a:lnTo>
                  <a:lnTo>
                    <a:pt x="437" y="44"/>
                  </a:lnTo>
                  <a:lnTo>
                    <a:pt x="437" y="44"/>
                  </a:lnTo>
                  <a:lnTo>
                    <a:pt x="439" y="44"/>
                  </a:lnTo>
                  <a:lnTo>
                    <a:pt x="439" y="44"/>
                  </a:lnTo>
                  <a:lnTo>
                    <a:pt x="439" y="42"/>
                  </a:lnTo>
                  <a:lnTo>
                    <a:pt x="441" y="42"/>
                  </a:lnTo>
                  <a:lnTo>
                    <a:pt x="441" y="44"/>
                  </a:lnTo>
                  <a:lnTo>
                    <a:pt x="441" y="42"/>
                  </a:lnTo>
                  <a:lnTo>
                    <a:pt x="444" y="42"/>
                  </a:lnTo>
                  <a:lnTo>
                    <a:pt x="446" y="42"/>
                  </a:lnTo>
                  <a:lnTo>
                    <a:pt x="446" y="42"/>
                  </a:lnTo>
                  <a:lnTo>
                    <a:pt x="449" y="42"/>
                  </a:lnTo>
                  <a:lnTo>
                    <a:pt x="451" y="42"/>
                  </a:lnTo>
                  <a:lnTo>
                    <a:pt x="453" y="40"/>
                  </a:lnTo>
                  <a:lnTo>
                    <a:pt x="456" y="40"/>
                  </a:lnTo>
                  <a:lnTo>
                    <a:pt x="456" y="40"/>
                  </a:lnTo>
                  <a:lnTo>
                    <a:pt x="456" y="40"/>
                  </a:lnTo>
                  <a:lnTo>
                    <a:pt x="458" y="40"/>
                  </a:lnTo>
                  <a:lnTo>
                    <a:pt x="458" y="42"/>
                  </a:lnTo>
                  <a:lnTo>
                    <a:pt x="460" y="40"/>
                  </a:lnTo>
                  <a:lnTo>
                    <a:pt x="460" y="40"/>
                  </a:lnTo>
                  <a:lnTo>
                    <a:pt x="463" y="40"/>
                  </a:lnTo>
                  <a:lnTo>
                    <a:pt x="465" y="40"/>
                  </a:lnTo>
                  <a:lnTo>
                    <a:pt x="467" y="42"/>
                  </a:lnTo>
                  <a:lnTo>
                    <a:pt x="467" y="42"/>
                  </a:lnTo>
                  <a:lnTo>
                    <a:pt x="467" y="42"/>
                  </a:lnTo>
                  <a:lnTo>
                    <a:pt x="467" y="42"/>
                  </a:lnTo>
                  <a:lnTo>
                    <a:pt x="467" y="44"/>
                  </a:lnTo>
                  <a:lnTo>
                    <a:pt x="467" y="44"/>
                  </a:lnTo>
                  <a:lnTo>
                    <a:pt x="467" y="44"/>
                  </a:lnTo>
                  <a:lnTo>
                    <a:pt x="470" y="47"/>
                  </a:lnTo>
                  <a:lnTo>
                    <a:pt x="474" y="47"/>
                  </a:lnTo>
                  <a:lnTo>
                    <a:pt x="474" y="49"/>
                  </a:lnTo>
                  <a:lnTo>
                    <a:pt x="474" y="47"/>
                  </a:lnTo>
                  <a:lnTo>
                    <a:pt x="477" y="49"/>
                  </a:lnTo>
                  <a:lnTo>
                    <a:pt x="477" y="49"/>
                  </a:lnTo>
                  <a:lnTo>
                    <a:pt x="477" y="49"/>
                  </a:lnTo>
                  <a:lnTo>
                    <a:pt x="477" y="52"/>
                  </a:lnTo>
                  <a:lnTo>
                    <a:pt x="479" y="52"/>
                  </a:lnTo>
                  <a:lnTo>
                    <a:pt x="479" y="52"/>
                  </a:lnTo>
                  <a:lnTo>
                    <a:pt x="479" y="54"/>
                  </a:lnTo>
                  <a:lnTo>
                    <a:pt x="479" y="52"/>
                  </a:lnTo>
                  <a:lnTo>
                    <a:pt x="479" y="54"/>
                  </a:lnTo>
                  <a:lnTo>
                    <a:pt x="479" y="54"/>
                  </a:lnTo>
                  <a:lnTo>
                    <a:pt x="479" y="56"/>
                  </a:lnTo>
                  <a:lnTo>
                    <a:pt x="479" y="56"/>
                  </a:lnTo>
                  <a:lnTo>
                    <a:pt x="479" y="56"/>
                  </a:lnTo>
                  <a:lnTo>
                    <a:pt x="482" y="56"/>
                  </a:lnTo>
                  <a:lnTo>
                    <a:pt x="479" y="59"/>
                  </a:lnTo>
                  <a:lnTo>
                    <a:pt x="479" y="61"/>
                  </a:lnTo>
                  <a:lnTo>
                    <a:pt x="482" y="61"/>
                  </a:lnTo>
                  <a:lnTo>
                    <a:pt x="484" y="63"/>
                  </a:lnTo>
                  <a:lnTo>
                    <a:pt x="484" y="61"/>
                  </a:lnTo>
                  <a:lnTo>
                    <a:pt x="484" y="63"/>
                  </a:lnTo>
                  <a:lnTo>
                    <a:pt x="484" y="63"/>
                  </a:lnTo>
                  <a:lnTo>
                    <a:pt x="486" y="63"/>
                  </a:lnTo>
                  <a:lnTo>
                    <a:pt x="486" y="63"/>
                  </a:lnTo>
                  <a:lnTo>
                    <a:pt x="489" y="63"/>
                  </a:lnTo>
                  <a:lnTo>
                    <a:pt x="489" y="63"/>
                  </a:lnTo>
                  <a:lnTo>
                    <a:pt x="491" y="63"/>
                  </a:lnTo>
                  <a:lnTo>
                    <a:pt x="491" y="63"/>
                  </a:lnTo>
                  <a:lnTo>
                    <a:pt x="493" y="63"/>
                  </a:lnTo>
                  <a:lnTo>
                    <a:pt x="493" y="63"/>
                  </a:lnTo>
                  <a:lnTo>
                    <a:pt x="496" y="61"/>
                  </a:lnTo>
                  <a:lnTo>
                    <a:pt x="496" y="61"/>
                  </a:lnTo>
                  <a:lnTo>
                    <a:pt x="498" y="59"/>
                  </a:lnTo>
                  <a:lnTo>
                    <a:pt x="498" y="59"/>
                  </a:lnTo>
                  <a:lnTo>
                    <a:pt x="500" y="59"/>
                  </a:lnTo>
                  <a:lnTo>
                    <a:pt x="503" y="59"/>
                  </a:lnTo>
                  <a:lnTo>
                    <a:pt x="503" y="59"/>
                  </a:lnTo>
                  <a:lnTo>
                    <a:pt x="503" y="59"/>
                  </a:lnTo>
                  <a:lnTo>
                    <a:pt x="505" y="56"/>
                  </a:lnTo>
                  <a:lnTo>
                    <a:pt x="505" y="56"/>
                  </a:lnTo>
                  <a:lnTo>
                    <a:pt x="508" y="56"/>
                  </a:lnTo>
                  <a:lnTo>
                    <a:pt x="508" y="56"/>
                  </a:lnTo>
                  <a:lnTo>
                    <a:pt x="510" y="59"/>
                  </a:lnTo>
                  <a:lnTo>
                    <a:pt x="510" y="56"/>
                  </a:lnTo>
                  <a:lnTo>
                    <a:pt x="512" y="59"/>
                  </a:lnTo>
                  <a:lnTo>
                    <a:pt x="512" y="59"/>
                  </a:lnTo>
                  <a:lnTo>
                    <a:pt x="515" y="59"/>
                  </a:lnTo>
                  <a:lnTo>
                    <a:pt x="515" y="59"/>
                  </a:lnTo>
                  <a:lnTo>
                    <a:pt x="515" y="59"/>
                  </a:lnTo>
                  <a:lnTo>
                    <a:pt x="515" y="59"/>
                  </a:lnTo>
                  <a:lnTo>
                    <a:pt x="517" y="59"/>
                  </a:lnTo>
                  <a:lnTo>
                    <a:pt x="517" y="59"/>
                  </a:lnTo>
                  <a:lnTo>
                    <a:pt x="519" y="59"/>
                  </a:lnTo>
                  <a:lnTo>
                    <a:pt x="517" y="56"/>
                  </a:lnTo>
                  <a:lnTo>
                    <a:pt x="519" y="54"/>
                  </a:lnTo>
                  <a:lnTo>
                    <a:pt x="519" y="54"/>
                  </a:lnTo>
                  <a:lnTo>
                    <a:pt x="522" y="52"/>
                  </a:lnTo>
                  <a:lnTo>
                    <a:pt x="522" y="52"/>
                  </a:lnTo>
                  <a:lnTo>
                    <a:pt x="522" y="49"/>
                  </a:lnTo>
                  <a:lnTo>
                    <a:pt x="522" y="47"/>
                  </a:lnTo>
                  <a:lnTo>
                    <a:pt x="522" y="47"/>
                  </a:lnTo>
                  <a:lnTo>
                    <a:pt x="522" y="47"/>
                  </a:lnTo>
                  <a:lnTo>
                    <a:pt x="522" y="44"/>
                  </a:lnTo>
                  <a:lnTo>
                    <a:pt x="522" y="44"/>
                  </a:lnTo>
                  <a:lnTo>
                    <a:pt x="522" y="42"/>
                  </a:lnTo>
                  <a:lnTo>
                    <a:pt x="522" y="44"/>
                  </a:lnTo>
                  <a:lnTo>
                    <a:pt x="522" y="42"/>
                  </a:lnTo>
                  <a:lnTo>
                    <a:pt x="524" y="42"/>
                  </a:lnTo>
                  <a:lnTo>
                    <a:pt x="524" y="42"/>
                  </a:lnTo>
                  <a:lnTo>
                    <a:pt x="524" y="40"/>
                  </a:lnTo>
                  <a:lnTo>
                    <a:pt x="529" y="40"/>
                  </a:lnTo>
                  <a:lnTo>
                    <a:pt x="529" y="40"/>
                  </a:lnTo>
                  <a:lnTo>
                    <a:pt x="531" y="40"/>
                  </a:lnTo>
                  <a:lnTo>
                    <a:pt x="531" y="40"/>
                  </a:lnTo>
                  <a:lnTo>
                    <a:pt x="531" y="40"/>
                  </a:lnTo>
                  <a:lnTo>
                    <a:pt x="531" y="37"/>
                  </a:lnTo>
                  <a:lnTo>
                    <a:pt x="534" y="37"/>
                  </a:lnTo>
                  <a:lnTo>
                    <a:pt x="536" y="35"/>
                  </a:lnTo>
                  <a:lnTo>
                    <a:pt x="538" y="35"/>
                  </a:lnTo>
                  <a:lnTo>
                    <a:pt x="538" y="33"/>
                  </a:lnTo>
                  <a:lnTo>
                    <a:pt x="538" y="33"/>
                  </a:lnTo>
                  <a:lnTo>
                    <a:pt x="541" y="33"/>
                  </a:lnTo>
                  <a:lnTo>
                    <a:pt x="543" y="28"/>
                  </a:lnTo>
                  <a:lnTo>
                    <a:pt x="543" y="26"/>
                  </a:lnTo>
                  <a:lnTo>
                    <a:pt x="545" y="26"/>
                  </a:lnTo>
                  <a:lnTo>
                    <a:pt x="550" y="23"/>
                  </a:lnTo>
                  <a:lnTo>
                    <a:pt x="550" y="21"/>
                  </a:lnTo>
                  <a:lnTo>
                    <a:pt x="550" y="18"/>
                  </a:lnTo>
                  <a:lnTo>
                    <a:pt x="550" y="18"/>
                  </a:lnTo>
                  <a:lnTo>
                    <a:pt x="552" y="16"/>
                  </a:lnTo>
                  <a:lnTo>
                    <a:pt x="552" y="14"/>
                  </a:lnTo>
                  <a:lnTo>
                    <a:pt x="557" y="14"/>
                  </a:lnTo>
                  <a:lnTo>
                    <a:pt x="557" y="11"/>
                  </a:lnTo>
                  <a:lnTo>
                    <a:pt x="560" y="11"/>
                  </a:lnTo>
                  <a:lnTo>
                    <a:pt x="560" y="9"/>
                  </a:lnTo>
                  <a:lnTo>
                    <a:pt x="560" y="9"/>
                  </a:lnTo>
                  <a:lnTo>
                    <a:pt x="560" y="9"/>
                  </a:lnTo>
                  <a:lnTo>
                    <a:pt x="562" y="7"/>
                  </a:lnTo>
                  <a:lnTo>
                    <a:pt x="567" y="7"/>
                  </a:lnTo>
                  <a:lnTo>
                    <a:pt x="567" y="7"/>
                  </a:lnTo>
                  <a:lnTo>
                    <a:pt x="567" y="9"/>
                  </a:lnTo>
                  <a:lnTo>
                    <a:pt x="569" y="11"/>
                  </a:lnTo>
                  <a:lnTo>
                    <a:pt x="567" y="63"/>
                  </a:lnTo>
                  <a:lnTo>
                    <a:pt x="567" y="63"/>
                  </a:lnTo>
                  <a:lnTo>
                    <a:pt x="564" y="63"/>
                  </a:lnTo>
                  <a:lnTo>
                    <a:pt x="562" y="63"/>
                  </a:lnTo>
                  <a:lnTo>
                    <a:pt x="560" y="66"/>
                  </a:lnTo>
                  <a:lnTo>
                    <a:pt x="560" y="66"/>
                  </a:lnTo>
                  <a:lnTo>
                    <a:pt x="557" y="66"/>
                  </a:lnTo>
                  <a:lnTo>
                    <a:pt x="557" y="66"/>
                  </a:lnTo>
                  <a:lnTo>
                    <a:pt x="555" y="66"/>
                  </a:lnTo>
                  <a:lnTo>
                    <a:pt x="552" y="66"/>
                  </a:lnTo>
                  <a:lnTo>
                    <a:pt x="552" y="66"/>
                  </a:lnTo>
                  <a:lnTo>
                    <a:pt x="548" y="68"/>
                  </a:lnTo>
                  <a:lnTo>
                    <a:pt x="548" y="68"/>
                  </a:lnTo>
                  <a:lnTo>
                    <a:pt x="548" y="70"/>
                  </a:lnTo>
                  <a:lnTo>
                    <a:pt x="545" y="73"/>
                  </a:lnTo>
                  <a:lnTo>
                    <a:pt x="543" y="73"/>
                  </a:lnTo>
                  <a:lnTo>
                    <a:pt x="543" y="73"/>
                  </a:lnTo>
                  <a:lnTo>
                    <a:pt x="543" y="75"/>
                  </a:lnTo>
                  <a:lnTo>
                    <a:pt x="541" y="78"/>
                  </a:lnTo>
                  <a:lnTo>
                    <a:pt x="541" y="80"/>
                  </a:lnTo>
                  <a:lnTo>
                    <a:pt x="541" y="80"/>
                  </a:lnTo>
                  <a:lnTo>
                    <a:pt x="541" y="82"/>
                  </a:lnTo>
                  <a:lnTo>
                    <a:pt x="536" y="87"/>
                  </a:lnTo>
                  <a:lnTo>
                    <a:pt x="536" y="89"/>
                  </a:lnTo>
                  <a:lnTo>
                    <a:pt x="536" y="89"/>
                  </a:lnTo>
                  <a:lnTo>
                    <a:pt x="534" y="92"/>
                  </a:lnTo>
                  <a:lnTo>
                    <a:pt x="534" y="92"/>
                  </a:lnTo>
                  <a:lnTo>
                    <a:pt x="534" y="94"/>
                  </a:lnTo>
                  <a:lnTo>
                    <a:pt x="536" y="94"/>
                  </a:lnTo>
                  <a:lnTo>
                    <a:pt x="534" y="96"/>
                  </a:lnTo>
                  <a:lnTo>
                    <a:pt x="536" y="96"/>
                  </a:lnTo>
                  <a:lnTo>
                    <a:pt x="534" y="96"/>
                  </a:lnTo>
                  <a:lnTo>
                    <a:pt x="536" y="99"/>
                  </a:lnTo>
                  <a:lnTo>
                    <a:pt x="536" y="96"/>
                  </a:lnTo>
                  <a:lnTo>
                    <a:pt x="536" y="96"/>
                  </a:lnTo>
                  <a:lnTo>
                    <a:pt x="538" y="96"/>
                  </a:lnTo>
                  <a:lnTo>
                    <a:pt x="538" y="96"/>
                  </a:lnTo>
                  <a:lnTo>
                    <a:pt x="541" y="96"/>
                  </a:lnTo>
                  <a:lnTo>
                    <a:pt x="541" y="96"/>
                  </a:lnTo>
                  <a:lnTo>
                    <a:pt x="541" y="96"/>
                  </a:lnTo>
                  <a:lnTo>
                    <a:pt x="541" y="96"/>
                  </a:lnTo>
                  <a:lnTo>
                    <a:pt x="543" y="96"/>
                  </a:lnTo>
                  <a:lnTo>
                    <a:pt x="543" y="99"/>
                  </a:lnTo>
                  <a:lnTo>
                    <a:pt x="545" y="99"/>
                  </a:lnTo>
                  <a:lnTo>
                    <a:pt x="543" y="96"/>
                  </a:lnTo>
                  <a:lnTo>
                    <a:pt x="545" y="96"/>
                  </a:lnTo>
                  <a:lnTo>
                    <a:pt x="545" y="99"/>
                  </a:lnTo>
                  <a:lnTo>
                    <a:pt x="548" y="99"/>
                  </a:lnTo>
                  <a:lnTo>
                    <a:pt x="548" y="99"/>
                  </a:lnTo>
                  <a:lnTo>
                    <a:pt x="548" y="99"/>
                  </a:lnTo>
                  <a:lnTo>
                    <a:pt x="548" y="99"/>
                  </a:lnTo>
                  <a:lnTo>
                    <a:pt x="548" y="99"/>
                  </a:lnTo>
                  <a:lnTo>
                    <a:pt x="550" y="99"/>
                  </a:lnTo>
                  <a:lnTo>
                    <a:pt x="550" y="101"/>
                  </a:lnTo>
                  <a:lnTo>
                    <a:pt x="550" y="101"/>
                  </a:lnTo>
                  <a:lnTo>
                    <a:pt x="550" y="101"/>
                  </a:lnTo>
                  <a:lnTo>
                    <a:pt x="550" y="104"/>
                  </a:lnTo>
                  <a:lnTo>
                    <a:pt x="550" y="104"/>
                  </a:lnTo>
                  <a:lnTo>
                    <a:pt x="552" y="104"/>
                  </a:lnTo>
                  <a:lnTo>
                    <a:pt x="552" y="104"/>
                  </a:lnTo>
                  <a:lnTo>
                    <a:pt x="552" y="104"/>
                  </a:lnTo>
                  <a:lnTo>
                    <a:pt x="552" y="104"/>
                  </a:lnTo>
                  <a:lnTo>
                    <a:pt x="552" y="104"/>
                  </a:lnTo>
                  <a:lnTo>
                    <a:pt x="552" y="106"/>
                  </a:lnTo>
                  <a:lnTo>
                    <a:pt x="555" y="106"/>
                  </a:lnTo>
                  <a:lnTo>
                    <a:pt x="555" y="106"/>
                  </a:lnTo>
                  <a:lnTo>
                    <a:pt x="555" y="106"/>
                  </a:lnTo>
                  <a:lnTo>
                    <a:pt x="555" y="106"/>
                  </a:lnTo>
                  <a:lnTo>
                    <a:pt x="555" y="106"/>
                  </a:lnTo>
                  <a:lnTo>
                    <a:pt x="557" y="108"/>
                  </a:lnTo>
                  <a:lnTo>
                    <a:pt x="557" y="108"/>
                  </a:lnTo>
                  <a:lnTo>
                    <a:pt x="562" y="108"/>
                  </a:lnTo>
                  <a:lnTo>
                    <a:pt x="562" y="108"/>
                  </a:lnTo>
                  <a:lnTo>
                    <a:pt x="562" y="108"/>
                  </a:lnTo>
                  <a:lnTo>
                    <a:pt x="564" y="108"/>
                  </a:lnTo>
                  <a:lnTo>
                    <a:pt x="564" y="108"/>
                  </a:lnTo>
                  <a:lnTo>
                    <a:pt x="564" y="108"/>
                  </a:lnTo>
                  <a:lnTo>
                    <a:pt x="567" y="108"/>
                  </a:lnTo>
                  <a:lnTo>
                    <a:pt x="567" y="111"/>
                  </a:lnTo>
                  <a:lnTo>
                    <a:pt x="569" y="108"/>
                  </a:lnTo>
                  <a:lnTo>
                    <a:pt x="569" y="108"/>
                  </a:lnTo>
                  <a:lnTo>
                    <a:pt x="569" y="106"/>
                  </a:lnTo>
                  <a:lnTo>
                    <a:pt x="571" y="106"/>
                  </a:lnTo>
                  <a:lnTo>
                    <a:pt x="571" y="106"/>
                  </a:lnTo>
                  <a:lnTo>
                    <a:pt x="576" y="106"/>
                  </a:lnTo>
                  <a:lnTo>
                    <a:pt x="576" y="106"/>
                  </a:lnTo>
                  <a:lnTo>
                    <a:pt x="576" y="106"/>
                  </a:lnTo>
                  <a:lnTo>
                    <a:pt x="578" y="106"/>
                  </a:lnTo>
                  <a:lnTo>
                    <a:pt x="578" y="106"/>
                  </a:lnTo>
                  <a:lnTo>
                    <a:pt x="578" y="108"/>
                  </a:lnTo>
                  <a:lnTo>
                    <a:pt x="581" y="108"/>
                  </a:lnTo>
                  <a:lnTo>
                    <a:pt x="581" y="108"/>
                  </a:lnTo>
                  <a:lnTo>
                    <a:pt x="583" y="108"/>
                  </a:lnTo>
                  <a:lnTo>
                    <a:pt x="583" y="108"/>
                  </a:lnTo>
                  <a:lnTo>
                    <a:pt x="586" y="108"/>
                  </a:lnTo>
                  <a:lnTo>
                    <a:pt x="586" y="111"/>
                  </a:lnTo>
                  <a:lnTo>
                    <a:pt x="586" y="111"/>
                  </a:lnTo>
                  <a:lnTo>
                    <a:pt x="588" y="111"/>
                  </a:lnTo>
                  <a:lnTo>
                    <a:pt x="590" y="111"/>
                  </a:lnTo>
                  <a:lnTo>
                    <a:pt x="590" y="113"/>
                  </a:lnTo>
                  <a:lnTo>
                    <a:pt x="590" y="113"/>
                  </a:lnTo>
                  <a:lnTo>
                    <a:pt x="593" y="113"/>
                  </a:lnTo>
                  <a:lnTo>
                    <a:pt x="595" y="113"/>
                  </a:lnTo>
                  <a:lnTo>
                    <a:pt x="595" y="113"/>
                  </a:lnTo>
                  <a:lnTo>
                    <a:pt x="595" y="113"/>
                  </a:lnTo>
                  <a:lnTo>
                    <a:pt x="597" y="111"/>
                  </a:lnTo>
                  <a:lnTo>
                    <a:pt x="597" y="111"/>
                  </a:lnTo>
                  <a:lnTo>
                    <a:pt x="597" y="108"/>
                  </a:lnTo>
                  <a:lnTo>
                    <a:pt x="597" y="108"/>
                  </a:lnTo>
                  <a:lnTo>
                    <a:pt x="597" y="106"/>
                  </a:lnTo>
                  <a:lnTo>
                    <a:pt x="600" y="108"/>
                  </a:lnTo>
                  <a:lnTo>
                    <a:pt x="600" y="106"/>
                  </a:lnTo>
                  <a:lnTo>
                    <a:pt x="600" y="106"/>
                  </a:lnTo>
                  <a:lnTo>
                    <a:pt x="600" y="106"/>
                  </a:lnTo>
                  <a:lnTo>
                    <a:pt x="600" y="106"/>
                  </a:lnTo>
                  <a:lnTo>
                    <a:pt x="600" y="106"/>
                  </a:lnTo>
                  <a:lnTo>
                    <a:pt x="602" y="106"/>
                  </a:lnTo>
                  <a:lnTo>
                    <a:pt x="602" y="106"/>
                  </a:lnTo>
                  <a:lnTo>
                    <a:pt x="602" y="108"/>
                  </a:lnTo>
                  <a:lnTo>
                    <a:pt x="604" y="106"/>
                  </a:lnTo>
                  <a:lnTo>
                    <a:pt x="604" y="108"/>
                  </a:lnTo>
                  <a:lnTo>
                    <a:pt x="604" y="108"/>
                  </a:lnTo>
                  <a:lnTo>
                    <a:pt x="607" y="108"/>
                  </a:lnTo>
                  <a:lnTo>
                    <a:pt x="609" y="108"/>
                  </a:lnTo>
                  <a:lnTo>
                    <a:pt x="612" y="108"/>
                  </a:lnTo>
                  <a:lnTo>
                    <a:pt x="614" y="108"/>
                  </a:lnTo>
                  <a:lnTo>
                    <a:pt x="614" y="108"/>
                  </a:lnTo>
                  <a:lnTo>
                    <a:pt x="616" y="108"/>
                  </a:lnTo>
                  <a:lnTo>
                    <a:pt x="623" y="108"/>
                  </a:lnTo>
                  <a:lnTo>
                    <a:pt x="626" y="108"/>
                  </a:lnTo>
                  <a:lnTo>
                    <a:pt x="626" y="108"/>
                  </a:lnTo>
                  <a:lnTo>
                    <a:pt x="628" y="111"/>
                  </a:lnTo>
                  <a:lnTo>
                    <a:pt x="630" y="111"/>
                  </a:lnTo>
                  <a:lnTo>
                    <a:pt x="630" y="111"/>
                  </a:lnTo>
                  <a:lnTo>
                    <a:pt x="630" y="113"/>
                  </a:lnTo>
                  <a:lnTo>
                    <a:pt x="633" y="113"/>
                  </a:lnTo>
                  <a:lnTo>
                    <a:pt x="647" y="113"/>
                  </a:lnTo>
                  <a:lnTo>
                    <a:pt x="645" y="115"/>
                  </a:lnTo>
                  <a:lnTo>
                    <a:pt x="645" y="115"/>
                  </a:lnTo>
                  <a:lnTo>
                    <a:pt x="645" y="115"/>
                  </a:lnTo>
                  <a:lnTo>
                    <a:pt x="640" y="115"/>
                  </a:lnTo>
                  <a:lnTo>
                    <a:pt x="640" y="115"/>
                  </a:lnTo>
                  <a:lnTo>
                    <a:pt x="637" y="118"/>
                  </a:lnTo>
                  <a:lnTo>
                    <a:pt x="637" y="118"/>
                  </a:lnTo>
                  <a:lnTo>
                    <a:pt x="637" y="122"/>
                  </a:lnTo>
                  <a:lnTo>
                    <a:pt x="640" y="127"/>
                  </a:lnTo>
                  <a:lnTo>
                    <a:pt x="640" y="130"/>
                  </a:lnTo>
                  <a:lnTo>
                    <a:pt x="642" y="137"/>
                  </a:lnTo>
                  <a:lnTo>
                    <a:pt x="642" y="141"/>
                  </a:lnTo>
                  <a:lnTo>
                    <a:pt x="642" y="144"/>
                  </a:lnTo>
                  <a:lnTo>
                    <a:pt x="642" y="148"/>
                  </a:lnTo>
                  <a:lnTo>
                    <a:pt x="647" y="153"/>
                  </a:lnTo>
                  <a:lnTo>
                    <a:pt x="649" y="153"/>
                  </a:lnTo>
                  <a:lnTo>
                    <a:pt x="652" y="153"/>
                  </a:lnTo>
                  <a:lnTo>
                    <a:pt x="652" y="153"/>
                  </a:lnTo>
                  <a:lnTo>
                    <a:pt x="654" y="151"/>
                  </a:lnTo>
                  <a:lnTo>
                    <a:pt x="659" y="148"/>
                  </a:lnTo>
                  <a:lnTo>
                    <a:pt x="661" y="146"/>
                  </a:lnTo>
                  <a:lnTo>
                    <a:pt x="666" y="146"/>
                  </a:lnTo>
                  <a:lnTo>
                    <a:pt x="671" y="148"/>
                  </a:lnTo>
                  <a:lnTo>
                    <a:pt x="678" y="148"/>
                  </a:lnTo>
                  <a:lnTo>
                    <a:pt x="678" y="148"/>
                  </a:lnTo>
                  <a:lnTo>
                    <a:pt x="680" y="151"/>
                  </a:lnTo>
                  <a:lnTo>
                    <a:pt x="682" y="151"/>
                  </a:lnTo>
                  <a:lnTo>
                    <a:pt x="685" y="153"/>
                  </a:lnTo>
                  <a:lnTo>
                    <a:pt x="685" y="153"/>
                  </a:lnTo>
                  <a:lnTo>
                    <a:pt x="687" y="153"/>
                  </a:lnTo>
                  <a:lnTo>
                    <a:pt x="685" y="156"/>
                  </a:lnTo>
                  <a:lnTo>
                    <a:pt x="682" y="160"/>
                  </a:lnTo>
                  <a:lnTo>
                    <a:pt x="680" y="163"/>
                  </a:lnTo>
                  <a:lnTo>
                    <a:pt x="675" y="163"/>
                  </a:lnTo>
                  <a:lnTo>
                    <a:pt x="673" y="163"/>
                  </a:lnTo>
                  <a:lnTo>
                    <a:pt x="673" y="163"/>
                  </a:lnTo>
                  <a:lnTo>
                    <a:pt x="671" y="165"/>
                  </a:lnTo>
                  <a:lnTo>
                    <a:pt x="671" y="165"/>
                  </a:lnTo>
                  <a:lnTo>
                    <a:pt x="671" y="170"/>
                  </a:lnTo>
                  <a:lnTo>
                    <a:pt x="668" y="170"/>
                  </a:lnTo>
                  <a:lnTo>
                    <a:pt x="668" y="172"/>
                  </a:lnTo>
                  <a:lnTo>
                    <a:pt x="666" y="174"/>
                  </a:lnTo>
                  <a:lnTo>
                    <a:pt x="663" y="177"/>
                  </a:lnTo>
                  <a:lnTo>
                    <a:pt x="661" y="179"/>
                  </a:lnTo>
                  <a:lnTo>
                    <a:pt x="661" y="179"/>
                  </a:lnTo>
                  <a:lnTo>
                    <a:pt x="661" y="181"/>
                  </a:lnTo>
                  <a:lnTo>
                    <a:pt x="661" y="184"/>
                  </a:lnTo>
                  <a:lnTo>
                    <a:pt x="663" y="186"/>
                  </a:lnTo>
                  <a:lnTo>
                    <a:pt x="663" y="186"/>
                  </a:lnTo>
                  <a:lnTo>
                    <a:pt x="663" y="189"/>
                  </a:lnTo>
                  <a:lnTo>
                    <a:pt x="666" y="189"/>
                  </a:lnTo>
                  <a:lnTo>
                    <a:pt x="666" y="189"/>
                  </a:lnTo>
                  <a:lnTo>
                    <a:pt x="666" y="191"/>
                  </a:lnTo>
                  <a:lnTo>
                    <a:pt x="671" y="193"/>
                  </a:lnTo>
                  <a:lnTo>
                    <a:pt x="675" y="196"/>
                  </a:lnTo>
                  <a:lnTo>
                    <a:pt x="675" y="196"/>
                  </a:lnTo>
                  <a:lnTo>
                    <a:pt x="675" y="196"/>
                  </a:lnTo>
                  <a:lnTo>
                    <a:pt x="678" y="196"/>
                  </a:lnTo>
                  <a:lnTo>
                    <a:pt x="680" y="196"/>
                  </a:lnTo>
                  <a:lnTo>
                    <a:pt x="682" y="198"/>
                  </a:lnTo>
                  <a:lnTo>
                    <a:pt x="685" y="198"/>
                  </a:lnTo>
                  <a:lnTo>
                    <a:pt x="687" y="198"/>
                  </a:lnTo>
                  <a:lnTo>
                    <a:pt x="689" y="198"/>
                  </a:lnTo>
                  <a:lnTo>
                    <a:pt x="692" y="198"/>
                  </a:lnTo>
                  <a:lnTo>
                    <a:pt x="697" y="198"/>
                  </a:lnTo>
                  <a:lnTo>
                    <a:pt x="697" y="198"/>
                  </a:lnTo>
                  <a:lnTo>
                    <a:pt x="701" y="198"/>
                  </a:lnTo>
                  <a:lnTo>
                    <a:pt x="701" y="198"/>
                  </a:lnTo>
                  <a:lnTo>
                    <a:pt x="704" y="198"/>
                  </a:lnTo>
                  <a:lnTo>
                    <a:pt x="706" y="198"/>
                  </a:lnTo>
                  <a:lnTo>
                    <a:pt x="708" y="198"/>
                  </a:lnTo>
                  <a:lnTo>
                    <a:pt x="711" y="196"/>
                  </a:lnTo>
                  <a:lnTo>
                    <a:pt x="713" y="196"/>
                  </a:lnTo>
                  <a:lnTo>
                    <a:pt x="713" y="193"/>
                  </a:lnTo>
                  <a:lnTo>
                    <a:pt x="715" y="193"/>
                  </a:lnTo>
                  <a:lnTo>
                    <a:pt x="715" y="196"/>
                  </a:lnTo>
                  <a:lnTo>
                    <a:pt x="715" y="196"/>
                  </a:lnTo>
                  <a:lnTo>
                    <a:pt x="718" y="196"/>
                  </a:lnTo>
                  <a:lnTo>
                    <a:pt x="723" y="198"/>
                  </a:lnTo>
                  <a:lnTo>
                    <a:pt x="725" y="198"/>
                  </a:lnTo>
                  <a:lnTo>
                    <a:pt x="727" y="203"/>
                  </a:lnTo>
                  <a:lnTo>
                    <a:pt x="727" y="205"/>
                  </a:lnTo>
                  <a:lnTo>
                    <a:pt x="730" y="205"/>
                  </a:lnTo>
                  <a:lnTo>
                    <a:pt x="730" y="205"/>
                  </a:lnTo>
                  <a:lnTo>
                    <a:pt x="730" y="207"/>
                  </a:lnTo>
                  <a:lnTo>
                    <a:pt x="732" y="207"/>
                  </a:lnTo>
                  <a:lnTo>
                    <a:pt x="732" y="207"/>
                  </a:lnTo>
                  <a:lnTo>
                    <a:pt x="734" y="210"/>
                  </a:lnTo>
                  <a:lnTo>
                    <a:pt x="734" y="212"/>
                  </a:lnTo>
                  <a:lnTo>
                    <a:pt x="737" y="212"/>
                  </a:lnTo>
                  <a:lnTo>
                    <a:pt x="734" y="212"/>
                  </a:lnTo>
                  <a:lnTo>
                    <a:pt x="737" y="212"/>
                  </a:lnTo>
                  <a:lnTo>
                    <a:pt x="737" y="215"/>
                  </a:lnTo>
                  <a:lnTo>
                    <a:pt x="737" y="215"/>
                  </a:lnTo>
                  <a:lnTo>
                    <a:pt x="739" y="215"/>
                  </a:lnTo>
                  <a:lnTo>
                    <a:pt x="739" y="215"/>
                  </a:lnTo>
                  <a:lnTo>
                    <a:pt x="739" y="215"/>
                  </a:lnTo>
                  <a:lnTo>
                    <a:pt x="739" y="217"/>
                  </a:lnTo>
                  <a:lnTo>
                    <a:pt x="741" y="217"/>
                  </a:lnTo>
                  <a:lnTo>
                    <a:pt x="744" y="217"/>
                  </a:lnTo>
                  <a:lnTo>
                    <a:pt x="744" y="217"/>
                  </a:lnTo>
                  <a:lnTo>
                    <a:pt x="744" y="217"/>
                  </a:lnTo>
                  <a:lnTo>
                    <a:pt x="746" y="217"/>
                  </a:lnTo>
                  <a:lnTo>
                    <a:pt x="749" y="217"/>
                  </a:lnTo>
                  <a:lnTo>
                    <a:pt x="749" y="217"/>
                  </a:lnTo>
                  <a:lnTo>
                    <a:pt x="751" y="217"/>
                  </a:lnTo>
                  <a:lnTo>
                    <a:pt x="753" y="217"/>
                  </a:lnTo>
                  <a:lnTo>
                    <a:pt x="756" y="219"/>
                  </a:lnTo>
                  <a:lnTo>
                    <a:pt x="756" y="219"/>
                  </a:lnTo>
                  <a:lnTo>
                    <a:pt x="756" y="219"/>
                  </a:lnTo>
                  <a:lnTo>
                    <a:pt x="756" y="219"/>
                  </a:lnTo>
                  <a:lnTo>
                    <a:pt x="758" y="219"/>
                  </a:lnTo>
                  <a:lnTo>
                    <a:pt x="760" y="219"/>
                  </a:lnTo>
                  <a:lnTo>
                    <a:pt x="760" y="219"/>
                  </a:lnTo>
                  <a:lnTo>
                    <a:pt x="760" y="219"/>
                  </a:lnTo>
                  <a:lnTo>
                    <a:pt x="760" y="219"/>
                  </a:lnTo>
                  <a:lnTo>
                    <a:pt x="760" y="222"/>
                  </a:lnTo>
                  <a:lnTo>
                    <a:pt x="760" y="224"/>
                  </a:lnTo>
                  <a:lnTo>
                    <a:pt x="763" y="224"/>
                  </a:lnTo>
                  <a:lnTo>
                    <a:pt x="763" y="224"/>
                  </a:lnTo>
                  <a:lnTo>
                    <a:pt x="763" y="224"/>
                  </a:lnTo>
                  <a:lnTo>
                    <a:pt x="765" y="224"/>
                  </a:lnTo>
                  <a:lnTo>
                    <a:pt x="765" y="226"/>
                  </a:lnTo>
                  <a:lnTo>
                    <a:pt x="765" y="226"/>
                  </a:lnTo>
                  <a:lnTo>
                    <a:pt x="767" y="226"/>
                  </a:lnTo>
                  <a:lnTo>
                    <a:pt x="767" y="226"/>
                  </a:lnTo>
                  <a:lnTo>
                    <a:pt x="770" y="226"/>
                  </a:lnTo>
                  <a:lnTo>
                    <a:pt x="770" y="229"/>
                  </a:lnTo>
                  <a:lnTo>
                    <a:pt x="770" y="229"/>
                  </a:lnTo>
                  <a:lnTo>
                    <a:pt x="770" y="229"/>
                  </a:lnTo>
                  <a:lnTo>
                    <a:pt x="770" y="231"/>
                  </a:lnTo>
                  <a:lnTo>
                    <a:pt x="772" y="231"/>
                  </a:lnTo>
                  <a:lnTo>
                    <a:pt x="770" y="231"/>
                  </a:lnTo>
                  <a:lnTo>
                    <a:pt x="770" y="231"/>
                  </a:lnTo>
                  <a:lnTo>
                    <a:pt x="772" y="231"/>
                  </a:lnTo>
                  <a:lnTo>
                    <a:pt x="772" y="233"/>
                  </a:lnTo>
                  <a:lnTo>
                    <a:pt x="775" y="233"/>
                  </a:lnTo>
                  <a:lnTo>
                    <a:pt x="775" y="231"/>
                  </a:lnTo>
                  <a:lnTo>
                    <a:pt x="775" y="233"/>
                  </a:lnTo>
                  <a:lnTo>
                    <a:pt x="777" y="233"/>
                  </a:lnTo>
                  <a:lnTo>
                    <a:pt x="777" y="233"/>
                  </a:lnTo>
                  <a:lnTo>
                    <a:pt x="777" y="233"/>
                  </a:lnTo>
                  <a:lnTo>
                    <a:pt x="777" y="233"/>
                  </a:lnTo>
                  <a:lnTo>
                    <a:pt x="779" y="233"/>
                  </a:lnTo>
                  <a:lnTo>
                    <a:pt x="779" y="233"/>
                  </a:lnTo>
                  <a:lnTo>
                    <a:pt x="782" y="236"/>
                  </a:lnTo>
                  <a:lnTo>
                    <a:pt x="779" y="236"/>
                  </a:lnTo>
                  <a:lnTo>
                    <a:pt x="779" y="236"/>
                  </a:lnTo>
                  <a:lnTo>
                    <a:pt x="782" y="236"/>
                  </a:lnTo>
                  <a:lnTo>
                    <a:pt x="782" y="236"/>
                  </a:lnTo>
                  <a:lnTo>
                    <a:pt x="782" y="233"/>
                  </a:lnTo>
                  <a:lnTo>
                    <a:pt x="782" y="236"/>
                  </a:lnTo>
                  <a:lnTo>
                    <a:pt x="784" y="236"/>
                  </a:lnTo>
                  <a:lnTo>
                    <a:pt x="784" y="236"/>
                  </a:lnTo>
                  <a:lnTo>
                    <a:pt x="786" y="236"/>
                  </a:lnTo>
                  <a:lnTo>
                    <a:pt x="786" y="236"/>
                  </a:lnTo>
                  <a:lnTo>
                    <a:pt x="786" y="233"/>
                  </a:lnTo>
                  <a:lnTo>
                    <a:pt x="786" y="236"/>
                  </a:lnTo>
                  <a:lnTo>
                    <a:pt x="789" y="236"/>
                  </a:lnTo>
                  <a:lnTo>
                    <a:pt x="789" y="236"/>
                  </a:lnTo>
                  <a:lnTo>
                    <a:pt x="789" y="236"/>
                  </a:lnTo>
                  <a:lnTo>
                    <a:pt x="789" y="236"/>
                  </a:lnTo>
                  <a:lnTo>
                    <a:pt x="791" y="236"/>
                  </a:lnTo>
                  <a:lnTo>
                    <a:pt x="791" y="236"/>
                  </a:lnTo>
                  <a:lnTo>
                    <a:pt x="791" y="236"/>
                  </a:lnTo>
                  <a:lnTo>
                    <a:pt x="793" y="236"/>
                  </a:lnTo>
                  <a:lnTo>
                    <a:pt x="793" y="238"/>
                  </a:lnTo>
                  <a:lnTo>
                    <a:pt x="796" y="238"/>
                  </a:lnTo>
                  <a:lnTo>
                    <a:pt x="796" y="241"/>
                  </a:lnTo>
                  <a:lnTo>
                    <a:pt x="796" y="241"/>
                  </a:lnTo>
                  <a:lnTo>
                    <a:pt x="798" y="241"/>
                  </a:lnTo>
                  <a:lnTo>
                    <a:pt x="798" y="243"/>
                  </a:lnTo>
                  <a:lnTo>
                    <a:pt x="798" y="243"/>
                  </a:lnTo>
                  <a:lnTo>
                    <a:pt x="798" y="243"/>
                  </a:lnTo>
                  <a:lnTo>
                    <a:pt x="800" y="245"/>
                  </a:lnTo>
                  <a:lnTo>
                    <a:pt x="800" y="245"/>
                  </a:lnTo>
                  <a:lnTo>
                    <a:pt x="800" y="245"/>
                  </a:lnTo>
                  <a:lnTo>
                    <a:pt x="803" y="245"/>
                  </a:lnTo>
                  <a:lnTo>
                    <a:pt x="803" y="245"/>
                  </a:lnTo>
                  <a:lnTo>
                    <a:pt x="803" y="245"/>
                  </a:lnTo>
                  <a:lnTo>
                    <a:pt x="803" y="245"/>
                  </a:lnTo>
                  <a:lnTo>
                    <a:pt x="805" y="245"/>
                  </a:lnTo>
                  <a:lnTo>
                    <a:pt x="808" y="248"/>
                  </a:lnTo>
                  <a:lnTo>
                    <a:pt x="808" y="248"/>
                  </a:lnTo>
                  <a:lnTo>
                    <a:pt x="810" y="248"/>
                  </a:lnTo>
                  <a:lnTo>
                    <a:pt x="808" y="248"/>
                  </a:lnTo>
                  <a:lnTo>
                    <a:pt x="810" y="250"/>
                  </a:lnTo>
                  <a:lnTo>
                    <a:pt x="810" y="248"/>
                  </a:lnTo>
                  <a:lnTo>
                    <a:pt x="812" y="250"/>
                  </a:lnTo>
                  <a:lnTo>
                    <a:pt x="815" y="250"/>
                  </a:lnTo>
                  <a:lnTo>
                    <a:pt x="815" y="250"/>
                  </a:lnTo>
                  <a:lnTo>
                    <a:pt x="815" y="250"/>
                  </a:lnTo>
                  <a:lnTo>
                    <a:pt x="815" y="252"/>
                  </a:lnTo>
                  <a:lnTo>
                    <a:pt x="815" y="252"/>
                  </a:lnTo>
                  <a:lnTo>
                    <a:pt x="815" y="252"/>
                  </a:lnTo>
                  <a:lnTo>
                    <a:pt x="817" y="252"/>
                  </a:lnTo>
                  <a:lnTo>
                    <a:pt x="817" y="252"/>
                  </a:lnTo>
                  <a:lnTo>
                    <a:pt x="817" y="252"/>
                  </a:lnTo>
                  <a:lnTo>
                    <a:pt x="819" y="252"/>
                  </a:lnTo>
                  <a:lnTo>
                    <a:pt x="819" y="252"/>
                  </a:lnTo>
                  <a:lnTo>
                    <a:pt x="819" y="252"/>
                  </a:lnTo>
                  <a:lnTo>
                    <a:pt x="819" y="255"/>
                  </a:lnTo>
                  <a:lnTo>
                    <a:pt x="822" y="255"/>
                  </a:lnTo>
                  <a:lnTo>
                    <a:pt x="826" y="257"/>
                  </a:lnTo>
                  <a:lnTo>
                    <a:pt x="826" y="255"/>
                  </a:lnTo>
                  <a:lnTo>
                    <a:pt x="829" y="255"/>
                  </a:lnTo>
                  <a:lnTo>
                    <a:pt x="829" y="257"/>
                  </a:lnTo>
                  <a:lnTo>
                    <a:pt x="831" y="257"/>
                  </a:lnTo>
                  <a:lnTo>
                    <a:pt x="831" y="257"/>
                  </a:lnTo>
                  <a:lnTo>
                    <a:pt x="834" y="257"/>
                  </a:lnTo>
                  <a:lnTo>
                    <a:pt x="834" y="255"/>
                  </a:lnTo>
                  <a:lnTo>
                    <a:pt x="836" y="255"/>
                  </a:lnTo>
                  <a:lnTo>
                    <a:pt x="836" y="257"/>
                  </a:lnTo>
                  <a:lnTo>
                    <a:pt x="838" y="257"/>
                  </a:lnTo>
                  <a:lnTo>
                    <a:pt x="838" y="257"/>
                  </a:lnTo>
                  <a:lnTo>
                    <a:pt x="841" y="257"/>
                  </a:lnTo>
                  <a:lnTo>
                    <a:pt x="843" y="257"/>
                  </a:lnTo>
                  <a:lnTo>
                    <a:pt x="845" y="259"/>
                  </a:lnTo>
                  <a:lnTo>
                    <a:pt x="845" y="259"/>
                  </a:lnTo>
                  <a:lnTo>
                    <a:pt x="845" y="259"/>
                  </a:lnTo>
                  <a:lnTo>
                    <a:pt x="845" y="259"/>
                  </a:lnTo>
                  <a:lnTo>
                    <a:pt x="848" y="259"/>
                  </a:lnTo>
                  <a:lnTo>
                    <a:pt x="848" y="259"/>
                  </a:lnTo>
                  <a:lnTo>
                    <a:pt x="850" y="262"/>
                  </a:lnTo>
                  <a:lnTo>
                    <a:pt x="852" y="259"/>
                  </a:lnTo>
                  <a:lnTo>
                    <a:pt x="852" y="259"/>
                  </a:lnTo>
                  <a:lnTo>
                    <a:pt x="852" y="262"/>
                  </a:lnTo>
                  <a:lnTo>
                    <a:pt x="855" y="262"/>
                  </a:lnTo>
                  <a:lnTo>
                    <a:pt x="855" y="262"/>
                  </a:lnTo>
                  <a:lnTo>
                    <a:pt x="857" y="262"/>
                  </a:lnTo>
                  <a:lnTo>
                    <a:pt x="857" y="262"/>
                  </a:lnTo>
                  <a:lnTo>
                    <a:pt x="857" y="262"/>
                  </a:lnTo>
                  <a:lnTo>
                    <a:pt x="857" y="262"/>
                  </a:lnTo>
                  <a:lnTo>
                    <a:pt x="857" y="264"/>
                  </a:lnTo>
                  <a:lnTo>
                    <a:pt x="857" y="264"/>
                  </a:lnTo>
                  <a:lnTo>
                    <a:pt x="860" y="264"/>
                  </a:lnTo>
                  <a:lnTo>
                    <a:pt x="862" y="264"/>
                  </a:lnTo>
                  <a:lnTo>
                    <a:pt x="862" y="264"/>
                  </a:lnTo>
                  <a:lnTo>
                    <a:pt x="862" y="267"/>
                  </a:lnTo>
                  <a:lnTo>
                    <a:pt x="862" y="267"/>
                  </a:lnTo>
                  <a:lnTo>
                    <a:pt x="862" y="269"/>
                  </a:lnTo>
                  <a:lnTo>
                    <a:pt x="864" y="267"/>
                  </a:lnTo>
                  <a:lnTo>
                    <a:pt x="867" y="269"/>
                  </a:lnTo>
                  <a:lnTo>
                    <a:pt x="871" y="269"/>
                  </a:lnTo>
                  <a:lnTo>
                    <a:pt x="871" y="271"/>
                  </a:lnTo>
                  <a:lnTo>
                    <a:pt x="871" y="271"/>
                  </a:lnTo>
                  <a:lnTo>
                    <a:pt x="871" y="271"/>
                  </a:lnTo>
                  <a:lnTo>
                    <a:pt x="874" y="271"/>
                  </a:lnTo>
                  <a:lnTo>
                    <a:pt x="874" y="271"/>
                  </a:lnTo>
                  <a:lnTo>
                    <a:pt x="874" y="274"/>
                  </a:lnTo>
                  <a:lnTo>
                    <a:pt x="876" y="274"/>
                  </a:lnTo>
                  <a:lnTo>
                    <a:pt x="878" y="274"/>
                  </a:lnTo>
                  <a:lnTo>
                    <a:pt x="878" y="274"/>
                  </a:lnTo>
                  <a:lnTo>
                    <a:pt x="881" y="274"/>
                  </a:lnTo>
                  <a:lnTo>
                    <a:pt x="881" y="274"/>
                  </a:lnTo>
                  <a:lnTo>
                    <a:pt x="881" y="274"/>
                  </a:lnTo>
                  <a:lnTo>
                    <a:pt x="881" y="274"/>
                  </a:lnTo>
                  <a:lnTo>
                    <a:pt x="883" y="274"/>
                  </a:lnTo>
                  <a:lnTo>
                    <a:pt x="883" y="274"/>
                  </a:lnTo>
                  <a:lnTo>
                    <a:pt x="883" y="274"/>
                  </a:lnTo>
                  <a:lnTo>
                    <a:pt x="886" y="274"/>
                  </a:lnTo>
                  <a:lnTo>
                    <a:pt x="886" y="276"/>
                  </a:lnTo>
                  <a:lnTo>
                    <a:pt x="888" y="276"/>
                  </a:lnTo>
                  <a:lnTo>
                    <a:pt x="890" y="276"/>
                  </a:lnTo>
                  <a:lnTo>
                    <a:pt x="893" y="278"/>
                  </a:lnTo>
                  <a:lnTo>
                    <a:pt x="895" y="278"/>
                  </a:lnTo>
                  <a:lnTo>
                    <a:pt x="895" y="278"/>
                  </a:lnTo>
                  <a:lnTo>
                    <a:pt x="897" y="278"/>
                  </a:lnTo>
                  <a:lnTo>
                    <a:pt x="897" y="278"/>
                  </a:lnTo>
                  <a:lnTo>
                    <a:pt x="897" y="281"/>
                  </a:lnTo>
                  <a:lnTo>
                    <a:pt x="900" y="281"/>
                  </a:lnTo>
                  <a:lnTo>
                    <a:pt x="900" y="283"/>
                  </a:lnTo>
                  <a:lnTo>
                    <a:pt x="902" y="281"/>
                  </a:lnTo>
                  <a:lnTo>
                    <a:pt x="902" y="283"/>
                  </a:lnTo>
                  <a:lnTo>
                    <a:pt x="904" y="283"/>
                  </a:lnTo>
                  <a:lnTo>
                    <a:pt x="904" y="285"/>
                  </a:lnTo>
                  <a:lnTo>
                    <a:pt x="904" y="285"/>
                  </a:lnTo>
                  <a:lnTo>
                    <a:pt x="907" y="288"/>
                  </a:lnTo>
                  <a:lnTo>
                    <a:pt x="907" y="290"/>
                  </a:lnTo>
                  <a:lnTo>
                    <a:pt x="907" y="290"/>
                  </a:lnTo>
                  <a:lnTo>
                    <a:pt x="904" y="290"/>
                  </a:lnTo>
                  <a:lnTo>
                    <a:pt x="907" y="293"/>
                  </a:lnTo>
                  <a:lnTo>
                    <a:pt x="909" y="290"/>
                  </a:lnTo>
                  <a:lnTo>
                    <a:pt x="909" y="293"/>
                  </a:lnTo>
                  <a:lnTo>
                    <a:pt x="909" y="293"/>
                  </a:lnTo>
                  <a:lnTo>
                    <a:pt x="912" y="293"/>
                  </a:lnTo>
                  <a:lnTo>
                    <a:pt x="912" y="295"/>
                  </a:lnTo>
                  <a:lnTo>
                    <a:pt x="914" y="295"/>
                  </a:lnTo>
                  <a:lnTo>
                    <a:pt x="916" y="297"/>
                  </a:lnTo>
                  <a:lnTo>
                    <a:pt x="916" y="297"/>
                  </a:lnTo>
                  <a:lnTo>
                    <a:pt x="916" y="300"/>
                  </a:lnTo>
                  <a:lnTo>
                    <a:pt x="916" y="300"/>
                  </a:lnTo>
                  <a:lnTo>
                    <a:pt x="916" y="300"/>
                  </a:lnTo>
                  <a:lnTo>
                    <a:pt x="914" y="302"/>
                  </a:lnTo>
                  <a:lnTo>
                    <a:pt x="914" y="304"/>
                  </a:lnTo>
                  <a:lnTo>
                    <a:pt x="919" y="309"/>
                  </a:lnTo>
                  <a:lnTo>
                    <a:pt x="919" y="311"/>
                  </a:lnTo>
                  <a:lnTo>
                    <a:pt x="919" y="314"/>
                  </a:lnTo>
                  <a:lnTo>
                    <a:pt x="919" y="316"/>
                  </a:lnTo>
                  <a:lnTo>
                    <a:pt x="916" y="316"/>
                  </a:lnTo>
                  <a:lnTo>
                    <a:pt x="916" y="316"/>
                  </a:lnTo>
                  <a:lnTo>
                    <a:pt x="914" y="316"/>
                  </a:lnTo>
                  <a:lnTo>
                    <a:pt x="912" y="316"/>
                  </a:lnTo>
                  <a:lnTo>
                    <a:pt x="912" y="316"/>
                  </a:lnTo>
                  <a:lnTo>
                    <a:pt x="909" y="318"/>
                  </a:lnTo>
                  <a:lnTo>
                    <a:pt x="907" y="326"/>
                  </a:lnTo>
                  <a:lnTo>
                    <a:pt x="907" y="326"/>
                  </a:lnTo>
                  <a:lnTo>
                    <a:pt x="904" y="328"/>
                  </a:lnTo>
                  <a:lnTo>
                    <a:pt x="904" y="333"/>
                  </a:lnTo>
                  <a:lnTo>
                    <a:pt x="902" y="335"/>
                  </a:lnTo>
                  <a:lnTo>
                    <a:pt x="902" y="335"/>
                  </a:lnTo>
                  <a:lnTo>
                    <a:pt x="907" y="337"/>
                  </a:lnTo>
                  <a:lnTo>
                    <a:pt x="904" y="340"/>
                  </a:lnTo>
                  <a:lnTo>
                    <a:pt x="904" y="342"/>
                  </a:lnTo>
                  <a:lnTo>
                    <a:pt x="904" y="342"/>
                  </a:lnTo>
                  <a:lnTo>
                    <a:pt x="907" y="344"/>
                  </a:lnTo>
                  <a:lnTo>
                    <a:pt x="907" y="349"/>
                  </a:lnTo>
                  <a:lnTo>
                    <a:pt x="907" y="352"/>
                  </a:lnTo>
                  <a:lnTo>
                    <a:pt x="907" y="354"/>
                  </a:lnTo>
                  <a:lnTo>
                    <a:pt x="909" y="356"/>
                  </a:lnTo>
                  <a:lnTo>
                    <a:pt x="909" y="356"/>
                  </a:lnTo>
                  <a:lnTo>
                    <a:pt x="909" y="359"/>
                  </a:lnTo>
                  <a:lnTo>
                    <a:pt x="909" y="359"/>
                  </a:lnTo>
                  <a:lnTo>
                    <a:pt x="907" y="366"/>
                  </a:lnTo>
                  <a:lnTo>
                    <a:pt x="909" y="370"/>
                  </a:lnTo>
                  <a:lnTo>
                    <a:pt x="909" y="373"/>
                  </a:lnTo>
                  <a:lnTo>
                    <a:pt x="907" y="375"/>
                  </a:lnTo>
                  <a:lnTo>
                    <a:pt x="907" y="375"/>
                  </a:lnTo>
                  <a:lnTo>
                    <a:pt x="909" y="380"/>
                  </a:lnTo>
                  <a:lnTo>
                    <a:pt x="909" y="380"/>
                  </a:lnTo>
                  <a:lnTo>
                    <a:pt x="909" y="382"/>
                  </a:lnTo>
                  <a:lnTo>
                    <a:pt x="907" y="389"/>
                  </a:lnTo>
                  <a:lnTo>
                    <a:pt x="902" y="394"/>
                  </a:lnTo>
                  <a:lnTo>
                    <a:pt x="902" y="401"/>
                  </a:lnTo>
                  <a:lnTo>
                    <a:pt x="900" y="401"/>
                  </a:lnTo>
                  <a:lnTo>
                    <a:pt x="897" y="406"/>
                  </a:lnTo>
                  <a:lnTo>
                    <a:pt x="895" y="406"/>
                  </a:lnTo>
                  <a:lnTo>
                    <a:pt x="893" y="408"/>
                  </a:lnTo>
                  <a:lnTo>
                    <a:pt x="890" y="408"/>
                  </a:lnTo>
                  <a:lnTo>
                    <a:pt x="890" y="408"/>
                  </a:lnTo>
                  <a:lnTo>
                    <a:pt x="888" y="411"/>
                  </a:lnTo>
                  <a:lnTo>
                    <a:pt x="883" y="411"/>
                  </a:lnTo>
                  <a:lnTo>
                    <a:pt x="878" y="411"/>
                  </a:lnTo>
                  <a:lnTo>
                    <a:pt x="871" y="413"/>
                  </a:lnTo>
                  <a:lnTo>
                    <a:pt x="869" y="413"/>
                  </a:lnTo>
                  <a:lnTo>
                    <a:pt x="867" y="415"/>
                  </a:lnTo>
                  <a:lnTo>
                    <a:pt x="864" y="415"/>
                  </a:lnTo>
                  <a:lnTo>
                    <a:pt x="864" y="418"/>
                  </a:lnTo>
                  <a:lnTo>
                    <a:pt x="864" y="420"/>
                  </a:lnTo>
                  <a:lnTo>
                    <a:pt x="862" y="420"/>
                  </a:lnTo>
                  <a:lnTo>
                    <a:pt x="857" y="430"/>
                  </a:lnTo>
                  <a:lnTo>
                    <a:pt x="857" y="430"/>
                  </a:lnTo>
                  <a:lnTo>
                    <a:pt x="855" y="430"/>
                  </a:lnTo>
                  <a:lnTo>
                    <a:pt x="852" y="434"/>
                  </a:lnTo>
                  <a:lnTo>
                    <a:pt x="850" y="434"/>
                  </a:lnTo>
                  <a:lnTo>
                    <a:pt x="845" y="441"/>
                  </a:lnTo>
                  <a:lnTo>
                    <a:pt x="845" y="444"/>
                  </a:lnTo>
                  <a:lnTo>
                    <a:pt x="843" y="446"/>
                  </a:lnTo>
                  <a:lnTo>
                    <a:pt x="836" y="451"/>
                  </a:lnTo>
                  <a:lnTo>
                    <a:pt x="836" y="451"/>
                  </a:lnTo>
                  <a:lnTo>
                    <a:pt x="836" y="453"/>
                  </a:lnTo>
                  <a:lnTo>
                    <a:pt x="836" y="453"/>
                  </a:lnTo>
                  <a:lnTo>
                    <a:pt x="834" y="453"/>
                  </a:lnTo>
                  <a:lnTo>
                    <a:pt x="834" y="455"/>
                  </a:lnTo>
                  <a:lnTo>
                    <a:pt x="829" y="465"/>
                  </a:lnTo>
                  <a:lnTo>
                    <a:pt x="829" y="467"/>
                  </a:lnTo>
                  <a:lnTo>
                    <a:pt x="829" y="472"/>
                  </a:lnTo>
                  <a:lnTo>
                    <a:pt x="829" y="472"/>
                  </a:lnTo>
                  <a:lnTo>
                    <a:pt x="829" y="472"/>
                  </a:lnTo>
                  <a:lnTo>
                    <a:pt x="829" y="477"/>
                  </a:lnTo>
                  <a:lnTo>
                    <a:pt x="829" y="481"/>
                  </a:lnTo>
                  <a:lnTo>
                    <a:pt x="829" y="484"/>
                  </a:lnTo>
                  <a:lnTo>
                    <a:pt x="831" y="486"/>
                  </a:lnTo>
                  <a:lnTo>
                    <a:pt x="831" y="491"/>
                  </a:lnTo>
                  <a:lnTo>
                    <a:pt x="829" y="493"/>
                  </a:lnTo>
                  <a:lnTo>
                    <a:pt x="824" y="496"/>
                  </a:lnTo>
                  <a:lnTo>
                    <a:pt x="824" y="496"/>
                  </a:lnTo>
                  <a:lnTo>
                    <a:pt x="819" y="496"/>
                  </a:lnTo>
                  <a:lnTo>
                    <a:pt x="817" y="498"/>
                  </a:lnTo>
                  <a:lnTo>
                    <a:pt x="815" y="503"/>
                  </a:lnTo>
                  <a:lnTo>
                    <a:pt x="812" y="505"/>
                  </a:lnTo>
                  <a:lnTo>
                    <a:pt x="810" y="507"/>
                  </a:lnTo>
                  <a:lnTo>
                    <a:pt x="810" y="510"/>
                  </a:lnTo>
                  <a:lnTo>
                    <a:pt x="810" y="515"/>
                  </a:lnTo>
                  <a:lnTo>
                    <a:pt x="808" y="515"/>
                  </a:lnTo>
                  <a:lnTo>
                    <a:pt x="805" y="517"/>
                  </a:lnTo>
                  <a:lnTo>
                    <a:pt x="805" y="517"/>
                  </a:lnTo>
                  <a:lnTo>
                    <a:pt x="803" y="517"/>
                  </a:lnTo>
                  <a:lnTo>
                    <a:pt x="798" y="517"/>
                  </a:lnTo>
                  <a:lnTo>
                    <a:pt x="798" y="519"/>
                  </a:lnTo>
                  <a:lnTo>
                    <a:pt x="798" y="519"/>
                  </a:lnTo>
                  <a:lnTo>
                    <a:pt x="798" y="524"/>
                  </a:lnTo>
                  <a:lnTo>
                    <a:pt x="798" y="526"/>
                  </a:lnTo>
                  <a:lnTo>
                    <a:pt x="798" y="526"/>
                  </a:lnTo>
                  <a:lnTo>
                    <a:pt x="800" y="529"/>
                  </a:lnTo>
                  <a:lnTo>
                    <a:pt x="800" y="536"/>
                  </a:lnTo>
                  <a:lnTo>
                    <a:pt x="800" y="536"/>
                  </a:lnTo>
                  <a:lnTo>
                    <a:pt x="800" y="541"/>
                  </a:lnTo>
                  <a:lnTo>
                    <a:pt x="800" y="543"/>
                  </a:lnTo>
                  <a:lnTo>
                    <a:pt x="800" y="545"/>
                  </a:lnTo>
                  <a:lnTo>
                    <a:pt x="800" y="545"/>
                  </a:lnTo>
                  <a:lnTo>
                    <a:pt x="800" y="545"/>
                  </a:lnTo>
                  <a:lnTo>
                    <a:pt x="798" y="548"/>
                  </a:lnTo>
                  <a:lnTo>
                    <a:pt x="793" y="550"/>
                  </a:lnTo>
                  <a:lnTo>
                    <a:pt x="793" y="555"/>
                  </a:lnTo>
                  <a:lnTo>
                    <a:pt x="791" y="557"/>
                  </a:lnTo>
                  <a:lnTo>
                    <a:pt x="791" y="559"/>
                  </a:lnTo>
                  <a:lnTo>
                    <a:pt x="789" y="562"/>
                  </a:lnTo>
                  <a:lnTo>
                    <a:pt x="786" y="564"/>
                  </a:lnTo>
                  <a:lnTo>
                    <a:pt x="786" y="567"/>
                  </a:lnTo>
                  <a:lnTo>
                    <a:pt x="782" y="567"/>
                  </a:lnTo>
                  <a:lnTo>
                    <a:pt x="779" y="567"/>
                  </a:lnTo>
                  <a:lnTo>
                    <a:pt x="775" y="567"/>
                  </a:lnTo>
                  <a:lnTo>
                    <a:pt x="775" y="567"/>
                  </a:lnTo>
                  <a:lnTo>
                    <a:pt x="772" y="567"/>
                  </a:lnTo>
                  <a:lnTo>
                    <a:pt x="770" y="571"/>
                  </a:lnTo>
                  <a:lnTo>
                    <a:pt x="770" y="574"/>
                  </a:lnTo>
                  <a:lnTo>
                    <a:pt x="770" y="576"/>
                  </a:lnTo>
                  <a:lnTo>
                    <a:pt x="775" y="578"/>
                  </a:lnTo>
                  <a:lnTo>
                    <a:pt x="775" y="581"/>
                  </a:lnTo>
                  <a:lnTo>
                    <a:pt x="775" y="585"/>
                  </a:lnTo>
                  <a:lnTo>
                    <a:pt x="775" y="588"/>
                  </a:lnTo>
                  <a:lnTo>
                    <a:pt x="775" y="588"/>
                  </a:lnTo>
                  <a:lnTo>
                    <a:pt x="772" y="595"/>
                  </a:lnTo>
                  <a:lnTo>
                    <a:pt x="770" y="595"/>
                  </a:lnTo>
                  <a:lnTo>
                    <a:pt x="770" y="597"/>
                  </a:lnTo>
                  <a:lnTo>
                    <a:pt x="765" y="600"/>
                  </a:lnTo>
                  <a:lnTo>
                    <a:pt x="763" y="602"/>
                  </a:lnTo>
                  <a:lnTo>
                    <a:pt x="760" y="607"/>
                  </a:lnTo>
                  <a:lnTo>
                    <a:pt x="760" y="609"/>
                  </a:lnTo>
                  <a:lnTo>
                    <a:pt x="758" y="611"/>
                  </a:lnTo>
                  <a:lnTo>
                    <a:pt x="753" y="616"/>
                  </a:lnTo>
                  <a:lnTo>
                    <a:pt x="751" y="618"/>
                  </a:lnTo>
                  <a:lnTo>
                    <a:pt x="749" y="618"/>
                  </a:lnTo>
                  <a:lnTo>
                    <a:pt x="749" y="621"/>
                  </a:lnTo>
                  <a:lnTo>
                    <a:pt x="746" y="621"/>
                  </a:lnTo>
                  <a:lnTo>
                    <a:pt x="744" y="626"/>
                  </a:lnTo>
                  <a:lnTo>
                    <a:pt x="741" y="628"/>
                  </a:lnTo>
                  <a:lnTo>
                    <a:pt x="739" y="640"/>
                  </a:lnTo>
                  <a:lnTo>
                    <a:pt x="734" y="644"/>
                  </a:lnTo>
                  <a:lnTo>
                    <a:pt x="732" y="647"/>
                  </a:lnTo>
                  <a:lnTo>
                    <a:pt x="732" y="647"/>
                  </a:lnTo>
                  <a:lnTo>
                    <a:pt x="732" y="649"/>
                  </a:lnTo>
                  <a:lnTo>
                    <a:pt x="725" y="654"/>
                  </a:lnTo>
                  <a:lnTo>
                    <a:pt x="725" y="656"/>
                  </a:lnTo>
                  <a:lnTo>
                    <a:pt x="723" y="659"/>
                  </a:lnTo>
                  <a:lnTo>
                    <a:pt x="720" y="659"/>
                  </a:lnTo>
                  <a:lnTo>
                    <a:pt x="720" y="659"/>
                  </a:lnTo>
                  <a:lnTo>
                    <a:pt x="718" y="661"/>
                  </a:lnTo>
                  <a:lnTo>
                    <a:pt x="715" y="661"/>
                  </a:lnTo>
                  <a:lnTo>
                    <a:pt x="713" y="663"/>
                  </a:lnTo>
                  <a:lnTo>
                    <a:pt x="708" y="663"/>
                  </a:lnTo>
                  <a:lnTo>
                    <a:pt x="706" y="666"/>
                  </a:lnTo>
                  <a:lnTo>
                    <a:pt x="704" y="668"/>
                  </a:lnTo>
                  <a:lnTo>
                    <a:pt x="701" y="668"/>
                  </a:lnTo>
                  <a:lnTo>
                    <a:pt x="699" y="670"/>
                  </a:lnTo>
                  <a:lnTo>
                    <a:pt x="694" y="673"/>
                  </a:lnTo>
                  <a:lnTo>
                    <a:pt x="689" y="675"/>
                  </a:lnTo>
                  <a:lnTo>
                    <a:pt x="687" y="675"/>
                  </a:lnTo>
                  <a:lnTo>
                    <a:pt x="680" y="680"/>
                  </a:lnTo>
                  <a:lnTo>
                    <a:pt x="680" y="682"/>
                  </a:lnTo>
                  <a:lnTo>
                    <a:pt x="675" y="685"/>
                  </a:lnTo>
                  <a:lnTo>
                    <a:pt x="673" y="689"/>
                  </a:lnTo>
                  <a:lnTo>
                    <a:pt x="673" y="689"/>
                  </a:lnTo>
                  <a:lnTo>
                    <a:pt x="671" y="692"/>
                  </a:lnTo>
                  <a:lnTo>
                    <a:pt x="663" y="692"/>
                  </a:lnTo>
                  <a:lnTo>
                    <a:pt x="661" y="694"/>
                  </a:lnTo>
                  <a:lnTo>
                    <a:pt x="661" y="694"/>
                  </a:lnTo>
                  <a:lnTo>
                    <a:pt x="656" y="696"/>
                  </a:lnTo>
                  <a:lnTo>
                    <a:pt x="654" y="699"/>
                  </a:lnTo>
                  <a:lnTo>
                    <a:pt x="654" y="699"/>
                  </a:lnTo>
                  <a:lnTo>
                    <a:pt x="649" y="701"/>
                  </a:lnTo>
                  <a:lnTo>
                    <a:pt x="647" y="701"/>
                  </a:lnTo>
                  <a:lnTo>
                    <a:pt x="645" y="704"/>
                  </a:lnTo>
                  <a:lnTo>
                    <a:pt x="642" y="708"/>
                  </a:lnTo>
                  <a:lnTo>
                    <a:pt x="642" y="711"/>
                  </a:lnTo>
                  <a:lnTo>
                    <a:pt x="642" y="711"/>
                  </a:lnTo>
                  <a:lnTo>
                    <a:pt x="642" y="711"/>
                  </a:lnTo>
                  <a:lnTo>
                    <a:pt x="642" y="713"/>
                  </a:lnTo>
                  <a:lnTo>
                    <a:pt x="640" y="715"/>
                  </a:lnTo>
                  <a:lnTo>
                    <a:pt x="640" y="715"/>
                  </a:lnTo>
                  <a:lnTo>
                    <a:pt x="633" y="725"/>
                  </a:lnTo>
                  <a:lnTo>
                    <a:pt x="630" y="725"/>
                  </a:lnTo>
                  <a:lnTo>
                    <a:pt x="630" y="727"/>
                  </a:lnTo>
                  <a:lnTo>
                    <a:pt x="628" y="727"/>
                  </a:lnTo>
                  <a:lnTo>
                    <a:pt x="626" y="727"/>
                  </a:lnTo>
                  <a:lnTo>
                    <a:pt x="626" y="727"/>
                  </a:lnTo>
                  <a:lnTo>
                    <a:pt x="623" y="727"/>
                  </a:lnTo>
                  <a:lnTo>
                    <a:pt x="616" y="730"/>
                  </a:lnTo>
                  <a:lnTo>
                    <a:pt x="614" y="732"/>
                  </a:lnTo>
                  <a:lnTo>
                    <a:pt x="612" y="732"/>
                  </a:lnTo>
                  <a:lnTo>
                    <a:pt x="609" y="732"/>
                  </a:lnTo>
                  <a:lnTo>
                    <a:pt x="609" y="734"/>
                  </a:lnTo>
                  <a:lnTo>
                    <a:pt x="607" y="737"/>
                  </a:lnTo>
                  <a:lnTo>
                    <a:pt x="604" y="737"/>
                  </a:lnTo>
                  <a:lnTo>
                    <a:pt x="604" y="737"/>
                  </a:lnTo>
                  <a:lnTo>
                    <a:pt x="604" y="739"/>
                  </a:lnTo>
                  <a:lnTo>
                    <a:pt x="600" y="741"/>
                  </a:lnTo>
                  <a:lnTo>
                    <a:pt x="597" y="741"/>
                  </a:lnTo>
                  <a:lnTo>
                    <a:pt x="595" y="744"/>
                  </a:lnTo>
                  <a:lnTo>
                    <a:pt x="590" y="746"/>
                  </a:lnTo>
                  <a:lnTo>
                    <a:pt x="588" y="746"/>
                  </a:lnTo>
                  <a:lnTo>
                    <a:pt x="586" y="748"/>
                  </a:lnTo>
                  <a:lnTo>
                    <a:pt x="586" y="751"/>
                  </a:lnTo>
                  <a:lnTo>
                    <a:pt x="586" y="751"/>
                  </a:lnTo>
                  <a:lnTo>
                    <a:pt x="583" y="753"/>
                  </a:lnTo>
                  <a:lnTo>
                    <a:pt x="581" y="753"/>
                  </a:lnTo>
                  <a:lnTo>
                    <a:pt x="578" y="755"/>
                  </a:lnTo>
                  <a:lnTo>
                    <a:pt x="578" y="758"/>
                  </a:lnTo>
                  <a:lnTo>
                    <a:pt x="576" y="763"/>
                  </a:lnTo>
                  <a:lnTo>
                    <a:pt x="576" y="763"/>
                  </a:lnTo>
                  <a:lnTo>
                    <a:pt x="576" y="779"/>
                  </a:lnTo>
                  <a:lnTo>
                    <a:pt x="571" y="781"/>
                  </a:lnTo>
                  <a:lnTo>
                    <a:pt x="571" y="784"/>
                  </a:lnTo>
                  <a:lnTo>
                    <a:pt x="569" y="789"/>
                  </a:lnTo>
                  <a:lnTo>
                    <a:pt x="567" y="796"/>
                  </a:lnTo>
                  <a:lnTo>
                    <a:pt x="564" y="798"/>
                  </a:lnTo>
                  <a:lnTo>
                    <a:pt x="564" y="800"/>
                  </a:lnTo>
                  <a:lnTo>
                    <a:pt x="562" y="803"/>
                  </a:lnTo>
                  <a:lnTo>
                    <a:pt x="560" y="810"/>
                  </a:lnTo>
                  <a:lnTo>
                    <a:pt x="557" y="810"/>
                  </a:lnTo>
                  <a:lnTo>
                    <a:pt x="552" y="812"/>
                  </a:lnTo>
                  <a:lnTo>
                    <a:pt x="543" y="817"/>
                  </a:lnTo>
                  <a:lnTo>
                    <a:pt x="538" y="822"/>
                  </a:lnTo>
                  <a:lnTo>
                    <a:pt x="534" y="819"/>
                  </a:lnTo>
                  <a:lnTo>
                    <a:pt x="534" y="822"/>
                  </a:lnTo>
                  <a:lnTo>
                    <a:pt x="531" y="822"/>
                  </a:lnTo>
                  <a:lnTo>
                    <a:pt x="531" y="822"/>
                  </a:lnTo>
                  <a:lnTo>
                    <a:pt x="526" y="829"/>
                  </a:lnTo>
                  <a:lnTo>
                    <a:pt x="526" y="833"/>
                  </a:lnTo>
                  <a:lnTo>
                    <a:pt x="526" y="838"/>
                  </a:lnTo>
                  <a:lnTo>
                    <a:pt x="524" y="843"/>
                  </a:lnTo>
                  <a:lnTo>
                    <a:pt x="524" y="848"/>
                  </a:lnTo>
                  <a:lnTo>
                    <a:pt x="524" y="850"/>
                  </a:lnTo>
                  <a:lnTo>
                    <a:pt x="522" y="852"/>
                  </a:lnTo>
                  <a:lnTo>
                    <a:pt x="522" y="857"/>
                  </a:lnTo>
                  <a:lnTo>
                    <a:pt x="522" y="857"/>
                  </a:lnTo>
                  <a:lnTo>
                    <a:pt x="519" y="862"/>
                  </a:lnTo>
                  <a:lnTo>
                    <a:pt x="517" y="867"/>
                  </a:lnTo>
                  <a:lnTo>
                    <a:pt x="517" y="869"/>
                  </a:lnTo>
                  <a:lnTo>
                    <a:pt x="517" y="871"/>
                  </a:lnTo>
                  <a:lnTo>
                    <a:pt x="517" y="871"/>
                  </a:lnTo>
                  <a:lnTo>
                    <a:pt x="517" y="876"/>
                  </a:lnTo>
                  <a:lnTo>
                    <a:pt x="517" y="878"/>
                  </a:lnTo>
                  <a:lnTo>
                    <a:pt x="515" y="885"/>
                  </a:lnTo>
                  <a:lnTo>
                    <a:pt x="515" y="888"/>
                  </a:lnTo>
                  <a:lnTo>
                    <a:pt x="512" y="890"/>
                  </a:lnTo>
                  <a:lnTo>
                    <a:pt x="508" y="892"/>
                  </a:lnTo>
                  <a:lnTo>
                    <a:pt x="498" y="900"/>
                  </a:lnTo>
                  <a:lnTo>
                    <a:pt x="493" y="900"/>
                  </a:lnTo>
                  <a:lnTo>
                    <a:pt x="493" y="900"/>
                  </a:lnTo>
                  <a:lnTo>
                    <a:pt x="493" y="902"/>
                  </a:lnTo>
                  <a:lnTo>
                    <a:pt x="489" y="900"/>
                  </a:lnTo>
                  <a:lnTo>
                    <a:pt x="489" y="897"/>
                  </a:lnTo>
                  <a:lnTo>
                    <a:pt x="489" y="895"/>
                  </a:lnTo>
                  <a:lnTo>
                    <a:pt x="489" y="895"/>
                  </a:lnTo>
                  <a:lnTo>
                    <a:pt x="486" y="892"/>
                  </a:lnTo>
                  <a:lnTo>
                    <a:pt x="484" y="895"/>
                  </a:lnTo>
                  <a:lnTo>
                    <a:pt x="482" y="892"/>
                  </a:lnTo>
                  <a:lnTo>
                    <a:pt x="479" y="890"/>
                  </a:lnTo>
                  <a:lnTo>
                    <a:pt x="477" y="888"/>
                  </a:lnTo>
                  <a:lnTo>
                    <a:pt x="477" y="888"/>
                  </a:lnTo>
                  <a:lnTo>
                    <a:pt x="474" y="883"/>
                  </a:lnTo>
                  <a:lnTo>
                    <a:pt x="474" y="881"/>
                  </a:lnTo>
                  <a:lnTo>
                    <a:pt x="474" y="881"/>
                  </a:lnTo>
                  <a:lnTo>
                    <a:pt x="472" y="881"/>
                  </a:lnTo>
                  <a:lnTo>
                    <a:pt x="467" y="878"/>
                  </a:lnTo>
                  <a:lnTo>
                    <a:pt x="465" y="876"/>
                  </a:lnTo>
                  <a:lnTo>
                    <a:pt x="465" y="878"/>
                  </a:lnTo>
                  <a:lnTo>
                    <a:pt x="465" y="878"/>
                  </a:lnTo>
                  <a:lnTo>
                    <a:pt x="463" y="878"/>
                  </a:lnTo>
                  <a:lnTo>
                    <a:pt x="460" y="876"/>
                  </a:lnTo>
                  <a:lnTo>
                    <a:pt x="460" y="876"/>
                  </a:lnTo>
                  <a:lnTo>
                    <a:pt x="458" y="876"/>
                  </a:lnTo>
                  <a:lnTo>
                    <a:pt x="456" y="876"/>
                  </a:lnTo>
                  <a:lnTo>
                    <a:pt x="456" y="876"/>
                  </a:lnTo>
                  <a:lnTo>
                    <a:pt x="458" y="874"/>
                  </a:lnTo>
                  <a:lnTo>
                    <a:pt x="456" y="874"/>
                  </a:lnTo>
                  <a:lnTo>
                    <a:pt x="456" y="871"/>
                  </a:lnTo>
                  <a:lnTo>
                    <a:pt x="453" y="871"/>
                  </a:lnTo>
                  <a:lnTo>
                    <a:pt x="451" y="874"/>
                  </a:lnTo>
                  <a:lnTo>
                    <a:pt x="451" y="874"/>
                  </a:lnTo>
                  <a:lnTo>
                    <a:pt x="451" y="871"/>
                  </a:lnTo>
                  <a:lnTo>
                    <a:pt x="449" y="871"/>
                  </a:lnTo>
                  <a:lnTo>
                    <a:pt x="449" y="871"/>
                  </a:lnTo>
                  <a:lnTo>
                    <a:pt x="446" y="871"/>
                  </a:lnTo>
                  <a:lnTo>
                    <a:pt x="446" y="869"/>
                  </a:lnTo>
                  <a:lnTo>
                    <a:pt x="444" y="869"/>
                  </a:lnTo>
                  <a:lnTo>
                    <a:pt x="444" y="869"/>
                  </a:lnTo>
                  <a:lnTo>
                    <a:pt x="441" y="871"/>
                  </a:lnTo>
                  <a:lnTo>
                    <a:pt x="439" y="871"/>
                  </a:lnTo>
                  <a:lnTo>
                    <a:pt x="439" y="874"/>
                  </a:lnTo>
                  <a:lnTo>
                    <a:pt x="439" y="876"/>
                  </a:lnTo>
                  <a:lnTo>
                    <a:pt x="434" y="876"/>
                  </a:lnTo>
                  <a:lnTo>
                    <a:pt x="434" y="874"/>
                  </a:lnTo>
                  <a:lnTo>
                    <a:pt x="432" y="874"/>
                  </a:lnTo>
                  <a:lnTo>
                    <a:pt x="432" y="876"/>
                  </a:lnTo>
                  <a:lnTo>
                    <a:pt x="430" y="876"/>
                  </a:lnTo>
                  <a:lnTo>
                    <a:pt x="430" y="876"/>
                  </a:lnTo>
                  <a:lnTo>
                    <a:pt x="427" y="876"/>
                  </a:lnTo>
                  <a:lnTo>
                    <a:pt x="427" y="876"/>
                  </a:lnTo>
                  <a:lnTo>
                    <a:pt x="425" y="878"/>
                  </a:lnTo>
                  <a:lnTo>
                    <a:pt x="425" y="878"/>
                  </a:lnTo>
                  <a:lnTo>
                    <a:pt x="423" y="878"/>
                  </a:lnTo>
                  <a:lnTo>
                    <a:pt x="420" y="878"/>
                  </a:lnTo>
                  <a:lnTo>
                    <a:pt x="420" y="881"/>
                  </a:lnTo>
                  <a:lnTo>
                    <a:pt x="420" y="881"/>
                  </a:lnTo>
                  <a:lnTo>
                    <a:pt x="418" y="881"/>
                  </a:lnTo>
                  <a:lnTo>
                    <a:pt x="415" y="878"/>
                  </a:lnTo>
                  <a:lnTo>
                    <a:pt x="415" y="878"/>
                  </a:lnTo>
                  <a:lnTo>
                    <a:pt x="415" y="881"/>
                  </a:lnTo>
                  <a:lnTo>
                    <a:pt x="413" y="881"/>
                  </a:lnTo>
                  <a:lnTo>
                    <a:pt x="413" y="883"/>
                  </a:lnTo>
                  <a:lnTo>
                    <a:pt x="411" y="883"/>
                  </a:lnTo>
                  <a:lnTo>
                    <a:pt x="411" y="883"/>
                  </a:lnTo>
                  <a:lnTo>
                    <a:pt x="411" y="885"/>
                  </a:lnTo>
                  <a:lnTo>
                    <a:pt x="411" y="885"/>
                  </a:lnTo>
                  <a:lnTo>
                    <a:pt x="411" y="888"/>
                  </a:lnTo>
                  <a:lnTo>
                    <a:pt x="411" y="888"/>
                  </a:lnTo>
                  <a:lnTo>
                    <a:pt x="411" y="888"/>
                  </a:lnTo>
                  <a:lnTo>
                    <a:pt x="408" y="888"/>
                  </a:lnTo>
                  <a:lnTo>
                    <a:pt x="408" y="888"/>
                  </a:lnTo>
                  <a:lnTo>
                    <a:pt x="406" y="888"/>
                  </a:lnTo>
                  <a:lnTo>
                    <a:pt x="404" y="888"/>
                  </a:lnTo>
                  <a:lnTo>
                    <a:pt x="404" y="888"/>
                  </a:lnTo>
                  <a:lnTo>
                    <a:pt x="401" y="888"/>
                  </a:lnTo>
                  <a:lnTo>
                    <a:pt x="401" y="888"/>
                  </a:lnTo>
                  <a:lnTo>
                    <a:pt x="399" y="888"/>
                  </a:lnTo>
                  <a:lnTo>
                    <a:pt x="397" y="890"/>
                  </a:lnTo>
                  <a:lnTo>
                    <a:pt x="397" y="890"/>
                  </a:lnTo>
                  <a:lnTo>
                    <a:pt x="394" y="890"/>
                  </a:lnTo>
                  <a:lnTo>
                    <a:pt x="394" y="892"/>
                  </a:lnTo>
                  <a:lnTo>
                    <a:pt x="392" y="890"/>
                  </a:lnTo>
                  <a:lnTo>
                    <a:pt x="392" y="890"/>
                  </a:lnTo>
                  <a:lnTo>
                    <a:pt x="392" y="890"/>
                  </a:lnTo>
                  <a:lnTo>
                    <a:pt x="389" y="890"/>
                  </a:lnTo>
                  <a:lnTo>
                    <a:pt x="389" y="888"/>
                  </a:lnTo>
                  <a:lnTo>
                    <a:pt x="387" y="888"/>
                  </a:lnTo>
                  <a:lnTo>
                    <a:pt x="387" y="890"/>
                  </a:lnTo>
                  <a:lnTo>
                    <a:pt x="385" y="890"/>
                  </a:lnTo>
                  <a:lnTo>
                    <a:pt x="385" y="890"/>
                  </a:lnTo>
                  <a:lnTo>
                    <a:pt x="385" y="890"/>
                  </a:lnTo>
                  <a:lnTo>
                    <a:pt x="382" y="890"/>
                  </a:lnTo>
                  <a:lnTo>
                    <a:pt x="382" y="890"/>
                  </a:lnTo>
                  <a:lnTo>
                    <a:pt x="382" y="890"/>
                  </a:lnTo>
                  <a:lnTo>
                    <a:pt x="378" y="892"/>
                  </a:lnTo>
                  <a:lnTo>
                    <a:pt x="378" y="890"/>
                  </a:lnTo>
                  <a:lnTo>
                    <a:pt x="378" y="890"/>
                  </a:lnTo>
                  <a:lnTo>
                    <a:pt x="375" y="892"/>
                  </a:lnTo>
                  <a:lnTo>
                    <a:pt x="375" y="892"/>
                  </a:lnTo>
                  <a:lnTo>
                    <a:pt x="371" y="892"/>
                  </a:lnTo>
                  <a:lnTo>
                    <a:pt x="368" y="892"/>
                  </a:lnTo>
                  <a:lnTo>
                    <a:pt x="368" y="890"/>
                  </a:lnTo>
                  <a:lnTo>
                    <a:pt x="368" y="890"/>
                  </a:lnTo>
                  <a:lnTo>
                    <a:pt x="368" y="890"/>
                  </a:lnTo>
                  <a:lnTo>
                    <a:pt x="366" y="890"/>
                  </a:lnTo>
                  <a:lnTo>
                    <a:pt x="366" y="890"/>
                  </a:lnTo>
                  <a:lnTo>
                    <a:pt x="363" y="888"/>
                  </a:lnTo>
                  <a:lnTo>
                    <a:pt x="361" y="888"/>
                  </a:lnTo>
                  <a:lnTo>
                    <a:pt x="359" y="892"/>
                  </a:lnTo>
                  <a:lnTo>
                    <a:pt x="359" y="892"/>
                  </a:lnTo>
                  <a:lnTo>
                    <a:pt x="356" y="890"/>
                  </a:lnTo>
                  <a:lnTo>
                    <a:pt x="356" y="890"/>
                  </a:lnTo>
                  <a:lnTo>
                    <a:pt x="354" y="890"/>
                  </a:lnTo>
                  <a:lnTo>
                    <a:pt x="354" y="888"/>
                  </a:lnTo>
                  <a:lnTo>
                    <a:pt x="352" y="888"/>
                  </a:lnTo>
                  <a:lnTo>
                    <a:pt x="352" y="890"/>
                  </a:lnTo>
                  <a:lnTo>
                    <a:pt x="352" y="890"/>
                  </a:lnTo>
                  <a:lnTo>
                    <a:pt x="349" y="888"/>
                  </a:lnTo>
                  <a:lnTo>
                    <a:pt x="349" y="888"/>
                  </a:lnTo>
                  <a:lnTo>
                    <a:pt x="349" y="888"/>
                  </a:lnTo>
                  <a:lnTo>
                    <a:pt x="349" y="885"/>
                  </a:lnTo>
                  <a:lnTo>
                    <a:pt x="349" y="885"/>
                  </a:lnTo>
                  <a:lnTo>
                    <a:pt x="347" y="885"/>
                  </a:lnTo>
                  <a:lnTo>
                    <a:pt x="347" y="883"/>
                  </a:lnTo>
                  <a:lnTo>
                    <a:pt x="345" y="881"/>
                  </a:lnTo>
                  <a:lnTo>
                    <a:pt x="347" y="881"/>
                  </a:lnTo>
                  <a:lnTo>
                    <a:pt x="347" y="876"/>
                  </a:lnTo>
                  <a:lnTo>
                    <a:pt x="347" y="876"/>
                  </a:lnTo>
                  <a:lnTo>
                    <a:pt x="347" y="871"/>
                  </a:lnTo>
                  <a:lnTo>
                    <a:pt x="347" y="869"/>
                  </a:lnTo>
                  <a:lnTo>
                    <a:pt x="345" y="869"/>
                  </a:lnTo>
                  <a:lnTo>
                    <a:pt x="347" y="867"/>
                  </a:lnTo>
                  <a:lnTo>
                    <a:pt x="347" y="862"/>
                  </a:lnTo>
                  <a:lnTo>
                    <a:pt x="345" y="862"/>
                  </a:lnTo>
                  <a:lnTo>
                    <a:pt x="347" y="862"/>
                  </a:lnTo>
                  <a:lnTo>
                    <a:pt x="345" y="859"/>
                  </a:lnTo>
                  <a:lnTo>
                    <a:pt x="347" y="857"/>
                  </a:lnTo>
                  <a:lnTo>
                    <a:pt x="347" y="855"/>
                  </a:lnTo>
                  <a:lnTo>
                    <a:pt x="347" y="855"/>
                  </a:lnTo>
                  <a:lnTo>
                    <a:pt x="345" y="855"/>
                  </a:lnTo>
                  <a:lnTo>
                    <a:pt x="345" y="855"/>
                  </a:lnTo>
                  <a:lnTo>
                    <a:pt x="342" y="855"/>
                  </a:lnTo>
                  <a:lnTo>
                    <a:pt x="342" y="855"/>
                  </a:lnTo>
                  <a:lnTo>
                    <a:pt x="342" y="852"/>
                  </a:lnTo>
                  <a:lnTo>
                    <a:pt x="342" y="850"/>
                  </a:lnTo>
                  <a:lnTo>
                    <a:pt x="342" y="850"/>
                  </a:lnTo>
                  <a:lnTo>
                    <a:pt x="342" y="848"/>
                  </a:lnTo>
                  <a:lnTo>
                    <a:pt x="340" y="845"/>
                  </a:lnTo>
                  <a:lnTo>
                    <a:pt x="340" y="845"/>
                  </a:lnTo>
                  <a:lnTo>
                    <a:pt x="340" y="845"/>
                  </a:lnTo>
                  <a:lnTo>
                    <a:pt x="337" y="845"/>
                  </a:lnTo>
                  <a:lnTo>
                    <a:pt x="337" y="843"/>
                  </a:lnTo>
                  <a:lnTo>
                    <a:pt x="335" y="845"/>
                  </a:lnTo>
                  <a:lnTo>
                    <a:pt x="333" y="843"/>
                  </a:lnTo>
                  <a:lnTo>
                    <a:pt x="333" y="843"/>
                  </a:lnTo>
                  <a:lnTo>
                    <a:pt x="333" y="841"/>
                  </a:lnTo>
                  <a:lnTo>
                    <a:pt x="335" y="838"/>
                  </a:lnTo>
                  <a:lnTo>
                    <a:pt x="335" y="836"/>
                  </a:lnTo>
                  <a:lnTo>
                    <a:pt x="335" y="836"/>
                  </a:lnTo>
                  <a:lnTo>
                    <a:pt x="333" y="833"/>
                  </a:lnTo>
                  <a:lnTo>
                    <a:pt x="333" y="833"/>
                  </a:lnTo>
                  <a:lnTo>
                    <a:pt x="333" y="831"/>
                  </a:lnTo>
                  <a:lnTo>
                    <a:pt x="333" y="831"/>
                  </a:lnTo>
                  <a:lnTo>
                    <a:pt x="333" y="826"/>
                  </a:lnTo>
                  <a:lnTo>
                    <a:pt x="330" y="826"/>
                  </a:lnTo>
                  <a:lnTo>
                    <a:pt x="330" y="826"/>
                  </a:lnTo>
                  <a:lnTo>
                    <a:pt x="330" y="824"/>
                  </a:lnTo>
                  <a:lnTo>
                    <a:pt x="330" y="824"/>
                  </a:lnTo>
                  <a:lnTo>
                    <a:pt x="333" y="824"/>
                  </a:lnTo>
                  <a:lnTo>
                    <a:pt x="333" y="822"/>
                  </a:lnTo>
                  <a:lnTo>
                    <a:pt x="333" y="822"/>
                  </a:lnTo>
                  <a:lnTo>
                    <a:pt x="337" y="815"/>
                  </a:lnTo>
                  <a:lnTo>
                    <a:pt x="337" y="812"/>
                  </a:lnTo>
                  <a:lnTo>
                    <a:pt x="337" y="810"/>
                  </a:lnTo>
                  <a:lnTo>
                    <a:pt x="335" y="810"/>
                  </a:lnTo>
                  <a:lnTo>
                    <a:pt x="335" y="807"/>
                  </a:lnTo>
                  <a:lnTo>
                    <a:pt x="333" y="805"/>
                  </a:lnTo>
                  <a:lnTo>
                    <a:pt x="330" y="803"/>
                  </a:lnTo>
                  <a:lnTo>
                    <a:pt x="333" y="803"/>
                  </a:lnTo>
                  <a:lnTo>
                    <a:pt x="330" y="798"/>
                  </a:lnTo>
                  <a:lnTo>
                    <a:pt x="330" y="798"/>
                  </a:lnTo>
                  <a:lnTo>
                    <a:pt x="333" y="798"/>
                  </a:lnTo>
                  <a:lnTo>
                    <a:pt x="335" y="796"/>
                  </a:lnTo>
                  <a:lnTo>
                    <a:pt x="335" y="796"/>
                  </a:lnTo>
                  <a:lnTo>
                    <a:pt x="333" y="796"/>
                  </a:lnTo>
                  <a:lnTo>
                    <a:pt x="333" y="793"/>
                  </a:lnTo>
                  <a:lnTo>
                    <a:pt x="333" y="793"/>
                  </a:lnTo>
                  <a:lnTo>
                    <a:pt x="333" y="791"/>
                  </a:lnTo>
                  <a:lnTo>
                    <a:pt x="333" y="791"/>
                  </a:lnTo>
                  <a:lnTo>
                    <a:pt x="335" y="789"/>
                  </a:lnTo>
                  <a:lnTo>
                    <a:pt x="335" y="789"/>
                  </a:lnTo>
                  <a:lnTo>
                    <a:pt x="333" y="786"/>
                  </a:lnTo>
                  <a:lnTo>
                    <a:pt x="333" y="784"/>
                  </a:lnTo>
                  <a:lnTo>
                    <a:pt x="330" y="781"/>
                  </a:lnTo>
                  <a:lnTo>
                    <a:pt x="330" y="781"/>
                  </a:lnTo>
                  <a:lnTo>
                    <a:pt x="328" y="781"/>
                  </a:lnTo>
                  <a:lnTo>
                    <a:pt x="326" y="781"/>
                  </a:lnTo>
                  <a:lnTo>
                    <a:pt x="326" y="779"/>
                  </a:lnTo>
                  <a:lnTo>
                    <a:pt x="326" y="777"/>
                  </a:lnTo>
                  <a:lnTo>
                    <a:pt x="326" y="777"/>
                  </a:lnTo>
                  <a:lnTo>
                    <a:pt x="323" y="772"/>
                  </a:lnTo>
                  <a:lnTo>
                    <a:pt x="323" y="772"/>
                  </a:lnTo>
                  <a:lnTo>
                    <a:pt x="323" y="770"/>
                  </a:lnTo>
                  <a:lnTo>
                    <a:pt x="323" y="770"/>
                  </a:lnTo>
                  <a:lnTo>
                    <a:pt x="323" y="767"/>
                  </a:lnTo>
                  <a:lnTo>
                    <a:pt x="323" y="767"/>
                  </a:lnTo>
                  <a:lnTo>
                    <a:pt x="323" y="767"/>
                  </a:lnTo>
                  <a:lnTo>
                    <a:pt x="321" y="765"/>
                  </a:lnTo>
                  <a:lnTo>
                    <a:pt x="321" y="763"/>
                  </a:lnTo>
                  <a:lnTo>
                    <a:pt x="321" y="760"/>
                  </a:lnTo>
                  <a:lnTo>
                    <a:pt x="323" y="760"/>
                  </a:lnTo>
                  <a:lnTo>
                    <a:pt x="321" y="758"/>
                  </a:lnTo>
                  <a:lnTo>
                    <a:pt x="321" y="755"/>
                  </a:lnTo>
                  <a:lnTo>
                    <a:pt x="321" y="755"/>
                  </a:lnTo>
                  <a:lnTo>
                    <a:pt x="319" y="755"/>
                  </a:lnTo>
                  <a:lnTo>
                    <a:pt x="321" y="753"/>
                  </a:lnTo>
                  <a:lnTo>
                    <a:pt x="319" y="753"/>
                  </a:lnTo>
                  <a:lnTo>
                    <a:pt x="321" y="751"/>
                  </a:lnTo>
                  <a:lnTo>
                    <a:pt x="319" y="748"/>
                  </a:lnTo>
                  <a:lnTo>
                    <a:pt x="319" y="748"/>
                  </a:lnTo>
                  <a:lnTo>
                    <a:pt x="319" y="746"/>
                  </a:lnTo>
                  <a:lnTo>
                    <a:pt x="319" y="744"/>
                  </a:lnTo>
                  <a:lnTo>
                    <a:pt x="319" y="741"/>
                  </a:lnTo>
                  <a:lnTo>
                    <a:pt x="319" y="741"/>
                  </a:lnTo>
                  <a:lnTo>
                    <a:pt x="319" y="739"/>
                  </a:lnTo>
                  <a:lnTo>
                    <a:pt x="319" y="739"/>
                  </a:lnTo>
                  <a:lnTo>
                    <a:pt x="319" y="737"/>
                  </a:lnTo>
                  <a:lnTo>
                    <a:pt x="319" y="737"/>
                  </a:lnTo>
                  <a:lnTo>
                    <a:pt x="319" y="734"/>
                  </a:lnTo>
                  <a:lnTo>
                    <a:pt x="321" y="734"/>
                  </a:lnTo>
                  <a:lnTo>
                    <a:pt x="321" y="732"/>
                  </a:lnTo>
                  <a:lnTo>
                    <a:pt x="321" y="732"/>
                  </a:lnTo>
                  <a:lnTo>
                    <a:pt x="323" y="732"/>
                  </a:lnTo>
                  <a:lnTo>
                    <a:pt x="323" y="732"/>
                  </a:lnTo>
                  <a:lnTo>
                    <a:pt x="323" y="730"/>
                  </a:lnTo>
                  <a:lnTo>
                    <a:pt x="323" y="730"/>
                  </a:lnTo>
                  <a:lnTo>
                    <a:pt x="323" y="730"/>
                  </a:lnTo>
                  <a:lnTo>
                    <a:pt x="323" y="727"/>
                  </a:lnTo>
                  <a:lnTo>
                    <a:pt x="323" y="725"/>
                  </a:lnTo>
                  <a:lnTo>
                    <a:pt x="323" y="722"/>
                  </a:lnTo>
                  <a:lnTo>
                    <a:pt x="323" y="722"/>
                  </a:lnTo>
                  <a:lnTo>
                    <a:pt x="323" y="720"/>
                  </a:lnTo>
                  <a:lnTo>
                    <a:pt x="323" y="718"/>
                  </a:lnTo>
                  <a:lnTo>
                    <a:pt x="323" y="715"/>
                  </a:lnTo>
                  <a:lnTo>
                    <a:pt x="323" y="713"/>
                  </a:lnTo>
                  <a:lnTo>
                    <a:pt x="321" y="711"/>
                  </a:lnTo>
                  <a:lnTo>
                    <a:pt x="319" y="711"/>
                  </a:lnTo>
                  <a:lnTo>
                    <a:pt x="316" y="708"/>
                  </a:lnTo>
                  <a:lnTo>
                    <a:pt x="314" y="708"/>
                  </a:lnTo>
                  <a:lnTo>
                    <a:pt x="314" y="706"/>
                  </a:lnTo>
                  <a:lnTo>
                    <a:pt x="314" y="706"/>
                  </a:lnTo>
                  <a:lnTo>
                    <a:pt x="309" y="704"/>
                  </a:lnTo>
                  <a:lnTo>
                    <a:pt x="307" y="696"/>
                  </a:lnTo>
                  <a:lnTo>
                    <a:pt x="307" y="694"/>
                  </a:lnTo>
                  <a:lnTo>
                    <a:pt x="307" y="694"/>
                  </a:lnTo>
                  <a:lnTo>
                    <a:pt x="307" y="692"/>
                  </a:lnTo>
                  <a:lnTo>
                    <a:pt x="309" y="692"/>
                  </a:lnTo>
                  <a:lnTo>
                    <a:pt x="309" y="692"/>
                  </a:lnTo>
                  <a:lnTo>
                    <a:pt x="309" y="687"/>
                  </a:lnTo>
                  <a:lnTo>
                    <a:pt x="309" y="685"/>
                  </a:lnTo>
                  <a:lnTo>
                    <a:pt x="307" y="685"/>
                  </a:lnTo>
                  <a:lnTo>
                    <a:pt x="309" y="682"/>
                  </a:lnTo>
                  <a:lnTo>
                    <a:pt x="307" y="682"/>
                  </a:lnTo>
                  <a:lnTo>
                    <a:pt x="304" y="680"/>
                  </a:lnTo>
                  <a:lnTo>
                    <a:pt x="304" y="682"/>
                  </a:lnTo>
                  <a:lnTo>
                    <a:pt x="302" y="680"/>
                  </a:lnTo>
                  <a:lnTo>
                    <a:pt x="302" y="682"/>
                  </a:lnTo>
                  <a:lnTo>
                    <a:pt x="302" y="680"/>
                  </a:lnTo>
                  <a:lnTo>
                    <a:pt x="300" y="680"/>
                  </a:lnTo>
                  <a:lnTo>
                    <a:pt x="300" y="678"/>
                  </a:lnTo>
                  <a:lnTo>
                    <a:pt x="300" y="678"/>
                  </a:lnTo>
                  <a:lnTo>
                    <a:pt x="297" y="675"/>
                  </a:lnTo>
                  <a:lnTo>
                    <a:pt x="295" y="673"/>
                  </a:lnTo>
                  <a:lnTo>
                    <a:pt x="295" y="670"/>
                  </a:lnTo>
                  <a:lnTo>
                    <a:pt x="293" y="668"/>
                  </a:lnTo>
                  <a:lnTo>
                    <a:pt x="288" y="668"/>
                  </a:lnTo>
                  <a:lnTo>
                    <a:pt x="286" y="668"/>
                  </a:lnTo>
                  <a:lnTo>
                    <a:pt x="286" y="668"/>
                  </a:lnTo>
                  <a:lnTo>
                    <a:pt x="283" y="668"/>
                  </a:lnTo>
                  <a:lnTo>
                    <a:pt x="283" y="668"/>
                  </a:lnTo>
                  <a:lnTo>
                    <a:pt x="281" y="668"/>
                  </a:lnTo>
                  <a:lnTo>
                    <a:pt x="281" y="668"/>
                  </a:lnTo>
                  <a:lnTo>
                    <a:pt x="278" y="668"/>
                  </a:lnTo>
                  <a:lnTo>
                    <a:pt x="276" y="668"/>
                  </a:lnTo>
                  <a:lnTo>
                    <a:pt x="274" y="668"/>
                  </a:lnTo>
                  <a:lnTo>
                    <a:pt x="274" y="670"/>
                  </a:lnTo>
                  <a:lnTo>
                    <a:pt x="274" y="670"/>
                  </a:lnTo>
                  <a:lnTo>
                    <a:pt x="274" y="668"/>
                  </a:lnTo>
                  <a:lnTo>
                    <a:pt x="269" y="668"/>
                  </a:lnTo>
                  <a:lnTo>
                    <a:pt x="267" y="668"/>
                  </a:lnTo>
                  <a:lnTo>
                    <a:pt x="267" y="668"/>
                  </a:lnTo>
                  <a:lnTo>
                    <a:pt x="267" y="668"/>
                  </a:lnTo>
                  <a:lnTo>
                    <a:pt x="264" y="668"/>
                  </a:lnTo>
                  <a:lnTo>
                    <a:pt x="264" y="668"/>
                  </a:lnTo>
                  <a:lnTo>
                    <a:pt x="264" y="668"/>
                  </a:lnTo>
                  <a:lnTo>
                    <a:pt x="264" y="668"/>
                  </a:lnTo>
                  <a:lnTo>
                    <a:pt x="262" y="668"/>
                  </a:lnTo>
                  <a:lnTo>
                    <a:pt x="260" y="666"/>
                  </a:lnTo>
                  <a:lnTo>
                    <a:pt x="260" y="666"/>
                  </a:lnTo>
                  <a:lnTo>
                    <a:pt x="260" y="668"/>
                  </a:lnTo>
                  <a:lnTo>
                    <a:pt x="257" y="668"/>
                  </a:lnTo>
                  <a:lnTo>
                    <a:pt x="257" y="668"/>
                  </a:lnTo>
                  <a:lnTo>
                    <a:pt x="255" y="668"/>
                  </a:lnTo>
                  <a:lnTo>
                    <a:pt x="255" y="668"/>
                  </a:lnTo>
                  <a:lnTo>
                    <a:pt x="255" y="668"/>
                  </a:lnTo>
                  <a:lnTo>
                    <a:pt x="252" y="668"/>
                  </a:lnTo>
                  <a:lnTo>
                    <a:pt x="252" y="668"/>
                  </a:lnTo>
                  <a:lnTo>
                    <a:pt x="250" y="668"/>
                  </a:lnTo>
                  <a:lnTo>
                    <a:pt x="250" y="668"/>
                  </a:lnTo>
                  <a:lnTo>
                    <a:pt x="250" y="666"/>
                  </a:lnTo>
                  <a:lnTo>
                    <a:pt x="250" y="668"/>
                  </a:lnTo>
                  <a:lnTo>
                    <a:pt x="248" y="668"/>
                  </a:lnTo>
                  <a:lnTo>
                    <a:pt x="248" y="668"/>
                  </a:lnTo>
                  <a:lnTo>
                    <a:pt x="248" y="666"/>
                  </a:lnTo>
                  <a:lnTo>
                    <a:pt x="245" y="666"/>
                  </a:lnTo>
                  <a:lnTo>
                    <a:pt x="245" y="663"/>
                  </a:lnTo>
                  <a:lnTo>
                    <a:pt x="245" y="661"/>
                  </a:lnTo>
                  <a:lnTo>
                    <a:pt x="241" y="661"/>
                  </a:lnTo>
                  <a:lnTo>
                    <a:pt x="241" y="661"/>
                  </a:lnTo>
                  <a:lnTo>
                    <a:pt x="241" y="661"/>
                  </a:lnTo>
                  <a:lnTo>
                    <a:pt x="238" y="661"/>
                  </a:lnTo>
                  <a:lnTo>
                    <a:pt x="236" y="659"/>
                  </a:lnTo>
                  <a:lnTo>
                    <a:pt x="236" y="659"/>
                  </a:lnTo>
                  <a:lnTo>
                    <a:pt x="236" y="659"/>
                  </a:lnTo>
                  <a:lnTo>
                    <a:pt x="234" y="659"/>
                  </a:lnTo>
                  <a:lnTo>
                    <a:pt x="234" y="656"/>
                  </a:lnTo>
                  <a:lnTo>
                    <a:pt x="231" y="656"/>
                  </a:lnTo>
                  <a:lnTo>
                    <a:pt x="231" y="656"/>
                  </a:lnTo>
                  <a:lnTo>
                    <a:pt x="231" y="654"/>
                  </a:lnTo>
                  <a:lnTo>
                    <a:pt x="231" y="654"/>
                  </a:lnTo>
                  <a:lnTo>
                    <a:pt x="231" y="654"/>
                  </a:lnTo>
                  <a:lnTo>
                    <a:pt x="229" y="654"/>
                  </a:lnTo>
                  <a:lnTo>
                    <a:pt x="229" y="654"/>
                  </a:lnTo>
                  <a:lnTo>
                    <a:pt x="229" y="652"/>
                  </a:lnTo>
                  <a:lnTo>
                    <a:pt x="229" y="649"/>
                  </a:lnTo>
                  <a:lnTo>
                    <a:pt x="229" y="649"/>
                  </a:lnTo>
                  <a:lnTo>
                    <a:pt x="229" y="647"/>
                  </a:lnTo>
                  <a:lnTo>
                    <a:pt x="226" y="647"/>
                  </a:lnTo>
                  <a:lnTo>
                    <a:pt x="226" y="647"/>
                  </a:lnTo>
                  <a:lnTo>
                    <a:pt x="226" y="647"/>
                  </a:lnTo>
                  <a:lnTo>
                    <a:pt x="226" y="644"/>
                  </a:lnTo>
                  <a:lnTo>
                    <a:pt x="224" y="644"/>
                  </a:lnTo>
                  <a:lnTo>
                    <a:pt x="226" y="642"/>
                  </a:lnTo>
                  <a:lnTo>
                    <a:pt x="226" y="640"/>
                  </a:lnTo>
                  <a:lnTo>
                    <a:pt x="224" y="642"/>
                  </a:lnTo>
                  <a:lnTo>
                    <a:pt x="224" y="642"/>
                  </a:lnTo>
                  <a:lnTo>
                    <a:pt x="222" y="642"/>
                  </a:lnTo>
                  <a:lnTo>
                    <a:pt x="222" y="642"/>
                  </a:lnTo>
                  <a:lnTo>
                    <a:pt x="222" y="642"/>
                  </a:lnTo>
                  <a:lnTo>
                    <a:pt x="219" y="642"/>
                  </a:lnTo>
                  <a:lnTo>
                    <a:pt x="219" y="642"/>
                  </a:lnTo>
                  <a:lnTo>
                    <a:pt x="219" y="642"/>
                  </a:lnTo>
                  <a:lnTo>
                    <a:pt x="217" y="642"/>
                  </a:lnTo>
                  <a:lnTo>
                    <a:pt x="217" y="642"/>
                  </a:lnTo>
                  <a:lnTo>
                    <a:pt x="217" y="642"/>
                  </a:lnTo>
                  <a:lnTo>
                    <a:pt x="217" y="642"/>
                  </a:lnTo>
                  <a:lnTo>
                    <a:pt x="217" y="642"/>
                  </a:lnTo>
                  <a:lnTo>
                    <a:pt x="217" y="642"/>
                  </a:lnTo>
                  <a:lnTo>
                    <a:pt x="215" y="642"/>
                  </a:lnTo>
                  <a:lnTo>
                    <a:pt x="215" y="642"/>
                  </a:lnTo>
                  <a:lnTo>
                    <a:pt x="212" y="642"/>
                  </a:lnTo>
                  <a:lnTo>
                    <a:pt x="210" y="644"/>
                  </a:lnTo>
                  <a:lnTo>
                    <a:pt x="210" y="644"/>
                  </a:lnTo>
                  <a:lnTo>
                    <a:pt x="210" y="644"/>
                  </a:lnTo>
                  <a:lnTo>
                    <a:pt x="210" y="647"/>
                  </a:lnTo>
                  <a:lnTo>
                    <a:pt x="208" y="647"/>
                  </a:lnTo>
                  <a:lnTo>
                    <a:pt x="208" y="649"/>
                  </a:lnTo>
                  <a:lnTo>
                    <a:pt x="210" y="649"/>
                  </a:lnTo>
                  <a:lnTo>
                    <a:pt x="208" y="649"/>
                  </a:lnTo>
                  <a:lnTo>
                    <a:pt x="208" y="652"/>
                  </a:lnTo>
                  <a:lnTo>
                    <a:pt x="208" y="649"/>
                  </a:lnTo>
                  <a:lnTo>
                    <a:pt x="208" y="652"/>
                  </a:lnTo>
                  <a:lnTo>
                    <a:pt x="208" y="652"/>
                  </a:lnTo>
                  <a:lnTo>
                    <a:pt x="205" y="654"/>
                  </a:lnTo>
                  <a:lnTo>
                    <a:pt x="205" y="656"/>
                  </a:lnTo>
                  <a:lnTo>
                    <a:pt x="203" y="656"/>
                  </a:lnTo>
                  <a:lnTo>
                    <a:pt x="205" y="656"/>
                  </a:lnTo>
                  <a:lnTo>
                    <a:pt x="203" y="656"/>
                  </a:lnTo>
                  <a:lnTo>
                    <a:pt x="203" y="659"/>
                  </a:lnTo>
                  <a:lnTo>
                    <a:pt x="203" y="659"/>
                  </a:lnTo>
                  <a:lnTo>
                    <a:pt x="200" y="659"/>
                  </a:lnTo>
                  <a:lnTo>
                    <a:pt x="200" y="659"/>
                  </a:lnTo>
                  <a:lnTo>
                    <a:pt x="200" y="659"/>
                  </a:lnTo>
                  <a:lnTo>
                    <a:pt x="200" y="659"/>
                  </a:lnTo>
                  <a:lnTo>
                    <a:pt x="198" y="659"/>
                  </a:lnTo>
                  <a:lnTo>
                    <a:pt x="198" y="659"/>
                  </a:lnTo>
                  <a:lnTo>
                    <a:pt x="198" y="661"/>
                  </a:lnTo>
                  <a:lnTo>
                    <a:pt x="198" y="661"/>
                  </a:lnTo>
                  <a:lnTo>
                    <a:pt x="196" y="663"/>
                  </a:lnTo>
                  <a:lnTo>
                    <a:pt x="193" y="663"/>
                  </a:lnTo>
                  <a:lnTo>
                    <a:pt x="193" y="663"/>
                  </a:lnTo>
                  <a:lnTo>
                    <a:pt x="193" y="666"/>
                  </a:lnTo>
                  <a:lnTo>
                    <a:pt x="193" y="666"/>
                  </a:lnTo>
                  <a:lnTo>
                    <a:pt x="193" y="666"/>
                  </a:lnTo>
                  <a:lnTo>
                    <a:pt x="191" y="663"/>
                  </a:lnTo>
                  <a:lnTo>
                    <a:pt x="189" y="663"/>
                  </a:lnTo>
                  <a:lnTo>
                    <a:pt x="189" y="661"/>
                  </a:lnTo>
                  <a:lnTo>
                    <a:pt x="189" y="661"/>
                  </a:lnTo>
                  <a:lnTo>
                    <a:pt x="189" y="659"/>
                  </a:lnTo>
                  <a:lnTo>
                    <a:pt x="186" y="661"/>
                  </a:lnTo>
                  <a:lnTo>
                    <a:pt x="186" y="659"/>
                  </a:lnTo>
                  <a:lnTo>
                    <a:pt x="186" y="659"/>
                  </a:lnTo>
                  <a:lnTo>
                    <a:pt x="186" y="659"/>
                  </a:lnTo>
                  <a:lnTo>
                    <a:pt x="186" y="661"/>
                  </a:lnTo>
                  <a:lnTo>
                    <a:pt x="186" y="661"/>
                  </a:lnTo>
                  <a:lnTo>
                    <a:pt x="186" y="661"/>
                  </a:lnTo>
                  <a:lnTo>
                    <a:pt x="186" y="661"/>
                  </a:lnTo>
                  <a:lnTo>
                    <a:pt x="186" y="663"/>
                  </a:lnTo>
                  <a:lnTo>
                    <a:pt x="184" y="663"/>
                  </a:lnTo>
                  <a:lnTo>
                    <a:pt x="184" y="666"/>
                  </a:lnTo>
                  <a:lnTo>
                    <a:pt x="182" y="666"/>
                  </a:lnTo>
                  <a:lnTo>
                    <a:pt x="182" y="663"/>
                  </a:lnTo>
                  <a:lnTo>
                    <a:pt x="182" y="663"/>
                  </a:lnTo>
                  <a:lnTo>
                    <a:pt x="182" y="661"/>
                  </a:lnTo>
                  <a:lnTo>
                    <a:pt x="179" y="663"/>
                  </a:lnTo>
                  <a:lnTo>
                    <a:pt x="179" y="663"/>
                  </a:lnTo>
                  <a:lnTo>
                    <a:pt x="177" y="663"/>
                  </a:lnTo>
                  <a:lnTo>
                    <a:pt x="177" y="663"/>
                  </a:lnTo>
                  <a:lnTo>
                    <a:pt x="177" y="666"/>
                  </a:lnTo>
                  <a:lnTo>
                    <a:pt x="174" y="666"/>
                  </a:lnTo>
                  <a:lnTo>
                    <a:pt x="174" y="663"/>
                  </a:lnTo>
                  <a:lnTo>
                    <a:pt x="174" y="663"/>
                  </a:lnTo>
                  <a:lnTo>
                    <a:pt x="174" y="663"/>
                  </a:lnTo>
                  <a:lnTo>
                    <a:pt x="174" y="663"/>
                  </a:lnTo>
                  <a:lnTo>
                    <a:pt x="172" y="663"/>
                  </a:lnTo>
                  <a:lnTo>
                    <a:pt x="172" y="666"/>
                  </a:lnTo>
                  <a:lnTo>
                    <a:pt x="172" y="666"/>
                  </a:lnTo>
                  <a:lnTo>
                    <a:pt x="172" y="668"/>
                  </a:lnTo>
                  <a:lnTo>
                    <a:pt x="172" y="668"/>
                  </a:lnTo>
                  <a:lnTo>
                    <a:pt x="170" y="670"/>
                  </a:lnTo>
                  <a:lnTo>
                    <a:pt x="167" y="670"/>
                  </a:lnTo>
                  <a:lnTo>
                    <a:pt x="167" y="670"/>
                  </a:lnTo>
                  <a:lnTo>
                    <a:pt x="167" y="668"/>
                  </a:lnTo>
                  <a:lnTo>
                    <a:pt x="165" y="668"/>
                  </a:lnTo>
                  <a:lnTo>
                    <a:pt x="165" y="668"/>
                  </a:lnTo>
                  <a:lnTo>
                    <a:pt x="163" y="668"/>
                  </a:lnTo>
                  <a:lnTo>
                    <a:pt x="165" y="666"/>
                  </a:lnTo>
                  <a:lnTo>
                    <a:pt x="163" y="663"/>
                  </a:lnTo>
                  <a:lnTo>
                    <a:pt x="163" y="663"/>
                  </a:lnTo>
                  <a:lnTo>
                    <a:pt x="160" y="666"/>
                  </a:lnTo>
                  <a:lnTo>
                    <a:pt x="160" y="666"/>
                  </a:lnTo>
                  <a:lnTo>
                    <a:pt x="160" y="666"/>
                  </a:lnTo>
                  <a:lnTo>
                    <a:pt x="158" y="666"/>
                  </a:lnTo>
                  <a:lnTo>
                    <a:pt x="158" y="666"/>
                  </a:lnTo>
                  <a:lnTo>
                    <a:pt x="158" y="666"/>
                  </a:lnTo>
                  <a:lnTo>
                    <a:pt x="158" y="666"/>
                  </a:lnTo>
                  <a:lnTo>
                    <a:pt x="158" y="663"/>
                  </a:lnTo>
                  <a:lnTo>
                    <a:pt x="156" y="666"/>
                  </a:lnTo>
                  <a:lnTo>
                    <a:pt x="156" y="666"/>
                  </a:lnTo>
                  <a:lnTo>
                    <a:pt x="153" y="663"/>
                  </a:lnTo>
                  <a:lnTo>
                    <a:pt x="153" y="661"/>
                  </a:lnTo>
                  <a:lnTo>
                    <a:pt x="151" y="663"/>
                  </a:lnTo>
                  <a:lnTo>
                    <a:pt x="149" y="663"/>
                  </a:lnTo>
                  <a:lnTo>
                    <a:pt x="149" y="661"/>
                  </a:lnTo>
                  <a:lnTo>
                    <a:pt x="149" y="661"/>
                  </a:lnTo>
                  <a:lnTo>
                    <a:pt x="149" y="661"/>
                  </a:lnTo>
                  <a:lnTo>
                    <a:pt x="146" y="661"/>
                  </a:lnTo>
                  <a:lnTo>
                    <a:pt x="146" y="661"/>
                  </a:lnTo>
                  <a:lnTo>
                    <a:pt x="146" y="661"/>
                  </a:lnTo>
                  <a:lnTo>
                    <a:pt x="144" y="661"/>
                  </a:lnTo>
                  <a:lnTo>
                    <a:pt x="144" y="663"/>
                  </a:lnTo>
                  <a:lnTo>
                    <a:pt x="141" y="661"/>
                  </a:lnTo>
                  <a:lnTo>
                    <a:pt x="141" y="661"/>
                  </a:lnTo>
                  <a:lnTo>
                    <a:pt x="139" y="661"/>
                  </a:lnTo>
                  <a:lnTo>
                    <a:pt x="141" y="663"/>
                  </a:lnTo>
                  <a:lnTo>
                    <a:pt x="139" y="663"/>
                  </a:lnTo>
                  <a:lnTo>
                    <a:pt x="139" y="663"/>
                  </a:lnTo>
                  <a:lnTo>
                    <a:pt x="137" y="663"/>
                  </a:lnTo>
                  <a:lnTo>
                    <a:pt x="137" y="663"/>
                  </a:lnTo>
                  <a:lnTo>
                    <a:pt x="137" y="663"/>
                  </a:lnTo>
                  <a:lnTo>
                    <a:pt x="134" y="663"/>
                  </a:lnTo>
                  <a:lnTo>
                    <a:pt x="134" y="663"/>
                  </a:lnTo>
                  <a:lnTo>
                    <a:pt x="134" y="661"/>
                  </a:lnTo>
                  <a:lnTo>
                    <a:pt x="134" y="661"/>
                  </a:lnTo>
                  <a:lnTo>
                    <a:pt x="130" y="661"/>
                  </a:lnTo>
                  <a:lnTo>
                    <a:pt x="130" y="661"/>
                  </a:lnTo>
                  <a:lnTo>
                    <a:pt x="127" y="661"/>
                  </a:lnTo>
                  <a:lnTo>
                    <a:pt x="127" y="661"/>
                  </a:lnTo>
                  <a:lnTo>
                    <a:pt x="127" y="661"/>
                  </a:lnTo>
                  <a:lnTo>
                    <a:pt x="125" y="661"/>
                  </a:lnTo>
                  <a:lnTo>
                    <a:pt x="125" y="661"/>
                  </a:lnTo>
                  <a:lnTo>
                    <a:pt x="125" y="661"/>
                  </a:lnTo>
                  <a:lnTo>
                    <a:pt x="125" y="661"/>
                  </a:lnTo>
                  <a:lnTo>
                    <a:pt x="125" y="659"/>
                  </a:lnTo>
                  <a:lnTo>
                    <a:pt x="123" y="659"/>
                  </a:lnTo>
                  <a:lnTo>
                    <a:pt x="123" y="659"/>
                  </a:lnTo>
                  <a:lnTo>
                    <a:pt x="120" y="659"/>
                  </a:lnTo>
                  <a:lnTo>
                    <a:pt x="120" y="659"/>
                  </a:lnTo>
                  <a:lnTo>
                    <a:pt x="120" y="659"/>
                  </a:lnTo>
                  <a:lnTo>
                    <a:pt x="120" y="661"/>
                  </a:lnTo>
                  <a:lnTo>
                    <a:pt x="123" y="661"/>
                  </a:lnTo>
                  <a:lnTo>
                    <a:pt x="120" y="661"/>
                  </a:lnTo>
                  <a:lnTo>
                    <a:pt x="120" y="661"/>
                  </a:lnTo>
                  <a:lnTo>
                    <a:pt x="118" y="663"/>
                  </a:lnTo>
                  <a:lnTo>
                    <a:pt x="115" y="661"/>
                  </a:lnTo>
                  <a:lnTo>
                    <a:pt x="113" y="661"/>
                  </a:lnTo>
                  <a:lnTo>
                    <a:pt x="113" y="661"/>
                  </a:lnTo>
                  <a:lnTo>
                    <a:pt x="113" y="661"/>
                  </a:lnTo>
                  <a:lnTo>
                    <a:pt x="113" y="661"/>
                  </a:lnTo>
                  <a:lnTo>
                    <a:pt x="111" y="661"/>
                  </a:lnTo>
                  <a:lnTo>
                    <a:pt x="111" y="661"/>
                  </a:lnTo>
                  <a:lnTo>
                    <a:pt x="111" y="659"/>
                  </a:lnTo>
                  <a:lnTo>
                    <a:pt x="108" y="661"/>
                  </a:lnTo>
                  <a:lnTo>
                    <a:pt x="108" y="661"/>
                  </a:lnTo>
                  <a:lnTo>
                    <a:pt x="108" y="661"/>
                  </a:lnTo>
                  <a:lnTo>
                    <a:pt x="108" y="663"/>
                  </a:lnTo>
                  <a:lnTo>
                    <a:pt x="108" y="663"/>
                  </a:lnTo>
                  <a:lnTo>
                    <a:pt x="106" y="661"/>
                  </a:lnTo>
                  <a:lnTo>
                    <a:pt x="106" y="661"/>
                  </a:lnTo>
                  <a:lnTo>
                    <a:pt x="104" y="661"/>
                  </a:lnTo>
                  <a:lnTo>
                    <a:pt x="104" y="661"/>
                  </a:lnTo>
                  <a:lnTo>
                    <a:pt x="104" y="661"/>
                  </a:lnTo>
                  <a:lnTo>
                    <a:pt x="104" y="661"/>
                  </a:lnTo>
                  <a:lnTo>
                    <a:pt x="101" y="661"/>
                  </a:lnTo>
                  <a:lnTo>
                    <a:pt x="101" y="661"/>
                  </a:lnTo>
                  <a:lnTo>
                    <a:pt x="101" y="661"/>
                  </a:lnTo>
                  <a:lnTo>
                    <a:pt x="99" y="661"/>
                  </a:lnTo>
                  <a:lnTo>
                    <a:pt x="101" y="659"/>
                  </a:lnTo>
                  <a:lnTo>
                    <a:pt x="99" y="659"/>
                  </a:lnTo>
                  <a:lnTo>
                    <a:pt x="99" y="659"/>
                  </a:lnTo>
                  <a:lnTo>
                    <a:pt x="99" y="659"/>
                  </a:lnTo>
                  <a:lnTo>
                    <a:pt x="99" y="659"/>
                  </a:lnTo>
                  <a:lnTo>
                    <a:pt x="94" y="656"/>
                  </a:lnTo>
                  <a:lnTo>
                    <a:pt x="94" y="659"/>
                  </a:lnTo>
                  <a:lnTo>
                    <a:pt x="94" y="656"/>
                  </a:lnTo>
                  <a:lnTo>
                    <a:pt x="92" y="656"/>
                  </a:lnTo>
                  <a:lnTo>
                    <a:pt x="92" y="656"/>
                  </a:lnTo>
                  <a:lnTo>
                    <a:pt x="89" y="656"/>
                  </a:lnTo>
                  <a:lnTo>
                    <a:pt x="89" y="656"/>
                  </a:lnTo>
                  <a:lnTo>
                    <a:pt x="89" y="656"/>
                  </a:lnTo>
                  <a:lnTo>
                    <a:pt x="89" y="656"/>
                  </a:lnTo>
                  <a:lnTo>
                    <a:pt x="89" y="656"/>
                  </a:lnTo>
                  <a:lnTo>
                    <a:pt x="87" y="656"/>
                  </a:lnTo>
                  <a:lnTo>
                    <a:pt x="85" y="656"/>
                  </a:lnTo>
                  <a:lnTo>
                    <a:pt x="85" y="656"/>
                  </a:lnTo>
                  <a:lnTo>
                    <a:pt x="85" y="656"/>
                  </a:lnTo>
                  <a:lnTo>
                    <a:pt x="82" y="654"/>
                  </a:lnTo>
                  <a:lnTo>
                    <a:pt x="82" y="654"/>
                  </a:lnTo>
                  <a:lnTo>
                    <a:pt x="80" y="654"/>
                  </a:lnTo>
                  <a:lnTo>
                    <a:pt x="80" y="656"/>
                  </a:lnTo>
                  <a:lnTo>
                    <a:pt x="75" y="654"/>
                  </a:lnTo>
                  <a:lnTo>
                    <a:pt x="75" y="654"/>
                  </a:lnTo>
                  <a:lnTo>
                    <a:pt x="73" y="652"/>
                  </a:lnTo>
                  <a:lnTo>
                    <a:pt x="73" y="649"/>
                  </a:lnTo>
                  <a:lnTo>
                    <a:pt x="73" y="649"/>
                  </a:lnTo>
                  <a:lnTo>
                    <a:pt x="73" y="649"/>
                  </a:lnTo>
                  <a:lnTo>
                    <a:pt x="73" y="649"/>
                  </a:lnTo>
                  <a:lnTo>
                    <a:pt x="73" y="649"/>
                  </a:lnTo>
                  <a:lnTo>
                    <a:pt x="73" y="649"/>
                  </a:lnTo>
                  <a:lnTo>
                    <a:pt x="71" y="649"/>
                  </a:lnTo>
                  <a:lnTo>
                    <a:pt x="71" y="647"/>
                  </a:lnTo>
                  <a:lnTo>
                    <a:pt x="71" y="647"/>
                  </a:lnTo>
                  <a:lnTo>
                    <a:pt x="71" y="647"/>
                  </a:lnTo>
                  <a:lnTo>
                    <a:pt x="71" y="644"/>
                  </a:lnTo>
                  <a:lnTo>
                    <a:pt x="71" y="644"/>
                  </a:lnTo>
                  <a:lnTo>
                    <a:pt x="71" y="642"/>
                  </a:lnTo>
                  <a:lnTo>
                    <a:pt x="66" y="644"/>
                  </a:lnTo>
                  <a:lnTo>
                    <a:pt x="63" y="644"/>
                  </a:lnTo>
                  <a:lnTo>
                    <a:pt x="63" y="644"/>
                  </a:lnTo>
                  <a:lnTo>
                    <a:pt x="61" y="642"/>
                  </a:lnTo>
                  <a:lnTo>
                    <a:pt x="61" y="642"/>
                  </a:lnTo>
                  <a:lnTo>
                    <a:pt x="59" y="642"/>
                  </a:lnTo>
                  <a:lnTo>
                    <a:pt x="59" y="644"/>
                  </a:lnTo>
                  <a:lnTo>
                    <a:pt x="56" y="644"/>
                  </a:lnTo>
                  <a:lnTo>
                    <a:pt x="56" y="647"/>
                  </a:lnTo>
                  <a:lnTo>
                    <a:pt x="56" y="644"/>
                  </a:lnTo>
                  <a:lnTo>
                    <a:pt x="54" y="644"/>
                  </a:lnTo>
                  <a:lnTo>
                    <a:pt x="54" y="644"/>
                  </a:lnTo>
                  <a:lnTo>
                    <a:pt x="54" y="647"/>
                  </a:lnTo>
                  <a:lnTo>
                    <a:pt x="54" y="647"/>
                  </a:lnTo>
                  <a:lnTo>
                    <a:pt x="54" y="649"/>
                  </a:lnTo>
                  <a:lnTo>
                    <a:pt x="54" y="649"/>
                  </a:lnTo>
                  <a:lnTo>
                    <a:pt x="52" y="649"/>
                  </a:lnTo>
                  <a:lnTo>
                    <a:pt x="52" y="649"/>
                  </a:lnTo>
                  <a:lnTo>
                    <a:pt x="49" y="647"/>
                  </a:lnTo>
                  <a:lnTo>
                    <a:pt x="47" y="649"/>
                  </a:lnTo>
                  <a:lnTo>
                    <a:pt x="47" y="652"/>
                  </a:lnTo>
                  <a:lnTo>
                    <a:pt x="47" y="652"/>
                  </a:lnTo>
                  <a:lnTo>
                    <a:pt x="45" y="649"/>
                  </a:lnTo>
                  <a:lnTo>
                    <a:pt x="45" y="649"/>
                  </a:lnTo>
                  <a:lnTo>
                    <a:pt x="45" y="647"/>
                  </a:lnTo>
                  <a:lnTo>
                    <a:pt x="42" y="647"/>
                  </a:lnTo>
                  <a:lnTo>
                    <a:pt x="37" y="649"/>
                  </a:lnTo>
                  <a:lnTo>
                    <a:pt x="40" y="649"/>
                  </a:lnTo>
                  <a:lnTo>
                    <a:pt x="37" y="649"/>
                  </a:lnTo>
                  <a:lnTo>
                    <a:pt x="35" y="649"/>
                  </a:lnTo>
                  <a:lnTo>
                    <a:pt x="35" y="647"/>
                  </a:lnTo>
                  <a:lnTo>
                    <a:pt x="33" y="647"/>
                  </a:lnTo>
                  <a:lnTo>
                    <a:pt x="30" y="647"/>
                  </a:lnTo>
                  <a:lnTo>
                    <a:pt x="30" y="647"/>
                  </a:lnTo>
                  <a:lnTo>
                    <a:pt x="30" y="644"/>
                  </a:lnTo>
                  <a:lnTo>
                    <a:pt x="28" y="642"/>
                  </a:lnTo>
                  <a:lnTo>
                    <a:pt x="28" y="642"/>
                  </a:lnTo>
                  <a:lnTo>
                    <a:pt x="26" y="642"/>
                  </a:lnTo>
                  <a:lnTo>
                    <a:pt x="26" y="642"/>
                  </a:lnTo>
                  <a:lnTo>
                    <a:pt x="23" y="642"/>
                  </a:lnTo>
                  <a:lnTo>
                    <a:pt x="23" y="642"/>
                  </a:lnTo>
                  <a:lnTo>
                    <a:pt x="21" y="642"/>
                  </a:lnTo>
                  <a:lnTo>
                    <a:pt x="23" y="640"/>
                  </a:lnTo>
                  <a:lnTo>
                    <a:pt x="21" y="637"/>
                  </a:lnTo>
                  <a:lnTo>
                    <a:pt x="21" y="637"/>
                  </a:lnTo>
                  <a:lnTo>
                    <a:pt x="21" y="637"/>
                  </a:lnTo>
                  <a:lnTo>
                    <a:pt x="21" y="635"/>
                  </a:lnTo>
                  <a:lnTo>
                    <a:pt x="26" y="633"/>
                  </a:lnTo>
                  <a:lnTo>
                    <a:pt x="26" y="630"/>
                  </a:lnTo>
                  <a:lnTo>
                    <a:pt x="26" y="628"/>
                  </a:lnTo>
                  <a:lnTo>
                    <a:pt x="28" y="628"/>
                  </a:lnTo>
                  <a:lnTo>
                    <a:pt x="28" y="621"/>
                  </a:lnTo>
                  <a:lnTo>
                    <a:pt x="28" y="618"/>
                  </a:lnTo>
                  <a:lnTo>
                    <a:pt x="28" y="618"/>
                  </a:lnTo>
                  <a:lnTo>
                    <a:pt x="28" y="618"/>
                  </a:lnTo>
                  <a:lnTo>
                    <a:pt x="30" y="616"/>
                  </a:lnTo>
                  <a:lnTo>
                    <a:pt x="33" y="616"/>
                  </a:lnTo>
                  <a:lnTo>
                    <a:pt x="33" y="616"/>
                  </a:lnTo>
                  <a:lnTo>
                    <a:pt x="33" y="614"/>
                  </a:lnTo>
                  <a:lnTo>
                    <a:pt x="26" y="611"/>
                  </a:lnTo>
                  <a:lnTo>
                    <a:pt x="26" y="611"/>
                  </a:lnTo>
                  <a:lnTo>
                    <a:pt x="28" y="609"/>
                  </a:lnTo>
                  <a:lnTo>
                    <a:pt x="30" y="609"/>
                  </a:lnTo>
                  <a:lnTo>
                    <a:pt x="33" y="604"/>
                  </a:lnTo>
                  <a:lnTo>
                    <a:pt x="33" y="602"/>
                  </a:lnTo>
                  <a:lnTo>
                    <a:pt x="30" y="602"/>
                  </a:lnTo>
                  <a:lnTo>
                    <a:pt x="28" y="600"/>
                  </a:lnTo>
                  <a:lnTo>
                    <a:pt x="28" y="597"/>
                  </a:lnTo>
                  <a:lnTo>
                    <a:pt x="28" y="597"/>
                  </a:lnTo>
                  <a:lnTo>
                    <a:pt x="28" y="595"/>
                  </a:lnTo>
                  <a:lnTo>
                    <a:pt x="35" y="593"/>
                  </a:lnTo>
                  <a:lnTo>
                    <a:pt x="35" y="590"/>
                  </a:lnTo>
                  <a:lnTo>
                    <a:pt x="35" y="590"/>
                  </a:lnTo>
                  <a:lnTo>
                    <a:pt x="30" y="588"/>
                  </a:lnTo>
                  <a:lnTo>
                    <a:pt x="30" y="585"/>
                  </a:lnTo>
                  <a:lnTo>
                    <a:pt x="28" y="583"/>
                  </a:lnTo>
                  <a:lnTo>
                    <a:pt x="30" y="578"/>
                  </a:lnTo>
                  <a:lnTo>
                    <a:pt x="33" y="578"/>
                  </a:lnTo>
                  <a:lnTo>
                    <a:pt x="33" y="578"/>
                  </a:lnTo>
                  <a:lnTo>
                    <a:pt x="30" y="576"/>
                  </a:lnTo>
                  <a:lnTo>
                    <a:pt x="26" y="574"/>
                  </a:lnTo>
                  <a:lnTo>
                    <a:pt x="26" y="571"/>
                  </a:lnTo>
                  <a:lnTo>
                    <a:pt x="26" y="569"/>
                  </a:lnTo>
                  <a:lnTo>
                    <a:pt x="26" y="567"/>
                  </a:lnTo>
                  <a:lnTo>
                    <a:pt x="28" y="567"/>
                  </a:lnTo>
                  <a:lnTo>
                    <a:pt x="30" y="564"/>
                  </a:lnTo>
                  <a:lnTo>
                    <a:pt x="30" y="562"/>
                  </a:lnTo>
                  <a:lnTo>
                    <a:pt x="30" y="559"/>
                  </a:lnTo>
                  <a:lnTo>
                    <a:pt x="33" y="555"/>
                  </a:lnTo>
                  <a:lnTo>
                    <a:pt x="33" y="552"/>
                  </a:lnTo>
                  <a:lnTo>
                    <a:pt x="37" y="548"/>
                  </a:lnTo>
                  <a:lnTo>
                    <a:pt x="40" y="545"/>
                  </a:lnTo>
                  <a:lnTo>
                    <a:pt x="40" y="543"/>
                  </a:lnTo>
                  <a:lnTo>
                    <a:pt x="40" y="541"/>
                  </a:lnTo>
                  <a:lnTo>
                    <a:pt x="35" y="541"/>
                  </a:lnTo>
                  <a:lnTo>
                    <a:pt x="33" y="538"/>
                  </a:lnTo>
                  <a:lnTo>
                    <a:pt x="30" y="538"/>
                  </a:lnTo>
                  <a:lnTo>
                    <a:pt x="33" y="536"/>
                  </a:lnTo>
                  <a:lnTo>
                    <a:pt x="40" y="531"/>
                  </a:lnTo>
                  <a:lnTo>
                    <a:pt x="40" y="529"/>
                  </a:lnTo>
                  <a:lnTo>
                    <a:pt x="40" y="526"/>
                  </a:lnTo>
                  <a:lnTo>
                    <a:pt x="37" y="519"/>
                  </a:lnTo>
                  <a:lnTo>
                    <a:pt x="37" y="517"/>
                  </a:lnTo>
                  <a:lnTo>
                    <a:pt x="42" y="512"/>
                  </a:lnTo>
                  <a:lnTo>
                    <a:pt x="37" y="510"/>
                  </a:lnTo>
                  <a:lnTo>
                    <a:pt x="37" y="505"/>
                  </a:lnTo>
                  <a:lnTo>
                    <a:pt x="40" y="503"/>
                  </a:lnTo>
                  <a:lnTo>
                    <a:pt x="42" y="500"/>
                  </a:lnTo>
                  <a:lnTo>
                    <a:pt x="45" y="498"/>
                  </a:lnTo>
                  <a:lnTo>
                    <a:pt x="45" y="496"/>
                  </a:lnTo>
                  <a:lnTo>
                    <a:pt x="45" y="493"/>
                  </a:lnTo>
                  <a:lnTo>
                    <a:pt x="45" y="491"/>
                  </a:lnTo>
                  <a:lnTo>
                    <a:pt x="42" y="491"/>
                  </a:lnTo>
                  <a:lnTo>
                    <a:pt x="40" y="493"/>
                  </a:lnTo>
                  <a:lnTo>
                    <a:pt x="37" y="493"/>
                  </a:lnTo>
                  <a:lnTo>
                    <a:pt x="37" y="493"/>
                  </a:lnTo>
                  <a:lnTo>
                    <a:pt x="35" y="489"/>
                  </a:lnTo>
                  <a:lnTo>
                    <a:pt x="35" y="489"/>
                  </a:lnTo>
                  <a:lnTo>
                    <a:pt x="33" y="486"/>
                  </a:lnTo>
                  <a:lnTo>
                    <a:pt x="33" y="489"/>
                  </a:lnTo>
                  <a:lnTo>
                    <a:pt x="30" y="486"/>
                  </a:lnTo>
                  <a:lnTo>
                    <a:pt x="30" y="486"/>
                  </a:lnTo>
                  <a:lnTo>
                    <a:pt x="33" y="484"/>
                  </a:lnTo>
                  <a:lnTo>
                    <a:pt x="37" y="481"/>
                  </a:lnTo>
                  <a:lnTo>
                    <a:pt x="40" y="477"/>
                  </a:lnTo>
                  <a:lnTo>
                    <a:pt x="37" y="477"/>
                  </a:lnTo>
                  <a:lnTo>
                    <a:pt x="35" y="472"/>
                  </a:lnTo>
                  <a:lnTo>
                    <a:pt x="33" y="472"/>
                  </a:lnTo>
                  <a:lnTo>
                    <a:pt x="30" y="474"/>
                  </a:lnTo>
                  <a:lnTo>
                    <a:pt x="28" y="474"/>
                  </a:lnTo>
                  <a:lnTo>
                    <a:pt x="26" y="474"/>
                  </a:lnTo>
                  <a:lnTo>
                    <a:pt x="26" y="472"/>
                  </a:lnTo>
                  <a:lnTo>
                    <a:pt x="28" y="467"/>
                  </a:lnTo>
                  <a:lnTo>
                    <a:pt x="30" y="467"/>
                  </a:lnTo>
                  <a:lnTo>
                    <a:pt x="33" y="467"/>
                  </a:lnTo>
                  <a:lnTo>
                    <a:pt x="37" y="467"/>
                  </a:lnTo>
                  <a:lnTo>
                    <a:pt x="37" y="467"/>
                  </a:lnTo>
                  <a:lnTo>
                    <a:pt x="37" y="467"/>
                  </a:lnTo>
                  <a:lnTo>
                    <a:pt x="37" y="465"/>
                  </a:lnTo>
                  <a:lnTo>
                    <a:pt x="37" y="463"/>
                  </a:lnTo>
                  <a:lnTo>
                    <a:pt x="33" y="458"/>
                  </a:lnTo>
                  <a:lnTo>
                    <a:pt x="33" y="458"/>
                  </a:lnTo>
                  <a:lnTo>
                    <a:pt x="33" y="455"/>
                  </a:lnTo>
                  <a:lnTo>
                    <a:pt x="30" y="455"/>
                  </a:lnTo>
                  <a:lnTo>
                    <a:pt x="30" y="455"/>
                  </a:lnTo>
                  <a:lnTo>
                    <a:pt x="28" y="463"/>
                  </a:lnTo>
                  <a:lnTo>
                    <a:pt x="23" y="463"/>
                  </a:lnTo>
                  <a:lnTo>
                    <a:pt x="23" y="460"/>
                  </a:lnTo>
                  <a:lnTo>
                    <a:pt x="23" y="458"/>
                  </a:lnTo>
                  <a:lnTo>
                    <a:pt x="23" y="455"/>
                  </a:lnTo>
                  <a:lnTo>
                    <a:pt x="26" y="453"/>
                  </a:lnTo>
                  <a:lnTo>
                    <a:pt x="26" y="453"/>
                  </a:lnTo>
                  <a:lnTo>
                    <a:pt x="21" y="453"/>
                  </a:lnTo>
                  <a:lnTo>
                    <a:pt x="19" y="448"/>
                  </a:lnTo>
                  <a:lnTo>
                    <a:pt x="19" y="446"/>
                  </a:lnTo>
                  <a:lnTo>
                    <a:pt x="21" y="444"/>
                  </a:lnTo>
                  <a:lnTo>
                    <a:pt x="19" y="437"/>
                  </a:lnTo>
                  <a:lnTo>
                    <a:pt x="19" y="434"/>
                  </a:lnTo>
                  <a:lnTo>
                    <a:pt x="21" y="430"/>
                  </a:lnTo>
                  <a:lnTo>
                    <a:pt x="21" y="427"/>
                  </a:lnTo>
                  <a:lnTo>
                    <a:pt x="19" y="422"/>
                  </a:lnTo>
                  <a:lnTo>
                    <a:pt x="14" y="420"/>
                  </a:lnTo>
                  <a:lnTo>
                    <a:pt x="9" y="418"/>
                  </a:lnTo>
                  <a:lnTo>
                    <a:pt x="9" y="413"/>
                  </a:lnTo>
                  <a:lnTo>
                    <a:pt x="9" y="411"/>
                  </a:lnTo>
                  <a:lnTo>
                    <a:pt x="9" y="406"/>
                  </a:lnTo>
                  <a:lnTo>
                    <a:pt x="9" y="404"/>
                  </a:lnTo>
                  <a:lnTo>
                    <a:pt x="9" y="404"/>
                  </a:lnTo>
                  <a:lnTo>
                    <a:pt x="9" y="401"/>
                  </a:lnTo>
                  <a:lnTo>
                    <a:pt x="7" y="401"/>
                  </a:lnTo>
                  <a:lnTo>
                    <a:pt x="4" y="404"/>
                  </a:lnTo>
                  <a:lnTo>
                    <a:pt x="2" y="404"/>
                  </a:lnTo>
                  <a:lnTo>
                    <a:pt x="2" y="406"/>
                  </a:lnTo>
                  <a:lnTo>
                    <a:pt x="0" y="404"/>
                  </a:lnTo>
                  <a:lnTo>
                    <a:pt x="0" y="401"/>
                  </a:lnTo>
                  <a:lnTo>
                    <a:pt x="0" y="399"/>
                  </a:lnTo>
                  <a:lnTo>
                    <a:pt x="2" y="399"/>
                  </a:lnTo>
                  <a:lnTo>
                    <a:pt x="4" y="396"/>
                  </a:lnTo>
                  <a:lnTo>
                    <a:pt x="7" y="394"/>
                  </a:lnTo>
                  <a:lnTo>
                    <a:pt x="4" y="394"/>
                  </a:lnTo>
                  <a:lnTo>
                    <a:pt x="4" y="394"/>
                  </a:lnTo>
                  <a:lnTo>
                    <a:pt x="0" y="394"/>
                  </a:lnTo>
                  <a:lnTo>
                    <a:pt x="0" y="392"/>
                  </a:lnTo>
                  <a:lnTo>
                    <a:pt x="0" y="392"/>
                  </a:lnTo>
                  <a:lnTo>
                    <a:pt x="0" y="392"/>
                  </a:lnTo>
                  <a:lnTo>
                    <a:pt x="2" y="389"/>
                  </a:lnTo>
                  <a:lnTo>
                    <a:pt x="4" y="389"/>
                  </a:lnTo>
                  <a:lnTo>
                    <a:pt x="7" y="389"/>
                  </a:lnTo>
                  <a:lnTo>
                    <a:pt x="7" y="385"/>
                  </a:lnTo>
                  <a:lnTo>
                    <a:pt x="9" y="385"/>
                  </a:lnTo>
                  <a:lnTo>
                    <a:pt x="16" y="382"/>
                  </a:lnTo>
                  <a:lnTo>
                    <a:pt x="16" y="382"/>
                  </a:lnTo>
                  <a:lnTo>
                    <a:pt x="16" y="378"/>
                  </a:lnTo>
                  <a:lnTo>
                    <a:pt x="19" y="378"/>
                  </a:lnTo>
                  <a:lnTo>
                    <a:pt x="21" y="378"/>
                  </a:lnTo>
                  <a:lnTo>
                    <a:pt x="23" y="378"/>
                  </a:lnTo>
                  <a:lnTo>
                    <a:pt x="26" y="375"/>
                  </a:lnTo>
                  <a:lnTo>
                    <a:pt x="26" y="373"/>
                  </a:lnTo>
                  <a:lnTo>
                    <a:pt x="28" y="373"/>
                  </a:lnTo>
                  <a:lnTo>
                    <a:pt x="28" y="373"/>
                  </a:lnTo>
                  <a:lnTo>
                    <a:pt x="30" y="373"/>
                  </a:lnTo>
                  <a:lnTo>
                    <a:pt x="33" y="375"/>
                  </a:lnTo>
                  <a:lnTo>
                    <a:pt x="35" y="373"/>
                  </a:lnTo>
                  <a:lnTo>
                    <a:pt x="37" y="368"/>
                  </a:lnTo>
                  <a:lnTo>
                    <a:pt x="40" y="366"/>
                  </a:lnTo>
                  <a:lnTo>
                    <a:pt x="4" y="337"/>
                  </a:lnTo>
                  <a:lnTo>
                    <a:pt x="16" y="311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 cap="flat">
              <a:solidFill>
                <a:schemeClr val="bg2">
                  <a:lumMod val="7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>
                <a:solidFill>
                  <a:srgbClr val="000000"/>
                </a:solidFill>
              </a:endParaRPr>
            </a:p>
          </p:txBody>
        </p:sp>
        <p:sp>
          <p:nvSpPr>
            <p:cNvPr id="20" name="Freeform 17"/>
            <p:cNvSpPr>
              <a:spLocks/>
            </p:cNvSpPr>
            <p:nvPr/>
          </p:nvSpPr>
          <p:spPr bwMode="gray">
            <a:xfrm>
              <a:off x="2820909" y="4617397"/>
              <a:ext cx="99390" cy="62153"/>
            </a:xfrm>
            <a:custGeom>
              <a:avLst/>
              <a:gdLst/>
              <a:ahLst/>
              <a:cxnLst>
                <a:cxn ang="0">
                  <a:pos x="2" y="38"/>
                </a:cxn>
                <a:cxn ang="0">
                  <a:pos x="7" y="33"/>
                </a:cxn>
                <a:cxn ang="0">
                  <a:pos x="9" y="29"/>
                </a:cxn>
                <a:cxn ang="0">
                  <a:pos x="5" y="26"/>
                </a:cxn>
                <a:cxn ang="0">
                  <a:pos x="7" y="17"/>
                </a:cxn>
                <a:cxn ang="0">
                  <a:pos x="9" y="0"/>
                </a:cxn>
                <a:cxn ang="0">
                  <a:pos x="31" y="0"/>
                </a:cxn>
                <a:cxn ang="0">
                  <a:pos x="90" y="0"/>
                </a:cxn>
                <a:cxn ang="0">
                  <a:pos x="109" y="5"/>
                </a:cxn>
                <a:cxn ang="0">
                  <a:pos x="113" y="7"/>
                </a:cxn>
                <a:cxn ang="0">
                  <a:pos x="118" y="10"/>
                </a:cxn>
                <a:cxn ang="0">
                  <a:pos x="123" y="12"/>
                </a:cxn>
                <a:cxn ang="0">
                  <a:pos x="121" y="19"/>
                </a:cxn>
                <a:cxn ang="0">
                  <a:pos x="121" y="22"/>
                </a:cxn>
                <a:cxn ang="0">
                  <a:pos x="123" y="24"/>
                </a:cxn>
                <a:cxn ang="0">
                  <a:pos x="123" y="29"/>
                </a:cxn>
                <a:cxn ang="0">
                  <a:pos x="123" y="31"/>
                </a:cxn>
                <a:cxn ang="0">
                  <a:pos x="123" y="33"/>
                </a:cxn>
                <a:cxn ang="0">
                  <a:pos x="121" y="36"/>
                </a:cxn>
                <a:cxn ang="0">
                  <a:pos x="118" y="38"/>
                </a:cxn>
                <a:cxn ang="0">
                  <a:pos x="118" y="40"/>
                </a:cxn>
                <a:cxn ang="0">
                  <a:pos x="116" y="43"/>
                </a:cxn>
                <a:cxn ang="0">
                  <a:pos x="116" y="45"/>
                </a:cxn>
                <a:cxn ang="0">
                  <a:pos x="116" y="48"/>
                </a:cxn>
                <a:cxn ang="0">
                  <a:pos x="116" y="50"/>
                </a:cxn>
                <a:cxn ang="0">
                  <a:pos x="116" y="52"/>
                </a:cxn>
                <a:cxn ang="0">
                  <a:pos x="116" y="55"/>
                </a:cxn>
                <a:cxn ang="0">
                  <a:pos x="116" y="57"/>
                </a:cxn>
                <a:cxn ang="0">
                  <a:pos x="116" y="57"/>
                </a:cxn>
                <a:cxn ang="0">
                  <a:pos x="116" y="59"/>
                </a:cxn>
                <a:cxn ang="0">
                  <a:pos x="116" y="64"/>
                </a:cxn>
                <a:cxn ang="0">
                  <a:pos x="116" y="64"/>
                </a:cxn>
                <a:cxn ang="0">
                  <a:pos x="118" y="66"/>
                </a:cxn>
                <a:cxn ang="0">
                  <a:pos x="118" y="66"/>
                </a:cxn>
                <a:cxn ang="0">
                  <a:pos x="123" y="69"/>
                </a:cxn>
                <a:cxn ang="0">
                  <a:pos x="123" y="69"/>
                </a:cxn>
                <a:cxn ang="0">
                  <a:pos x="85" y="71"/>
                </a:cxn>
                <a:cxn ang="0">
                  <a:pos x="43" y="71"/>
                </a:cxn>
                <a:cxn ang="0">
                  <a:pos x="24" y="71"/>
                </a:cxn>
                <a:cxn ang="0">
                  <a:pos x="2" y="69"/>
                </a:cxn>
                <a:cxn ang="0">
                  <a:pos x="2" y="62"/>
                </a:cxn>
                <a:cxn ang="0">
                  <a:pos x="5" y="57"/>
                </a:cxn>
                <a:cxn ang="0">
                  <a:pos x="2" y="57"/>
                </a:cxn>
                <a:cxn ang="0">
                  <a:pos x="2" y="55"/>
                </a:cxn>
                <a:cxn ang="0">
                  <a:pos x="0" y="50"/>
                </a:cxn>
                <a:cxn ang="0">
                  <a:pos x="0" y="48"/>
                </a:cxn>
              </a:cxnLst>
              <a:rect l="0" t="0" r="r" b="b"/>
              <a:pathLst>
                <a:path w="123" h="71">
                  <a:moveTo>
                    <a:pt x="0" y="43"/>
                  </a:moveTo>
                  <a:lnTo>
                    <a:pt x="0" y="40"/>
                  </a:lnTo>
                  <a:lnTo>
                    <a:pt x="2" y="38"/>
                  </a:lnTo>
                  <a:lnTo>
                    <a:pt x="5" y="38"/>
                  </a:lnTo>
                  <a:lnTo>
                    <a:pt x="5" y="36"/>
                  </a:lnTo>
                  <a:lnTo>
                    <a:pt x="7" y="33"/>
                  </a:lnTo>
                  <a:lnTo>
                    <a:pt x="9" y="33"/>
                  </a:lnTo>
                  <a:lnTo>
                    <a:pt x="9" y="31"/>
                  </a:lnTo>
                  <a:lnTo>
                    <a:pt x="9" y="29"/>
                  </a:lnTo>
                  <a:lnTo>
                    <a:pt x="7" y="26"/>
                  </a:lnTo>
                  <a:lnTo>
                    <a:pt x="7" y="26"/>
                  </a:lnTo>
                  <a:lnTo>
                    <a:pt x="5" y="26"/>
                  </a:lnTo>
                  <a:lnTo>
                    <a:pt x="5" y="24"/>
                  </a:lnTo>
                  <a:lnTo>
                    <a:pt x="5" y="19"/>
                  </a:lnTo>
                  <a:lnTo>
                    <a:pt x="7" y="17"/>
                  </a:lnTo>
                  <a:lnTo>
                    <a:pt x="7" y="14"/>
                  </a:lnTo>
                  <a:lnTo>
                    <a:pt x="9" y="14"/>
                  </a:lnTo>
                  <a:lnTo>
                    <a:pt x="9" y="0"/>
                  </a:lnTo>
                  <a:lnTo>
                    <a:pt x="9" y="0"/>
                  </a:lnTo>
                  <a:lnTo>
                    <a:pt x="28" y="0"/>
                  </a:lnTo>
                  <a:lnTo>
                    <a:pt x="31" y="0"/>
                  </a:lnTo>
                  <a:lnTo>
                    <a:pt x="64" y="0"/>
                  </a:lnTo>
                  <a:lnTo>
                    <a:pt x="78" y="0"/>
                  </a:lnTo>
                  <a:lnTo>
                    <a:pt x="90" y="0"/>
                  </a:lnTo>
                  <a:lnTo>
                    <a:pt x="99" y="0"/>
                  </a:lnTo>
                  <a:lnTo>
                    <a:pt x="109" y="0"/>
                  </a:lnTo>
                  <a:lnTo>
                    <a:pt x="109" y="5"/>
                  </a:lnTo>
                  <a:lnTo>
                    <a:pt x="111" y="5"/>
                  </a:lnTo>
                  <a:lnTo>
                    <a:pt x="113" y="7"/>
                  </a:lnTo>
                  <a:lnTo>
                    <a:pt x="113" y="7"/>
                  </a:lnTo>
                  <a:lnTo>
                    <a:pt x="113" y="10"/>
                  </a:lnTo>
                  <a:lnTo>
                    <a:pt x="116" y="10"/>
                  </a:lnTo>
                  <a:lnTo>
                    <a:pt x="118" y="10"/>
                  </a:lnTo>
                  <a:lnTo>
                    <a:pt x="121" y="10"/>
                  </a:lnTo>
                  <a:lnTo>
                    <a:pt x="123" y="10"/>
                  </a:lnTo>
                  <a:lnTo>
                    <a:pt x="123" y="12"/>
                  </a:lnTo>
                  <a:lnTo>
                    <a:pt x="123" y="12"/>
                  </a:lnTo>
                  <a:lnTo>
                    <a:pt x="121" y="17"/>
                  </a:lnTo>
                  <a:lnTo>
                    <a:pt x="121" y="19"/>
                  </a:lnTo>
                  <a:lnTo>
                    <a:pt x="121" y="19"/>
                  </a:lnTo>
                  <a:lnTo>
                    <a:pt x="121" y="22"/>
                  </a:lnTo>
                  <a:lnTo>
                    <a:pt x="121" y="22"/>
                  </a:lnTo>
                  <a:lnTo>
                    <a:pt x="121" y="24"/>
                  </a:lnTo>
                  <a:lnTo>
                    <a:pt x="123" y="24"/>
                  </a:lnTo>
                  <a:lnTo>
                    <a:pt x="123" y="24"/>
                  </a:lnTo>
                  <a:lnTo>
                    <a:pt x="123" y="26"/>
                  </a:lnTo>
                  <a:lnTo>
                    <a:pt x="123" y="29"/>
                  </a:lnTo>
                  <a:lnTo>
                    <a:pt x="123" y="29"/>
                  </a:lnTo>
                  <a:lnTo>
                    <a:pt x="123" y="31"/>
                  </a:lnTo>
                  <a:lnTo>
                    <a:pt x="123" y="31"/>
                  </a:lnTo>
                  <a:lnTo>
                    <a:pt x="123" y="31"/>
                  </a:lnTo>
                  <a:lnTo>
                    <a:pt x="123" y="33"/>
                  </a:lnTo>
                  <a:lnTo>
                    <a:pt x="123" y="31"/>
                  </a:lnTo>
                  <a:lnTo>
                    <a:pt x="123" y="33"/>
                  </a:lnTo>
                  <a:lnTo>
                    <a:pt x="121" y="33"/>
                  </a:lnTo>
                  <a:lnTo>
                    <a:pt x="121" y="33"/>
                  </a:lnTo>
                  <a:lnTo>
                    <a:pt x="121" y="36"/>
                  </a:lnTo>
                  <a:lnTo>
                    <a:pt x="121" y="36"/>
                  </a:lnTo>
                  <a:lnTo>
                    <a:pt x="118" y="38"/>
                  </a:lnTo>
                  <a:lnTo>
                    <a:pt x="118" y="38"/>
                  </a:lnTo>
                  <a:lnTo>
                    <a:pt x="118" y="40"/>
                  </a:lnTo>
                  <a:lnTo>
                    <a:pt x="118" y="40"/>
                  </a:lnTo>
                  <a:lnTo>
                    <a:pt x="118" y="40"/>
                  </a:lnTo>
                  <a:lnTo>
                    <a:pt x="116" y="40"/>
                  </a:lnTo>
                  <a:lnTo>
                    <a:pt x="116" y="43"/>
                  </a:lnTo>
                  <a:lnTo>
                    <a:pt x="116" y="43"/>
                  </a:lnTo>
                  <a:lnTo>
                    <a:pt x="116" y="43"/>
                  </a:lnTo>
                  <a:lnTo>
                    <a:pt x="116" y="45"/>
                  </a:lnTo>
                  <a:lnTo>
                    <a:pt x="116" y="45"/>
                  </a:lnTo>
                  <a:lnTo>
                    <a:pt x="116" y="48"/>
                  </a:lnTo>
                  <a:lnTo>
                    <a:pt x="116" y="48"/>
                  </a:lnTo>
                  <a:lnTo>
                    <a:pt x="116" y="48"/>
                  </a:lnTo>
                  <a:lnTo>
                    <a:pt x="116" y="50"/>
                  </a:lnTo>
                  <a:lnTo>
                    <a:pt x="113" y="50"/>
                  </a:lnTo>
                  <a:lnTo>
                    <a:pt x="116" y="50"/>
                  </a:lnTo>
                  <a:lnTo>
                    <a:pt x="116" y="50"/>
                  </a:lnTo>
                  <a:lnTo>
                    <a:pt x="116" y="52"/>
                  </a:lnTo>
                  <a:lnTo>
                    <a:pt x="116" y="52"/>
                  </a:lnTo>
                  <a:lnTo>
                    <a:pt x="116" y="52"/>
                  </a:lnTo>
                  <a:lnTo>
                    <a:pt x="116" y="55"/>
                  </a:lnTo>
                  <a:lnTo>
                    <a:pt x="116" y="55"/>
                  </a:lnTo>
                  <a:lnTo>
                    <a:pt x="116" y="55"/>
                  </a:lnTo>
                  <a:lnTo>
                    <a:pt x="116" y="55"/>
                  </a:lnTo>
                  <a:lnTo>
                    <a:pt x="116" y="57"/>
                  </a:lnTo>
                  <a:lnTo>
                    <a:pt x="116" y="57"/>
                  </a:lnTo>
                  <a:lnTo>
                    <a:pt x="116" y="57"/>
                  </a:lnTo>
                  <a:lnTo>
                    <a:pt x="116" y="57"/>
                  </a:lnTo>
                  <a:lnTo>
                    <a:pt x="116" y="59"/>
                  </a:lnTo>
                  <a:lnTo>
                    <a:pt x="116" y="59"/>
                  </a:lnTo>
                  <a:lnTo>
                    <a:pt x="116" y="59"/>
                  </a:lnTo>
                  <a:lnTo>
                    <a:pt x="116" y="59"/>
                  </a:lnTo>
                  <a:lnTo>
                    <a:pt x="116" y="62"/>
                  </a:lnTo>
                  <a:lnTo>
                    <a:pt x="116" y="64"/>
                  </a:lnTo>
                  <a:lnTo>
                    <a:pt x="116" y="64"/>
                  </a:lnTo>
                  <a:lnTo>
                    <a:pt x="116" y="64"/>
                  </a:lnTo>
                  <a:lnTo>
                    <a:pt x="116" y="64"/>
                  </a:lnTo>
                  <a:lnTo>
                    <a:pt x="116" y="64"/>
                  </a:lnTo>
                  <a:lnTo>
                    <a:pt x="116" y="66"/>
                  </a:lnTo>
                  <a:lnTo>
                    <a:pt x="118" y="66"/>
                  </a:lnTo>
                  <a:lnTo>
                    <a:pt x="118" y="66"/>
                  </a:lnTo>
                  <a:lnTo>
                    <a:pt x="118" y="66"/>
                  </a:lnTo>
                  <a:lnTo>
                    <a:pt x="118" y="66"/>
                  </a:lnTo>
                  <a:lnTo>
                    <a:pt x="121" y="66"/>
                  </a:lnTo>
                  <a:lnTo>
                    <a:pt x="121" y="69"/>
                  </a:lnTo>
                  <a:lnTo>
                    <a:pt x="123" y="69"/>
                  </a:lnTo>
                  <a:lnTo>
                    <a:pt x="123" y="69"/>
                  </a:lnTo>
                  <a:lnTo>
                    <a:pt x="123" y="69"/>
                  </a:lnTo>
                  <a:lnTo>
                    <a:pt x="123" y="69"/>
                  </a:lnTo>
                  <a:lnTo>
                    <a:pt x="123" y="69"/>
                  </a:lnTo>
                  <a:lnTo>
                    <a:pt x="123" y="71"/>
                  </a:lnTo>
                  <a:lnTo>
                    <a:pt x="85" y="71"/>
                  </a:lnTo>
                  <a:lnTo>
                    <a:pt x="76" y="71"/>
                  </a:lnTo>
                  <a:lnTo>
                    <a:pt x="59" y="71"/>
                  </a:lnTo>
                  <a:lnTo>
                    <a:pt x="43" y="71"/>
                  </a:lnTo>
                  <a:lnTo>
                    <a:pt x="33" y="71"/>
                  </a:lnTo>
                  <a:lnTo>
                    <a:pt x="31" y="71"/>
                  </a:lnTo>
                  <a:lnTo>
                    <a:pt x="24" y="71"/>
                  </a:lnTo>
                  <a:lnTo>
                    <a:pt x="0" y="71"/>
                  </a:lnTo>
                  <a:lnTo>
                    <a:pt x="0" y="71"/>
                  </a:lnTo>
                  <a:lnTo>
                    <a:pt x="2" y="69"/>
                  </a:lnTo>
                  <a:lnTo>
                    <a:pt x="2" y="66"/>
                  </a:lnTo>
                  <a:lnTo>
                    <a:pt x="2" y="64"/>
                  </a:lnTo>
                  <a:lnTo>
                    <a:pt x="2" y="62"/>
                  </a:lnTo>
                  <a:lnTo>
                    <a:pt x="2" y="59"/>
                  </a:lnTo>
                  <a:lnTo>
                    <a:pt x="5" y="59"/>
                  </a:lnTo>
                  <a:lnTo>
                    <a:pt x="5" y="57"/>
                  </a:lnTo>
                  <a:lnTo>
                    <a:pt x="5" y="57"/>
                  </a:lnTo>
                  <a:lnTo>
                    <a:pt x="2" y="55"/>
                  </a:lnTo>
                  <a:lnTo>
                    <a:pt x="2" y="57"/>
                  </a:lnTo>
                  <a:lnTo>
                    <a:pt x="0" y="55"/>
                  </a:lnTo>
                  <a:lnTo>
                    <a:pt x="0" y="55"/>
                  </a:lnTo>
                  <a:lnTo>
                    <a:pt x="2" y="55"/>
                  </a:lnTo>
                  <a:lnTo>
                    <a:pt x="2" y="52"/>
                  </a:lnTo>
                  <a:lnTo>
                    <a:pt x="0" y="52"/>
                  </a:lnTo>
                  <a:lnTo>
                    <a:pt x="0" y="50"/>
                  </a:lnTo>
                  <a:lnTo>
                    <a:pt x="0" y="50"/>
                  </a:lnTo>
                  <a:lnTo>
                    <a:pt x="2" y="50"/>
                  </a:lnTo>
                  <a:lnTo>
                    <a:pt x="0" y="48"/>
                  </a:lnTo>
                  <a:lnTo>
                    <a:pt x="0" y="43"/>
                  </a:lnTo>
                  <a:lnTo>
                    <a:pt x="0" y="4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 cap="flat">
              <a:solidFill>
                <a:schemeClr val="bg2">
                  <a:lumMod val="7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>
                <a:solidFill>
                  <a:srgbClr val="000000"/>
                </a:solidFill>
              </a:endParaRPr>
            </a:p>
          </p:txBody>
        </p:sp>
        <p:sp>
          <p:nvSpPr>
            <p:cNvPr id="22" name="Freeform 12"/>
            <p:cNvSpPr>
              <a:spLocks/>
            </p:cNvSpPr>
            <p:nvPr/>
          </p:nvSpPr>
          <p:spPr bwMode="gray">
            <a:xfrm>
              <a:off x="3849533" y="3852209"/>
              <a:ext cx="316754" cy="192583"/>
            </a:xfrm>
            <a:custGeom>
              <a:avLst/>
              <a:gdLst/>
              <a:ahLst/>
              <a:cxnLst>
                <a:cxn ang="0">
                  <a:pos x="19" y="45"/>
                </a:cxn>
                <a:cxn ang="0">
                  <a:pos x="33" y="43"/>
                </a:cxn>
                <a:cxn ang="0">
                  <a:pos x="45" y="29"/>
                </a:cxn>
                <a:cxn ang="0">
                  <a:pos x="55" y="10"/>
                </a:cxn>
                <a:cxn ang="0">
                  <a:pos x="64" y="10"/>
                </a:cxn>
                <a:cxn ang="0">
                  <a:pos x="71" y="19"/>
                </a:cxn>
                <a:cxn ang="0">
                  <a:pos x="76" y="24"/>
                </a:cxn>
                <a:cxn ang="0">
                  <a:pos x="92" y="19"/>
                </a:cxn>
                <a:cxn ang="0">
                  <a:pos x="107" y="31"/>
                </a:cxn>
                <a:cxn ang="0">
                  <a:pos x="128" y="48"/>
                </a:cxn>
                <a:cxn ang="0">
                  <a:pos x="133" y="50"/>
                </a:cxn>
                <a:cxn ang="0">
                  <a:pos x="147" y="57"/>
                </a:cxn>
                <a:cxn ang="0">
                  <a:pos x="163" y="74"/>
                </a:cxn>
                <a:cxn ang="0">
                  <a:pos x="168" y="62"/>
                </a:cxn>
                <a:cxn ang="0">
                  <a:pos x="189" y="59"/>
                </a:cxn>
                <a:cxn ang="0">
                  <a:pos x="206" y="66"/>
                </a:cxn>
                <a:cxn ang="0">
                  <a:pos x="213" y="66"/>
                </a:cxn>
                <a:cxn ang="0">
                  <a:pos x="225" y="55"/>
                </a:cxn>
                <a:cxn ang="0">
                  <a:pos x="232" y="52"/>
                </a:cxn>
                <a:cxn ang="0">
                  <a:pos x="241" y="50"/>
                </a:cxn>
                <a:cxn ang="0">
                  <a:pos x="248" y="45"/>
                </a:cxn>
                <a:cxn ang="0">
                  <a:pos x="255" y="43"/>
                </a:cxn>
                <a:cxn ang="0">
                  <a:pos x="258" y="33"/>
                </a:cxn>
                <a:cxn ang="0">
                  <a:pos x="265" y="29"/>
                </a:cxn>
                <a:cxn ang="0">
                  <a:pos x="267" y="19"/>
                </a:cxn>
                <a:cxn ang="0">
                  <a:pos x="289" y="10"/>
                </a:cxn>
                <a:cxn ang="0">
                  <a:pos x="298" y="5"/>
                </a:cxn>
                <a:cxn ang="0">
                  <a:pos x="312" y="5"/>
                </a:cxn>
                <a:cxn ang="0">
                  <a:pos x="319" y="12"/>
                </a:cxn>
                <a:cxn ang="0">
                  <a:pos x="331" y="7"/>
                </a:cxn>
                <a:cxn ang="0">
                  <a:pos x="343" y="0"/>
                </a:cxn>
                <a:cxn ang="0">
                  <a:pos x="350" y="0"/>
                </a:cxn>
                <a:cxn ang="0">
                  <a:pos x="359" y="3"/>
                </a:cxn>
                <a:cxn ang="0">
                  <a:pos x="383" y="10"/>
                </a:cxn>
                <a:cxn ang="0">
                  <a:pos x="388" y="22"/>
                </a:cxn>
                <a:cxn ang="0">
                  <a:pos x="378" y="36"/>
                </a:cxn>
                <a:cxn ang="0">
                  <a:pos x="374" y="48"/>
                </a:cxn>
                <a:cxn ang="0">
                  <a:pos x="362" y="62"/>
                </a:cxn>
                <a:cxn ang="0">
                  <a:pos x="350" y="74"/>
                </a:cxn>
                <a:cxn ang="0">
                  <a:pos x="336" y="92"/>
                </a:cxn>
                <a:cxn ang="0">
                  <a:pos x="324" y="107"/>
                </a:cxn>
                <a:cxn ang="0">
                  <a:pos x="312" y="116"/>
                </a:cxn>
                <a:cxn ang="0">
                  <a:pos x="289" y="149"/>
                </a:cxn>
                <a:cxn ang="0">
                  <a:pos x="267" y="175"/>
                </a:cxn>
                <a:cxn ang="0">
                  <a:pos x="246" y="194"/>
                </a:cxn>
                <a:cxn ang="0">
                  <a:pos x="237" y="220"/>
                </a:cxn>
                <a:cxn ang="0">
                  <a:pos x="222" y="208"/>
                </a:cxn>
                <a:cxn ang="0">
                  <a:pos x="213" y="196"/>
                </a:cxn>
                <a:cxn ang="0">
                  <a:pos x="201" y="189"/>
                </a:cxn>
                <a:cxn ang="0">
                  <a:pos x="189" y="185"/>
                </a:cxn>
                <a:cxn ang="0">
                  <a:pos x="177" y="177"/>
                </a:cxn>
                <a:cxn ang="0">
                  <a:pos x="163" y="161"/>
                </a:cxn>
                <a:cxn ang="0">
                  <a:pos x="156" y="151"/>
                </a:cxn>
                <a:cxn ang="0">
                  <a:pos x="128" y="140"/>
                </a:cxn>
                <a:cxn ang="0">
                  <a:pos x="111" y="125"/>
                </a:cxn>
                <a:cxn ang="0">
                  <a:pos x="74" y="111"/>
                </a:cxn>
                <a:cxn ang="0">
                  <a:pos x="55" y="102"/>
                </a:cxn>
                <a:cxn ang="0">
                  <a:pos x="31" y="92"/>
                </a:cxn>
                <a:cxn ang="0">
                  <a:pos x="22" y="81"/>
                </a:cxn>
                <a:cxn ang="0">
                  <a:pos x="5" y="76"/>
                </a:cxn>
              </a:cxnLst>
              <a:rect l="0" t="0" r="r" b="b"/>
              <a:pathLst>
                <a:path w="392" h="220">
                  <a:moveTo>
                    <a:pt x="0" y="66"/>
                  </a:moveTo>
                  <a:lnTo>
                    <a:pt x="5" y="62"/>
                  </a:lnTo>
                  <a:lnTo>
                    <a:pt x="7" y="62"/>
                  </a:lnTo>
                  <a:lnTo>
                    <a:pt x="12" y="57"/>
                  </a:lnTo>
                  <a:lnTo>
                    <a:pt x="12" y="57"/>
                  </a:lnTo>
                  <a:lnTo>
                    <a:pt x="12" y="55"/>
                  </a:lnTo>
                  <a:lnTo>
                    <a:pt x="12" y="52"/>
                  </a:lnTo>
                  <a:lnTo>
                    <a:pt x="17" y="50"/>
                  </a:lnTo>
                  <a:lnTo>
                    <a:pt x="19" y="48"/>
                  </a:lnTo>
                  <a:lnTo>
                    <a:pt x="19" y="45"/>
                  </a:lnTo>
                  <a:lnTo>
                    <a:pt x="22" y="45"/>
                  </a:lnTo>
                  <a:lnTo>
                    <a:pt x="22" y="45"/>
                  </a:lnTo>
                  <a:lnTo>
                    <a:pt x="24" y="45"/>
                  </a:lnTo>
                  <a:lnTo>
                    <a:pt x="26" y="45"/>
                  </a:lnTo>
                  <a:lnTo>
                    <a:pt x="26" y="45"/>
                  </a:lnTo>
                  <a:lnTo>
                    <a:pt x="29" y="43"/>
                  </a:lnTo>
                  <a:lnTo>
                    <a:pt x="29" y="43"/>
                  </a:lnTo>
                  <a:lnTo>
                    <a:pt x="31" y="43"/>
                  </a:lnTo>
                  <a:lnTo>
                    <a:pt x="31" y="43"/>
                  </a:lnTo>
                  <a:lnTo>
                    <a:pt x="33" y="43"/>
                  </a:lnTo>
                  <a:lnTo>
                    <a:pt x="36" y="40"/>
                  </a:lnTo>
                  <a:lnTo>
                    <a:pt x="36" y="38"/>
                  </a:lnTo>
                  <a:lnTo>
                    <a:pt x="36" y="38"/>
                  </a:lnTo>
                  <a:lnTo>
                    <a:pt x="38" y="36"/>
                  </a:lnTo>
                  <a:lnTo>
                    <a:pt x="38" y="36"/>
                  </a:lnTo>
                  <a:lnTo>
                    <a:pt x="38" y="33"/>
                  </a:lnTo>
                  <a:lnTo>
                    <a:pt x="43" y="31"/>
                  </a:lnTo>
                  <a:lnTo>
                    <a:pt x="43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6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2" y="19"/>
                  </a:lnTo>
                  <a:lnTo>
                    <a:pt x="52" y="14"/>
                  </a:lnTo>
                  <a:lnTo>
                    <a:pt x="52" y="14"/>
                  </a:lnTo>
                  <a:lnTo>
                    <a:pt x="55" y="12"/>
                  </a:lnTo>
                  <a:lnTo>
                    <a:pt x="55" y="10"/>
                  </a:lnTo>
                  <a:lnTo>
                    <a:pt x="52" y="10"/>
                  </a:lnTo>
                  <a:lnTo>
                    <a:pt x="55" y="7"/>
                  </a:lnTo>
                  <a:lnTo>
                    <a:pt x="57" y="7"/>
                  </a:lnTo>
                  <a:lnTo>
                    <a:pt x="59" y="5"/>
                  </a:lnTo>
                  <a:lnTo>
                    <a:pt x="59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4" y="5"/>
                  </a:lnTo>
                  <a:lnTo>
                    <a:pt x="64" y="7"/>
                  </a:lnTo>
                  <a:lnTo>
                    <a:pt x="64" y="10"/>
                  </a:lnTo>
                  <a:lnTo>
                    <a:pt x="64" y="10"/>
                  </a:lnTo>
                  <a:lnTo>
                    <a:pt x="64" y="10"/>
                  </a:lnTo>
                  <a:lnTo>
                    <a:pt x="66" y="10"/>
                  </a:lnTo>
                  <a:lnTo>
                    <a:pt x="66" y="12"/>
                  </a:lnTo>
                  <a:lnTo>
                    <a:pt x="69" y="14"/>
                  </a:lnTo>
                  <a:lnTo>
                    <a:pt x="69" y="14"/>
                  </a:lnTo>
                  <a:lnTo>
                    <a:pt x="69" y="17"/>
                  </a:lnTo>
                  <a:lnTo>
                    <a:pt x="71" y="17"/>
                  </a:lnTo>
                  <a:lnTo>
                    <a:pt x="71" y="19"/>
                  </a:lnTo>
                  <a:lnTo>
                    <a:pt x="71" y="19"/>
                  </a:lnTo>
                  <a:lnTo>
                    <a:pt x="71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71" y="22"/>
                  </a:lnTo>
                  <a:lnTo>
                    <a:pt x="71" y="24"/>
                  </a:lnTo>
                  <a:lnTo>
                    <a:pt x="74" y="22"/>
                  </a:lnTo>
                  <a:lnTo>
                    <a:pt x="74" y="22"/>
                  </a:lnTo>
                  <a:lnTo>
                    <a:pt x="74" y="24"/>
                  </a:lnTo>
                  <a:lnTo>
                    <a:pt x="74" y="24"/>
                  </a:lnTo>
                  <a:lnTo>
                    <a:pt x="76" y="24"/>
                  </a:lnTo>
                  <a:lnTo>
                    <a:pt x="81" y="24"/>
                  </a:lnTo>
                  <a:lnTo>
                    <a:pt x="81" y="24"/>
                  </a:lnTo>
                  <a:lnTo>
                    <a:pt x="81" y="24"/>
                  </a:lnTo>
                  <a:lnTo>
                    <a:pt x="81" y="22"/>
                  </a:lnTo>
                  <a:lnTo>
                    <a:pt x="83" y="19"/>
                  </a:lnTo>
                  <a:lnTo>
                    <a:pt x="83" y="19"/>
                  </a:lnTo>
                  <a:lnTo>
                    <a:pt x="85" y="19"/>
                  </a:lnTo>
                  <a:lnTo>
                    <a:pt x="90" y="17"/>
                  </a:lnTo>
                  <a:lnTo>
                    <a:pt x="90" y="19"/>
                  </a:lnTo>
                  <a:lnTo>
                    <a:pt x="92" y="19"/>
                  </a:lnTo>
                  <a:lnTo>
                    <a:pt x="92" y="19"/>
                  </a:lnTo>
                  <a:lnTo>
                    <a:pt x="95" y="19"/>
                  </a:lnTo>
                  <a:lnTo>
                    <a:pt x="95" y="19"/>
                  </a:lnTo>
                  <a:lnTo>
                    <a:pt x="95" y="22"/>
                  </a:lnTo>
                  <a:lnTo>
                    <a:pt x="95" y="24"/>
                  </a:lnTo>
                  <a:lnTo>
                    <a:pt x="100" y="26"/>
                  </a:lnTo>
                  <a:lnTo>
                    <a:pt x="102" y="26"/>
                  </a:lnTo>
                  <a:lnTo>
                    <a:pt x="102" y="26"/>
                  </a:lnTo>
                  <a:lnTo>
                    <a:pt x="104" y="29"/>
                  </a:lnTo>
                  <a:lnTo>
                    <a:pt x="107" y="31"/>
                  </a:lnTo>
                  <a:lnTo>
                    <a:pt x="116" y="33"/>
                  </a:lnTo>
                  <a:lnTo>
                    <a:pt x="116" y="36"/>
                  </a:lnTo>
                  <a:lnTo>
                    <a:pt x="118" y="36"/>
                  </a:lnTo>
                  <a:lnTo>
                    <a:pt x="118" y="36"/>
                  </a:lnTo>
                  <a:lnTo>
                    <a:pt x="118" y="38"/>
                  </a:lnTo>
                  <a:lnTo>
                    <a:pt x="121" y="38"/>
                  </a:lnTo>
                  <a:lnTo>
                    <a:pt x="123" y="43"/>
                  </a:lnTo>
                  <a:lnTo>
                    <a:pt x="123" y="43"/>
                  </a:lnTo>
                  <a:lnTo>
                    <a:pt x="126" y="45"/>
                  </a:lnTo>
                  <a:lnTo>
                    <a:pt x="128" y="48"/>
                  </a:lnTo>
                  <a:lnTo>
                    <a:pt x="128" y="48"/>
                  </a:lnTo>
                  <a:lnTo>
                    <a:pt x="128" y="48"/>
                  </a:lnTo>
                  <a:lnTo>
                    <a:pt x="128" y="50"/>
                  </a:lnTo>
                  <a:lnTo>
                    <a:pt x="128" y="50"/>
                  </a:lnTo>
                  <a:lnTo>
                    <a:pt x="128" y="52"/>
                  </a:lnTo>
                  <a:lnTo>
                    <a:pt x="128" y="52"/>
                  </a:lnTo>
                  <a:lnTo>
                    <a:pt x="128" y="52"/>
                  </a:lnTo>
                  <a:lnTo>
                    <a:pt x="128" y="55"/>
                  </a:lnTo>
                  <a:lnTo>
                    <a:pt x="130" y="52"/>
                  </a:lnTo>
                  <a:lnTo>
                    <a:pt x="133" y="50"/>
                  </a:lnTo>
                  <a:lnTo>
                    <a:pt x="137" y="55"/>
                  </a:lnTo>
                  <a:lnTo>
                    <a:pt x="137" y="57"/>
                  </a:lnTo>
                  <a:lnTo>
                    <a:pt x="137" y="57"/>
                  </a:lnTo>
                  <a:lnTo>
                    <a:pt x="137" y="59"/>
                  </a:lnTo>
                  <a:lnTo>
                    <a:pt x="137" y="59"/>
                  </a:lnTo>
                  <a:lnTo>
                    <a:pt x="140" y="57"/>
                  </a:lnTo>
                  <a:lnTo>
                    <a:pt x="142" y="57"/>
                  </a:lnTo>
                  <a:lnTo>
                    <a:pt x="144" y="55"/>
                  </a:lnTo>
                  <a:lnTo>
                    <a:pt x="144" y="55"/>
                  </a:lnTo>
                  <a:lnTo>
                    <a:pt x="147" y="57"/>
                  </a:lnTo>
                  <a:lnTo>
                    <a:pt x="149" y="57"/>
                  </a:lnTo>
                  <a:lnTo>
                    <a:pt x="152" y="59"/>
                  </a:lnTo>
                  <a:lnTo>
                    <a:pt x="149" y="62"/>
                  </a:lnTo>
                  <a:lnTo>
                    <a:pt x="152" y="64"/>
                  </a:lnTo>
                  <a:lnTo>
                    <a:pt x="152" y="62"/>
                  </a:lnTo>
                  <a:lnTo>
                    <a:pt x="152" y="64"/>
                  </a:lnTo>
                  <a:lnTo>
                    <a:pt x="156" y="64"/>
                  </a:lnTo>
                  <a:lnTo>
                    <a:pt x="159" y="69"/>
                  </a:lnTo>
                  <a:lnTo>
                    <a:pt x="161" y="71"/>
                  </a:lnTo>
                  <a:lnTo>
                    <a:pt x="163" y="74"/>
                  </a:lnTo>
                  <a:lnTo>
                    <a:pt x="166" y="74"/>
                  </a:lnTo>
                  <a:lnTo>
                    <a:pt x="166" y="71"/>
                  </a:lnTo>
                  <a:lnTo>
                    <a:pt x="166" y="71"/>
                  </a:lnTo>
                  <a:lnTo>
                    <a:pt x="166" y="71"/>
                  </a:lnTo>
                  <a:lnTo>
                    <a:pt x="166" y="71"/>
                  </a:lnTo>
                  <a:lnTo>
                    <a:pt x="166" y="69"/>
                  </a:lnTo>
                  <a:lnTo>
                    <a:pt x="168" y="66"/>
                  </a:lnTo>
                  <a:lnTo>
                    <a:pt x="168" y="66"/>
                  </a:lnTo>
                  <a:lnTo>
                    <a:pt x="168" y="66"/>
                  </a:lnTo>
                  <a:lnTo>
                    <a:pt x="168" y="62"/>
                  </a:lnTo>
                  <a:lnTo>
                    <a:pt x="170" y="59"/>
                  </a:lnTo>
                  <a:lnTo>
                    <a:pt x="173" y="59"/>
                  </a:lnTo>
                  <a:lnTo>
                    <a:pt x="175" y="59"/>
                  </a:lnTo>
                  <a:lnTo>
                    <a:pt x="173" y="59"/>
                  </a:lnTo>
                  <a:lnTo>
                    <a:pt x="175" y="59"/>
                  </a:lnTo>
                  <a:lnTo>
                    <a:pt x="177" y="59"/>
                  </a:lnTo>
                  <a:lnTo>
                    <a:pt x="177" y="59"/>
                  </a:lnTo>
                  <a:lnTo>
                    <a:pt x="177" y="62"/>
                  </a:lnTo>
                  <a:lnTo>
                    <a:pt x="185" y="62"/>
                  </a:lnTo>
                  <a:lnTo>
                    <a:pt x="189" y="59"/>
                  </a:lnTo>
                  <a:lnTo>
                    <a:pt x="196" y="59"/>
                  </a:lnTo>
                  <a:lnTo>
                    <a:pt x="199" y="59"/>
                  </a:lnTo>
                  <a:lnTo>
                    <a:pt x="201" y="64"/>
                  </a:lnTo>
                  <a:lnTo>
                    <a:pt x="203" y="64"/>
                  </a:lnTo>
                  <a:lnTo>
                    <a:pt x="203" y="64"/>
                  </a:lnTo>
                  <a:lnTo>
                    <a:pt x="203" y="64"/>
                  </a:lnTo>
                  <a:lnTo>
                    <a:pt x="203" y="64"/>
                  </a:lnTo>
                  <a:lnTo>
                    <a:pt x="203" y="66"/>
                  </a:lnTo>
                  <a:lnTo>
                    <a:pt x="206" y="66"/>
                  </a:lnTo>
                  <a:lnTo>
                    <a:pt x="206" y="66"/>
                  </a:lnTo>
                  <a:lnTo>
                    <a:pt x="206" y="66"/>
                  </a:lnTo>
                  <a:lnTo>
                    <a:pt x="206" y="66"/>
                  </a:lnTo>
                  <a:lnTo>
                    <a:pt x="206" y="66"/>
                  </a:lnTo>
                  <a:lnTo>
                    <a:pt x="208" y="66"/>
                  </a:lnTo>
                  <a:lnTo>
                    <a:pt x="208" y="66"/>
                  </a:lnTo>
                  <a:lnTo>
                    <a:pt x="208" y="69"/>
                  </a:lnTo>
                  <a:lnTo>
                    <a:pt x="211" y="66"/>
                  </a:lnTo>
                  <a:lnTo>
                    <a:pt x="211" y="66"/>
                  </a:lnTo>
                  <a:lnTo>
                    <a:pt x="213" y="66"/>
                  </a:lnTo>
                  <a:lnTo>
                    <a:pt x="213" y="66"/>
                  </a:lnTo>
                  <a:lnTo>
                    <a:pt x="213" y="66"/>
                  </a:lnTo>
                  <a:lnTo>
                    <a:pt x="213" y="64"/>
                  </a:lnTo>
                  <a:lnTo>
                    <a:pt x="213" y="64"/>
                  </a:lnTo>
                  <a:lnTo>
                    <a:pt x="213" y="62"/>
                  </a:lnTo>
                  <a:lnTo>
                    <a:pt x="220" y="59"/>
                  </a:lnTo>
                  <a:lnTo>
                    <a:pt x="222" y="57"/>
                  </a:lnTo>
                  <a:lnTo>
                    <a:pt x="222" y="57"/>
                  </a:lnTo>
                  <a:lnTo>
                    <a:pt x="222" y="57"/>
                  </a:lnTo>
                  <a:lnTo>
                    <a:pt x="222" y="55"/>
                  </a:lnTo>
                  <a:lnTo>
                    <a:pt x="225" y="55"/>
                  </a:lnTo>
                  <a:lnTo>
                    <a:pt x="225" y="55"/>
                  </a:lnTo>
                  <a:lnTo>
                    <a:pt x="227" y="55"/>
                  </a:lnTo>
                  <a:lnTo>
                    <a:pt x="227" y="52"/>
                  </a:lnTo>
                  <a:lnTo>
                    <a:pt x="227" y="52"/>
                  </a:lnTo>
                  <a:lnTo>
                    <a:pt x="227" y="52"/>
                  </a:lnTo>
                  <a:lnTo>
                    <a:pt x="229" y="52"/>
                  </a:lnTo>
                  <a:lnTo>
                    <a:pt x="229" y="50"/>
                  </a:lnTo>
                  <a:lnTo>
                    <a:pt x="232" y="50"/>
                  </a:lnTo>
                  <a:lnTo>
                    <a:pt x="232" y="52"/>
                  </a:lnTo>
                  <a:lnTo>
                    <a:pt x="232" y="52"/>
                  </a:lnTo>
                  <a:lnTo>
                    <a:pt x="232" y="52"/>
                  </a:lnTo>
                  <a:lnTo>
                    <a:pt x="234" y="52"/>
                  </a:lnTo>
                  <a:lnTo>
                    <a:pt x="237" y="52"/>
                  </a:lnTo>
                  <a:lnTo>
                    <a:pt x="237" y="52"/>
                  </a:lnTo>
                  <a:lnTo>
                    <a:pt x="239" y="52"/>
                  </a:lnTo>
                  <a:lnTo>
                    <a:pt x="239" y="52"/>
                  </a:lnTo>
                  <a:lnTo>
                    <a:pt x="241" y="50"/>
                  </a:lnTo>
                  <a:lnTo>
                    <a:pt x="239" y="50"/>
                  </a:lnTo>
                  <a:lnTo>
                    <a:pt x="239" y="50"/>
                  </a:lnTo>
                  <a:lnTo>
                    <a:pt x="241" y="50"/>
                  </a:lnTo>
                  <a:lnTo>
                    <a:pt x="241" y="50"/>
                  </a:lnTo>
                  <a:lnTo>
                    <a:pt x="244" y="50"/>
                  </a:lnTo>
                  <a:lnTo>
                    <a:pt x="244" y="48"/>
                  </a:lnTo>
                  <a:lnTo>
                    <a:pt x="246" y="48"/>
                  </a:lnTo>
                  <a:lnTo>
                    <a:pt x="246" y="45"/>
                  </a:lnTo>
                  <a:lnTo>
                    <a:pt x="246" y="48"/>
                  </a:lnTo>
                  <a:lnTo>
                    <a:pt x="246" y="45"/>
                  </a:lnTo>
                  <a:lnTo>
                    <a:pt x="248" y="48"/>
                  </a:lnTo>
                  <a:lnTo>
                    <a:pt x="248" y="45"/>
                  </a:lnTo>
                  <a:lnTo>
                    <a:pt x="248" y="45"/>
                  </a:lnTo>
                  <a:lnTo>
                    <a:pt x="251" y="45"/>
                  </a:lnTo>
                  <a:lnTo>
                    <a:pt x="251" y="45"/>
                  </a:lnTo>
                  <a:lnTo>
                    <a:pt x="251" y="45"/>
                  </a:lnTo>
                  <a:lnTo>
                    <a:pt x="251" y="48"/>
                  </a:lnTo>
                  <a:lnTo>
                    <a:pt x="253" y="48"/>
                  </a:lnTo>
                  <a:lnTo>
                    <a:pt x="253" y="45"/>
                  </a:lnTo>
                  <a:lnTo>
                    <a:pt x="253" y="48"/>
                  </a:lnTo>
                  <a:lnTo>
                    <a:pt x="255" y="45"/>
                  </a:lnTo>
                  <a:lnTo>
                    <a:pt x="255" y="45"/>
                  </a:lnTo>
                  <a:lnTo>
                    <a:pt x="255" y="43"/>
                  </a:lnTo>
                  <a:lnTo>
                    <a:pt x="255" y="43"/>
                  </a:lnTo>
                  <a:lnTo>
                    <a:pt x="253" y="40"/>
                  </a:lnTo>
                  <a:lnTo>
                    <a:pt x="251" y="40"/>
                  </a:lnTo>
                  <a:lnTo>
                    <a:pt x="251" y="40"/>
                  </a:lnTo>
                  <a:lnTo>
                    <a:pt x="251" y="38"/>
                  </a:lnTo>
                  <a:lnTo>
                    <a:pt x="251" y="38"/>
                  </a:lnTo>
                  <a:lnTo>
                    <a:pt x="251" y="36"/>
                  </a:lnTo>
                  <a:lnTo>
                    <a:pt x="253" y="36"/>
                  </a:lnTo>
                  <a:lnTo>
                    <a:pt x="255" y="36"/>
                  </a:lnTo>
                  <a:lnTo>
                    <a:pt x="258" y="33"/>
                  </a:lnTo>
                  <a:lnTo>
                    <a:pt x="258" y="33"/>
                  </a:lnTo>
                  <a:lnTo>
                    <a:pt x="258" y="33"/>
                  </a:lnTo>
                  <a:lnTo>
                    <a:pt x="258" y="31"/>
                  </a:lnTo>
                  <a:lnTo>
                    <a:pt x="260" y="29"/>
                  </a:lnTo>
                  <a:lnTo>
                    <a:pt x="260" y="29"/>
                  </a:lnTo>
                  <a:lnTo>
                    <a:pt x="260" y="29"/>
                  </a:lnTo>
                  <a:lnTo>
                    <a:pt x="263" y="29"/>
                  </a:lnTo>
                  <a:lnTo>
                    <a:pt x="263" y="29"/>
                  </a:lnTo>
                  <a:lnTo>
                    <a:pt x="265" y="29"/>
                  </a:lnTo>
                  <a:lnTo>
                    <a:pt x="265" y="29"/>
                  </a:lnTo>
                  <a:lnTo>
                    <a:pt x="267" y="29"/>
                  </a:lnTo>
                  <a:lnTo>
                    <a:pt x="267" y="29"/>
                  </a:lnTo>
                  <a:lnTo>
                    <a:pt x="267" y="29"/>
                  </a:lnTo>
                  <a:lnTo>
                    <a:pt x="270" y="26"/>
                  </a:lnTo>
                  <a:lnTo>
                    <a:pt x="270" y="24"/>
                  </a:lnTo>
                  <a:lnTo>
                    <a:pt x="270" y="24"/>
                  </a:lnTo>
                  <a:lnTo>
                    <a:pt x="272" y="24"/>
                  </a:lnTo>
                  <a:lnTo>
                    <a:pt x="270" y="22"/>
                  </a:lnTo>
                  <a:lnTo>
                    <a:pt x="270" y="22"/>
                  </a:lnTo>
                  <a:lnTo>
                    <a:pt x="267" y="19"/>
                  </a:lnTo>
                  <a:lnTo>
                    <a:pt x="270" y="17"/>
                  </a:lnTo>
                  <a:lnTo>
                    <a:pt x="274" y="14"/>
                  </a:lnTo>
                  <a:lnTo>
                    <a:pt x="277" y="12"/>
                  </a:lnTo>
                  <a:lnTo>
                    <a:pt x="281" y="12"/>
                  </a:lnTo>
                  <a:lnTo>
                    <a:pt x="284" y="12"/>
                  </a:lnTo>
                  <a:lnTo>
                    <a:pt x="286" y="10"/>
                  </a:lnTo>
                  <a:lnTo>
                    <a:pt x="289" y="10"/>
                  </a:lnTo>
                  <a:lnTo>
                    <a:pt x="289" y="10"/>
                  </a:lnTo>
                  <a:lnTo>
                    <a:pt x="289" y="10"/>
                  </a:lnTo>
                  <a:lnTo>
                    <a:pt x="289" y="10"/>
                  </a:lnTo>
                  <a:lnTo>
                    <a:pt x="291" y="10"/>
                  </a:lnTo>
                  <a:lnTo>
                    <a:pt x="293" y="7"/>
                  </a:lnTo>
                  <a:lnTo>
                    <a:pt x="293" y="7"/>
                  </a:lnTo>
                  <a:lnTo>
                    <a:pt x="296" y="7"/>
                  </a:lnTo>
                  <a:lnTo>
                    <a:pt x="296" y="5"/>
                  </a:lnTo>
                  <a:lnTo>
                    <a:pt x="296" y="5"/>
                  </a:lnTo>
                  <a:lnTo>
                    <a:pt x="296" y="5"/>
                  </a:lnTo>
                  <a:lnTo>
                    <a:pt x="298" y="5"/>
                  </a:lnTo>
                  <a:lnTo>
                    <a:pt x="298" y="5"/>
                  </a:lnTo>
                  <a:lnTo>
                    <a:pt x="298" y="5"/>
                  </a:lnTo>
                  <a:lnTo>
                    <a:pt x="303" y="5"/>
                  </a:lnTo>
                  <a:lnTo>
                    <a:pt x="305" y="5"/>
                  </a:lnTo>
                  <a:lnTo>
                    <a:pt x="305" y="5"/>
                  </a:lnTo>
                  <a:lnTo>
                    <a:pt x="307" y="5"/>
                  </a:lnTo>
                  <a:lnTo>
                    <a:pt x="307" y="5"/>
                  </a:lnTo>
                  <a:lnTo>
                    <a:pt x="310" y="5"/>
                  </a:lnTo>
                  <a:lnTo>
                    <a:pt x="312" y="3"/>
                  </a:lnTo>
                  <a:lnTo>
                    <a:pt x="312" y="3"/>
                  </a:lnTo>
                  <a:lnTo>
                    <a:pt x="312" y="5"/>
                  </a:lnTo>
                  <a:lnTo>
                    <a:pt x="312" y="5"/>
                  </a:lnTo>
                  <a:lnTo>
                    <a:pt x="312" y="5"/>
                  </a:lnTo>
                  <a:lnTo>
                    <a:pt x="312" y="7"/>
                  </a:lnTo>
                  <a:lnTo>
                    <a:pt x="312" y="10"/>
                  </a:lnTo>
                  <a:lnTo>
                    <a:pt x="312" y="10"/>
                  </a:lnTo>
                  <a:lnTo>
                    <a:pt x="312" y="10"/>
                  </a:lnTo>
                  <a:lnTo>
                    <a:pt x="315" y="10"/>
                  </a:lnTo>
                  <a:lnTo>
                    <a:pt x="315" y="12"/>
                  </a:lnTo>
                  <a:lnTo>
                    <a:pt x="317" y="12"/>
                  </a:lnTo>
                  <a:lnTo>
                    <a:pt x="319" y="12"/>
                  </a:lnTo>
                  <a:lnTo>
                    <a:pt x="319" y="12"/>
                  </a:lnTo>
                  <a:lnTo>
                    <a:pt x="322" y="12"/>
                  </a:lnTo>
                  <a:lnTo>
                    <a:pt x="322" y="10"/>
                  </a:lnTo>
                  <a:lnTo>
                    <a:pt x="324" y="12"/>
                  </a:lnTo>
                  <a:lnTo>
                    <a:pt x="324" y="10"/>
                  </a:lnTo>
                  <a:lnTo>
                    <a:pt x="326" y="10"/>
                  </a:lnTo>
                  <a:lnTo>
                    <a:pt x="329" y="7"/>
                  </a:lnTo>
                  <a:lnTo>
                    <a:pt x="329" y="7"/>
                  </a:lnTo>
                  <a:lnTo>
                    <a:pt x="331" y="7"/>
                  </a:lnTo>
                  <a:lnTo>
                    <a:pt x="331" y="7"/>
                  </a:lnTo>
                  <a:lnTo>
                    <a:pt x="331" y="7"/>
                  </a:lnTo>
                  <a:lnTo>
                    <a:pt x="333" y="5"/>
                  </a:lnTo>
                  <a:lnTo>
                    <a:pt x="336" y="5"/>
                  </a:lnTo>
                  <a:lnTo>
                    <a:pt x="338" y="3"/>
                  </a:lnTo>
                  <a:lnTo>
                    <a:pt x="338" y="3"/>
                  </a:lnTo>
                  <a:lnTo>
                    <a:pt x="338" y="3"/>
                  </a:lnTo>
                  <a:lnTo>
                    <a:pt x="340" y="3"/>
                  </a:lnTo>
                  <a:lnTo>
                    <a:pt x="340" y="0"/>
                  </a:lnTo>
                  <a:lnTo>
                    <a:pt x="343" y="0"/>
                  </a:lnTo>
                  <a:lnTo>
                    <a:pt x="343" y="0"/>
                  </a:lnTo>
                  <a:lnTo>
                    <a:pt x="343" y="0"/>
                  </a:lnTo>
                  <a:lnTo>
                    <a:pt x="343" y="0"/>
                  </a:lnTo>
                  <a:lnTo>
                    <a:pt x="345" y="0"/>
                  </a:lnTo>
                  <a:lnTo>
                    <a:pt x="348" y="0"/>
                  </a:lnTo>
                  <a:lnTo>
                    <a:pt x="348" y="0"/>
                  </a:lnTo>
                  <a:lnTo>
                    <a:pt x="348" y="0"/>
                  </a:lnTo>
                  <a:lnTo>
                    <a:pt x="348" y="0"/>
                  </a:lnTo>
                  <a:lnTo>
                    <a:pt x="350" y="0"/>
                  </a:lnTo>
                  <a:lnTo>
                    <a:pt x="350" y="0"/>
                  </a:lnTo>
                  <a:lnTo>
                    <a:pt x="350" y="0"/>
                  </a:lnTo>
                  <a:lnTo>
                    <a:pt x="350" y="0"/>
                  </a:lnTo>
                  <a:lnTo>
                    <a:pt x="352" y="0"/>
                  </a:lnTo>
                  <a:lnTo>
                    <a:pt x="352" y="0"/>
                  </a:lnTo>
                  <a:lnTo>
                    <a:pt x="352" y="0"/>
                  </a:lnTo>
                  <a:lnTo>
                    <a:pt x="352" y="0"/>
                  </a:lnTo>
                  <a:lnTo>
                    <a:pt x="352" y="0"/>
                  </a:lnTo>
                  <a:lnTo>
                    <a:pt x="352" y="3"/>
                  </a:lnTo>
                  <a:lnTo>
                    <a:pt x="355" y="3"/>
                  </a:lnTo>
                  <a:lnTo>
                    <a:pt x="357" y="3"/>
                  </a:lnTo>
                  <a:lnTo>
                    <a:pt x="357" y="3"/>
                  </a:lnTo>
                  <a:lnTo>
                    <a:pt x="359" y="3"/>
                  </a:lnTo>
                  <a:lnTo>
                    <a:pt x="359" y="3"/>
                  </a:lnTo>
                  <a:lnTo>
                    <a:pt x="359" y="3"/>
                  </a:lnTo>
                  <a:lnTo>
                    <a:pt x="362" y="3"/>
                  </a:lnTo>
                  <a:lnTo>
                    <a:pt x="366" y="5"/>
                  </a:lnTo>
                  <a:lnTo>
                    <a:pt x="374" y="7"/>
                  </a:lnTo>
                  <a:lnTo>
                    <a:pt x="376" y="7"/>
                  </a:lnTo>
                  <a:lnTo>
                    <a:pt x="376" y="7"/>
                  </a:lnTo>
                  <a:lnTo>
                    <a:pt x="381" y="10"/>
                  </a:lnTo>
                  <a:lnTo>
                    <a:pt x="381" y="7"/>
                  </a:lnTo>
                  <a:lnTo>
                    <a:pt x="383" y="10"/>
                  </a:lnTo>
                  <a:lnTo>
                    <a:pt x="385" y="10"/>
                  </a:lnTo>
                  <a:lnTo>
                    <a:pt x="385" y="10"/>
                  </a:lnTo>
                  <a:lnTo>
                    <a:pt x="390" y="10"/>
                  </a:lnTo>
                  <a:lnTo>
                    <a:pt x="392" y="10"/>
                  </a:lnTo>
                  <a:lnTo>
                    <a:pt x="392" y="12"/>
                  </a:lnTo>
                  <a:lnTo>
                    <a:pt x="392" y="12"/>
                  </a:lnTo>
                  <a:lnTo>
                    <a:pt x="390" y="14"/>
                  </a:lnTo>
                  <a:lnTo>
                    <a:pt x="390" y="17"/>
                  </a:lnTo>
                  <a:lnTo>
                    <a:pt x="388" y="19"/>
                  </a:lnTo>
                  <a:lnTo>
                    <a:pt x="388" y="22"/>
                  </a:lnTo>
                  <a:lnTo>
                    <a:pt x="385" y="24"/>
                  </a:lnTo>
                  <a:lnTo>
                    <a:pt x="383" y="26"/>
                  </a:lnTo>
                  <a:lnTo>
                    <a:pt x="383" y="26"/>
                  </a:lnTo>
                  <a:lnTo>
                    <a:pt x="381" y="29"/>
                  </a:lnTo>
                  <a:lnTo>
                    <a:pt x="381" y="31"/>
                  </a:lnTo>
                  <a:lnTo>
                    <a:pt x="381" y="31"/>
                  </a:lnTo>
                  <a:lnTo>
                    <a:pt x="381" y="31"/>
                  </a:lnTo>
                  <a:lnTo>
                    <a:pt x="381" y="33"/>
                  </a:lnTo>
                  <a:lnTo>
                    <a:pt x="378" y="33"/>
                  </a:lnTo>
                  <a:lnTo>
                    <a:pt x="378" y="36"/>
                  </a:lnTo>
                  <a:lnTo>
                    <a:pt x="378" y="36"/>
                  </a:lnTo>
                  <a:lnTo>
                    <a:pt x="378" y="38"/>
                  </a:lnTo>
                  <a:lnTo>
                    <a:pt x="378" y="38"/>
                  </a:lnTo>
                  <a:lnTo>
                    <a:pt x="376" y="40"/>
                  </a:lnTo>
                  <a:lnTo>
                    <a:pt x="376" y="43"/>
                  </a:lnTo>
                  <a:lnTo>
                    <a:pt x="376" y="43"/>
                  </a:lnTo>
                  <a:lnTo>
                    <a:pt x="374" y="43"/>
                  </a:lnTo>
                  <a:lnTo>
                    <a:pt x="374" y="45"/>
                  </a:lnTo>
                  <a:lnTo>
                    <a:pt x="374" y="48"/>
                  </a:lnTo>
                  <a:lnTo>
                    <a:pt x="374" y="48"/>
                  </a:lnTo>
                  <a:lnTo>
                    <a:pt x="371" y="50"/>
                  </a:lnTo>
                  <a:lnTo>
                    <a:pt x="371" y="50"/>
                  </a:lnTo>
                  <a:lnTo>
                    <a:pt x="371" y="50"/>
                  </a:lnTo>
                  <a:lnTo>
                    <a:pt x="369" y="52"/>
                  </a:lnTo>
                  <a:lnTo>
                    <a:pt x="369" y="52"/>
                  </a:lnTo>
                  <a:lnTo>
                    <a:pt x="369" y="55"/>
                  </a:lnTo>
                  <a:lnTo>
                    <a:pt x="366" y="57"/>
                  </a:lnTo>
                  <a:lnTo>
                    <a:pt x="364" y="59"/>
                  </a:lnTo>
                  <a:lnTo>
                    <a:pt x="362" y="59"/>
                  </a:lnTo>
                  <a:lnTo>
                    <a:pt x="362" y="62"/>
                  </a:lnTo>
                  <a:lnTo>
                    <a:pt x="359" y="64"/>
                  </a:lnTo>
                  <a:lnTo>
                    <a:pt x="359" y="64"/>
                  </a:lnTo>
                  <a:lnTo>
                    <a:pt x="359" y="64"/>
                  </a:lnTo>
                  <a:lnTo>
                    <a:pt x="357" y="66"/>
                  </a:lnTo>
                  <a:lnTo>
                    <a:pt x="357" y="66"/>
                  </a:lnTo>
                  <a:lnTo>
                    <a:pt x="357" y="66"/>
                  </a:lnTo>
                  <a:lnTo>
                    <a:pt x="352" y="69"/>
                  </a:lnTo>
                  <a:lnTo>
                    <a:pt x="352" y="69"/>
                  </a:lnTo>
                  <a:lnTo>
                    <a:pt x="350" y="71"/>
                  </a:lnTo>
                  <a:lnTo>
                    <a:pt x="350" y="74"/>
                  </a:lnTo>
                  <a:lnTo>
                    <a:pt x="348" y="78"/>
                  </a:lnTo>
                  <a:lnTo>
                    <a:pt x="348" y="81"/>
                  </a:lnTo>
                  <a:lnTo>
                    <a:pt x="345" y="81"/>
                  </a:lnTo>
                  <a:lnTo>
                    <a:pt x="345" y="83"/>
                  </a:lnTo>
                  <a:lnTo>
                    <a:pt x="343" y="83"/>
                  </a:lnTo>
                  <a:lnTo>
                    <a:pt x="340" y="85"/>
                  </a:lnTo>
                  <a:lnTo>
                    <a:pt x="340" y="88"/>
                  </a:lnTo>
                  <a:lnTo>
                    <a:pt x="338" y="90"/>
                  </a:lnTo>
                  <a:lnTo>
                    <a:pt x="338" y="92"/>
                  </a:lnTo>
                  <a:lnTo>
                    <a:pt x="336" y="92"/>
                  </a:lnTo>
                  <a:lnTo>
                    <a:pt x="333" y="95"/>
                  </a:lnTo>
                  <a:lnTo>
                    <a:pt x="333" y="95"/>
                  </a:lnTo>
                  <a:lnTo>
                    <a:pt x="331" y="95"/>
                  </a:lnTo>
                  <a:lnTo>
                    <a:pt x="331" y="97"/>
                  </a:lnTo>
                  <a:lnTo>
                    <a:pt x="329" y="97"/>
                  </a:lnTo>
                  <a:lnTo>
                    <a:pt x="329" y="99"/>
                  </a:lnTo>
                  <a:lnTo>
                    <a:pt x="326" y="102"/>
                  </a:lnTo>
                  <a:lnTo>
                    <a:pt x="324" y="104"/>
                  </a:lnTo>
                  <a:lnTo>
                    <a:pt x="324" y="107"/>
                  </a:lnTo>
                  <a:lnTo>
                    <a:pt x="324" y="107"/>
                  </a:lnTo>
                  <a:lnTo>
                    <a:pt x="324" y="111"/>
                  </a:lnTo>
                  <a:lnTo>
                    <a:pt x="322" y="111"/>
                  </a:lnTo>
                  <a:lnTo>
                    <a:pt x="319" y="114"/>
                  </a:lnTo>
                  <a:lnTo>
                    <a:pt x="319" y="111"/>
                  </a:lnTo>
                  <a:lnTo>
                    <a:pt x="319" y="111"/>
                  </a:lnTo>
                  <a:lnTo>
                    <a:pt x="319" y="111"/>
                  </a:lnTo>
                  <a:lnTo>
                    <a:pt x="319" y="111"/>
                  </a:lnTo>
                  <a:lnTo>
                    <a:pt x="315" y="111"/>
                  </a:lnTo>
                  <a:lnTo>
                    <a:pt x="312" y="116"/>
                  </a:lnTo>
                  <a:lnTo>
                    <a:pt x="312" y="116"/>
                  </a:lnTo>
                  <a:lnTo>
                    <a:pt x="310" y="118"/>
                  </a:lnTo>
                  <a:lnTo>
                    <a:pt x="307" y="121"/>
                  </a:lnTo>
                  <a:lnTo>
                    <a:pt x="310" y="121"/>
                  </a:lnTo>
                  <a:lnTo>
                    <a:pt x="303" y="125"/>
                  </a:lnTo>
                  <a:lnTo>
                    <a:pt x="300" y="130"/>
                  </a:lnTo>
                  <a:lnTo>
                    <a:pt x="298" y="133"/>
                  </a:lnTo>
                  <a:lnTo>
                    <a:pt x="298" y="137"/>
                  </a:lnTo>
                  <a:lnTo>
                    <a:pt x="293" y="142"/>
                  </a:lnTo>
                  <a:lnTo>
                    <a:pt x="289" y="147"/>
                  </a:lnTo>
                  <a:lnTo>
                    <a:pt x="289" y="149"/>
                  </a:lnTo>
                  <a:lnTo>
                    <a:pt x="284" y="154"/>
                  </a:lnTo>
                  <a:lnTo>
                    <a:pt x="281" y="161"/>
                  </a:lnTo>
                  <a:lnTo>
                    <a:pt x="279" y="161"/>
                  </a:lnTo>
                  <a:lnTo>
                    <a:pt x="279" y="163"/>
                  </a:lnTo>
                  <a:lnTo>
                    <a:pt x="277" y="166"/>
                  </a:lnTo>
                  <a:lnTo>
                    <a:pt x="277" y="166"/>
                  </a:lnTo>
                  <a:lnTo>
                    <a:pt x="274" y="166"/>
                  </a:lnTo>
                  <a:lnTo>
                    <a:pt x="270" y="170"/>
                  </a:lnTo>
                  <a:lnTo>
                    <a:pt x="270" y="173"/>
                  </a:lnTo>
                  <a:lnTo>
                    <a:pt x="267" y="175"/>
                  </a:lnTo>
                  <a:lnTo>
                    <a:pt x="267" y="175"/>
                  </a:lnTo>
                  <a:lnTo>
                    <a:pt x="267" y="175"/>
                  </a:lnTo>
                  <a:lnTo>
                    <a:pt x="265" y="175"/>
                  </a:lnTo>
                  <a:lnTo>
                    <a:pt x="263" y="177"/>
                  </a:lnTo>
                  <a:lnTo>
                    <a:pt x="260" y="180"/>
                  </a:lnTo>
                  <a:lnTo>
                    <a:pt x="258" y="182"/>
                  </a:lnTo>
                  <a:lnTo>
                    <a:pt x="255" y="187"/>
                  </a:lnTo>
                  <a:lnTo>
                    <a:pt x="251" y="189"/>
                  </a:lnTo>
                  <a:lnTo>
                    <a:pt x="248" y="194"/>
                  </a:lnTo>
                  <a:lnTo>
                    <a:pt x="246" y="194"/>
                  </a:lnTo>
                  <a:lnTo>
                    <a:pt x="246" y="196"/>
                  </a:lnTo>
                  <a:lnTo>
                    <a:pt x="246" y="199"/>
                  </a:lnTo>
                  <a:lnTo>
                    <a:pt x="248" y="199"/>
                  </a:lnTo>
                  <a:lnTo>
                    <a:pt x="248" y="201"/>
                  </a:lnTo>
                  <a:lnTo>
                    <a:pt x="246" y="201"/>
                  </a:lnTo>
                  <a:lnTo>
                    <a:pt x="246" y="201"/>
                  </a:lnTo>
                  <a:lnTo>
                    <a:pt x="241" y="206"/>
                  </a:lnTo>
                  <a:lnTo>
                    <a:pt x="237" y="218"/>
                  </a:lnTo>
                  <a:lnTo>
                    <a:pt x="237" y="218"/>
                  </a:lnTo>
                  <a:lnTo>
                    <a:pt x="237" y="220"/>
                  </a:lnTo>
                  <a:lnTo>
                    <a:pt x="234" y="218"/>
                  </a:lnTo>
                  <a:lnTo>
                    <a:pt x="234" y="218"/>
                  </a:lnTo>
                  <a:lnTo>
                    <a:pt x="232" y="213"/>
                  </a:lnTo>
                  <a:lnTo>
                    <a:pt x="229" y="208"/>
                  </a:lnTo>
                  <a:lnTo>
                    <a:pt x="229" y="208"/>
                  </a:lnTo>
                  <a:lnTo>
                    <a:pt x="227" y="208"/>
                  </a:lnTo>
                  <a:lnTo>
                    <a:pt x="227" y="206"/>
                  </a:lnTo>
                  <a:lnTo>
                    <a:pt x="222" y="208"/>
                  </a:lnTo>
                  <a:lnTo>
                    <a:pt x="222" y="208"/>
                  </a:lnTo>
                  <a:lnTo>
                    <a:pt x="222" y="208"/>
                  </a:lnTo>
                  <a:lnTo>
                    <a:pt x="220" y="211"/>
                  </a:lnTo>
                  <a:lnTo>
                    <a:pt x="220" y="211"/>
                  </a:lnTo>
                  <a:lnTo>
                    <a:pt x="220" y="208"/>
                  </a:lnTo>
                  <a:lnTo>
                    <a:pt x="220" y="208"/>
                  </a:lnTo>
                  <a:lnTo>
                    <a:pt x="215" y="208"/>
                  </a:lnTo>
                  <a:lnTo>
                    <a:pt x="215" y="211"/>
                  </a:lnTo>
                  <a:lnTo>
                    <a:pt x="213" y="208"/>
                  </a:lnTo>
                  <a:lnTo>
                    <a:pt x="213" y="206"/>
                  </a:lnTo>
                  <a:lnTo>
                    <a:pt x="213" y="201"/>
                  </a:lnTo>
                  <a:lnTo>
                    <a:pt x="213" y="196"/>
                  </a:lnTo>
                  <a:lnTo>
                    <a:pt x="213" y="196"/>
                  </a:lnTo>
                  <a:lnTo>
                    <a:pt x="211" y="194"/>
                  </a:lnTo>
                  <a:lnTo>
                    <a:pt x="211" y="192"/>
                  </a:lnTo>
                  <a:lnTo>
                    <a:pt x="206" y="189"/>
                  </a:lnTo>
                  <a:lnTo>
                    <a:pt x="206" y="189"/>
                  </a:lnTo>
                  <a:lnTo>
                    <a:pt x="206" y="187"/>
                  </a:lnTo>
                  <a:lnTo>
                    <a:pt x="206" y="187"/>
                  </a:lnTo>
                  <a:lnTo>
                    <a:pt x="203" y="187"/>
                  </a:lnTo>
                  <a:lnTo>
                    <a:pt x="203" y="187"/>
                  </a:lnTo>
                  <a:lnTo>
                    <a:pt x="201" y="189"/>
                  </a:lnTo>
                  <a:lnTo>
                    <a:pt x="199" y="189"/>
                  </a:lnTo>
                  <a:lnTo>
                    <a:pt x="199" y="189"/>
                  </a:lnTo>
                  <a:lnTo>
                    <a:pt x="196" y="189"/>
                  </a:lnTo>
                  <a:lnTo>
                    <a:pt x="196" y="189"/>
                  </a:lnTo>
                  <a:lnTo>
                    <a:pt x="194" y="189"/>
                  </a:lnTo>
                  <a:lnTo>
                    <a:pt x="194" y="189"/>
                  </a:lnTo>
                  <a:lnTo>
                    <a:pt x="192" y="187"/>
                  </a:lnTo>
                  <a:lnTo>
                    <a:pt x="189" y="187"/>
                  </a:lnTo>
                  <a:lnTo>
                    <a:pt x="189" y="187"/>
                  </a:lnTo>
                  <a:lnTo>
                    <a:pt x="189" y="185"/>
                  </a:lnTo>
                  <a:lnTo>
                    <a:pt x="189" y="185"/>
                  </a:lnTo>
                  <a:lnTo>
                    <a:pt x="187" y="185"/>
                  </a:lnTo>
                  <a:lnTo>
                    <a:pt x="187" y="185"/>
                  </a:lnTo>
                  <a:lnTo>
                    <a:pt x="182" y="182"/>
                  </a:lnTo>
                  <a:lnTo>
                    <a:pt x="182" y="182"/>
                  </a:lnTo>
                  <a:lnTo>
                    <a:pt x="177" y="180"/>
                  </a:lnTo>
                  <a:lnTo>
                    <a:pt x="177" y="180"/>
                  </a:lnTo>
                  <a:lnTo>
                    <a:pt x="177" y="177"/>
                  </a:lnTo>
                  <a:lnTo>
                    <a:pt x="177" y="177"/>
                  </a:lnTo>
                  <a:lnTo>
                    <a:pt x="177" y="177"/>
                  </a:lnTo>
                  <a:lnTo>
                    <a:pt x="177" y="175"/>
                  </a:lnTo>
                  <a:lnTo>
                    <a:pt x="175" y="175"/>
                  </a:lnTo>
                  <a:lnTo>
                    <a:pt x="173" y="173"/>
                  </a:lnTo>
                  <a:lnTo>
                    <a:pt x="168" y="173"/>
                  </a:lnTo>
                  <a:lnTo>
                    <a:pt x="168" y="170"/>
                  </a:lnTo>
                  <a:lnTo>
                    <a:pt x="166" y="168"/>
                  </a:lnTo>
                  <a:lnTo>
                    <a:pt x="166" y="166"/>
                  </a:lnTo>
                  <a:lnTo>
                    <a:pt x="163" y="163"/>
                  </a:lnTo>
                  <a:lnTo>
                    <a:pt x="163" y="163"/>
                  </a:lnTo>
                  <a:lnTo>
                    <a:pt x="163" y="161"/>
                  </a:lnTo>
                  <a:lnTo>
                    <a:pt x="163" y="161"/>
                  </a:lnTo>
                  <a:lnTo>
                    <a:pt x="163" y="161"/>
                  </a:lnTo>
                  <a:lnTo>
                    <a:pt x="163" y="159"/>
                  </a:lnTo>
                  <a:lnTo>
                    <a:pt x="163" y="156"/>
                  </a:lnTo>
                  <a:lnTo>
                    <a:pt x="163" y="154"/>
                  </a:lnTo>
                  <a:lnTo>
                    <a:pt x="163" y="154"/>
                  </a:lnTo>
                  <a:lnTo>
                    <a:pt x="163" y="151"/>
                  </a:lnTo>
                  <a:lnTo>
                    <a:pt x="159" y="151"/>
                  </a:lnTo>
                  <a:lnTo>
                    <a:pt x="159" y="151"/>
                  </a:lnTo>
                  <a:lnTo>
                    <a:pt x="156" y="151"/>
                  </a:lnTo>
                  <a:lnTo>
                    <a:pt x="154" y="151"/>
                  </a:lnTo>
                  <a:lnTo>
                    <a:pt x="154" y="151"/>
                  </a:lnTo>
                  <a:lnTo>
                    <a:pt x="152" y="151"/>
                  </a:lnTo>
                  <a:lnTo>
                    <a:pt x="149" y="149"/>
                  </a:lnTo>
                  <a:lnTo>
                    <a:pt x="142" y="142"/>
                  </a:lnTo>
                  <a:lnTo>
                    <a:pt x="140" y="142"/>
                  </a:lnTo>
                  <a:lnTo>
                    <a:pt x="133" y="140"/>
                  </a:lnTo>
                  <a:lnTo>
                    <a:pt x="130" y="140"/>
                  </a:lnTo>
                  <a:lnTo>
                    <a:pt x="128" y="140"/>
                  </a:lnTo>
                  <a:lnTo>
                    <a:pt x="128" y="140"/>
                  </a:lnTo>
                  <a:lnTo>
                    <a:pt x="128" y="140"/>
                  </a:lnTo>
                  <a:lnTo>
                    <a:pt x="126" y="137"/>
                  </a:lnTo>
                  <a:lnTo>
                    <a:pt x="123" y="135"/>
                  </a:lnTo>
                  <a:lnTo>
                    <a:pt x="121" y="133"/>
                  </a:lnTo>
                  <a:lnTo>
                    <a:pt x="121" y="130"/>
                  </a:lnTo>
                  <a:lnTo>
                    <a:pt x="118" y="130"/>
                  </a:lnTo>
                  <a:lnTo>
                    <a:pt x="114" y="128"/>
                  </a:lnTo>
                  <a:lnTo>
                    <a:pt x="114" y="125"/>
                  </a:lnTo>
                  <a:lnTo>
                    <a:pt x="111" y="125"/>
                  </a:lnTo>
                  <a:lnTo>
                    <a:pt x="111" y="125"/>
                  </a:lnTo>
                  <a:lnTo>
                    <a:pt x="109" y="125"/>
                  </a:lnTo>
                  <a:lnTo>
                    <a:pt x="104" y="123"/>
                  </a:lnTo>
                  <a:lnTo>
                    <a:pt x="104" y="123"/>
                  </a:lnTo>
                  <a:lnTo>
                    <a:pt x="100" y="121"/>
                  </a:lnTo>
                  <a:lnTo>
                    <a:pt x="88" y="121"/>
                  </a:lnTo>
                  <a:lnTo>
                    <a:pt x="85" y="121"/>
                  </a:lnTo>
                  <a:lnTo>
                    <a:pt x="83" y="118"/>
                  </a:lnTo>
                  <a:lnTo>
                    <a:pt x="74" y="114"/>
                  </a:lnTo>
                  <a:lnTo>
                    <a:pt x="74" y="111"/>
                  </a:lnTo>
                  <a:lnTo>
                    <a:pt x="74" y="111"/>
                  </a:lnTo>
                  <a:lnTo>
                    <a:pt x="74" y="109"/>
                  </a:lnTo>
                  <a:lnTo>
                    <a:pt x="71" y="107"/>
                  </a:lnTo>
                  <a:lnTo>
                    <a:pt x="66" y="107"/>
                  </a:lnTo>
                  <a:lnTo>
                    <a:pt x="64" y="104"/>
                  </a:lnTo>
                  <a:lnTo>
                    <a:pt x="62" y="104"/>
                  </a:lnTo>
                  <a:lnTo>
                    <a:pt x="59" y="107"/>
                  </a:lnTo>
                  <a:lnTo>
                    <a:pt x="57" y="107"/>
                  </a:lnTo>
                  <a:lnTo>
                    <a:pt x="57" y="104"/>
                  </a:lnTo>
                  <a:lnTo>
                    <a:pt x="55" y="102"/>
                  </a:lnTo>
                  <a:lnTo>
                    <a:pt x="55" y="102"/>
                  </a:lnTo>
                  <a:lnTo>
                    <a:pt x="55" y="102"/>
                  </a:lnTo>
                  <a:lnTo>
                    <a:pt x="52" y="102"/>
                  </a:lnTo>
                  <a:lnTo>
                    <a:pt x="52" y="99"/>
                  </a:lnTo>
                  <a:lnTo>
                    <a:pt x="50" y="99"/>
                  </a:lnTo>
                  <a:lnTo>
                    <a:pt x="45" y="95"/>
                  </a:lnTo>
                  <a:lnTo>
                    <a:pt x="45" y="95"/>
                  </a:lnTo>
                  <a:lnTo>
                    <a:pt x="45" y="95"/>
                  </a:lnTo>
                  <a:lnTo>
                    <a:pt x="40" y="95"/>
                  </a:lnTo>
                  <a:lnTo>
                    <a:pt x="36" y="92"/>
                  </a:lnTo>
                  <a:lnTo>
                    <a:pt x="31" y="92"/>
                  </a:lnTo>
                  <a:lnTo>
                    <a:pt x="31" y="90"/>
                  </a:lnTo>
                  <a:lnTo>
                    <a:pt x="31" y="88"/>
                  </a:lnTo>
                  <a:lnTo>
                    <a:pt x="29" y="85"/>
                  </a:lnTo>
                  <a:lnTo>
                    <a:pt x="29" y="85"/>
                  </a:lnTo>
                  <a:lnTo>
                    <a:pt x="26" y="85"/>
                  </a:lnTo>
                  <a:lnTo>
                    <a:pt x="26" y="85"/>
                  </a:lnTo>
                  <a:lnTo>
                    <a:pt x="24" y="83"/>
                  </a:lnTo>
                  <a:lnTo>
                    <a:pt x="22" y="83"/>
                  </a:lnTo>
                  <a:lnTo>
                    <a:pt x="22" y="83"/>
                  </a:lnTo>
                  <a:lnTo>
                    <a:pt x="22" y="81"/>
                  </a:lnTo>
                  <a:lnTo>
                    <a:pt x="22" y="81"/>
                  </a:lnTo>
                  <a:lnTo>
                    <a:pt x="17" y="81"/>
                  </a:lnTo>
                  <a:lnTo>
                    <a:pt x="17" y="81"/>
                  </a:lnTo>
                  <a:lnTo>
                    <a:pt x="17" y="81"/>
                  </a:lnTo>
                  <a:lnTo>
                    <a:pt x="12" y="81"/>
                  </a:lnTo>
                  <a:lnTo>
                    <a:pt x="12" y="81"/>
                  </a:lnTo>
                  <a:lnTo>
                    <a:pt x="10" y="78"/>
                  </a:lnTo>
                  <a:lnTo>
                    <a:pt x="7" y="78"/>
                  </a:lnTo>
                  <a:lnTo>
                    <a:pt x="5" y="78"/>
                  </a:lnTo>
                  <a:lnTo>
                    <a:pt x="5" y="76"/>
                  </a:lnTo>
                  <a:lnTo>
                    <a:pt x="7" y="76"/>
                  </a:lnTo>
                  <a:lnTo>
                    <a:pt x="7" y="74"/>
                  </a:lnTo>
                  <a:lnTo>
                    <a:pt x="5" y="71"/>
                  </a:lnTo>
                  <a:lnTo>
                    <a:pt x="5" y="69"/>
                  </a:lnTo>
                  <a:lnTo>
                    <a:pt x="0" y="66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 cap="flat">
              <a:solidFill>
                <a:schemeClr val="bg2">
                  <a:lumMod val="7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>
                <a:solidFill>
                  <a:srgbClr val="000000"/>
                </a:solidFill>
              </a:endParaRPr>
            </a:p>
          </p:txBody>
        </p:sp>
        <p:sp>
          <p:nvSpPr>
            <p:cNvPr id="23" name="Freeform 15"/>
            <p:cNvSpPr>
              <a:spLocks/>
            </p:cNvSpPr>
            <p:nvPr/>
          </p:nvSpPr>
          <p:spPr bwMode="gray">
            <a:xfrm>
              <a:off x="2990582" y="3818944"/>
              <a:ext cx="951069" cy="1123114"/>
            </a:xfrm>
            <a:custGeom>
              <a:avLst/>
              <a:gdLst/>
              <a:ahLst/>
              <a:cxnLst>
                <a:cxn ang="0">
                  <a:pos x="64" y="272"/>
                </a:cxn>
                <a:cxn ang="0">
                  <a:pos x="130" y="206"/>
                </a:cxn>
                <a:cxn ang="0">
                  <a:pos x="187" y="300"/>
                </a:cxn>
                <a:cxn ang="0">
                  <a:pos x="258" y="274"/>
                </a:cxn>
                <a:cxn ang="0">
                  <a:pos x="338" y="246"/>
                </a:cxn>
                <a:cxn ang="0">
                  <a:pos x="369" y="166"/>
                </a:cxn>
                <a:cxn ang="0">
                  <a:pos x="423" y="116"/>
                </a:cxn>
                <a:cxn ang="0">
                  <a:pos x="482" y="142"/>
                </a:cxn>
                <a:cxn ang="0">
                  <a:pos x="560" y="100"/>
                </a:cxn>
                <a:cxn ang="0">
                  <a:pos x="645" y="52"/>
                </a:cxn>
                <a:cxn ang="0">
                  <a:pos x="704" y="34"/>
                </a:cxn>
                <a:cxn ang="0">
                  <a:pos x="754" y="81"/>
                </a:cxn>
                <a:cxn ang="0">
                  <a:pos x="777" y="114"/>
                </a:cxn>
                <a:cxn ang="0">
                  <a:pos x="853" y="38"/>
                </a:cxn>
                <a:cxn ang="0">
                  <a:pos x="936" y="12"/>
                </a:cxn>
                <a:cxn ang="0">
                  <a:pos x="1016" y="48"/>
                </a:cxn>
                <a:cxn ang="0">
                  <a:pos x="1068" y="116"/>
                </a:cxn>
                <a:cxn ang="0">
                  <a:pos x="1092" y="163"/>
                </a:cxn>
                <a:cxn ang="0">
                  <a:pos x="1113" y="244"/>
                </a:cxn>
                <a:cxn ang="0">
                  <a:pos x="1066" y="293"/>
                </a:cxn>
                <a:cxn ang="0">
                  <a:pos x="1085" y="343"/>
                </a:cxn>
                <a:cxn ang="0">
                  <a:pos x="1101" y="378"/>
                </a:cxn>
                <a:cxn ang="0">
                  <a:pos x="1134" y="393"/>
                </a:cxn>
                <a:cxn ang="0">
                  <a:pos x="1155" y="419"/>
                </a:cxn>
                <a:cxn ang="0">
                  <a:pos x="1035" y="586"/>
                </a:cxn>
                <a:cxn ang="0">
                  <a:pos x="978" y="634"/>
                </a:cxn>
                <a:cxn ang="0">
                  <a:pos x="976" y="700"/>
                </a:cxn>
                <a:cxn ang="0">
                  <a:pos x="966" y="839"/>
                </a:cxn>
                <a:cxn ang="0">
                  <a:pos x="966" y="1011"/>
                </a:cxn>
                <a:cxn ang="0">
                  <a:pos x="943" y="1123"/>
                </a:cxn>
                <a:cxn ang="0">
                  <a:pos x="898" y="1252"/>
                </a:cxn>
                <a:cxn ang="0">
                  <a:pos x="799" y="1191"/>
                </a:cxn>
                <a:cxn ang="0">
                  <a:pos x="768" y="1144"/>
                </a:cxn>
                <a:cxn ang="0">
                  <a:pos x="806" y="1089"/>
                </a:cxn>
                <a:cxn ang="0">
                  <a:pos x="820" y="1045"/>
                </a:cxn>
                <a:cxn ang="0">
                  <a:pos x="855" y="995"/>
                </a:cxn>
                <a:cxn ang="0">
                  <a:pos x="832" y="967"/>
                </a:cxn>
                <a:cxn ang="0">
                  <a:pos x="799" y="952"/>
                </a:cxn>
                <a:cxn ang="0">
                  <a:pos x="747" y="936"/>
                </a:cxn>
                <a:cxn ang="0">
                  <a:pos x="678" y="943"/>
                </a:cxn>
                <a:cxn ang="0">
                  <a:pos x="555" y="860"/>
                </a:cxn>
                <a:cxn ang="0">
                  <a:pos x="492" y="827"/>
                </a:cxn>
                <a:cxn ang="0">
                  <a:pos x="435" y="801"/>
                </a:cxn>
                <a:cxn ang="0">
                  <a:pos x="381" y="813"/>
                </a:cxn>
                <a:cxn ang="0">
                  <a:pos x="357" y="763"/>
                </a:cxn>
                <a:cxn ang="0">
                  <a:pos x="329" y="752"/>
                </a:cxn>
                <a:cxn ang="0">
                  <a:pos x="296" y="749"/>
                </a:cxn>
                <a:cxn ang="0">
                  <a:pos x="253" y="766"/>
                </a:cxn>
                <a:cxn ang="0">
                  <a:pos x="225" y="787"/>
                </a:cxn>
                <a:cxn ang="0">
                  <a:pos x="182" y="813"/>
                </a:cxn>
                <a:cxn ang="0">
                  <a:pos x="142" y="839"/>
                </a:cxn>
                <a:cxn ang="0">
                  <a:pos x="102" y="860"/>
                </a:cxn>
                <a:cxn ang="0">
                  <a:pos x="74" y="860"/>
                </a:cxn>
                <a:cxn ang="0">
                  <a:pos x="81" y="797"/>
                </a:cxn>
                <a:cxn ang="0">
                  <a:pos x="83" y="752"/>
                </a:cxn>
                <a:cxn ang="0">
                  <a:pos x="50" y="695"/>
                </a:cxn>
                <a:cxn ang="0">
                  <a:pos x="52" y="636"/>
                </a:cxn>
                <a:cxn ang="0">
                  <a:pos x="38" y="596"/>
                </a:cxn>
                <a:cxn ang="0">
                  <a:pos x="45" y="551"/>
                </a:cxn>
                <a:cxn ang="0">
                  <a:pos x="36" y="497"/>
                </a:cxn>
                <a:cxn ang="0">
                  <a:pos x="52" y="445"/>
                </a:cxn>
                <a:cxn ang="0">
                  <a:pos x="48" y="404"/>
                </a:cxn>
                <a:cxn ang="0">
                  <a:pos x="10" y="371"/>
                </a:cxn>
              </a:cxnLst>
              <a:rect l="0" t="0" r="r" b="b"/>
              <a:pathLst>
                <a:path w="1177" h="1283">
                  <a:moveTo>
                    <a:pt x="3" y="362"/>
                  </a:moveTo>
                  <a:lnTo>
                    <a:pt x="0" y="362"/>
                  </a:lnTo>
                  <a:lnTo>
                    <a:pt x="0" y="360"/>
                  </a:lnTo>
                  <a:lnTo>
                    <a:pt x="3" y="360"/>
                  </a:lnTo>
                  <a:lnTo>
                    <a:pt x="3" y="357"/>
                  </a:lnTo>
                  <a:lnTo>
                    <a:pt x="3" y="355"/>
                  </a:lnTo>
                  <a:lnTo>
                    <a:pt x="5" y="355"/>
                  </a:lnTo>
                  <a:lnTo>
                    <a:pt x="17" y="350"/>
                  </a:lnTo>
                  <a:lnTo>
                    <a:pt x="17" y="350"/>
                  </a:lnTo>
                  <a:lnTo>
                    <a:pt x="19" y="348"/>
                  </a:lnTo>
                  <a:lnTo>
                    <a:pt x="22" y="343"/>
                  </a:lnTo>
                  <a:lnTo>
                    <a:pt x="24" y="334"/>
                  </a:lnTo>
                  <a:lnTo>
                    <a:pt x="26" y="326"/>
                  </a:lnTo>
                  <a:lnTo>
                    <a:pt x="29" y="324"/>
                  </a:lnTo>
                  <a:lnTo>
                    <a:pt x="29" y="322"/>
                  </a:lnTo>
                  <a:lnTo>
                    <a:pt x="29" y="322"/>
                  </a:lnTo>
                  <a:lnTo>
                    <a:pt x="31" y="319"/>
                  </a:lnTo>
                  <a:lnTo>
                    <a:pt x="33" y="319"/>
                  </a:lnTo>
                  <a:lnTo>
                    <a:pt x="33" y="317"/>
                  </a:lnTo>
                  <a:lnTo>
                    <a:pt x="38" y="315"/>
                  </a:lnTo>
                  <a:lnTo>
                    <a:pt x="40" y="312"/>
                  </a:lnTo>
                  <a:lnTo>
                    <a:pt x="43" y="310"/>
                  </a:lnTo>
                  <a:lnTo>
                    <a:pt x="43" y="310"/>
                  </a:lnTo>
                  <a:lnTo>
                    <a:pt x="43" y="305"/>
                  </a:lnTo>
                  <a:lnTo>
                    <a:pt x="43" y="305"/>
                  </a:lnTo>
                  <a:lnTo>
                    <a:pt x="43" y="303"/>
                  </a:lnTo>
                  <a:lnTo>
                    <a:pt x="43" y="300"/>
                  </a:lnTo>
                  <a:lnTo>
                    <a:pt x="45" y="300"/>
                  </a:lnTo>
                  <a:lnTo>
                    <a:pt x="48" y="298"/>
                  </a:lnTo>
                  <a:lnTo>
                    <a:pt x="50" y="298"/>
                  </a:lnTo>
                  <a:lnTo>
                    <a:pt x="50" y="296"/>
                  </a:lnTo>
                  <a:lnTo>
                    <a:pt x="50" y="291"/>
                  </a:lnTo>
                  <a:lnTo>
                    <a:pt x="48" y="291"/>
                  </a:lnTo>
                  <a:lnTo>
                    <a:pt x="48" y="291"/>
                  </a:lnTo>
                  <a:lnTo>
                    <a:pt x="52" y="289"/>
                  </a:lnTo>
                  <a:lnTo>
                    <a:pt x="55" y="286"/>
                  </a:lnTo>
                  <a:lnTo>
                    <a:pt x="55" y="282"/>
                  </a:lnTo>
                  <a:lnTo>
                    <a:pt x="55" y="282"/>
                  </a:lnTo>
                  <a:lnTo>
                    <a:pt x="55" y="282"/>
                  </a:lnTo>
                  <a:lnTo>
                    <a:pt x="52" y="279"/>
                  </a:lnTo>
                  <a:lnTo>
                    <a:pt x="52" y="277"/>
                  </a:lnTo>
                  <a:lnTo>
                    <a:pt x="52" y="277"/>
                  </a:lnTo>
                  <a:lnTo>
                    <a:pt x="55" y="274"/>
                  </a:lnTo>
                  <a:lnTo>
                    <a:pt x="55" y="274"/>
                  </a:lnTo>
                  <a:lnTo>
                    <a:pt x="55" y="274"/>
                  </a:lnTo>
                  <a:lnTo>
                    <a:pt x="59" y="272"/>
                  </a:lnTo>
                  <a:lnTo>
                    <a:pt x="59" y="274"/>
                  </a:lnTo>
                  <a:lnTo>
                    <a:pt x="62" y="272"/>
                  </a:lnTo>
                  <a:lnTo>
                    <a:pt x="64" y="272"/>
                  </a:lnTo>
                  <a:lnTo>
                    <a:pt x="66" y="270"/>
                  </a:lnTo>
                  <a:lnTo>
                    <a:pt x="69" y="272"/>
                  </a:lnTo>
                  <a:lnTo>
                    <a:pt x="71" y="270"/>
                  </a:lnTo>
                  <a:lnTo>
                    <a:pt x="71" y="270"/>
                  </a:lnTo>
                  <a:lnTo>
                    <a:pt x="71" y="267"/>
                  </a:lnTo>
                  <a:lnTo>
                    <a:pt x="76" y="265"/>
                  </a:lnTo>
                  <a:lnTo>
                    <a:pt x="76" y="263"/>
                  </a:lnTo>
                  <a:lnTo>
                    <a:pt x="78" y="263"/>
                  </a:lnTo>
                  <a:lnTo>
                    <a:pt x="81" y="263"/>
                  </a:lnTo>
                  <a:lnTo>
                    <a:pt x="81" y="260"/>
                  </a:lnTo>
                  <a:lnTo>
                    <a:pt x="83" y="260"/>
                  </a:lnTo>
                  <a:lnTo>
                    <a:pt x="83" y="258"/>
                  </a:lnTo>
                  <a:lnTo>
                    <a:pt x="85" y="258"/>
                  </a:lnTo>
                  <a:lnTo>
                    <a:pt x="90" y="253"/>
                  </a:lnTo>
                  <a:lnTo>
                    <a:pt x="92" y="253"/>
                  </a:lnTo>
                  <a:lnTo>
                    <a:pt x="95" y="251"/>
                  </a:lnTo>
                  <a:lnTo>
                    <a:pt x="97" y="249"/>
                  </a:lnTo>
                  <a:lnTo>
                    <a:pt x="100" y="249"/>
                  </a:lnTo>
                  <a:lnTo>
                    <a:pt x="102" y="249"/>
                  </a:lnTo>
                  <a:lnTo>
                    <a:pt x="102" y="246"/>
                  </a:lnTo>
                  <a:lnTo>
                    <a:pt x="100" y="244"/>
                  </a:lnTo>
                  <a:lnTo>
                    <a:pt x="102" y="241"/>
                  </a:lnTo>
                  <a:lnTo>
                    <a:pt x="102" y="241"/>
                  </a:lnTo>
                  <a:lnTo>
                    <a:pt x="102" y="239"/>
                  </a:lnTo>
                  <a:lnTo>
                    <a:pt x="102" y="239"/>
                  </a:lnTo>
                  <a:lnTo>
                    <a:pt x="104" y="239"/>
                  </a:lnTo>
                  <a:lnTo>
                    <a:pt x="107" y="237"/>
                  </a:lnTo>
                  <a:lnTo>
                    <a:pt x="111" y="237"/>
                  </a:lnTo>
                  <a:lnTo>
                    <a:pt x="114" y="237"/>
                  </a:lnTo>
                  <a:lnTo>
                    <a:pt x="114" y="234"/>
                  </a:lnTo>
                  <a:lnTo>
                    <a:pt x="116" y="230"/>
                  </a:lnTo>
                  <a:lnTo>
                    <a:pt x="116" y="227"/>
                  </a:lnTo>
                  <a:lnTo>
                    <a:pt x="118" y="227"/>
                  </a:lnTo>
                  <a:lnTo>
                    <a:pt x="118" y="225"/>
                  </a:lnTo>
                  <a:lnTo>
                    <a:pt x="118" y="223"/>
                  </a:lnTo>
                  <a:lnTo>
                    <a:pt x="118" y="220"/>
                  </a:lnTo>
                  <a:lnTo>
                    <a:pt x="116" y="215"/>
                  </a:lnTo>
                  <a:lnTo>
                    <a:pt x="118" y="215"/>
                  </a:lnTo>
                  <a:lnTo>
                    <a:pt x="118" y="213"/>
                  </a:lnTo>
                  <a:lnTo>
                    <a:pt x="116" y="213"/>
                  </a:lnTo>
                  <a:lnTo>
                    <a:pt x="114" y="213"/>
                  </a:lnTo>
                  <a:lnTo>
                    <a:pt x="116" y="213"/>
                  </a:lnTo>
                  <a:lnTo>
                    <a:pt x="116" y="213"/>
                  </a:lnTo>
                  <a:lnTo>
                    <a:pt x="118" y="213"/>
                  </a:lnTo>
                  <a:lnTo>
                    <a:pt x="121" y="211"/>
                  </a:lnTo>
                  <a:lnTo>
                    <a:pt x="123" y="208"/>
                  </a:lnTo>
                  <a:lnTo>
                    <a:pt x="125" y="208"/>
                  </a:lnTo>
                  <a:lnTo>
                    <a:pt x="130" y="206"/>
                  </a:lnTo>
                  <a:lnTo>
                    <a:pt x="130" y="206"/>
                  </a:lnTo>
                  <a:lnTo>
                    <a:pt x="133" y="208"/>
                  </a:lnTo>
                  <a:lnTo>
                    <a:pt x="135" y="211"/>
                  </a:lnTo>
                  <a:lnTo>
                    <a:pt x="135" y="213"/>
                  </a:lnTo>
                  <a:lnTo>
                    <a:pt x="135" y="215"/>
                  </a:lnTo>
                  <a:lnTo>
                    <a:pt x="135" y="218"/>
                  </a:lnTo>
                  <a:lnTo>
                    <a:pt x="135" y="220"/>
                  </a:lnTo>
                  <a:lnTo>
                    <a:pt x="140" y="223"/>
                  </a:lnTo>
                  <a:lnTo>
                    <a:pt x="140" y="225"/>
                  </a:lnTo>
                  <a:lnTo>
                    <a:pt x="140" y="227"/>
                  </a:lnTo>
                  <a:lnTo>
                    <a:pt x="142" y="230"/>
                  </a:lnTo>
                  <a:lnTo>
                    <a:pt x="144" y="232"/>
                  </a:lnTo>
                  <a:lnTo>
                    <a:pt x="144" y="232"/>
                  </a:lnTo>
                  <a:lnTo>
                    <a:pt x="147" y="232"/>
                  </a:lnTo>
                  <a:lnTo>
                    <a:pt x="147" y="237"/>
                  </a:lnTo>
                  <a:lnTo>
                    <a:pt x="151" y="239"/>
                  </a:lnTo>
                  <a:lnTo>
                    <a:pt x="151" y="241"/>
                  </a:lnTo>
                  <a:lnTo>
                    <a:pt x="151" y="244"/>
                  </a:lnTo>
                  <a:lnTo>
                    <a:pt x="151" y="246"/>
                  </a:lnTo>
                  <a:lnTo>
                    <a:pt x="156" y="251"/>
                  </a:lnTo>
                  <a:lnTo>
                    <a:pt x="156" y="251"/>
                  </a:lnTo>
                  <a:lnTo>
                    <a:pt x="154" y="253"/>
                  </a:lnTo>
                  <a:lnTo>
                    <a:pt x="151" y="256"/>
                  </a:lnTo>
                  <a:lnTo>
                    <a:pt x="149" y="258"/>
                  </a:lnTo>
                  <a:lnTo>
                    <a:pt x="151" y="260"/>
                  </a:lnTo>
                  <a:lnTo>
                    <a:pt x="151" y="263"/>
                  </a:lnTo>
                  <a:lnTo>
                    <a:pt x="149" y="265"/>
                  </a:lnTo>
                  <a:lnTo>
                    <a:pt x="151" y="267"/>
                  </a:lnTo>
                  <a:lnTo>
                    <a:pt x="151" y="272"/>
                  </a:lnTo>
                  <a:lnTo>
                    <a:pt x="151" y="274"/>
                  </a:lnTo>
                  <a:lnTo>
                    <a:pt x="151" y="274"/>
                  </a:lnTo>
                  <a:lnTo>
                    <a:pt x="154" y="274"/>
                  </a:lnTo>
                  <a:lnTo>
                    <a:pt x="154" y="274"/>
                  </a:lnTo>
                  <a:lnTo>
                    <a:pt x="156" y="277"/>
                  </a:lnTo>
                  <a:lnTo>
                    <a:pt x="156" y="277"/>
                  </a:lnTo>
                  <a:lnTo>
                    <a:pt x="159" y="279"/>
                  </a:lnTo>
                  <a:lnTo>
                    <a:pt x="159" y="279"/>
                  </a:lnTo>
                  <a:lnTo>
                    <a:pt x="159" y="279"/>
                  </a:lnTo>
                  <a:lnTo>
                    <a:pt x="161" y="289"/>
                  </a:lnTo>
                  <a:lnTo>
                    <a:pt x="166" y="291"/>
                  </a:lnTo>
                  <a:lnTo>
                    <a:pt x="170" y="291"/>
                  </a:lnTo>
                  <a:lnTo>
                    <a:pt x="173" y="293"/>
                  </a:lnTo>
                  <a:lnTo>
                    <a:pt x="173" y="293"/>
                  </a:lnTo>
                  <a:lnTo>
                    <a:pt x="173" y="298"/>
                  </a:lnTo>
                  <a:lnTo>
                    <a:pt x="175" y="298"/>
                  </a:lnTo>
                  <a:lnTo>
                    <a:pt x="177" y="298"/>
                  </a:lnTo>
                  <a:lnTo>
                    <a:pt x="180" y="300"/>
                  </a:lnTo>
                  <a:lnTo>
                    <a:pt x="180" y="300"/>
                  </a:lnTo>
                  <a:lnTo>
                    <a:pt x="180" y="300"/>
                  </a:lnTo>
                  <a:lnTo>
                    <a:pt x="187" y="300"/>
                  </a:lnTo>
                  <a:lnTo>
                    <a:pt x="189" y="300"/>
                  </a:lnTo>
                  <a:lnTo>
                    <a:pt x="192" y="300"/>
                  </a:lnTo>
                  <a:lnTo>
                    <a:pt x="192" y="303"/>
                  </a:lnTo>
                  <a:lnTo>
                    <a:pt x="196" y="300"/>
                  </a:lnTo>
                  <a:lnTo>
                    <a:pt x="196" y="300"/>
                  </a:lnTo>
                  <a:lnTo>
                    <a:pt x="199" y="303"/>
                  </a:lnTo>
                  <a:lnTo>
                    <a:pt x="199" y="303"/>
                  </a:lnTo>
                  <a:lnTo>
                    <a:pt x="201" y="305"/>
                  </a:lnTo>
                  <a:lnTo>
                    <a:pt x="201" y="305"/>
                  </a:lnTo>
                  <a:lnTo>
                    <a:pt x="203" y="308"/>
                  </a:lnTo>
                  <a:lnTo>
                    <a:pt x="206" y="308"/>
                  </a:lnTo>
                  <a:lnTo>
                    <a:pt x="206" y="308"/>
                  </a:lnTo>
                  <a:lnTo>
                    <a:pt x="208" y="308"/>
                  </a:lnTo>
                  <a:lnTo>
                    <a:pt x="211" y="308"/>
                  </a:lnTo>
                  <a:lnTo>
                    <a:pt x="211" y="310"/>
                  </a:lnTo>
                  <a:lnTo>
                    <a:pt x="215" y="315"/>
                  </a:lnTo>
                  <a:lnTo>
                    <a:pt x="218" y="310"/>
                  </a:lnTo>
                  <a:lnTo>
                    <a:pt x="218" y="310"/>
                  </a:lnTo>
                  <a:lnTo>
                    <a:pt x="220" y="310"/>
                  </a:lnTo>
                  <a:lnTo>
                    <a:pt x="220" y="310"/>
                  </a:lnTo>
                  <a:lnTo>
                    <a:pt x="225" y="308"/>
                  </a:lnTo>
                  <a:lnTo>
                    <a:pt x="225" y="308"/>
                  </a:lnTo>
                  <a:lnTo>
                    <a:pt x="225" y="310"/>
                  </a:lnTo>
                  <a:lnTo>
                    <a:pt x="229" y="308"/>
                  </a:lnTo>
                  <a:lnTo>
                    <a:pt x="229" y="305"/>
                  </a:lnTo>
                  <a:lnTo>
                    <a:pt x="229" y="305"/>
                  </a:lnTo>
                  <a:lnTo>
                    <a:pt x="229" y="303"/>
                  </a:lnTo>
                  <a:lnTo>
                    <a:pt x="234" y="298"/>
                  </a:lnTo>
                  <a:lnTo>
                    <a:pt x="234" y="298"/>
                  </a:lnTo>
                  <a:lnTo>
                    <a:pt x="237" y="298"/>
                  </a:lnTo>
                  <a:lnTo>
                    <a:pt x="237" y="296"/>
                  </a:lnTo>
                  <a:lnTo>
                    <a:pt x="237" y="293"/>
                  </a:lnTo>
                  <a:lnTo>
                    <a:pt x="239" y="293"/>
                  </a:lnTo>
                  <a:lnTo>
                    <a:pt x="241" y="291"/>
                  </a:lnTo>
                  <a:lnTo>
                    <a:pt x="244" y="291"/>
                  </a:lnTo>
                  <a:lnTo>
                    <a:pt x="246" y="291"/>
                  </a:lnTo>
                  <a:lnTo>
                    <a:pt x="248" y="291"/>
                  </a:lnTo>
                  <a:lnTo>
                    <a:pt x="248" y="291"/>
                  </a:lnTo>
                  <a:lnTo>
                    <a:pt x="248" y="289"/>
                  </a:lnTo>
                  <a:lnTo>
                    <a:pt x="248" y="282"/>
                  </a:lnTo>
                  <a:lnTo>
                    <a:pt x="248" y="282"/>
                  </a:lnTo>
                  <a:lnTo>
                    <a:pt x="248" y="282"/>
                  </a:lnTo>
                  <a:lnTo>
                    <a:pt x="248" y="282"/>
                  </a:lnTo>
                  <a:lnTo>
                    <a:pt x="251" y="279"/>
                  </a:lnTo>
                  <a:lnTo>
                    <a:pt x="253" y="279"/>
                  </a:lnTo>
                  <a:lnTo>
                    <a:pt x="253" y="279"/>
                  </a:lnTo>
                  <a:lnTo>
                    <a:pt x="255" y="279"/>
                  </a:lnTo>
                  <a:lnTo>
                    <a:pt x="255" y="279"/>
                  </a:lnTo>
                  <a:lnTo>
                    <a:pt x="258" y="274"/>
                  </a:lnTo>
                  <a:lnTo>
                    <a:pt x="260" y="274"/>
                  </a:lnTo>
                  <a:lnTo>
                    <a:pt x="263" y="274"/>
                  </a:lnTo>
                  <a:lnTo>
                    <a:pt x="267" y="277"/>
                  </a:lnTo>
                  <a:lnTo>
                    <a:pt x="267" y="277"/>
                  </a:lnTo>
                  <a:lnTo>
                    <a:pt x="270" y="277"/>
                  </a:lnTo>
                  <a:lnTo>
                    <a:pt x="270" y="277"/>
                  </a:lnTo>
                  <a:lnTo>
                    <a:pt x="272" y="274"/>
                  </a:lnTo>
                  <a:lnTo>
                    <a:pt x="274" y="274"/>
                  </a:lnTo>
                  <a:lnTo>
                    <a:pt x="274" y="272"/>
                  </a:lnTo>
                  <a:lnTo>
                    <a:pt x="274" y="272"/>
                  </a:lnTo>
                  <a:lnTo>
                    <a:pt x="277" y="272"/>
                  </a:lnTo>
                  <a:lnTo>
                    <a:pt x="279" y="272"/>
                  </a:lnTo>
                  <a:lnTo>
                    <a:pt x="281" y="272"/>
                  </a:lnTo>
                  <a:lnTo>
                    <a:pt x="284" y="270"/>
                  </a:lnTo>
                  <a:lnTo>
                    <a:pt x="288" y="265"/>
                  </a:lnTo>
                  <a:lnTo>
                    <a:pt x="288" y="263"/>
                  </a:lnTo>
                  <a:lnTo>
                    <a:pt x="291" y="263"/>
                  </a:lnTo>
                  <a:lnTo>
                    <a:pt x="293" y="265"/>
                  </a:lnTo>
                  <a:lnTo>
                    <a:pt x="293" y="265"/>
                  </a:lnTo>
                  <a:lnTo>
                    <a:pt x="293" y="265"/>
                  </a:lnTo>
                  <a:lnTo>
                    <a:pt x="298" y="272"/>
                  </a:lnTo>
                  <a:lnTo>
                    <a:pt x="300" y="272"/>
                  </a:lnTo>
                  <a:lnTo>
                    <a:pt x="303" y="274"/>
                  </a:lnTo>
                  <a:lnTo>
                    <a:pt x="303" y="274"/>
                  </a:lnTo>
                  <a:lnTo>
                    <a:pt x="305" y="272"/>
                  </a:lnTo>
                  <a:lnTo>
                    <a:pt x="307" y="272"/>
                  </a:lnTo>
                  <a:lnTo>
                    <a:pt x="310" y="274"/>
                  </a:lnTo>
                  <a:lnTo>
                    <a:pt x="310" y="274"/>
                  </a:lnTo>
                  <a:lnTo>
                    <a:pt x="312" y="274"/>
                  </a:lnTo>
                  <a:lnTo>
                    <a:pt x="312" y="274"/>
                  </a:lnTo>
                  <a:lnTo>
                    <a:pt x="314" y="274"/>
                  </a:lnTo>
                  <a:lnTo>
                    <a:pt x="317" y="274"/>
                  </a:lnTo>
                  <a:lnTo>
                    <a:pt x="317" y="274"/>
                  </a:lnTo>
                  <a:lnTo>
                    <a:pt x="317" y="272"/>
                  </a:lnTo>
                  <a:lnTo>
                    <a:pt x="319" y="270"/>
                  </a:lnTo>
                  <a:lnTo>
                    <a:pt x="319" y="270"/>
                  </a:lnTo>
                  <a:lnTo>
                    <a:pt x="322" y="270"/>
                  </a:lnTo>
                  <a:lnTo>
                    <a:pt x="324" y="267"/>
                  </a:lnTo>
                  <a:lnTo>
                    <a:pt x="324" y="265"/>
                  </a:lnTo>
                  <a:lnTo>
                    <a:pt x="326" y="258"/>
                  </a:lnTo>
                  <a:lnTo>
                    <a:pt x="329" y="256"/>
                  </a:lnTo>
                  <a:lnTo>
                    <a:pt x="329" y="256"/>
                  </a:lnTo>
                  <a:lnTo>
                    <a:pt x="329" y="253"/>
                  </a:lnTo>
                  <a:lnTo>
                    <a:pt x="329" y="251"/>
                  </a:lnTo>
                  <a:lnTo>
                    <a:pt x="329" y="246"/>
                  </a:lnTo>
                  <a:lnTo>
                    <a:pt x="331" y="244"/>
                  </a:lnTo>
                  <a:lnTo>
                    <a:pt x="331" y="244"/>
                  </a:lnTo>
                  <a:lnTo>
                    <a:pt x="333" y="246"/>
                  </a:lnTo>
                  <a:lnTo>
                    <a:pt x="338" y="246"/>
                  </a:lnTo>
                  <a:lnTo>
                    <a:pt x="340" y="246"/>
                  </a:lnTo>
                  <a:lnTo>
                    <a:pt x="343" y="246"/>
                  </a:lnTo>
                  <a:lnTo>
                    <a:pt x="343" y="246"/>
                  </a:lnTo>
                  <a:lnTo>
                    <a:pt x="345" y="241"/>
                  </a:lnTo>
                  <a:lnTo>
                    <a:pt x="345" y="241"/>
                  </a:lnTo>
                  <a:lnTo>
                    <a:pt x="348" y="237"/>
                  </a:lnTo>
                  <a:lnTo>
                    <a:pt x="348" y="237"/>
                  </a:lnTo>
                  <a:lnTo>
                    <a:pt x="350" y="234"/>
                  </a:lnTo>
                  <a:lnTo>
                    <a:pt x="352" y="234"/>
                  </a:lnTo>
                  <a:lnTo>
                    <a:pt x="355" y="232"/>
                  </a:lnTo>
                  <a:lnTo>
                    <a:pt x="355" y="227"/>
                  </a:lnTo>
                  <a:lnTo>
                    <a:pt x="355" y="227"/>
                  </a:lnTo>
                  <a:lnTo>
                    <a:pt x="355" y="225"/>
                  </a:lnTo>
                  <a:lnTo>
                    <a:pt x="355" y="225"/>
                  </a:lnTo>
                  <a:lnTo>
                    <a:pt x="355" y="225"/>
                  </a:lnTo>
                  <a:lnTo>
                    <a:pt x="359" y="218"/>
                  </a:lnTo>
                  <a:lnTo>
                    <a:pt x="362" y="215"/>
                  </a:lnTo>
                  <a:lnTo>
                    <a:pt x="362" y="208"/>
                  </a:lnTo>
                  <a:lnTo>
                    <a:pt x="362" y="206"/>
                  </a:lnTo>
                  <a:lnTo>
                    <a:pt x="362" y="206"/>
                  </a:lnTo>
                  <a:lnTo>
                    <a:pt x="364" y="204"/>
                  </a:lnTo>
                  <a:lnTo>
                    <a:pt x="364" y="201"/>
                  </a:lnTo>
                  <a:lnTo>
                    <a:pt x="366" y="201"/>
                  </a:lnTo>
                  <a:lnTo>
                    <a:pt x="371" y="201"/>
                  </a:lnTo>
                  <a:lnTo>
                    <a:pt x="371" y="199"/>
                  </a:lnTo>
                  <a:lnTo>
                    <a:pt x="374" y="197"/>
                  </a:lnTo>
                  <a:lnTo>
                    <a:pt x="376" y="197"/>
                  </a:lnTo>
                  <a:lnTo>
                    <a:pt x="376" y="192"/>
                  </a:lnTo>
                  <a:lnTo>
                    <a:pt x="376" y="189"/>
                  </a:lnTo>
                  <a:lnTo>
                    <a:pt x="374" y="189"/>
                  </a:lnTo>
                  <a:lnTo>
                    <a:pt x="371" y="187"/>
                  </a:lnTo>
                  <a:lnTo>
                    <a:pt x="374" y="182"/>
                  </a:lnTo>
                  <a:lnTo>
                    <a:pt x="374" y="182"/>
                  </a:lnTo>
                  <a:lnTo>
                    <a:pt x="371" y="182"/>
                  </a:lnTo>
                  <a:lnTo>
                    <a:pt x="371" y="182"/>
                  </a:lnTo>
                  <a:lnTo>
                    <a:pt x="371" y="180"/>
                  </a:lnTo>
                  <a:lnTo>
                    <a:pt x="371" y="180"/>
                  </a:lnTo>
                  <a:lnTo>
                    <a:pt x="371" y="180"/>
                  </a:lnTo>
                  <a:lnTo>
                    <a:pt x="371" y="178"/>
                  </a:lnTo>
                  <a:lnTo>
                    <a:pt x="374" y="178"/>
                  </a:lnTo>
                  <a:lnTo>
                    <a:pt x="376" y="175"/>
                  </a:lnTo>
                  <a:lnTo>
                    <a:pt x="376" y="173"/>
                  </a:lnTo>
                  <a:lnTo>
                    <a:pt x="376" y="171"/>
                  </a:lnTo>
                  <a:lnTo>
                    <a:pt x="376" y="171"/>
                  </a:lnTo>
                  <a:lnTo>
                    <a:pt x="376" y="168"/>
                  </a:lnTo>
                  <a:lnTo>
                    <a:pt x="374" y="168"/>
                  </a:lnTo>
                  <a:lnTo>
                    <a:pt x="371" y="166"/>
                  </a:lnTo>
                  <a:lnTo>
                    <a:pt x="371" y="166"/>
                  </a:lnTo>
                  <a:lnTo>
                    <a:pt x="369" y="166"/>
                  </a:lnTo>
                  <a:lnTo>
                    <a:pt x="369" y="163"/>
                  </a:lnTo>
                  <a:lnTo>
                    <a:pt x="364" y="163"/>
                  </a:lnTo>
                  <a:lnTo>
                    <a:pt x="362" y="161"/>
                  </a:lnTo>
                  <a:lnTo>
                    <a:pt x="362" y="161"/>
                  </a:lnTo>
                  <a:lnTo>
                    <a:pt x="359" y="156"/>
                  </a:lnTo>
                  <a:lnTo>
                    <a:pt x="359" y="154"/>
                  </a:lnTo>
                  <a:lnTo>
                    <a:pt x="359" y="154"/>
                  </a:lnTo>
                  <a:lnTo>
                    <a:pt x="359" y="152"/>
                  </a:lnTo>
                  <a:lnTo>
                    <a:pt x="355" y="145"/>
                  </a:lnTo>
                  <a:lnTo>
                    <a:pt x="352" y="145"/>
                  </a:lnTo>
                  <a:lnTo>
                    <a:pt x="355" y="142"/>
                  </a:lnTo>
                  <a:lnTo>
                    <a:pt x="355" y="142"/>
                  </a:lnTo>
                  <a:lnTo>
                    <a:pt x="355" y="142"/>
                  </a:lnTo>
                  <a:lnTo>
                    <a:pt x="352" y="142"/>
                  </a:lnTo>
                  <a:lnTo>
                    <a:pt x="352" y="137"/>
                  </a:lnTo>
                  <a:lnTo>
                    <a:pt x="352" y="135"/>
                  </a:lnTo>
                  <a:lnTo>
                    <a:pt x="352" y="133"/>
                  </a:lnTo>
                  <a:lnTo>
                    <a:pt x="357" y="126"/>
                  </a:lnTo>
                  <a:lnTo>
                    <a:pt x="359" y="123"/>
                  </a:lnTo>
                  <a:lnTo>
                    <a:pt x="362" y="121"/>
                  </a:lnTo>
                  <a:lnTo>
                    <a:pt x="362" y="119"/>
                  </a:lnTo>
                  <a:lnTo>
                    <a:pt x="364" y="119"/>
                  </a:lnTo>
                  <a:lnTo>
                    <a:pt x="374" y="116"/>
                  </a:lnTo>
                  <a:lnTo>
                    <a:pt x="376" y="114"/>
                  </a:lnTo>
                  <a:lnTo>
                    <a:pt x="381" y="109"/>
                  </a:lnTo>
                  <a:lnTo>
                    <a:pt x="383" y="109"/>
                  </a:lnTo>
                  <a:lnTo>
                    <a:pt x="385" y="104"/>
                  </a:lnTo>
                  <a:lnTo>
                    <a:pt x="388" y="102"/>
                  </a:lnTo>
                  <a:lnTo>
                    <a:pt x="388" y="102"/>
                  </a:lnTo>
                  <a:lnTo>
                    <a:pt x="390" y="102"/>
                  </a:lnTo>
                  <a:lnTo>
                    <a:pt x="392" y="102"/>
                  </a:lnTo>
                  <a:lnTo>
                    <a:pt x="392" y="100"/>
                  </a:lnTo>
                  <a:lnTo>
                    <a:pt x="397" y="97"/>
                  </a:lnTo>
                  <a:lnTo>
                    <a:pt x="400" y="95"/>
                  </a:lnTo>
                  <a:lnTo>
                    <a:pt x="402" y="95"/>
                  </a:lnTo>
                  <a:lnTo>
                    <a:pt x="402" y="95"/>
                  </a:lnTo>
                  <a:lnTo>
                    <a:pt x="404" y="95"/>
                  </a:lnTo>
                  <a:lnTo>
                    <a:pt x="404" y="97"/>
                  </a:lnTo>
                  <a:lnTo>
                    <a:pt x="409" y="100"/>
                  </a:lnTo>
                  <a:lnTo>
                    <a:pt x="409" y="102"/>
                  </a:lnTo>
                  <a:lnTo>
                    <a:pt x="411" y="107"/>
                  </a:lnTo>
                  <a:lnTo>
                    <a:pt x="414" y="109"/>
                  </a:lnTo>
                  <a:lnTo>
                    <a:pt x="418" y="109"/>
                  </a:lnTo>
                  <a:lnTo>
                    <a:pt x="418" y="109"/>
                  </a:lnTo>
                  <a:lnTo>
                    <a:pt x="421" y="112"/>
                  </a:lnTo>
                  <a:lnTo>
                    <a:pt x="421" y="114"/>
                  </a:lnTo>
                  <a:lnTo>
                    <a:pt x="423" y="114"/>
                  </a:lnTo>
                  <a:lnTo>
                    <a:pt x="423" y="116"/>
                  </a:lnTo>
                  <a:lnTo>
                    <a:pt x="423" y="116"/>
                  </a:lnTo>
                  <a:lnTo>
                    <a:pt x="426" y="116"/>
                  </a:lnTo>
                  <a:lnTo>
                    <a:pt x="426" y="114"/>
                  </a:lnTo>
                  <a:lnTo>
                    <a:pt x="430" y="114"/>
                  </a:lnTo>
                  <a:lnTo>
                    <a:pt x="430" y="114"/>
                  </a:lnTo>
                  <a:lnTo>
                    <a:pt x="433" y="114"/>
                  </a:lnTo>
                  <a:lnTo>
                    <a:pt x="435" y="114"/>
                  </a:lnTo>
                  <a:lnTo>
                    <a:pt x="435" y="116"/>
                  </a:lnTo>
                  <a:lnTo>
                    <a:pt x="435" y="116"/>
                  </a:lnTo>
                  <a:lnTo>
                    <a:pt x="437" y="114"/>
                  </a:lnTo>
                  <a:lnTo>
                    <a:pt x="440" y="109"/>
                  </a:lnTo>
                  <a:lnTo>
                    <a:pt x="442" y="109"/>
                  </a:lnTo>
                  <a:lnTo>
                    <a:pt x="444" y="112"/>
                  </a:lnTo>
                  <a:lnTo>
                    <a:pt x="444" y="109"/>
                  </a:lnTo>
                  <a:lnTo>
                    <a:pt x="444" y="109"/>
                  </a:lnTo>
                  <a:lnTo>
                    <a:pt x="444" y="109"/>
                  </a:lnTo>
                  <a:lnTo>
                    <a:pt x="447" y="109"/>
                  </a:lnTo>
                  <a:lnTo>
                    <a:pt x="447" y="109"/>
                  </a:lnTo>
                  <a:lnTo>
                    <a:pt x="447" y="112"/>
                  </a:lnTo>
                  <a:lnTo>
                    <a:pt x="447" y="112"/>
                  </a:lnTo>
                  <a:lnTo>
                    <a:pt x="449" y="112"/>
                  </a:lnTo>
                  <a:lnTo>
                    <a:pt x="449" y="114"/>
                  </a:lnTo>
                  <a:lnTo>
                    <a:pt x="449" y="114"/>
                  </a:lnTo>
                  <a:lnTo>
                    <a:pt x="451" y="114"/>
                  </a:lnTo>
                  <a:lnTo>
                    <a:pt x="454" y="114"/>
                  </a:lnTo>
                  <a:lnTo>
                    <a:pt x="454" y="116"/>
                  </a:lnTo>
                  <a:lnTo>
                    <a:pt x="459" y="114"/>
                  </a:lnTo>
                  <a:lnTo>
                    <a:pt x="459" y="114"/>
                  </a:lnTo>
                  <a:lnTo>
                    <a:pt x="461" y="114"/>
                  </a:lnTo>
                  <a:lnTo>
                    <a:pt x="463" y="114"/>
                  </a:lnTo>
                  <a:lnTo>
                    <a:pt x="466" y="116"/>
                  </a:lnTo>
                  <a:lnTo>
                    <a:pt x="466" y="116"/>
                  </a:lnTo>
                  <a:lnTo>
                    <a:pt x="466" y="119"/>
                  </a:lnTo>
                  <a:lnTo>
                    <a:pt x="466" y="121"/>
                  </a:lnTo>
                  <a:lnTo>
                    <a:pt x="466" y="123"/>
                  </a:lnTo>
                  <a:lnTo>
                    <a:pt x="466" y="126"/>
                  </a:lnTo>
                  <a:lnTo>
                    <a:pt x="466" y="128"/>
                  </a:lnTo>
                  <a:lnTo>
                    <a:pt x="466" y="128"/>
                  </a:lnTo>
                  <a:lnTo>
                    <a:pt x="468" y="130"/>
                  </a:lnTo>
                  <a:lnTo>
                    <a:pt x="473" y="130"/>
                  </a:lnTo>
                  <a:lnTo>
                    <a:pt x="473" y="130"/>
                  </a:lnTo>
                  <a:lnTo>
                    <a:pt x="475" y="135"/>
                  </a:lnTo>
                  <a:lnTo>
                    <a:pt x="477" y="135"/>
                  </a:lnTo>
                  <a:lnTo>
                    <a:pt x="477" y="135"/>
                  </a:lnTo>
                  <a:lnTo>
                    <a:pt x="480" y="133"/>
                  </a:lnTo>
                  <a:lnTo>
                    <a:pt x="480" y="133"/>
                  </a:lnTo>
                  <a:lnTo>
                    <a:pt x="482" y="135"/>
                  </a:lnTo>
                  <a:lnTo>
                    <a:pt x="482" y="137"/>
                  </a:lnTo>
                  <a:lnTo>
                    <a:pt x="482" y="140"/>
                  </a:lnTo>
                  <a:lnTo>
                    <a:pt x="482" y="142"/>
                  </a:lnTo>
                  <a:lnTo>
                    <a:pt x="485" y="142"/>
                  </a:lnTo>
                  <a:lnTo>
                    <a:pt x="489" y="142"/>
                  </a:lnTo>
                  <a:lnTo>
                    <a:pt x="492" y="140"/>
                  </a:lnTo>
                  <a:lnTo>
                    <a:pt x="492" y="137"/>
                  </a:lnTo>
                  <a:lnTo>
                    <a:pt x="492" y="137"/>
                  </a:lnTo>
                  <a:lnTo>
                    <a:pt x="494" y="135"/>
                  </a:lnTo>
                  <a:lnTo>
                    <a:pt x="496" y="133"/>
                  </a:lnTo>
                  <a:lnTo>
                    <a:pt x="496" y="130"/>
                  </a:lnTo>
                  <a:lnTo>
                    <a:pt x="496" y="130"/>
                  </a:lnTo>
                  <a:lnTo>
                    <a:pt x="496" y="130"/>
                  </a:lnTo>
                  <a:lnTo>
                    <a:pt x="499" y="133"/>
                  </a:lnTo>
                  <a:lnTo>
                    <a:pt x="499" y="133"/>
                  </a:lnTo>
                  <a:lnTo>
                    <a:pt x="501" y="133"/>
                  </a:lnTo>
                  <a:lnTo>
                    <a:pt x="503" y="133"/>
                  </a:lnTo>
                  <a:lnTo>
                    <a:pt x="506" y="133"/>
                  </a:lnTo>
                  <a:lnTo>
                    <a:pt x="506" y="130"/>
                  </a:lnTo>
                  <a:lnTo>
                    <a:pt x="508" y="133"/>
                  </a:lnTo>
                  <a:lnTo>
                    <a:pt x="511" y="128"/>
                  </a:lnTo>
                  <a:lnTo>
                    <a:pt x="511" y="126"/>
                  </a:lnTo>
                  <a:lnTo>
                    <a:pt x="513" y="126"/>
                  </a:lnTo>
                  <a:lnTo>
                    <a:pt x="515" y="126"/>
                  </a:lnTo>
                  <a:lnTo>
                    <a:pt x="518" y="126"/>
                  </a:lnTo>
                  <a:lnTo>
                    <a:pt x="520" y="126"/>
                  </a:lnTo>
                  <a:lnTo>
                    <a:pt x="525" y="126"/>
                  </a:lnTo>
                  <a:lnTo>
                    <a:pt x="525" y="123"/>
                  </a:lnTo>
                  <a:lnTo>
                    <a:pt x="525" y="123"/>
                  </a:lnTo>
                  <a:lnTo>
                    <a:pt x="525" y="121"/>
                  </a:lnTo>
                  <a:lnTo>
                    <a:pt x="527" y="121"/>
                  </a:lnTo>
                  <a:lnTo>
                    <a:pt x="529" y="121"/>
                  </a:lnTo>
                  <a:lnTo>
                    <a:pt x="529" y="121"/>
                  </a:lnTo>
                  <a:lnTo>
                    <a:pt x="532" y="121"/>
                  </a:lnTo>
                  <a:lnTo>
                    <a:pt x="532" y="119"/>
                  </a:lnTo>
                  <a:lnTo>
                    <a:pt x="532" y="116"/>
                  </a:lnTo>
                  <a:lnTo>
                    <a:pt x="534" y="114"/>
                  </a:lnTo>
                  <a:lnTo>
                    <a:pt x="537" y="114"/>
                  </a:lnTo>
                  <a:lnTo>
                    <a:pt x="539" y="112"/>
                  </a:lnTo>
                  <a:lnTo>
                    <a:pt x="541" y="109"/>
                  </a:lnTo>
                  <a:lnTo>
                    <a:pt x="541" y="109"/>
                  </a:lnTo>
                  <a:lnTo>
                    <a:pt x="541" y="107"/>
                  </a:lnTo>
                  <a:lnTo>
                    <a:pt x="546" y="104"/>
                  </a:lnTo>
                  <a:lnTo>
                    <a:pt x="546" y="102"/>
                  </a:lnTo>
                  <a:lnTo>
                    <a:pt x="548" y="102"/>
                  </a:lnTo>
                  <a:lnTo>
                    <a:pt x="551" y="102"/>
                  </a:lnTo>
                  <a:lnTo>
                    <a:pt x="553" y="102"/>
                  </a:lnTo>
                  <a:lnTo>
                    <a:pt x="553" y="100"/>
                  </a:lnTo>
                  <a:lnTo>
                    <a:pt x="555" y="100"/>
                  </a:lnTo>
                  <a:lnTo>
                    <a:pt x="558" y="97"/>
                  </a:lnTo>
                  <a:lnTo>
                    <a:pt x="558" y="97"/>
                  </a:lnTo>
                  <a:lnTo>
                    <a:pt x="560" y="100"/>
                  </a:lnTo>
                  <a:lnTo>
                    <a:pt x="563" y="100"/>
                  </a:lnTo>
                  <a:lnTo>
                    <a:pt x="565" y="97"/>
                  </a:lnTo>
                  <a:lnTo>
                    <a:pt x="570" y="97"/>
                  </a:lnTo>
                  <a:lnTo>
                    <a:pt x="572" y="97"/>
                  </a:lnTo>
                  <a:lnTo>
                    <a:pt x="574" y="97"/>
                  </a:lnTo>
                  <a:lnTo>
                    <a:pt x="579" y="95"/>
                  </a:lnTo>
                  <a:lnTo>
                    <a:pt x="579" y="95"/>
                  </a:lnTo>
                  <a:lnTo>
                    <a:pt x="581" y="95"/>
                  </a:lnTo>
                  <a:lnTo>
                    <a:pt x="584" y="95"/>
                  </a:lnTo>
                  <a:lnTo>
                    <a:pt x="586" y="95"/>
                  </a:lnTo>
                  <a:lnTo>
                    <a:pt x="591" y="93"/>
                  </a:lnTo>
                  <a:lnTo>
                    <a:pt x="593" y="95"/>
                  </a:lnTo>
                  <a:lnTo>
                    <a:pt x="593" y="95"/>
                  </a:lnTo>
                  <a:lnTo>
                    <a:pt x="596" y="95"/>
                  </a:lnTo>
                  <a:lnTo>
                    <a:pt x="596" y="97"/>
                  </a:lnTo>
                  <a:lnTo>
                    <a:pt x="598" y="97"/>
                  </a:lnTo>
                  <a:lnTo>
                    <a:pt x="598" y="97"/>
                  </a:lnTo>
                  <a:lnTo>
                    <a:pt x="600" y="95"/>
                  </a:lnTo>
                  <a:lnTo>
                    <a:pt x="603" y="95"/>
                  </a:lnTo>
                  <a:lnTo>
                    <a:pt x="603" y="93"/>
                  </a:lnTo>
                  <a:lnTo>
                    <a:pt x="605" y="93"/>
                  </a:lnTo>
                  <a:lnTo>
                    <a:pt x="605" y="93"/>
                  </a:lnTo>
                  <a:lnTo>
                    <a:pt x="607" y="93"/>
                  </a:lnTo>
                  <a:lnTo>
                    <a:pt x="610" y="86"/>
                  </a:lnTo>
                  <a:lnTo>
                    <a:pt x="612" y="83"/>
                  </a:lnTo>
                  <a:lnTo>
                    <a:pt x="612" y="81"/>
                  </a:lnTo>
                  <a:lnTo>
                    <a:pt x="614" y="78"/>
                  </a:lnTo>
                  <a:lnTo>
                    <a:pt x="614" y="78"/>
                  </a:lnTo>
                  <a:lnTo>
                    <a:pt x="617" y="76"/>
                  </a:lnTo>
                  <a:lnTo>
                    <a:pt x="622" y="74"/>
                  </a:lnTo>
                  <a:lnTo>
                    <a:pt x="622" y="69"/>
                  </a:lnTo>
                  <a:lnTo>
                    <a:pt x="622" y="67"/>
                  </a:lnTo>
                  <a:lnTo>
                    <a:pt x="622" y="64"/>
                  </a:lnTo>
                  <a:lnTo>
                    <a:pt x="622" y="62"/>
                  </a:lnTo>
                  <a:lnTo>
                    <a:pt x="629" y="62"/>
                  </a:lnTo>
                  <a:lnTo>
                    <a:pt x="629" y="62"/>
                  </a:lnTo>
                  <a:lnTo>
                    <a:pt x="629" y="60"/>
                  </a:lnTo>
                  <a:lnTo>
                    <a:pt x="633" y="60"/>
                  </a:lnTo>
                  <a:lnTo>
                    <a:pt x="633" y="60"/>
                  </a:lnTo>
                  <a:lnTo>
                    <a:pt x="633" y="57"/>
                  </a:lnTo>
                  <a:lnTo>
                    <a:pt x="636" y="57"/>
                  </a:lnTo>
                  <a:lnTo>
                    <a:pt x="638" y="55"/>
                  </a:lnTo>
                  <a:lnTo>
                    <a:pt x="638" y="55"/>
                  </a:lnTo>
                  <a:lnTo>
                    <a:pt x="638" y="55"/>
                  </a:lnTo>
                  <a:lnTo>
                    <a:pt x="640" y="55"/>
                  </a:lnTo>
                  <a:lnTo>
                    <a:pt x="640" y="55"/>
                  </a:lnTo>
                  <a:lnTo>
                    <a:pt x="643" y="57"/>
                  </a:lnTo>
                  <a:lnTo>
                    <a:pt x="645" y="57"/>
                  </a:lnTo>
                  <a:lnTo>
                    <a:pt x="645" y="52"/>
                  </a:lnTo>
                  <a:lnTo>
                    <a:pt x="648" y="52"/>
                  </a:lnTo>
                  <a:lnTo>
                    <a:pt x="648" y="48"/>
                  </a:lnTo>
                  <a:lnTo>
                    <a:pt x="648" y="48"/>
                  </a:lnTo>
                  <a:lnTo>
                    <a:pt x="650" y="48"/>
                  </a:lnTo>
                  <a:lnTo>
                    <a:pt x="650" y="45"/>
                  </a:lnTo>
                  <a:lnTo>
                    <a:pt x="650" y="43"/>
                  </a:lnTo>
                  <a:lnTo>
                    <a:pt x="650" y="43"/>
                  </a:lnTo>
                  <a:lnTo>
                    <a:pt x="650" y="43"/>
                  </a:lnTo>
                  <a:lnTo>
                    <a:pt x="652" y="41"/>
                  </a:lnTo>
                  <a:lnTo>
                    <a:pt x="652" y="41"/>
                  </a:lnTo>
                  <a:lnTo>
                    <a:pt x="655" y="38"/>
                  </a:lnTo>
                  <a:lnTo>
                    <a:pt x="659" y="34"/>
                  </a:lnTo>
                  <a:lnTo>
                    <a:pt x="659" y="36"/>
                  </a:lnTo>
                  <a:lnTo>
                    <a:pt x="662" y="31"/>
                  </a:lnTo>
                  <a:lnTo>
                    <a:pt x="662" y="29"/>
                  </a:lnTo>
                  <a:lnTo>
                    <a:pt x="664" y="24"/>
                  </a:lnTo>
                  <a:lnTo>
                    <a:pt x="666" y="24"/>
                  </a:lnTo>
                  <a:lnTo>
                    <a:pt x="666" y="22"/>
                  </a:lnTo>
                  <a:lnTo>
                    <a:pt x="666" y="22"/>
                  </a:lnTo>
                  <a:lnTo>
                    <a:pt x="669" y="22"/>
                  </a:lnTo>
                  <a:lnTo>
                    <a:pt x="671" y="24"/>
                  </a:lnTo>
                  <a:lnTo>
                    <a:pt x="674" y="24"/>
                  </a:lnTo>
                  <a:lnTo>
                    <a:pt x="676" y="26"/>
                  </a:lnTo>
                  <a:lnTo>
                    <a:pt x="678" y="26"/>
                  </a:lnTo>
                  <a:lnTo>
                    <a:pt x="678" y="26"/>
                  </a:lnTo>
                  <a:lnTo>
                    <a:pt x="681" y="24"/>
                  </a:lnTo>
                  <a:lnTo>
                    <a:pt x="683" y="24"/>
                  </a:lnTo>
                  <a:lnTo>
                    <a:pt x="683" y="24"/>
                  </a:lnTo>
                  <a:lnTo>
                    <a:pt x="685" y="22"/>
                  </a:lnTo>
                  <a:lnTo>
                    <a:pt x="685" y="22"/>
                  </a:lnTo>
                  <a:lnTo>
                    <a:pt x="688" y="24"/>
                  </a:lnTo>
                  <a:lnTo>
                    <a:pt x="688" y="22"/>
                  </a:lnTo>
                  <a:lnTo>
                    <a:pt x="690" y="24"/>
                  </a:lnTo>
                  <a:lnTo>
                    <a:pt x="690" y="22"/>
                  </a:lnTo>
                  <a:lnTo>
                    <a:pt x="692" y="24"/>
                  </a:lnTo>
                  <a:lnTo>
                    <a:pt x="692" y="22"/>
                  </a:lnTo>
                  <a:lnTo>
                    <a:pt x="692" y="24"/>
                  </a:lnTo>
                  <a:lnTo>
                    <a:pt x="700" y="22"/>
                  </a:lnTo>
                  <a:lnTo>
                    <a:pt x="697" y="24"/>
                  </a:lnTo>
                  <a:lnTo>
                    <a:pt x="697" y="24"/>
                  </a:lnTo>
                  <a:lnTo>
                    <a:pt x="697" y="26"/>
                  </a:lnTo>
                  <a:lnTo>
                    <a:pt x="697" y="26"/>
                  </a:lnTo>
                  <a:lnTo>
                    <a:pt x="697" y="29"/>
                  </a:lnTo>
                  <a:lnTo>
                    <a:pt x="700" y="29"/>
                  </a:lnTo>
                  <a:lnTo>
                    <a:pt x="700" y="31"/>
                  </a:lnTo>
                  <a:lnTo>
                    <a:pt x="700" y="31"/>
                  </a:lnTo>
                  <a:lnTo>
                    <a:pt x="702" y="34"/>
                  </a:lnTo>
                  <a:lnTo>
                    <a:pt x="704" y="34"/>
                  </a:lnTo>
                  <a:lnTo>
                    <a:pt x="704" y="34"/>
                  </a:lnTo>
                  <a:lnTo>
                    <a:pt x="704" y="34"/>
                  </a:lnTo>
                  <a:lnTo>
                    <a:pt x="704" y="34"/>
                  </a:lnTo>
                  <a:lnTo>
                    <a:pt x="707" y="34"/>
                  </a:lnTo>
                  <a:lnTo>
                    <a:pt x="709" y="34"/>
                  </a:lnTo>
                  <a:lnTo>
                    <a:pt x="709" y="34"/>
                  </a:lnTo>
                  <a:lnTo>
                    <a:pt x="711" y="36"/>
                  </a:lnTo>
                  <a:lnTo>
                    <a:pt x="709" y="41"/>
                  </a:lnTo>
                  <a:lnTo>
                    <a:pt x="711" y="41"/>
                  </a:lnTo>
                  <a:lnTo>
                    <a:pt x="714" y="38"/>
                  </a:lnTo>
                  <a:lnTo>
                    <a:pt x="714" y="38"/>
                  </a:lnTo>
                  <a:lnTo>
                    <a:pt x="716" y="38"/>
                  </a:lnTo>
                  <a:lnTo>
                    <a:pt x="718" y="38"/>
                  </a:lnTo>
                  <a:lnTo>
                    <a:pt x="718" y="41"/>
                  </a:lnTo>
                  <a:lnTo>
                    <a:pt x="721" y="41"/>
                  </a:lnTo>
                  <a:lnTo>
                    <a:pt x="723" y="41"/>
                  </a:lnTo>
                  <a:lnTo>
                    <a:pt x="723" y="41"/>
                  </a:lnTo>
                  <a:lnTo>
                    <a:pt x="726" y="43"/>
                  </a:lnTo>
                  <a:lnTo>
                    <a:pt x="726" y="43"/>
                  </a:lnTo>
                  <a:lnTo>
                    <a:pt x="726" y="43"/>
                  </a:lnTo>
                  <a:lnTo>
                    <a:pt x="726" y="48"/>
                  </a:lnTo>
                  <a:lnTo>
                    <a:pt x="728" y="48"/>
                  </a:lnTo>
                  <a:lnTo>
                    <a:pt x="728" y="50"/>
                  </a:lnTo>
                  <a:lnTo>
                    <a:pt x="730" y="50"/>
                  </a:lnTo>
                  <a:lnTo>
                    <a:pt x="730" y="55"/>
                  </a:lnTo>
                  <a:lnTo>
                    <a:pt x="733" y="55"/>
                  </a:lnTo>
                  <a:lnTo>
                    <a:pt x="733" y="60"/>
                  </a:lnTo>
                  <a:lnTo>
                    <a:pt x="733" y="60"/>
                  </a:lnTo>
                  <a:lnTo>
                    <a:pt x="735" y="62"/>
                  </a:lnTo>
                  <a:lnTo>
                    <a:pt x="735" y="64"/>
                  </a:lnTo>
                  <a:lnTo>
                    <a:pt x="735" y="64"/>
                  </a:lnTo>
                  <a:lnTo>
                    <a:pt x="735" y="67"/>
                  </a:lnTo>
                  <a:lnTo>
                    <a:pt x="735" y="67"/>
                  </a:lnTo>
                  <a:lnTo>
                    <a:pt x="735" y="69"/>
                  </a:lnTo>
                  <a:lnTo>
                    <a:pt x="737" y="69"/>
                  </a:lnTo>
                  <a:lnTo>
                    <a:pt x="735" y="71"/>
                  </a:lnTo>
                  <a:lnTo>
                    <a:pt x="737" y="71"/>
                  </a:lnTo>
                  <a:lnTo>
                    <a:pt x="740" y="74"/>
                  </a:lnTo>
                  <a:lnTo>
                    <a:pt x="740" y="74"/>
                  </a:lnTo>
                  <a:lnTo>
                    <a:pt x="740" y="76"/>
                  </a:lnTo>
                  <a:lnTo>
                    <a:pt x="742" y="74"/>
                  </a:lnTo>
                  <a:lnTo>
                    <a:pt x="744" y="76"/>
                  </a:lnTo>
                  <a:lnTo>
                    <a:pt x="744" y="76"/>
                  </a:lnTo>
                  <a:lnTo>
                    <a:pt x="744" y="76"/>
                  </a:lnTo>
                  <a:lnTo>
                    <a:pt x="744" y="76"/>
                  </a:lnTo>
                  <a:lnTo>
                    <a:pt x="747" y="78"/>
                  </a:lnTo>
                  <a:lnTo>
                    <a:pt x="749" y="78"/>
                  </a:lnTo>
                  <a:lnTo>
                    <a:pt x="751" y="78"/>
                  </a:lnTo>
                  <a:lnTo>
                    <a:pt x="754" y="78"/>
                  </a:lnTo>
                  <a:lnTo>
                    <a:pt x="754" y="81"/>
                  </a:lnTo>
                  <a:lnTo>
                    <a:pt x="756" y="81"/>
                  </a:lnTo>
                  <a:lnTo>
                    <a:pt x="754" y="83"/>
                  </a:lnTo>
                  <a:lnTo>
                    <a:pt x="754" y="86"/>
                  </a:lnTo>
                  <a:lnTo>
                    <a:pt x="754" y="86"/>
                  </a:lnTo>
                  <a:lnTo>
                    <a:pt x="754" y="88"/>
                  </a:lnTo>
                  <a:lnTo>
                    <a:pt x="754" y="88"/>
                  </a:lnTo>
                  <a:lnTo>
                    <a:pt x="751" y="90"/>
                  </a:lnTo>
                  <a:lnTo>
                    <a:pt x="754" y="93"/>
                  </a:lnTo>
                  <a:lnTo>
                    <a:pt x="754" y="95"/>
                  </a:lnTo>
                  <a:lnTo>
                    <a:pt x="754" y="95"/>
                  </a:lnTo>
                  <a:lnTo>
                    <a:pt x="754" y="97"/>
                  </a:lnTo>
                  <a:lnTo>
                    <a:pt x="754" y="97"/>
                  </a:lnTo>
                  <a:lnTo>
                    <a:pt x="751" y="97"/>
                  </a:lnTo>
                  <a:lnTo>
                    <a:pt x="751" y="100"/>
                  </a:lnTo>
                  <a:lnTo>
                    <a:pt x="751" y="100"/>
                  </a:lnTo>
                  <a:lnTo>
                    <a:pt x="749" y="100"/>
                  </a:lnTo>
                  <a:lnTo>
                    <a:pt x="747" y="100"/>
                  </a:lnTo>
                  <a:lnTo>
                    <a:pt x="747" y="100"/>
                  </a:lnTo>
                  <a:lnTo>
                    <a:pt x="744" y="100"/>
                  </a:lnTo>
                  <a:lnTo>
                    <a:pt x="744" y="102"/>
                  </a:lnTo>
                  <a:lnTo>
                    <a:pt x="747" y="104"/>
                  </a:lnTo>
                  <a:lnTo>
                    <a:pt x="747" y="107"/>
                  </a:lnTo>
                  <a:lnTo>
                    <a:pt x="747" y="107"/>
                  </a:lnTo>
                  <a:lnTo>
                    <a:pt x="744" y="109"/>
                  </a:lnTo>
                  <a:lnTo>
                    <a:pt x="747" y="112"/>
                  </a:lnTo>
                  <a:lnTo>
                    <a:pt x="747" y="114"/>
                  </a:lnTo>
                  <a:lnTo>
                    <a:pt x="747" y="114"/>
                  </a:lnTo>
                  <a:lnTo>
                    <a:pt x="744" y="114"/>
                  </a:lnTo>
                  <a:lnTo>
                    <a:pt x="744" y="114"/>
                  </a:lnTo>
                  <a:lnTo>
                    <a:pt x="744" y="116"/>
                  </a:lnTo>
                  <a:lnTo>
                    <a:pt x="742" y="119"/>
                  </a:lnTo>
                  <a:lnTo>
                    <a:pt x="742" y="121"/>
                  </a:lnTo>
                  <a:lnTo>
                    <a:pt x="744" y="119"/>
                  </a:lnTo>
                  <a:lnTo>
                    <a:pt x="749" y="119"/>
                  </a:lnTo>
                  <a:lnTo>
                    <a:pt x="749" y="121"/>
                  </a:lnTo>
                  <a:lnTo>
                    <a:pt x="754" y="123"/>
                  </a:lnTo>
                  <a:lnTo>
                    <a:pt x="759" y="123"/>
                  </a:lnTo>
                  <a:lnTo>
                    <a:pt x="761" y="123"/>
                  </a:lnTo>
                  <a:lnTo>
                    <a:pt x="766" y="123"/>
                  </a:lnTo>
                  <a:lnTo>
                    <a:pt x="768" y="123"/>
                  </a:lnTo>
                  <a:lnTo>
                    <a:pt x="768" y="123"/>
                  </a:lnTo>
                  <a:lnTo>
                    <a:pt x="768" y="121"/>
                  </a:lnTo>
                  <a:lnTo>
                    <a:pt x="770" y="121"/>
                  </a:lnTo>
                  <a:lnTo>
                    <a:pt x="770" y="121"/>
                  </a:lnTo>
                  <a:lnTo>
                    <a:pt x="773" y="116"/>
                  </a:lnTo>
                  <a:lnTo>
                    <a:pt x="773" y="116"/>
                  </a:lnTo>
                  <a:lnTo>
                    <a:pt x="775" y="114"/>
                  </a:lnTo>
                  <a:lnTo>
                    <a:pt x="777" y="114"/>
                  </a:lnTo>
                  <a:lnTo>
                    <a:pt x="777" y="114"/>
                  </a:lnTo>
                  <a:lnTo>
                    <a:pt x="780" y="116"/>
                  </a:lnTo>
                  <a:lnTo>
                    <a:pt x="780" y="116"/>
                  </a:lnTo>
                  <a:lnTo>
                    <a:pt x="782" y="114"/>
                  </a:lnTo>
                  <a:lnTo>
                    <a:pt x="785" y="109"/>
                  </a:lnTo>
                  <a:lnTo>
                    <a:pt x="787" y="107"/>
                  </a:lnTo>
                  <a:lnTo>
                    <a:pt x="789" y="107"/>
                  </a:lnTo>
                  <a:lnTo>
                    <a:pt x="792" y="109"/>
                  </a:lnTo>
                  <a:lnTo>
                    <a:pt x="794" y="109"/>
                  </a:lnTo>
                  <a:lnTo>
                    <a:pt x="794" y="109"/>
                  </a:lnTo>
                  <a:lnTo>
                    <a:pt x="799" y="107"/>
                  </a:lnTo>
                  <a:lnTo>
                    <a:pt x="799" y="104"/>
                  </a:lnTo>
                  <a:lnTo>
                    <a:pt x="799" y="104"/>
                  </a:lnTo>
                  <a:lnTo>
                    <a:pt x="799" y="97"/>
                  </a:lnTo>
                  <a:lnTo>
                    <a:pt x="801" y="97"/>
                  </a:lnTo>
                  <a:lnTo>
                    <a:pt x="803" y="88"/>
                  </a:lnTo>
                  <a:lnTo>
                    <a:pt x="803" y="86"/>
                  </a:lnTo>
                  <a:lnTo>
                    <a:pt x="803" y="81"/>
                  </a:lnTo>
                  <a:lnTo>
                    <a:pt x="803" y="76"/>
                  </a:lnTo>
                  <a:lnTo>
                    <a:pt x="806" y="71"/>
                  </a:lnTo>
                  <a:lnTo>
                    <a:pt x="808" y="69"/>
                  </a:lnTo>
                  <a:lnTo>
                    <a:pt x="808" y="69"/>
                  </a:lnTo>
                  <a:lnTo>
                    <a:pt x="811" y="69"/>
                  </a:lnTo>
                  <a:lnTo>
                    <a:pt x="813" y="69"/>
                  </a:lnTo>
                  <a:lnTo>
                    <a:pt x="813" y="69"/>
                  </a:lnTo>
                  <a:lnTo>
                    <a:pt x="813" y="69"/>
                  </a:lnTo>
                  <a:lnTo>
                    <a:pt x="815" y="71"/>
                  </a:lnTo>
                  <a:lnTo>
                    <a:pt x="818" y="74"/>
                  </a:lnTo>
                  <a:lnTo>
                    <a:pt x="820" y="76"/>
                  </a:lnTo>
                  <a:lnTo>
                    <a:pt x="822" y="76"/>
                  </a:lnTo>
                  <a:lnTo>
                    <a:pt x="825" y="76"/>
                  </a:lnTo>
                  <a:lnTo>
                    <a:pt x="829" y="71"/>
                  </a:lnTo>
                  <a:lnTo>
                    <a:pt x="832" y="71"/>
                  </a:lnTo>
                  <a:lnTo>
                    <a:pt x="832" y="69"/>
                  </a:lnTo>
                  <a:lnTo>
                    <a:pt x="837" y="69"/>
                  </a:lnTo>
                  <a:lnTo>
                    <a:pt x="841" y="69"/>
                  </a:lnTo>
                  <a:lnTo>
                    <a:pt x="841" y="69"/>
                  </a:lnTo>
                  <a:lnTo>
                    <a:pt x="844" y="69"/>
                  </a:lnTo>
                  <a:lnTo>
                    <a:pt x="846" y="67"/>
                  </a:lnTo>
                  <a:lnTo>
                    <a:pt x="851" y="62"/>
                  </a:lnTo>
                  <a:lnTo>
                    <a:pt x="851" y="60"/>
                  </a:lnTo>
                  <a:lnTo>
                    <a:pt x="853" y="57"/>
                  </a:lnTo>
                  <a:lnTo>
                    <a:pt x="853" y="57"/>
                  </a:lnTo>
                  <a:lnTo>
                    <a:pt x="855" y="52"/>
                  </a:lnTo>
                  <a:lnTo>
                    <a:pt x="855" y="48"/>
                  </a:lnTo>
                  <a:lnTo>
                    <a:pt x="853" y="43"/>
                  </a:lnTo>
                  <a:lnTo>
                    <a:pt x="853" y="43"/>
                  </a:lnTo>
                  <a:lnTo>
                    <a:pt x="853" y="41"/>
                  </a:lnTo>
                  <a:lnTo>
                    <a:pt x="853" y="41"/>
                  </a:lnTo>
                  <a:lnTo>
                    <a:pt x="853" y="38"/>
                  </a:lnTo>
                  <a:lnTo>
                    <a:pt x="855" y="38"/>
                  </a:lnTo>
                  <a:lnTo>
                    <a:pt x="863" y="36"/>
                  </a:lnTo>
                  <a:lnTo>
                    <a:pt x="865" y="38"/>
                  </a:lnTo>
                  <a:lnTo>
                    <a:pt x="867" y="38"/>
                  </a:lnTo>
                  <a:lnTo>
                    <a:pt x="872" y="34"/>
                  </a:lnTo>
                  <a:lnTo>
                    <a:pt x="879" y="34"/>
                  </a:lnTo>
                  <a:lnTo>
                    <a:pt x="879" y="34"/>
                  </a:lnTo>
                  <a:lnTo>
                    <a:pt x="881" y="34"/>
                  </a:lnTo>
                  <a:lnTo>
                    <a:pt x="881" y="34"/>
                  </a:lnTo>
                  <a:lnTo>
                    <a:pt x="881" y="31"/>
                  </a:lnTo>
                  <a:lnTo>
                    <a:pt x="881" y="29"/>
                  </a:lnTo>
                  <a:lnTo>
                    <a:pt x="881" y="29"/>
                  </a:lnTo>
                  <a:lnTo>
                    <a:pt x="881" y="26"/>
                  </a:lnTo>
                  <a:lnTo>
                    <a:pt x="881" y="22"/>
                  </a:lnTo>
                  <a:lnTo>
                    <a:pt x="879" y="19"/>
                  </a:lnTo>
                  <a:lnTo>
                    <a:pt x="879" y="17"/>
                  </a:lnTo>
                  <a:lnTo>
                    <a:pt x="884" y="17"/>
                  </a:lnTo>
                  <a:lnTo>
                    <a:pt x="886" y="17"/>
                  </a:lnTo>
                  <a:lnTo>
                    <a:pt x="889" y="15"/>
                  </a:lnTo>
                  <a:lnTo>
                    <a:pt x="891" y="15"/>
                  </a:lnTo>
                  <a:lnTo>
                    <a:pt x="896" y="15"/>
                  </a:lnTo>
                  <a:lnTo>
                    <a:pt x="896" y="12"/>
                  </a:lnTo>
                  <a:lnTo>
                    <a:pt x="896" y="12"/>
                  </a:lnTo>
                  <a:lnTo>
                    <a:pt x="898" y="12"/>
                  </a:lnTo>
                  <a:lnTo>
                    <a:pt x="900" y="10"/>
                  </a:lnTo>
                  <a:lnTo>
                    <a:pt x="900" y="10"/>
                  </a:lnTo>
                  <a:lnTo>
                    <a:pt x="907" y="8"/>
                  </a:lnTo>
                  <a:lnTo>
                    <a:pt x="910" y="5"/>
                  </a:lnTo>
                  <a:lnTo>
                    <a:pt x="910" y="5"/>
                  </a:lnTo>
                  <a:lnTo>
                    <a:pt x="910" y="3"/>
                  </a:lnTo>
                  <a:lnTo>
                    <a:pt x="912" y="3"/>
                  </a:lnTo>
                  <a:lnTo>
                    <a:pt x="914" y="3"/>
                  </a:lnTo>
                  <a:lnTo>
                    <a:pt x="914" y="0"/>
                  </a:lnTo>
                  <a:lnTo>
                    <a:pt x="914" y="0"/>
                  </a:lnTo>
                  <a:lnTo>
                    <a:pt x="919" y="0"/>
                  </a:lnTo>
                  <a:lnTo>
                    <a:pt x="919" y="0"/>
                  </a:lnTo>
                  <a:lnTo>
                    <a:pt x="919" y="0"/>
                  </a:lnTo>
                  <a:lnTo>
                    <a:pt x="922" y="0"/>
                  </a:lnTo>
                  <a:lnTo>
                    <a:pt x="922" y="3"/>
                  </a:lnTo>
                  <a:lnTo>
                    <a:pt x="924" y="3"/>
                  </a:lnTo>
                  <a:lnTo>
                    <a:pt x="926" y="3"/>
                  </a:lnTo>
                  <a:lnTo>
                    <a:pt x="929" y="3"/>
                  </a:lnTo>
                  <a:lnTo>
                    <a:pt x="931" y="3"/>
                  </a:lnTo>
                  <a:lnTo>
                    <a:pt x="931" y="5"/>
                  </a:lnTo>
                  <a:lnTo>
                    <a:pt x="933" y="5"/>
                  </a:lnTo>
                  <a:lnTo>
                    <a:pt x="933" y="8"/>
                  </a:lnTo>
                  <a:lnTo>
                    <a:pt x="933" y="8"/>
                  </a:lnTo>
                  <a:lnTo>
                    <a:pt x="933" y="10"/>
                  </a:lnTo>
                  <a:lnTo>
                    <a:pt x="936" y="12"/>
                  </a:lnTo>
                  <a:lnTo>
                    <a:pt x="936" y="12"/>
                  </a:lnTo>
                  <a:lnTo>
                    <a:pt x="936" y="15"/>
                  </a:lnTo>
                  <a:lnTo>
                    <a:pt x="936" y="15"/>
                  </a:lnTo>
                  <a:lnTo>
                    <a:pt x="936" y="19"/>
                  </a:lnTo>
                  <a:lnTo>
                    <a:pt x="936" y="19"/>
                  </a:lnTo>
                  <a:lnTo>
                    <a:pt x="936" y="22"/>
                  </a:lnTo>
                  <a:lnTo>
                    <a:pt x="938" y="22"/>
                  </a:lnTo>
                  <a:lnTo>
                    <a:pt x="938" y="24"/>
                  </a:lnTo>
                  <a:lnTo>
                    <a:pt x="938" y="24"/>
                  </a:lnTo>
                  <a:lnTo>
                    <a:pt x="938" y="22"/>
                  </a:lnTo>
                  <a:lnTo>
                    <a:pt x="943" y="24"/>
                  </a:lnTo>
                  <a:lnTo>
                    <a:pt x="945" y="22"/>
                  </a:lnTo>
                  <a:lnTo>
                    <a:pt x="945" y="22"/>
                  </a:lnTo>
                  <a:lnTo>
                    <a:pt x="945" y="22"/>
                  </a:lnTo>
                  <a:lnTo>
                    <a:pt x="948" y="22"/>
                  </a:lnTo>
                  <a:lnTo>
                    <a:pt x="948" y="24"/>
                  </a:lnTo>
                  <a:lnTo>
                    <a:pt x="952" y="24"/>
                  </a:lnTo>
                  <a:lnTo>
                    <a:pt x="955" y="24"/>
                  </a:lnTo>
                  <a:lnTo>
                    <a:pt x="959" y="26"/>
                  </a:lnTo>
                  <a:lnTo>
                    <a:pt x="962" y="26"/>
                  </a:lnTo>
                  <a:lnTo>
                    <a:pt x="964" y="26"/>
                  </a:lnTo>
                  <a:lnTo>
                    <a:pt x="964" y="29"/>
                  </a:lnTo>
                  <a:lnTo>
                    <a:pt x="969" y="31"/>
                  </a:lnTo>
                  <a:lnTo>
                    <a:pt x="971" y="34"/>
                  </a:lnTo>
                  <a:lnTo>
                    <a:pt x="971" y="34"/>
                  </a:lnTo>
                  <a:lnTo>
                    <a:pt x="974" y="36"/>
                  </a:lnTo>
                  <a:lnTo>
                    <a:pt x="974" y="36"/>
                  </a:lnTo>
                  <a:lnTo>
                    <a:pt x="974" y="36"/>
                  </a:lnTo>
                  <a:lnTo>
                    <a:pt x="978" y="34"/>
                  </a:lnTo>
                  <a:lnTo>
                    <a:pt x="983" y="34"/>
                  </a:lnTo>
                  <a:lnTo>
                    <a:pt x="983" y="34"/>
                  </a:lnTo>
                  <a:lnTo>
                    <a:pt x="985" y="34"/>
                  </a:lnTo>
                  <a:lnTo>
                    <a:pt x="992" y="34"/>
                  </a:lnTo>
                  <a:lnTo>
                    <a:pt x="992" y="34"/>
                  </a:lnTo>
                  <a:lnTo>
                    <a:pt x="992" y="34"/>
                  </a:lnTo>
                  <a:lnTo>
                    <a:pt x="997" y="38"/>
                  </a:lnTo>
                  <a:lnTo>
                    <a:pt x="1000" y="41"/>
                  </a:lnTo>
                  <a:lnTo>
                    <a:pt x="1002" y="41"/>
                  </a:lnTo>
                  <a:lnTo>
                    <a:pt x="1004" y="43"/>
                  </a:lnTo>
                  <a:lnTo>
                    <a:pt x="1007" y="45"/>
                  </a:lnTo>
                  <a:lnTo>
                    <a:pt x="1007" y="50"/>
                  </a:lnTo>
                  <a:lnTo>
                    <a:pt x="1007" y="52"/>
                  </a:lnTo>
                  <a:lnTo>
                    <a:pt x="1007" y="55"/>
                  </a:lnTo>
                  <a:lnTo>
                    <a:pt x="1009" y="57"/>
                  </a:lnTo>
                  <a:lnTo>
                    <a:pt x="1011" y="60"/>
                  </a:lnTo>
                  <a:lnTo>
                    <a:pt x="1014" y="60"/>
                  </a:lnTo>
                  <a:lnTo>
                    <a:pt x="1016" y="60"/>
                  </a:lnTo>
                  <a:lnTo>
                    <a:pt x="1016" y="55"/>
                  </a:lnTo>
                  <a:lnTo>
                    <a:pt x="1016" y="48"/>
                  </a:lnTo>
                  <a:lnTo>
                    <a:pt x="1018" y="45"/>
                  </a:lnTo>
                  <a:lnTo>
                    <a:pt x="1021" y="38"/>
                  </a:lnTo>
                  <a:lnTo>
                    <a:pt x="1026" y="38"/>
                  </a:lnTo>
                  <a:lnTo>
                    <a:pt x="1030" y="38"/>
                  </a:lnTo>
                  <a:lnTo>
                    <a:pt x="1033" y="41"/>
                  </a:lnTo>
                  <a:lnTo>
                    <a:pt x="1035" y="43"/>
                  </a:lnTo>
                  <a:lnTo>
                    <a:pt x="1035" y="48"/>
                  </a:lnTo>
                  <a:lnTo>
                    <a:pt x="1033" y="48"/>
                  </a:lnTo>
                  <a:lnTo>
                    <a:pt x="1030" y="50"/>
                  </a:lnTo>
                  <a:lnTo>
                    <a:pt x="1028" y="52"/>
                  </a:lnTo>
                  <a:lnTo>
                    <a:pt x="1028" y="52"/>
                  </a:lnTo>
                  <a:lnTo>
                    <a:pt x="1028" y="52"/>
                  </a:lnTo>
                  <a:lnTo>
                    <a:pt x="1028" y="55"/>
                  </a:lnTo>
                  <a:lnTo>
                    <a:pt x="1028" y="57"/>
                  </a:lnTo>
                  <a:lnTo>
                    <a:pt x="1030" y="60"/>
                  </a:lnTo>
                  <a:lnTo>
                    <a:pt x="1033" y="62"/>
                  </a:lnTo>
                  <a:lnTo>
                    <a:pt x="1037" y="64"/>
                  </a:lnTo>
                  <a:lnTo>
                    <a:pt x="1037" y="64"/>
                  </a:lnTo>
                  <a:lnTo>
                    <a:pt x="1040" y="67"/>
                  </a:lnTo>
                  <a:lnTo>
                    <a:pt x="1042" y="67"/>
                  </a:lnTo>
                  <a:lnTo>
                    <a:pt x="1044" y="64"/>
                  </a:lnTo>
                  <a:lnTo>
                    <a:pt x="1049" y="60"/>
                  </a:lnTo>
                  <a:lnTo>
                    <a:pt x="1049" y="60"/>
                  </a:lnTo>
                  <a:lnTo>
                    <a:pt x="1052" y="60"/>
                  </a:lnTo>
                  <a:lnTo>
                    <a:pt x="1054" y="60"/>
                  </a:lnTo>
                  <a:lnTo>
                    <a:pt x="1054" y="62"/>
                  </a:lnTo>
                  <a:lnTo>
                    <a:pt x="1056" y="64"/>
                  </a:lnTo>
                  <a:lnTo>
                    <a:pt x="1056" y="67"/>
                  </a:lnTo>
                  <a:lnTo>
                    <a:pt x="1056" y="67"/>
                  </a:lnTo>
                  <a:lnTo>
                    <a:pt x="1056" y="69"/>
                  </a:lnTo>
                  <a:lnTo>
                    <a:pt x="1054" y="69"/>
                  </a:lnTo>
                  <a:lnTo>
                    <a:pt x="1054" y="71"/>
                  </a:lnTo>
                  <a:lnTo>
                    <a:pt x="1054" y="74"/>
                  </a:lnTo>
                  <a:lnTo>
                    <a:pt x="1056" y="74"/>
                  </a:lnTo>
                  <a:lnTo>
                    <a:pt x="1054" y="76"/>
                  </a:lnTo>
                  <a:lnTo>
                    <a:pt x="1054" y="78"/>
                  </a:lnTo>
                  <a:lnTo>
                    <a:pt x="1054" y="81"/>
                  </a:lnTo>
                  <a:lnTo>
                    <a:pt x="1056" y="81"/>
                  </a:lnTo>
                  <a:lnTo>
                    <a:pt x="1056" y="83"/>
                  </a:lnTo>
                  <a:lnTo>
                    <a:pt x="1059" y="88"/>
                  </a:lnTo>
                  <a:lnTo>
                    <a:pt x="1059" y="90"/>
                  </a:lnTo>
                  <a:lnTo>
                    <a:pt x="1063" y="100"/>
                  </a:lnTo>
                  <a:lnTo>
                    <a:pt x="1063" y="104"/>
                  </a:lnTo>
                  <a:lnTo>
                    <a:pt x="1068" y="107"/>
                  </a:lnTo>
                  <a:lnTo>
                    <a:pt x="1068" y="109"/>
                  </a:lnTo>
                  <a:lnTo>
                    <a:pt x="1070" y="112"/>
                  </a:lnTo>
                  <a:lnTo>
                    <a:pt x="1070" y="114"/>
                  </a:lnTo>
                  <a:lnTo>
                    <a:pt x="1068" y="114"/>
                  </a:lnTo>
                  <a:lnTo>
                    <a:pt x="1068" y="116"/>
                  </a:lnTo>
                  <a:lnTo>
                    <a:pt x="1070" y="116"/>
                  </a:lnTo>
                  <a:lnTo>
                    <a:pt x="1073" y="116"/>
                  </a:lnTo>
                  <a:lnTo>
                    <a:pt x="1075" y="119"/>
                  </a:lnTo>
                  <a:lnTo>
                    <a:pt x="1075" y="119"/>
                  </a:lnTo>
                  <a:lnTo>
                    <a:pt x="1080" y="119"/>
                  </a:lnTo>
                  <a:lnTo>
                    <a:pt x="1080" y="119"/>
                  </a:lnTo>
                  <a:lnTo>
                    <a:pt x="1080" y="119"/>
                  </a:lnTo>
                  <a:lnTo>
                    <a:pt x="1085" y="119"/>
                  </a:lnTo>
                  <a:lnTo>
                    <a:pt x="1085" y="119"/>
                  </a:lnTo>
                  <a:lnTo>
                    <a:pt x="1085" y="121"/>
                  </a:lnTo>
                  <a:lnTo>
                    <a:pt x="1085" y="121"/>
                  </a:lnTo>
                  <a:lnTo>
                    <a:pt x="1087" y="121"/>
                  </a:lnTo>
                  <a:lnTo>
                    <a:pt x="1089" y="123"/>
                  </a:lnTo>
                  <a:lnTo>
                    <a:pt x="1089" y="123"/>
                  </a:lnTo>
                  <a:lnTo>
                    <a:pt x="1092" y="123"/>
                  </a:lnTo>
                  <a:lnTo>
                    <a:pt x="1092" y="123"/>
                  </a:lnTo>
                  <a:lnTo>
                    <a:pt x="1094" y="126"/>
                  </a:lnTo>
                  <a:lnTo>
                    <a:pt x="1094" y="128"/>
                  </a:lnTo>
                  <a:lnTo>
                    <a:pt x="1092" y="130"/>
                  </a:lnTo>
                  <a:lnTo>
                    <a:pt x="1092" y="130"/>
                  </a:lnTo>
                  <a:lnTo>
                    <a:pt x="1092" y="133"/>
                  </a:lnTo>
                  <a:lnTo>
                    <a:pt x="1092" y="133"/>
                  </a:lnTo>
                  <a:lnTo>
                    <a:pt x="1092" y="133"/>
                  </a:lnTo>
                  <a:lnTo>
                    <a:pt x="1092" y="135"/>
                  </a:lnTo>
                  <a:lnTo>
                    <a:pt x="1092" y="135"/>
                  </a:lnTo>
                  <a:lnTo>
                    <a:pt x="1092" y="135"/>
                  </a:lnTo>
                  <a:lnTo>
                    <a:pt x="1089" y="135"/>
                  </a:lnTo>
                  <a:lnTo>
                    <a:pt x="1089" y="135"/>
                  </a:lnTo>
                  <a:lnTo>
                    <a:pt x="1089" y="137"/>
                  </a:lnTo>
                  <a:lnTo>
                    <a:pt x="1089" y="140"/>
                  </a:lnTo>
                  <a:lnTo>
                    <a:pt x="1089" y="142"/>
                  </a:lnTo>
                  <a:lnTo>
                    <a:pt x="1092" y="142"/>
                  </a:lnTo>
                  <a:lnTo>
                    <a:pt x="1092" y="142"/>
                  </a:lnTo>
                  <a:lnTo>
                    <a:pt x="1094" y="145"/>
                  </a:lnTo>
                  <a:lnTo>
                    <a:pt x="1094" y="145"/>
                  </a:lnTo>
                  <a:lnTo>
                    <a:pt x="1096" y="145"/>
                  </a:lnTo>
                  <a:lnTo>
                    <a:pt x="1094" y="147"/>
                  </a:lnTo>
                  <a:lnTo>
                    <a:pt x="1094" y="147"/>
                  </a:lnTo>
                  <a:lnTo>
                    <a:pt x="1094" y="147"/>
                  </a:lnTo>
                  <a:lnTo>
                    <a:pt x="1092" y="149"/>
                  </a:lnTo>
                  <a:lnTo>
                    <a:pt x="1092" y="149"/>
                  </a:lnTo>
                  <a:lnTo>
                    <a:pt x="1089" y="152"/>
                  </a:lnTo>
                  <a:lnTo>
                    <a:pt x="1089" y="152"/>
                  </a:lnTo>
                  <a:lnTo>
                    <a:pt x="1089" y="152"/>
                  </a:lnTo>
                  <a:lnTo>
                    <a:pt x="1089" y="154"/>
                  </a:lnTo>
                  <a:lnTo>
                    <a:pt x="1089" y="156"/>
                  </a:lnTo>
                  <a:lnTo>
                    <a:pt x="1089" y="159"/>
                  </a:lnTo>
                  <a:lnTo>
                    <a:pt x="1092" y="163"/>
                  </a:lnTo>
                  <a:lnTo>
                    <a:pt x="1092" y="163"/>
                  </a:lnTo>
                  <a:lnTo>
                    <a:pt x="1092" y="163"/>
                  </a:lnTo>
                  <a:lnTo>
                    <a:pt x="1094" y="166"/>
                  </a:lnTo>
                  <a:lnTo>
                    <a:pt x="1096" y="168"/>
                  </a:lnTo>
                  <a:lnTo>
                    <a:pt x="1099" y="168"/>
                  </a:lnTo>
                  <a:lnTo>
                    <a:pt x="1099" y="168"/>
                  </a:lnTo>
                  <a:lnTo>
                    <a:pt x="1099" y="171"/>
                  </a:lnTo>
                  <a:lnTo>
                    <a:pt x="1096" y="171"/>
                  </a:lnTo>
                  <a:lnTo>
                    <a:pt x="1099" y="173"/>
                  </a:lnTo>
                  <a:lnTo>
                    <a:pt x="1099" y="173"/>
                  </a:lnTo>
                  <a:lnTo>
                    <a:pt x="1096" y="175"/>
                  </a:lnTo>
                  <a:lnTo>
                    <a:pt x="1096" y="178"/>
                  </a:lnTo>
                  <a:lnTo>
                    <a:pt x="1094" y="180"/>
                  </a:lnTo>
                  <a:lnTo>
                    <a:pt x="1094" y="180"/>
                  </a:lnTo>
                  <a:lnTo>
                    <a:pt x="1096" y="182"/>
                  </a:lnTo>
                  <a:lnTo>
                    <a:pt x="1099" y="187"/>
                  </a:lnTo>
                  <a:lnTo>
                    <a:pt x="1099" y="187"/>
                  </a:lnTo>
                  <a:lnTo>
                    <a:pt x="1101" y="187"/>
                  </a:lnTo>
                  <a:lnTo>
                    <a:pt x="1101" y="187"/>
                  </a:lnTo>
                  <a:lnTo>
                    <a:pt x="1103" y="187"/>
                  </a:lnTo>
                  <a:lnTo>
                    <a:pt x="1103" y="189"/>
                  </a:lnTo>
                  <a:lnTo>
                    <a:pt x="1103" y="189"/>
                  </a:lnTo>
                  <a:lnTo>
                    <a:pt x="1106" y="189"/>
                  </a:lnTo>
                  <a:lnTo>
                    <a:pt x="1108" y="189"/>
                  </a:lnTo>
                  <a:lnTo>
                    <a:pt x="1111" y="189"/>
                  </a:lnTo>
                  <a:lnTo>
                    <a:pt x="1115" y="192"/>
                  </a:lnTo>
                  <a:lnTo>
                    <a:pt x="1118" y="194"/>
                  </a:lnTo>
                  <a:lnTo>
                    <a:pt x="1118" y="197"/>
                  </a:lnTo>
                  <a:lnTo>
                    <a:pt x="1118" y="197"/>
                  </a:lnTo>
                  <a:lnTo>
                    <a:pt x="1118" y="199"/>
                  </a:lnTo>
                  <a:lnTo>
                    <a:pt x="1120" y="206"/>
                  </a:lnTo>
                  <a:lnTo>
                    <a:pt x="1122" y="208"/>
                  </a:lnTo>
                  <a:lnTo>
                    <a:pt x="1122" y="211"/>
                  </a:lnTo>
                  <a:lnTo>
                    <a:pt x="1122" y="215"/>
                  </a:lnTo>
                  <a:lnTo>
                    <a:pt x="1122" y="215"/>
                  </a:lnTo>
                  <a:lnTo>
                    <a:pt x="1125" y="218"/>
                  </a:lnTo>
                  <a:lnTo>
                    <a:pt x="1127" y="234"/>
                  </a:lnTo>
                  <a:lnTo>
                    <a:pt x="1127" y="234"/>
                  </a:lnTo>
                  <a:lnTo>
                    <a:pt x="1127" y="234"/>
                  </a:lnTo>
                  <a:lnTo>
                    <a:pt x="1125" y="237"/>
                  </a:lnTo>
                  <a:lnTo>
                    <a:pt x="1122" y="237"/>
                  </a:lnTo>
                  <a:lnTo>
                    <a:pt x="1120" y="237"/>
                  </a:lnTo>
                  <a:lnTo>
                    <a:pt x="1118" y="239"/>
                  </a:lnTo>
                  <a:lnTo>
                    <a:pt x="1118" y="239"/>
                  </a:lnTo>
                  <a:lnTo>
                    <a:pt x="1118" y="241"/>
                  </a:lnTo>
                  <a:lnTo>
                    <a:pt x="1118" y="241"/>
                  </a:lnTo>
                  <a:lnTo>
                    <a:pt x="1115" y="241"/>
                  </a:lnTo>
                  <a:lnTo>
                    <a:pt x="1115" y="241"/>
                  </a:lnTo>
                  <a:lnTo>
                    <a:pt x="1115" y="241"/>
                  </a:lnTo>
                  <a:lnTo>
                    <a:pt x="1113" y="244"/>
                  </a:lnTo>
                  <a:lnTo>
                    <a:pt x="1113" y="244"/>
                  </a:lnTo>
                  <a:lnTo>
                    <a:pt x="1115" y="244"/>
                  </a:lnTo>
                  <a:lnTo>
                    <a:pt x="1113" y="244"/>
                  </a:lnTo>
                  <a:lnTo>
                    <a:pt x="1113" y="246"/>
                  </a:lnTo>
                  <a:lnTo>
                    <a:pt x="1113" y="246"/>
                  </a:lnTo>
                  <a:lnTo>
                    <a:pt x="1118" y="256"/>
                  </a:lnTo>
                  <a:lnTo>
                    <a:pt x="1118" y="258"/>
                  </a:lnTo>
                  <a:lnTo>
                    <a:pt x="1118" y="258"/>
                  </a:lnTo>
                  <a:lnTo>
                    <a:pt x="1118" y="260"/>
                  </a:lnTo>
                  <a:lnTo>
                    <a:pt x="1118" y="260"/>
                  </a:lnTo>
                  <a:lnTo>
                    <a:pt x="1118" y="263"/>
                  </a:lnTo>
                  <a:lnTo>
                    <a:pt x="1118" y="263"/>
                  </a:lnTo>
                  <a:lnTo>
                    <a:pt x="1115" y="263"/>
                  </a:lnTo>
                  <a:lnTo>
                    <a:pt x="1115" y="263"/>
                  </a:lnTo>
                  <a:lnTo>
                    <a:pt x="1113" y="263"/>
                  </a:lnTo>
                  <a:lnTo>
                    <a:pt x="1113" y="265"/>
                  </a:lnTo>
                  <a:lnTo>
                    <a:pt x="1115" y="265"/>
                  </a:lnTo>
                  <a:lnTo>
                    <a:pt x="1115" y="265"/>
                  </a:lnTo>
                  <a:lnTo>
                    <a:pt x="1115" y="267"/>
                  </a:lnTo>
                  <a:lnTo>
                    <a:pt x="1115" y="267"/>
                  </a:lnTo>
                  <a:lnTo>
                    <a:pt x="1118" y="282"/>
                  </a:lnTo>
                  <a:lnTo>
                    <a:pt x="1101" y="289"/>
                  </a:lnTo>
                  <a:lnTo>
                    <a:pt x="1099" y="291"/>
                  </a:lnTo>
                  <a:lnTo>
                    <a:pt x="1094" y="291"/>
                  </a:lnTo>
                  <a:lnTo>
                    <a:pt x="1092" y="291"/>
                  </a:lnTo>
                  <a:lnTo>
                    <a:pt x="1092" y="289"/>
                  </a:lnTo>
                  <a:lnTo>
                    <a:pt x="1092" y="289"/>
                  </a:lnTo>
                  <a:lnTo>
                    <a:pt x="1089" y="286"/>
                  </a:lnTo>
                  <a:lnTo>
                    <a:pt x="1089" y="286"/>
                  </a:lnTo>
                  <a:lnTo>
                    <a:pt x="1087" y="284"/>
                  </a:lnTo>
                  <a:lnTo>
                    <a:pt x="1087" y="284"/>
                  </a:lnTo>
                  <a:lnTo>
                    <a:pt x="1085" y="286"/>
                  </a:lnTo>
                  <a:lnTo>
                    <a:pt x="1082" y="284"/>
                  </a:lnTo>
                  <a:lnTo>
                    <a:pt x="1082" y="284"/>
                  </a:lnTo>
                  <a:lnTo>
                    <a:pt x="1080" y="286"/>
                  </a:lnTo>
                  <a:lnTo>
                    <a:pt x="1080" y="284"/>
                  </a:lnTo>
                  <a:lnTo>
                    <a:pt x="1077" y="286"/>
                  </a:lnTo>
                  <a:lnTo>
                    <a:pt x="1075" y="286"/>
                  </a:lnTo>
                  <a:lnTo>
                    <a:pt x="1075" y="286"/>
                  </a:lnTo>
                  <a:lnTo>
                    <a:pt x="1073" y="286"/>
                  </a:lnTo>
                  <a:lnTo>
                    <a:pt x="1073" y="286"/>
                  </a:lnTo>
                  <a:lnTo>
                    <a:pt x="1070" y="284"/>
                  </a:lnTo>
                  <a:lnTo>
                    <a:pt x="1068" y="284"/>
                  </a:lnTo>
                  <a:lnTo>
                    <a:pt x="1068" y="284"/>
                  </a:lnTo>
                  <a:lnTo>
                    <a:pt x="1066" y="286"/>
                  </a:lnTo>
                  <a:lnTo>
                    <a:pt x="1066" y="289"/>
                  </a:lnTo>
                  <a:lnTo>
                    <a:pt x="1066" y="289"/>
                  </a:lnTo>
                  <a:lnTo>
                    <a:pt x="1066" y="291"/>
                  </a:lnTo>
                  <a:lnTo>
                    <a:pt x="1066" y="293"/>
                  </a:lnTo>
                  <a:lnTo>
                    <a:pt x="1066" y="296"/>
                  </a:lnTo>
                  <a:lnTo>
                    <a:pt x="1063" y="296"/>
                  </a:lnTo>
                  <a:lnTo>
                    <a:pt x="1063" y="296"/>
                  </a:lnTo>
                  <a:lnTo>
                    <a:pt x="1063" y="298"/>
                  </a:lnTo>
                  <a:lnTo>
                    <a:pt x="1063" y="300"/>
                  </a:lnTo>
                  <a:lnTo>
                    <a:pt x="1063" y="300"/>
                  </a:lnTo>
                  <a:lnTo>
                    <a:pt x="1066" y="303"/>
                  </a:lnTo>
                  <a:lnTo>
                    <a:pt x="1063" y="303"/>
                  </a:lnTo>
                  <a:lnTo>
                    <a:pt x="1063" y="305"/>
                  </a:lnTo>
                  <a:lnTo>
                    <a:pt x="1063" y="308"/>
                  </a:lnTo>
                  <a:lnTo>
                    <a:pt x="1066" y="310"/>
                  </a:lnTo>
                  <a:lnTo>
                    <a:pt x="1066" y="312"/>
                  </a:lnTo>
                  <a:lnTo>
                    <a:pt x="1066" y="312"/>
                  </a:lnTo>
                  <a:lnTo>
                    <a:pt x="1066" y="315"/>
                  </a:lnTo>
                  <a:lnTo>
                    <a:pt x="1068" y="312"/>
                  </a:lnTo>
                  <a:lnTo>
                    <a:pt x="1068" y="312"/>
                  </a:lnTo>
                  <a:lnTo>
                    <a:pt x="1068" y="315"/>
                  </a:lnTo>
                  <a:lnTo>
                    <a:pt x="1070" y="315"/>
                  </a:lnTo>
                  <a:lnTo>
                    <a:pt x="1070" y="317"/>
                  </a:lnTo>
                  <a:lnTo>
                    <a:pt x="1070" y="317"/>
                  </a:lnTo>
                  <a:lnTo>
                    <a:pt x="1070" y="319"/>
                  </a:lnTo>
                  <a:lnTo>
                    <a:pt x="1073" y="319"/>
                  </a:lnTo>
                  <a:lnTo>
                    <a:pt x="1075" y="322"/>
                  </a:lnTo>
                  <a:lnTo>
                    <a:pt x="1075" y="324"/>
                  </a:lnTo>
                  <a:lnTo>
                    <a:pt x="1077" y="324"/>
                  </a:lnTo>
                  <a:lnTo>
                    <a:pt x="1077" y="324"/>
                  </a:lnTo>
                  <a:lnTo>
                    <a:pt x="1077" y="324"/>
                  </a:lnTo>
                  <a:lnTo>
                    <a:pt x="1080" y="324"/>
                  </a:lnTo>
                  <a:lnTo>
                    <a:pt x="1080" y="324"/>
                  </a:lnTo>
                  <a:lnTo>
                    <a:pt x="1080" y="326"/>
                  </a:lnTo>
                  <a:lnTo>
                    <a:pt x="1082" y="326"/>
                  </a:lnTo>
                  <a:lnTo>
                    <a:pt x="1080" y="326"/>
                  </a:lnTo>
                  <a:lnTo>
                    <a:pt x="1080" y="329"/>
                  </a:lnTo>
                  <a:lnTo>
                    <a:pt x="1082" y="329"/>
                  </a:lnTo>
                  <a:lnTo>
                    <a:pt x="1082" y="329"/>
                  </a:lnTo>
                  <a:lnTo>
                    <a:pt x="1082" y="329"/>
                  </a:lnTo>
                  <a:lnTo>
                    <a:pt x="1082" y="329"/>
                  </a:lnTo>
                  <a:lnTo>
                    <a:pt x="1082" y="331"/>
                  </a:lnTo>
                  <a:lnTo>
                    <a:pt x="1085" y="331"/>
                  </a:lnTo>
                  <a:lnTo>
                    <a:pt x="1085" y="334"/>
                  </a:lnTo>
                  <a:lnTo>
                    <a:pt x="1082" y="336"/>
                  </a:lnTo>
                  <a:lnTo>
                    <a:pt x="1082" y="336"/>
                  </a:lnTo>
                  <a:lnTo>
                    <a:pt x="1082" y="336"/>
                  </a:lnTo>
                  <a:lnTo>
                    <a:pt x="1082" y="338"/>
                  </a:lnTo>
                  <a:lnTo>
                    <a:pt x="1085" y="338"/>
                  </a:lnTo>
                  <a:lnTo>
                    <a:pt x="1085" y="338"/>
                  </a:lnTo>
                  <a:lnTo>
                    <a:pt x="1085" y="338"/>
                  </a:lnTo>
                  <a:lnTo>
                    <a:pt x="1085" y="341"/>
                  </a:lnTo>
                  <a:lnTo>
                    <a:pt x="1085" y="343"/>
                  </a:lnTo>
                  <a:lnTo>
                    <a:pt x="1085" y="343"/>
                  </a:lnTo>
                  <a:lnTo>
                    <a:pt x="1087" y="343"/>
                  </a:lnTo>
                  <a:lnTo>
                    <a:pt x="1089" y="345"/>
                  </a:lnTo>
                  <a:lnTo>
                    <a:pt x="1089" y="345"/>
                  </a:lnTo>
                  <a:lnTo>
                    <a:pt x="1092" y="345"/>
                  </a:lnTo>
                  <a:lnTo>
                    <a:pt x="1094" y="348"/>
                  </a:lnTo>
                  <a:lnTo>
                    <a:pt x="1094" y="348"/>
                  </a:lnTo>
                  <a:lnTo>
                    <a:pt x="1096" y="348"/>
                  </a:lnTo>
                  <a:lnTo>
                    <a:pt x="1096" y="348"/>
                  </a:lnTo>
                  <a:lnTo>
                    <a:pt x="1099" y="348"/>
                  </a:lnTo>
                  <a:lnTo>
                    <a:pt x="1096" y="348"/>
                  </a:lnTo>
                  <a:lnTo>
                    <a:pt x="1096" y="350"/>
                  </a:lnTo>
                  <a:lnTo>
                    <a:pt x="1096" y="350"/>
                  </a:lnTo>
                  <a:lnTo>
                    <a:pt x="1096" y="352"/>
                  </a:lnTo>
                  <a:lnTo>
                    <a:pt x="1096" y="352"/>
                  </a:lnTo>
                  <a:lnTo>
                    <a:pt x="1094" y="352"/>
                  </a:lnTo>
                  <a:lnTo>
                    <a:pt x="1096" y="355"/>
                  </a:lnTo>
                  <a:lnTo>
                    <a:pt x="1094" y="355"/>
                  </a:lnTo>
                  <a:lnTo>
                    <a:pt x="1094" y="355"/>
                  </a:lnTo>
                  <a:lnTo>
                    <a:pt x="1096" y="355"/>
                  </a:lnTo>
                  <a:lnTo>
                    <a:pt x="1096" y="355"/>
                  </a:lnTo>
                  <a:lnTo>
                    <a:pt x="1094" y="357"/>
                  </a:lnTo>
                  <a:lnTo>
                    <a:pt x="1096" y="357"/>
                  </a:lnTo>
                  <a:lnTo>
                    <a:pt x="1094" y="357"/>
                  </a:lnTo>
                  <a:lnTo>
                    <a:pt x="1094" y="360"/>
                  </a:lnTo>
                  <a:lnTo>
                    <a:pt x="1094" y="360"/>
                  </a:lnTo>
                  <a:lnTo>
                    <a:pt x="1094" y="362"/>
                  </a:lnTo>
                  <a:lnTo>
                    <a:pt x="1094" y="364"/>
                  </a:lnTo>
                  <a:lnTo>
                    <a:pt x="1094" y="364"/>
                  </a:lnTo>
                  <a:lnTo>
                    <a:pt x="1094" y="364"/>
                  </a:lnTo>
                  <a:lnTo>
                    <a:pt x="1096" y="367"/>
                  </a:lnTo>
                  <a:lnTo>
                    <a:pt x="1094" y="367"/>
                  </a:lnTo>
                  <a:lnTo>
                    <a:pt x="1094" y="367"/>
                  </a:lnTo>
                  <a:lnTo>
                    <a:pt x="1094" y="369"/>
                  </a:lnTo>
                  <a:lnTo>
                    <a:pt x="1096" y="367"/>
                  </a:lnTo>
                  <a:lnTo>
                    <a:pt x="1096" y="369"/>
                  </a:lnTo>
                  <a:lnTo>
                    <a:pt x="1096" y="371"/>
                  </a:lnTo>
                  <a:lnTo>
                    <a:pt x="1099" y="371"/>
                  </a:lnTo>
                  <a:lnTo>
                    <a:pt x="1099" y="371"/>
                  </a:lnTo>
                  <a:lnTo>
                    <a:pt x="1096" y="374"/>
                  </a:lnTo>
                  <a:lnTo>
                    <a:pt x="1096" y="374"/>
                  </a:lnTo>
                  <a:lnTo>
                    <a:pt x="1099" y="374"/>
                  </a:lnTo>
                  <a:lnTo>
                    <a:pt x="1099" y="376"/>
                  </a:lnTo>
                  <a:lnTo>
                    <a:pt x="1099" y="374"/>
                  </a:lnTo>
                  <a:lnTo>
                    <a:pt x="1101" y="374"/>
                  </a:lnTo>
                  <a:lnTo>
                    <a:pt x="1101" y="376"/>
                  </a:lnTo>
                  <a:lnTo>
                    <a:pt x="1099" y="376"/>
                  </a:lnTo>
                  <a:lnTo>
                    <a:pt x="1101" y="376"/>
                  </a:lnTo>
                  <a:lnTo>
                    <a:pt x="1101" y="378"/>
                  </a:lnTo>
                  <a:lnTo>
                    <a:pt x="1101" y="378"/>
                  </a:lnTo>
                  <a:lnTo>
                    <a:pt x="1101" y="378"/>
                  </a:lnTo>
                  <a:lnTo>
                    <a:pt x="1101" y="376"/>
                  </a:lnTo>
                  <a:lnTo>
                    <a:pt x="1103" y="376"/>
                  </a:lnTo>
                  <a:lnTo>
                    <a:pt x="1103" y="376"/>
                  </a:lnTo>
                  <a:lnTo>
                    <a:pt x="1103" y="376"/>
                  </a:lnTo>
                  <a:lnTo>
                    <a:pt x="1106" y="376"/>
                  </a:lnTo>
                  <a:lnTo>
                    <a:pt x="1106" y="376"/>
                  </a:lnTo>
                  <a:lnTo>
                    <a:pt x="1106" y="378"/>
                  </a:lnTo>
                  <a:lnTo>
                    <a:pt x="1106" y="378"/>
                  </a:lnTo>
                  <a:lnTo>
                    <a:pt x="1108" y="381"/>
                  </a:lnTo>
                  <a:lnTo>
                    <a:pt x="1108" y="378"/>
                  </a:lnTo>
                  <a:lnTo>
                    <a:pt x="1108" y="381"/>
                  </a:lnTo>
                  <a:lnTo>
                    <a:pt x="1108" y="378"/>
                  </a:lnTo>
                  <a:lnTo>
                    <a:pt x="1111" y="378"/>
                  </a:lnTo>
                  <a:lnTo>
                    <a:pt x="1111" y="378"/>
                  </a:lnTo>
                  <a:lnTo>
                    <a:pt x="1111" y="378"/>
                  </a:lnTo>
                  <a:lnTo>
                    <a:pt x="1108" y="378"/>
                  </a:lnTo>
                  <a:lnTo>
                    <a:pt x="1111" y="381"/>
                  </a:lnTo>
                  <a:lnTo>
                    <a:pt x="1111" y="381"/>
                  </a:lnTo>
                  <a:lnTo>
                    <a:pt x="1113" y="381"/>
                  </a:lnTo>
                  <a:lnTo>
                    <a:pt x="1113" y="381"/>
                  </a:lnTo>
                  <a:lnTo>
                    <a:pt x="1113" y="381"/>
                  </a:lnTo>
                  <a:lnTo>
                    <a:pt x="1113" y="381"/>
                  </a:lnTo>
                  <a:lnTo>
                    <a:pt x="1111" y="381"/>
                  </a:lnTo>
                  <a:lnTo>
                    <a:pt x="1111" y="383"/>
                  </a:lnTo>
                  <a:lnTo>
                    <a:pt x="1111" y="383"/>
                  </a:lnTo>
                  <a:lnTo>
                    <a:pt x="1113" y="383"/>
                  </a:lnTo>
                  <a:lnTo>
                    <a:pt x="1113" y="383"/>
                  </a:lnTo>
                  <a:lnTo>
                    <a:pt x="1113" y="386"/>
                  </a:lnTo>
                  <a:lnTo>
                    <a:pt x="1115" y="386"/>
                  </a:lnTo>
                  <a:lnTo>
                    <a:pt x="1118" y="388"/>
                  </a:lnTo>
                  <a:lnTo>
                    <a:pt x="1118" y="388"/>
                  </a:lnTo>
                  <a:lnTo>
                    <a:pt x="1118" y="388"/>
                  </a:lnTo>
                  <a:lnTo>
                    <a:pt x="1118" y="388"/>
                  </a:lnTo>
                  <a:lnTo>
                    <a:pt x="1118" y="390"/>
                  </a:lnTo>
                  <a:lnTo>
                    <a:pt x="1120" y="390"/>
                  </a:lnTo>
                  <a:lnTo>
                    <a:pt x="1120" y="390"/>
                  </a:lnTo>
                  <a:lnTo>
                    <a:pt x="1120" y="390"/>
                  </a:lnTo>
                  <a:lnTo>
                    <a:pt x="1122" y="390"/>
                  </a:lnTo>
                  <a:lnTo>
                    <a:pt x="1125" y="393"/>
                  </a:lnTo>
                  <a:lnTo>
                    <a:pt x="1125" y="390"/>
                  </a:lnTo>
                  <a:lnTo>
                    <a:pt x="1127" y="393"/>
                  </a:lnTo>
                  <a:lnTo>
                    <a:pt x="1129" y="393"/>
                  </a:lnTo>
                  <a:lnTo>
                    <a:pt x="1129" y="395"/>
                  </a:lnTo>
                  <a:lnTo>
                    <a:pt x="1129" y="395"/>
                  </a:lnTo>
                  <a:lnTo>
                    <a:pt x="1129" y="395"/>
                  </a:lnTo>
                  <a:lnTo>
                    <a:pt x="1132" y="393"/>
                  </a:lnTo>
                  <a:lnTo>
                    <a:pt x="1134" y="393"/>
                  </a:lnTo>
                  <a:lnTo>
                    <a:pt x="1132" y="397"/>
                  </a:lnTo>
                  <a:lnTo>
                    <a:pt x="1134" y="397"/>
                  </a:lnTo>
                  <a:lnTo>
                    <a:pt x="1137" y="397"/>
                  </a:lnTo>
                  <a:lnTo>
                    <a:pt x="1137" y="397"/>
                  </a:lnTo>
                  <a:lnTo>
                    <a:pt x="1137" y="395"/>
                  </a:lnTo>
                  <a:lnTo>
                    <a:pt x="1137" y="393"/>
                  </a:lnTo>
                  <a:lnTo>
                    <a:pt x="1137" y="393"/>
                  </a:lnTo>
                  <a:lnTo>
                    <a:pt x="1137" y="393"/>
                  </a:lnTo>
                  <a:lnTo>
                    <a:pt x="1139" y="393"/>
                  </a:lnTo>
                  <a:lnTo>
                    <a:pt x="1139" y="390"/>
                  </a:lnTo>
                  <a:lnTo>
                    <a:pt x="1139" y="390"/>
                  </a:lnTo>
                  <a:lnTo>
                    <a:pt x="1139" y="390"/>
                  </a:lnTo>
                  <a:lnTo>
                    <a:pt x="1141" y="390"/>
                  </a:lnTo>
                  <a:lnTo>
                    <a:pt x="1141" y="393"/>
                  </a:lnTo>
                  <a:lnTo>
                    <a:pt x="1144" y="393"/>
                  </a:lnTo>
                  <a:lnTo>
                    <a:pt x="1144" y="393"/>
                  </a:lnTo>
                  <a:lnTo>
                    <a:pt x="1144" y="393"/>
                  </a:lnTo>
                  <a:lnTo>
                    <a:pt x="1146" y="393"/>
                  </a:lnTo>
                  <a:lnTo>
                    <a:pt x="1146" y="393"/>
                  </a:lnTo>
                  <a:lnTo>
                    <a:pt x="1148" y="393"/>
                  </a:lnTo>
                  <a:lnTo>
                    <a:pt x="1146" y="393"/>
                  </a:lnTo>
                  <a:lnTo>
                    <a:pt x="1148" y="395"/>
                  </a:lnTo>
                  <a:lnTo>
                    <a:pt x="1148" y="395"/>
                  </a:lnTo>
                  <a:lnTo>
                    <a:pt x="1148" y="393"/>
                  </a:lnTo>
                  <a:lnTo>
                    <a:pt x="1148" y="393"/>
                  </a:lnTo>
                  <a:lnTo>
                    <a:pt x="1148" y="393"/>
                  </a:lnTo>
                  <a:lnTo>
                    <a:pt x="1151" y="395"/>
                  </a:lnTo>
                  <a:lnTo>
                    <a:pt x="1151" y="395"/>
                  </a:lnTo>
                  <a:lnTo>
                    <a:pt x="1155" y="395"/>
                  </a:lnTo>
                  <a:lnTo>
                    <a:pt x="1155" y="393"/>
                  </a:lnTo>
                  <a:lnTo>
                    <a:pt x="1158" y="390"/>
                  </a:lnTo>
                  <a:lnTo>
                    <a:pt x="1158" y="390"/>
                  </a:lnTo>
                  <a:lnTo>
                    <a:pt x="1163" y="390"/>
                  </a:lnTo>
                  <a:lnTo>
                    <a:pt x="1163" y="390"/>
                  </a:lnTo>
                  <a:lnTo>
                    <a:pt x="1165" y="390"/>
                  </a:lnTo>
                  <a:lnTo>
                    <a:pt x="1167" y="388"/>
                  </a:lnTo>
                  <a:lnTo>
                    <a:pt x="1172" y="386"/>
                  </a:lnTo>
                  <a:lnTo>
                    <a:pt x="1174" y="383"/>
                  </a:lnTo>
                  <a:lnTo>
                    <a:pt x="1174" y="383"/>
                  </a:lnTo>
                  <a:lnTo>
                    <a:pt x="1174" y="381"/>
                  </a:lnTo>
                  <a:lnTo>
                    <a:pt x="1177" y="381"/>
                  </a:lnTo>
                  <a:lnTo>
                    <a:pt x="1177" y="381"/>
                  </a:lnTo>
                  <a:lnTo>
                    <a:pt x="1177" y="381"/>
                  </a:lnTo>
                  <a:lnTo>
                    <a:pt x="1177" y="381"/>
                  </a:lnTo>
                  <a:lnTo>
                    <a:pt x="1177" y="383"/>
                  </a:lnTo>
                  <a:lnTo>
                    <a:pt x="1172" y="388"/>
                  </a:lnTo>
                  <a:lnTo>
                    <a:pt x="1167" y="393"/>
                  </a:lnTo>
                  <a:lnTo>
                    <a:pt x="1158" y="414"/>
                  </a:lnTo>
                  <a:lnTo>
                    <a:pt x="1155" y="419"/>
                  </a:lnTo>
                  <a:lnTo>
                    <a:pt x="1148" y="435"/>
                  </a:lnTo>
                  <a:lnTo>
                    <a:pt x="1144" y="449"/>
                  </a:lnTo>
                  <a:lnTo>
                    <a:pt x="1141" y="454"/>
                  </a:lnTo>
                  <a:lnTo>
                    <a:pt x="1139" y="459"/>
                  </a:lnTo>
                  <a:lnTo>
                    <a:pt x="1137" y="463"/>
                  </a:lnTo>
                  <a:lnTo>
                    <a:pt x="1134" y="466"/>
                  </a:lnTo>
                  <a:lnTo>
                    <a:pt x="1134" y="468"/>
                  </a:lnTo>
                  <a:lnTo>
                    <a:pt x="1132" y="471"/>
                  </a:lnTo>
                  <a:lnTo>
                    <a:pt x="1125" y="482"/>
                  </a:lnTo>
                  <a:lnTo>
                    <a:pt x="1122" y="485"/>
                  </a:lnTo>
                  <a:lnTo>
                    <a:pt x="1115" y="494"/>
                  </a:lnTo>
                  <a:lnTo>
                    <a:pt x="1111" y="504"/>
                  </a:lnTo>
                  <a:lnTo>
                    <a:pt x="1108" y="504"/>
                  </a:lnTo>
                  <a:lnTo>
                    <a:pt x="1108" y="504"/>
                  </a:lnTo>
                  <a:lnTo>
                    <a:pt x="1108" y="506"/>
                  </a:lnTo>
                  <a:lnTo>
                    <a:pt x="1108" y="506"/>
                  </a:lnTo>
                  <a:lnTo>
                    <a:pt x="1103" y="511"/>
                  </a:lnTo>
                  <a:lnTo>
                    <a:pt x="1101" y="515"/>
                  </a:lnTo>
                  <a:lnTo>
                    <a:pt x="1099" y="518"/>
                  </a:lnTo>
                  <a:lnTo>
                    <a:pt x="1099" y="520"/>
                  </a:lnTo>
                  <a:lnTo>
                    <a:pt x="1096" y="525"/>
                  </a:lnTo>
                  <a:lnTo>
                    <a:pt x="1094" y="530"/>
                  </a:lnTo>
                  <a:lnTo>
                    <a:pt x="1092" y="530"/>
                  </a:lnTo>
                  <a:lnTo>
                    <a:pt x="1089" y="532"/>
                  </a:lnTo>
                  <a:lnTo>
                    <a:pt x="1089" y="534"/>
                  </a:lnTo>
                  <a:lnTo>
                    <a:pt x="1089" y="537"/>
                  </a:lnTo>
                  <a:lnTo>
                    <a:pt x="1089" y="537"/>
                  </a:lnTo>
                  <a:lnTo>
                    <a:pt x="1087" y="537"/>
                  </a:lnTo>
                  <a:lnTo>
                    <a:pt x="1085" y="539"/>
                  </a:lnTo>
                  <a:lnTo>
                    <a:pt x="1085" y="539"/>
                  </a:lnTo>
                  <a:lnTo>
                    <a:pt x="1082" y="541"/>
                  </a:lnTo>
                  <a:lnTo>
                    <a:pt x="1077" y="546"/>
                  </a:lnTo>
                  <a:lnTo>
                    <a:pt x="1073" y="556"/>
                  </a:lnTo>
                  <a:lnTo>
                    <a:pt x="1070" y="556"/>
                  </a:lnTo>
                  <a:lnTo>
                    <a:pt x="1066" y="560"/>
                  </a:lnTo>
                  <a:lnTo>
                    <a:pt x="1063" y="563"/>
                  </a:lnTo>
                  <a:lnTo>
                    <a:pt x="1063" y="565"/>
                  </a:lnTo>
                  <a:lnTo>
                    <a:pt x="1061" y="567"/>
                  </a:lnTo>
                  <a:lnTo>
                    <a:pt x="1059" y="567"/>
                  </a:lnTo>
                  <a:lnTo>
                    <a:pt x="1056" y="570"/>
                  </a:lnTo>
                  <a:lnTo>
                    <a:pt x="1054" y="574"/>
                  </a:lnTo>
                  <a:lnTo>
                    <a:pt x="1052" y="577"/>
                  </a:lnTo>
                  <a:lnTo>
                    <a:pt x="1049" y="577"/>
                  </a:lnTo>
                  <a:lnTo>
                    <a:pt x="1047" y="577"/>
                  </a:lnTo>
                  <a:lnTo>
                    <a:pt x="1047" y="577"/>
                  </a:lnTo>
                  <a:lnTo>
                    <a:pt x="1044" y="579"/>
                  </a:lnTo>
                  <a:lnTo>
                    <a:pt x="1040" y="582"/>
                  </a:lnTo>
                  <a:lnTo>
                    <a:pt x="1037" y="584"/>
                  </a:lnTo>
                  <a:lnTo>
                    <a:pt x="1035" y="586"/>
                  </a:lnTo>
                  <a:lnTo>
                    <a:pt x="1033" y="586"/>
                  </a:lnTo>
                  <a:lnTo>
                    <a:pt x="1030" y="584"/>
                  </a:lnTo>
                  <a:lnTo>
                    <a:pt x="1030" y="586"/>
                  </a:lnTo>
                  <a:lnTo>
                    <a:pt x="1026" y="584"/>
                  </a:lnTo>
                  <a:lnTo>
                    <a:pt x="1021" y="584"/>
                  </a:lnTo>
                  <a:lnTo>
                    <a:pt x="1023" y="577"/>
                  </a:lnTo>
                  <a:lnTo>
                    <a:pt x="1023" y="574"/>
                  </a:lnTo>
                  <a:lnTo>
                    <a:pt x="1023" y="574"/>
                  </a:lnTo>
                  <a:lnTo>
                    <a:pt x="1016" y="574"/>
                  </a:lnTo>
                  <a:lnTo>
                    <a:pt x="1018" y="579"/>
                  </a:lnTo>
                  <a:lnTo>
                    <a:pt x="1016" y="582"/>
                  </a:lnTo>
                  <a:lnTo>
                    <a:pt x="1016" y="582"/>
                  </a:lnTo>
                  <a:lnTo>
                    <a:pt x="1016" y="582"/>
                  </a:lnTo>
                  <a:lnTo>
                    <a:pt x="1014" y="584"/>
                  </a:lnTo>
                  <a:lnTo>
                    <a:pt x="1011" y="586"/>
                  </a:lnTo>
                  <a:lnTo>
                    <a:pt x="1011" y="589"/>
                  </a:lnTo>
                  <a:lnTo>
                    <a:pt x="1009" y="589"/>
                  </a:lnTo>
                  <a:lnTo>
                    <a:pt x="1009" y="589"/>
                  </a:lnTo>
                  <a:lnTo>
                    <a:pt x="1007" y="591"/>
                  </a:lnTo>
                  <a:lnTo>
                    <a:pt x="1004" y="591"/>
                  </a:lnTo>
                  <a:lnTo>
                    <a:pt x="1002" y="593"/>
                  </a:lnTo>
                  <a:lnTo>
                    <a:pt x="1002" y="596"/>
                  </a:lnTo>
                  <a:lnTo>
                    <a:pt x="1000" y="596"/>
                  </a:lnTo>
                  <a:lnTo>
                    <a:pt x="1000" y="596"/>
                  </a:lnTo>
                  <a:lnTo>
                    <a:pt x="1000" y="596"/>
                  </a:lnTo>
                  <a:lnTo>
                    <a:pt x="997" y="600"/>
                  </a:lnTo>
                  <a:lnTo>
                    <a:pt x="997" y="600"/>
                  </a:lnTo>
                  <a:lnTo>
                    <a:pt x="995" y="600"/>
                  </a:lnTo>
                  <a:lnTo>
                    <a:pt x="992" y="603"/>
                  </a:lnTo>
                  <a:lnTo>
                    <a:pt x="992" y="603"/>
                  </a:lnTo>
                  <a:lnTo>
                    <a:pt x="992" y="603"/>
                  </a:lnTo>
                  <a:lnTo>
                    <a:pt x="990" y="603"/>
                  </a:lnTo>
                  <a:lnTo>
                    <a:pt x="988" y="605"/>
                  </a:lnTo>
                  <a:lnTo>
                    <a:pt x="985" y="605"/>
                  </a:lnTo>
                  <a:lnTo>
                    <a:pt x="983" y="608"/>
                  </a:lnTo>
                  <a:lnTo>
                    <a:pt x="981" y="610"/>
                  </a:lnTo>
                  <a:lnTo>
                    <a:pt x="978" y="610"/>
                  </a:lnTo>
                  <a:lnTo>
                    <a:pt x="978" y="612"/>
                  </a:lnTo>
                  <a:lnTo>
                    <a:pt x="978" y="612"/>
                  </a:lnTo>
                  <a:lnTo>
                    <a:pt x="976" y="612"/>
                  </a:lnTo>
                  <a:lnTo>
                    <a:pt x="974" y="615"/>
                  </a:lnTo>
                  <a:lnTo>
                    <a:pt x="971" y="622"/>
                  </a:lnTo>
                  <a:lnTo>
                    <a:pt x="971" y="622"/>
                  </a:lnTo>
                  <a:lnTo>
                    <a:pt x="971" y="629"/>
                  </a:lnTo>
                  <a:lnTo>
                    <a:pt x="971" y="631"/>
                  </a:lnTo>
                  <a:lnTo>
                    <a:pt x="974" y="636"/>
                  </a:lnTo>
                  <a:lnTo>
                    <a:pt x="974" y="636"/>
                  </a:lnTo>
                  <a:lnTo>
                    <a:pt x="978" y="634"/>
                  </a:lnTo>
                  <a:lnTo>
                    <a:pt x="978" y="634"/>
                  </a:lnTo>
                  <a:lnTo>
                    <a:pt x="981" y="636"/>
                  </a:lnTo>
                  <a:lnTo>
                    <a:pt x="978" y="636"/>
                  </a:lnTo>
                  <a:lnTo>
                    <a:pt x="981" y="636"/>
                  </a:lnTo>
                  <a:lnTo>
                    <a:pt x="981" y="638"/>
                  </a:lnTo>
                  <a:lnTo>
                    <a:pt x="981" y="641"/>
                  </a:lnTo>
                  <a:lnTo>
                    <a:pt x="981" y="641"/>
                  </a:lnTo>
                  <a:lnTo>
                    <a:pt x="981" y="643"/>
                  </a:lnTo>
                  <a:lnTo>
                    <a:pt x="981" y="643"/>
                  </a:lnTo>
                  <a:lnTo>
                    <a:pt x="981" y="645"/>
                  </a:lnTo>
                  <a:lnTo>
                    <a:pt x="981" y="648"/>
                  </a:lnTo>
                  <a:lnTo>
                    <a:pt x="978" y="645"/>
                  </a:lnTo>
                  <a:lnTo>
                    <a:pt x="978" y="648"/>
                  </a:lnTo>
                  <a:lnTo>
                    <a:pt x="978" y="648"/>
                  </a:lnTo>
                  <a:lnTo>
                    <a:pt x="981" y="648"/>
                  </a:lnTo>
                  <a:lnTo>
                    <a:pt x="978" y="648"/>
                  </a:lnTo>
                  <a:lnTo>
                    <a:pt x="978" y="650"/>
                  </a:lnTo>
                  <a:lnTo>
                    <a:pt x="976" y="650"/>
                  </a:lnTo>
                  <a:lnTo>
                    <a:pt x="976" y="652"/>
                  </a:lnTo>
                  <a:lnTo>
                    <a:pt x="976" y="657"/>
                  </a:lnTo>
                  <a:lnTo>
                    <a:pt x="976" y="660"/>
                  </a:lnTo>
                  <a:lnTo>
                    <a:pt x="976" y="660"/>
                  </a:lnTo>
                  <a:lnTo>
                    <a:pt x="978" y="660"/>
                  </a:lnTo>
                  <a:lnTo>
                    <a:pt x="978" y="660"/>
                  </a:lnTo>
                  <a:lnTo>
                    <a:pt x="978" y="662"/>
                  </a:lnTo>
                  <a:lnTo>
                    <a:pt x="981" y="662"/>
                  </a:lnTo>
                  <a:lnTo>
                    <a:pt x="978" y="664"/>
                  </a:lnTo>
                  <a:lnTo>
                    <a:pt x="978" y="667"/>
                  </a:lnTo>
                  <a:lnTo>
                    <a:pt x="981" y="667"/>
                  </a:lnTo>
                  <a:lnTo>
                    <a:pt x="981" y="664"/>
                  </a:lnTo>
                  <a:lnTo>
                    <a:pt x="981" y="667"/>
                  </a:lnTo>
                  <a:lnTo>
                    <a:pt x="981" y="669"/>
                  </a:lnTo>
                  <a:lnTo>
                    <a:pt x="981" y="669"/>
                  </a:lnTo>
                  <a:lnTo>
                    <a:pt x="978" y="674"/>
                  </a:lnTo>
                  <a:lnTo>
                    <a:pt x="978" y="671"/>
                  </a:lnTo>
                  <a:lnTo>
                    <a:pt x="978" y="669"/>
                  </a:lnTo>
                  <a:lnTo>
                    <a:pt x="976" y="669"/>
                  </a:lnTo>
                  <a:lnTo>
                    <a:pt x="974" y="671"/>
                  </a:lnTo>
                  <a:lnTo>
                    <a:pt x="971" y="671"/>
                  </a:lnTo>
                  <a:lnTo>
                    <a:pt x="971" y="674"/>
                  </a:lnTo>
                  <a:lnTo>
                    <a:pt x="971" y="674"/>
                  </a:lnTo>
                  <a:lnTo>
                    <a:pt x="971" y="676"/>
                  </a:lnTo>
                  <a:lnTo>
                    <a:pt x="969" y="678"/>
                  </a:lnTo>
                  <a:lnTo>
                    <a:pt x="969" y="681"/>
                  </a:lnTo>
                  <a:lnTo>
                    <a:pt x="969" y="686"/>
                  </a:lnTo>
                  <a:lnTo>
                    <a:pt x="969" y="693"/>
                  </a:lnTo>
                  <a:lnTo>
                    <a:pt x="971" y="695"/>
                  </a:lnTo>
                  <a:lnTo>
                    <a:pt x="974" y="697"/>
                  </a:lnTo>
                  <a:lnTo>
                    <a:pt x="974" y="700"/>
                  </a:lnTo>
                  <a:lnTo>
                    <a:pt x="976" y="700"/>
                  </a:lnTo>
                  <a:lnTo>
                    <a:pt x="976" y="702"/>
                  </a:lnTo>
                  <a:lnTo>
                    <a:pt x="976" y="707"/>
                  </a:lnTo>
                  <a:lnTo>
                    <a:pt x="976" y="707"/>
                  </a:lnTo>
                  <a:lnTo>
                    <a:pt x="974" y="714"/>
                  </a:lnTo>
                  <a:lnTo>
                    <a:pt x="974" y="716"/>
                  </a:lnTo>
                  <a:lnTo>
                    <a:pt x="974" y="721"/>
                  </a:lnTo>
                  <a:lnTo>
                    <a:pt x="974" y="723"/>
                  </a:lnTo>
                  <a:lnTo>
                    <a:pt x="974" y="726"/>
                  </a:lnTo>
                  <a:lnTo>
                    <a:pt x="971" y="733"/>
                  </a:lnTo>
                  <a:lnTo>
                    <a:pt x="969" y="737"/>
                  </a:lnTo>
                  <a:lnTo>
                    <a:pt x="969" y="740"/>
                  </a:lnTo>
                  <a:lnTo>
                    <a:pt x="969" y="742"/>
                  </a:lnTo>
                  <a:lnTo>
                    <a:pt x="969" y="742"/>
                  </a:lnTo>
                  <a:lnTo>
                    <a:pt x="969" y="749"/>
                  </a:lnTo>
                  <a:lnTo>
                    <a:pt x="969" y="752"/>
                  </a:lnTo>
                  <a:lnTo>
                    <a:pt x="969" y="749"/>
                  </a:lnTo>
                  <a:lnTo>
                    <a:pt x="969" y="752"/>
                  </a:lnTo>
                  <a:lnTo>
                    <a:pt x="969" y="752"/>
                  </a:lnTo>
                  <a:lnTo>
                    <a:pt x="969" y="754"/>
                  </a:lnTo>
                  <a:lnTo>
                    <a:pt x="969" y="754"/>
                  </a:lnTo>
                  <a:lnTo>
                    <a:pt x="969" y="756"/>
                  </a:lnTo>
                  <a:lnTo>
                    <a:pt x="969" y="756"/>
                  </a:lnTo>
                  <a:lnTo>
                    <a:pt x="966" y="759"/>
                  </a:lnTo>
                  <a:lnTo>
                    <a:pt x="966" y="763"/>
                  </a:lnTo>
                  <a:lnTo>
                    <a:pt x="964" y="771"/>
                  </a:lnTo>
                  <a:lnTo>
                    <a:pt x="964" y="778"/>
                  </a:lnTo>
                  <a:lnTo>
                    <a:pt x="962" y="780"/>
                  </a:lnTo>
                  <a:lnTo>
                    <a:pt x="962" y="785"/>
                  </a:lnTo>
                  <a:lnTo>
                    <a:pt x="962" y="787"/>
                  </a:lnTo>
                  <a:lnTo>
                    <a:pt x="962" y="789"/>
                  </a:lnTo>
                  <a:lnTo>
                    <a:pt x="959" y="799"/>
                  </a:lnTo>
                  <a:lnTo>
                    <a:pt x="959" y="804"/>
                  </a:lnTo>
                  <a:lnTo>
                    <a:pt x="959" y="806"/>
                  </a:lnTo>
                  <a:lnTo>
                    <a:pt x="959" y="813"/>
                  </a:lnTo>
                  <a:lnTo>
                    <a:pt x="962" y="815"/>
                  </a:lnTo>
                  <a:lnTo>
                    <a:pt x="962" y="818"/>
                  </a:lnTo>
                  <a:lnTo>
                    <a:pt x="964" y="818"/>
                  </a:lnTo>
                  <a:lnTo>
                    <a:pt x="964" y="815"/>
                  </a:lnTo>
                  <a:lnTo>
                    <a:pt x="964" y="818"/>
                  </a:lnTo>
                  <a:lnTo>
                    <a:pt x="964" y="818"/>
                  </a:lnTo>
                  <a:lnTo>
                    <a:pt x="964" y="820"/>
                  </a:lnTo>
                  <a:lnTo>
                    <a:pt x="962" y="820"/>
                  </a:lnTo>
                  <a:lnTo>
                    <a:pt x="964" y="820"/>
                  </a:lnTo>
                  <a:lnTo>
                    <a:pt x="964" y="820"/>
                  </a:lnTo>
                  <a:lnTo>
                    <a:pt x="964" y="820"/>
                  </a:lnTo>
                  <a:lnTo>
                    <a:pt x="964" y="825"/>
                  </a:lnTo>
                  <a:lnTo>
                    <a:pt x="964" y="830"/>
                  </a:lnTo>
                  <a:lnTo>
                    <a:pt x="964" y="834"/>
                  </a:lnTo>
                  <a:lnTo>
                    <a:pt x="966" y="839"/>
                  </a:lnTo>
                  <a:lnTo>
                    <a:pt x="966" y="839"/>
                  </a:lnTo>
                  <a:lnTo>
                    <a:pt x="969" y="844"/>
                  </a:lnTo>
                  <a:lnTo>
                    <a:pt x="969" y="858"/>
                  </a:lnTo>
                  <a:lnTo>
                    <a:pt x="969" y="872"/>
                  </a:lnTo>
                  <a:lnTo>
                    <a:pt x="969" y="877"/>
                  </a:lnTo>
                  <a:lnTo>
                    <a:pt x="969" y="879"/>
                  </a:lnTo>
                  <a:lnTo>
                    <a:pt x="969" y="884"/>
                  </a:lnTo>
                  <a:lnTo>
                    <a:pt x="969" y="884"/>
                  </a:lnTo>
                  <a:lnTo>
                    <a:pt x="969" y="886"/>
                  </a:lnTo>
                  <a:lnTo>
                    <a:pt x="971" y="896"/>
                  </a:lnTo>
                  <a:lnTo>
                    <a:pt x="974" y="905"/>
                  </a:lnTo>
                  <a:lnTo>
                    <a:pt x="974" y="908"/>
                  </a:lnTo>
                  <a:lnTo>
                    <a:pt x="974" y="908"/>
                  </a:lnTo>
                  <a:lnTo>
                    <a:pt x="974" y="915"/>
                  </a:lnTo>
                  <a:lnTo>
                    <a:pt x="974" y="924"/>
                  </a:lnTo>
                  <a:lnTo>
                    <a:pt x="976" y="931"/>
                  </a:lnTo>
                  <a:lnTo>
                    <a:pt x="978" y="938"/>
                  </a:lnTo>
                  <a:lnTo>
                    <a:pt x="978" y="938"/>
                  </a:lnTo>
                  <a:lnTo>
                    <a:pt x="981" y="945"/>
                  </a:lnTo>
                  <a:lnTo>
                    <a:pt x="981" y="945"/>
                  </a:lnTo>
                  <a:lnTo>
                    <a:pt x="981" y="945"/>
                  </a:lnTo>
                  <a:lnTo>
                    <a:pt x="983" y="952"/>
                  </a:lnTo>
                  <a:lnTo>
                    <a:pt x="985" y="955"/>
                  </a:lnTo>
                  <a:lnTo>
                    <a:pt x="985" y="955"/>
                  </a:lnTo>
                  <a:lnTo>
                    <a:pt x="983" y="955"/>
                  </a:lnTo>
                  <a:lnTo>
                    <a:pt x="983" y="957"/>
                  </a:lnTo>
                  <a:lnTo>
                    <a:pt x="985" y="957"/>
                  </a:lnTo>
                  <a:lnTo>
                    <a:pt x="985" y="960"/>
                  </a:lnTo>
                  <a:lnTo>
                    <a:pt x="985" y="960"/>
                  </a:lnTo>
                  <a:lnTo>
                    <a:pt x="983" y="962"/>
                  </a:lnTo>
                  <a:lnTo>
                    <a:pt x="981" y="967"/>
                  </a:lnTo>
                  <a:lnTo>
                    <a:pt x="978" y="978"/>
                  </a:lnTo>
                  <a:lnTo>
                    <a:pt x="976" y="983"/>
                  </a:lnTo>
                  <a:lnTo>
                    <a:pt x="974" y="988"/>
                  </a:lnTo>
                  <a:lnTo>
                    <a:pt x="974" y="990"/>
                  </a:lnTo>
                  <a:lnTo>
                    <a:pt x="974" y="993"/>
                  </a:lnTo>
                  <a:lnTo>
                    <a:pt x="974" y="995"/>
                  </a:lnTo>
                  <a:lnTo>
                    <a:pt x="974" y="997"/>
                  </a:lnTo>
                  <a:lnTo>
                    <a:pt x="974" y="997"/>
                  </a:lnTo>
                  <a:lnTo>
                    <a:pt x="971" y="1000"/>
                  </a:lnTo>
                  <a:lnTo>
                    <a:pt x="971" y="1002"/>
                  </a:lnTo>
                  <a:lnTo>
                    <a:pt x="971" y="1004"/>
                  </a:lnTo>
                  <a:lnTo>
                    <a:pt x="969" y="1004"/>
                  </a:lnTo>
                  <a:lnTo>
                    <a:pt x="966" y="1009"/>
                  </a:lnTo>
                  <a:lnTo>
                    <a:pt x="966" y="1009"/>
                  </a:lnTo>
                  <a:lnTo>
                    <a:pt x="964" y="1009"/>
                  </a:lnTo>
                  <a:lnTo>
                    <a:pt x="964" y="1014"/>
                  </a:lnTo>
                  <a:lnTo>
                    <a:pt x="964" y="1014"/>
                  </a:lnTo>
                  <a:lnTo>
                    <a:pt x="966" y="1011"/>
                  </a:lnTo>
                  <a:lnTo>
                    <a:pt x="964" y="1016"/>
                  </a:lnTo>
                  <a:lnTo>
                    <a:pt x="964" y="1019"/>
                  </a:lnTo>
                  <a:lnTo>
                    <a:pt x="966" y="1019"/>
                  </a:lnTo>
                  <a:lnTo>
                    <a:pt x="966" y="1019"/>
                  </a:lnTo>
                  <a:lnTo>
                    <a:pt x="966" y="1021"/>
                  </a:lnTo>
                  <a:lnTo>
                    <a:pt x="966" y="1023"/>
                  </a:lnTo>
                  <a:lnTo>
                    <a:pt x="966" y="1026"/>
                  </a:lnTo>
                  <a:lnTo>
                    <a:pt x="964" y="1026"/>
                  </a:lnTo>
                  <a:lnTo>
                    <a:pt x="962" y="1028"/>
                  </a:lnTo>
                  <a:lnTo>
                    <a:pt x="959" y="1033"/>
                  </a:lnTo>
                  <a:lnTo>
                    <a:pt x="959" y="1035"/>
                  </a:lnTo>
                  <a:lnTo>
                    <a:pt x="959" y="1035"/>
                  </a:lnTo>
                  <a:lnTo>
                    <a:pt x="959" y="1037"/>
                  </a:lnTo>
                  <a:lnTo>
                    <a:pt x="959" y="1035"/>
                  </a:lnTo>
                  <a:lnTo>
                    <a:pt x="959" y="1037"/>
                  </a:lnTo>
                  <a:lnTo>
                    <a:pt x="959" y="1037"/>
                  </a:lnTo>
                  <a:lnTo>
                    <a:pt x="959" y="1040"/>
                  </a:lnTo>
                  <a:lnTo>
                    <a:pt x="959" y="1042"/>
                  </a:lnTo>
                  <a:lnTo>
                    <a:pt x="957" y="1047"/>
                  </a:lnTo>
                  <a:lnTo>
                    <a:pt x="957" y="1049"/>
                  </a:lnTo>
                  <a:lnTo>
                    <a:pt x="955" y="1054"/>
                  </a:lnTo>
                  <a:lnTo>
                    <a:pt x="955" y="1056"/>
                  </a:lnTo>
                  <a:lnTo>
                    <a:pt x="955" y="1059"/>
                  </a:lnTo>
                  <a:lnTo>
                    <a:pt x="955" y="1061"/>
                  </a:lnTo>
                  <a:lnTo>
                    <a:pt x="955" y="1061"/>
                  </a:lnTo>
                  <a:lnTo>
                    <a:pt x="955" y="1063"/>
                  </a:lnTo>
                  <a:lnTo>
                    <a:pt x="955" y="1068"/>
                  </a:lnTo>
                  <a:lnTo>
                    <a:pt x="955" y="1071"/>
                  </a:lnTo>
                  <a:lnTo>
                    <a:pt x="952" y="1071"/>
                  </a:lnTo>
                  <a:lnTo>
                    <a:pt x="952" y="1071"/>
                  </a:lnTo>
                  <a:lnTo>
                    <a:pt x="952" y="1073"/>
                  </a:lnTo>
                  <a:lnTo>
                    <a:pt x="952" y="1073"/>
                  </a:lnTo>
                  <a:lnTo>
                    <a:pt x="950" y="1075"/>
                  </a:lnTo>
                  <a:lnTo>
                    <a:pt x="950" y="1075"/>
                  </a:lnTo>
                  <a:lnTo>
                    <a:pt x="950" y="1075"/>
                  </a:lnTo>
                  <a:lnTo>
                    <a:pt x="950" y="1080"/>
                  </a:lnTo>
                  <a:lnTo>
                    <a:pt x="950" y="1089"/>
                  </a:lnTo>
                  <a:lnTo>
                    <a:pt x="952" y="1092"/>
                  </a:lnTo>
                  <a:lnTo>
                    <a:pt x="952" y="1094"/>
                  </a:lnTo>
                  <a:lnTo>
                    <a:pt x="952" y="1094"/>
                  </a:lnTo>
                  <a:lnTo>
                    <a:pt x="948" y="1099"/>
                  </a:lnTo>
                  <a:lnTo>
                    <a:pt x="948" y="1106"/>
                  </a:lnTo>
                  <a:lnTo>
                    <a:pt x="945" y="1108"/>
                  </a:lnTo>
                  <a:lnTo>
                    <a:pt x="945" y="1115"/>
                  </a:lnTo>
                  <a:lnTo>
                    <a:pt x="945" y="1115"/>
                  </a:lnTo>
                  <a:lnTo>
                    <a:pt x="945" y="1115"/>
                  </a:lnTo>
                  <a:lnTo>
                    <a:pt x="945" y="1118"/>
                  </a:lnTo>
                  <a:lnTo>
                    <a:pt x="945" y="1120"/>
                  </a:lnTo>
                  <a:lnTo>
                    <a:pt x="943" y="1123"/>
                  </a:lnTo>
                  <a:lnTo>
                    <a:pt x="943" y="1125"/>
                  </a:lnTo>
                  <a:lnTo>
                    <a:pt x="940" y="1125"/>
                  </a:lnTo>
                  <a:lnTo>
                    <a:pt x="940" y="1130"/>
                  </a:lnTo>
                  <a:lnTo>
                    <a:pt x="940" y="1139"/>
                  </a:lnTo>
                  <a:lnTo>
                    <a:pt x="940" y="1141"/>
                  </a:lnTo>
                  <a:lnTo>
                    <a:pt x="938" y="1144"/>
                  </a:lnTo>
                  <a:lnTo>
                    <a:pt x="940" y="1151"/>
                  </a:lnTo>
                  <a:lnTo>
                    <a:pt x="940" y="1153"/>
                  </a:lnTo>
                  <a:lnTo>
                    <a:pt x="940" y="1160"/>
                  </a:lnTo>
                  <a:lnTo>
                    <a:pt x="943" y="1165"/>
                  </a:lnTo>
                  <a:lnTo>
                    <a:pt x="943" y="1174"/>
                  </a:lnTo>
                  <a:lnTo>
                    <a:pt x="943" y="1182"/>
                  </a:lnTo>
                  <a:lnTo>
                    <a:pt x="943" y="1182"/>
                  </a:lnTo>
                  <a:lnTo>
                    <a:pt x="943" y="1184"/>
                  </a:lnTo>
                  <a:lnTo>
                    <a:pt x="943" y="1189"/>
                  </a:lnTo>
                  <a:lnTo>
                    <a:pt x="950" y="1198"/>
                  </a:lnTo>
                  <a:lnTo>
                    <a:pt x="950" y="1198"/>
                  </a:lnTo>
                  <a:lnTo>
                    <a:pt x="950" y="1198"/>
                  </a:lnTo>
                  <a:lnTo>
                    <a:pt x="943" y="1203"/>
                  </a:lnTo>
                  <a:lnTo>
                    <a:pt x="945" y="1205"/>
                  </a:lnTo>
                  <a:lnTo>
                    <a:pt x="943" y="1208"/>
                  </a:lnTo>
                  <a:lnTo>
                    <a:pt x="940" y="1210"/>
                  </a:lnTo>
                  <a:lnTo>
                    <a:pt x="933" y="1217"/>
                  </a:lnTo>
                  <a:lnTo>
                    <a:pt x="933" y="1217"/>
                  </a:lnTo>
                  <a:lnTo>
                    <a:pt x="933" y="1219"/>
                  </a:lnTo>
                  <a:lnTo>
                    <a:pt x="933" y="1219"/>
                  </a:lnTo>
                  <a:lnTo>
                    <a:pt x="933" y="1222"/>
                  </a:lnTo>
                  <a:lnTo>
                    <a:pt x="926" y="1224"/>
                  </a:lnTo>
                  <a:lnTo>
                    <a:pt x="924" y="1224"/>
                  </a:lnTo>
                  <a:lnTo>
                    <a:pt x="924" y="1224"/>
                  </a:lnTo>
                  <a:lnTo>
                    <a:pt x="922" y="1224"/>
                  </a:lnTo>
                  <a:lnTo>
                    <a:pt x="919" y="1226"/>
                  </a:lnTo>
                  <a:lnTo>
                    <a:pt x="919" y="1226"/>
                  </a:lnTo>
                  <a:lnTo>
                    <a:pt x="917" y="1226"/>
                  </a:lnTo>
                  <a:lnTo>
                    <a:pt x="910" y="1231"/>
                  </a:lnTo>
                  <a:lnTo>
                    <a:pt x="907" y="1234"/>
                  </a:lnTo>
                  <a:lnTo>
                    <a:pt x="905" y="1238"/>
                  </a:lnTo>
                  <a:lnTo>
                    <a:pt x="900" y="1243"/>
                  </a:lnTo>
                  <a:lnTo>
                    <a:pt x="898" y="1250"/>
                  </a:lnTo>
                  <a:lnTo>
                    <a:pt x="898" y="1250"/>
                  </a:lnTo>
                  <a:lnTo>
                    <a:pt x="896" y="1250"/>
                  </a:lnTo>
                  <a:lnTo>
                    <a:pt x="896" y="1250"/>
                  </a:lnTo>
                  <a:lnTo>
                    <a:pt x="896" y="1248"/>
                  </a:lnTo>
                  <a:lnTo>
                    <a:pt x="893" y="1248"/>
                  </a:lnTo>
                  <a:lnTo>
                    <a:pt x="896" y="1250"/>
                  </a:lnTo>
                  <a:lnTo>
                    <a:pt x="896" y="1250"/>
                  </a:lnTo>
                  <a:lnTo>
                    <a:pt x="896" y="1250"/>
                  </a:lnTo>
                  <a:lnTo>
                    <a:pt x="896" y="1252"/>
                  </a:lnTo>
                  <a:lnTo>
                    <a:pt x="898" y="1252"/>
                  </a:lnTo>
                  <a:lnTo>
                    <a:pt x="893" y="1257"/>
                  </a:lnTo>
                  <a:lnTo>
                    <a:pt x="886" y="1269"/>
                  </a:lnTo>
                  <a:lnTo>
                    <a:pt x="886" y="1271"/>
                  </a:lnTo>
                  <a:lnTo>
                    <a:pt x="884" y="1276"/>
                  </a:lnTo>
                  <a:lnTo>
                    <a:pt x="884" y="1276"/>
                  </a:lnTo>
                  <a:lnTo>
                    <a:pt x="884" y="1281"/>
                  </a:lnTo>
                  <a:lnTo>
                    <a:pt x="884" y="1281"/>
                  </a:lnTo>
                  <a:lnTo>
                    <a:pt x="881" y="1283"/>
                  </a:lnTo>
                  <a:lnTo>
                    <a:pt x="881" y="1283"/>
                  </a:lnTo>
                  <a:lnTo>
                    <a:pt x="881" y="1281"/>
                  </a:lnTo>
                  <a:lnTo>
                    <a:pt x="881" y="1281"/>
                  </a:lnTo>
                  <a:lnTo>
                    <a:pt x="879" y="1281"/>
                  </a:lnTo>
                  <a:lnTo>
                    <a:pt x="851" y="1262"/>
                  </a:lnTo>
                  <a:lnTo>
                    <a:pt x="851" y="1262"/>
                  </a:lnTo>
                  <a:lnTo>
                    <a:pt x="846" y="1257"/>
                  </a:lnTo>
                  <a:lnTo>
                    <a:pt x="832" y="1248"/>
                  </a:lnTo>
                  <a:lnTo>
                    <a:pt x="813" y="1236"/>
                  </a:lnTo>
                  <a:lnTo>
                    <a:pt x="813" y="1234"/>
                  </a:lnTo>
                  <a:lnTo>
                    <a:pt x="811" y="1231"/>
                  </a:lnTo>
                  <a:lnTo>
                    <a:pt x="808" y="1229"/>
                  </a:lnTo>
                  <a:lnTo>
                    <a:pt x="806" y="1229"/>
                  </a:lnTo>
                  <a:lnTo>
                    <a:pt x="806" y="1229"/>
                  </a:lnTo>
                  <a:lnTo>
                    <a:pt x="813" y="1224"/>
                  </a:lnTo>
                  <a:lnTo>
                    <a:pt x="818" y="1219"/>
                  </a:lnTo>
                  <a:lnTo>
                    <a:pt x="818" y="1217"/>
                  </a:lnTo>
                  <a:lnTo>
                    <a:pt x="818" y="1217"/>
                  </a:lnTo>
                  <a:lnTo>
                    <a:pt x="815" y="1215"/>
                  </a:lnTo>
                  <a:lnTo>
                    <a:pt x="815" y="1217"/>
                  </a:lnTo>
                  <a:lnTo>
                    <a:pt x="815" y="1215"/>
                  </a:lnTo>
                  <a:lnTo>
                    <a:pt x="815" y="1212"/>
                  </a:lnTo>
                  <a:lnTo>
                    <a:pt x="813" y="1210"/>
                  </a:lnTo>
                  <a:lnTo>
                    <a:pt x="813" y="1210"/>
                  </a:lnTo>
                  <a:lnTo>
                    <a:pt x="813" y="1208"/>
                  </a:lnTo>
                  <a:lnTo>
                    <a:pt x="813" y="1205"/>
                  </a:lnTo>
                  <a:lnTo>
                    <a:pt x="813" y="1203"/>
                  </a:lnTo>
                  <a:lnTo>
                    <a:pt x="811" y="1203"/>
                  </a:lnTo>
                  <a:lnTo>
                    <a:pt x="808" y="1203"/>
                  </a:lnTo>
                  <a:lnTo>
                    <a:pt x="808" y="1200"/>
                  </a:lnTo>
                  <a:lnTo>
                    <a:pt x="806" y="1203"/>
                  </a:lnTo>
                  <a:lnTo>
                    <a:pt x="806" y="1200"/>
                  </a:lnTo>
                  <a:lnTo>
                    <a:pt x="803" y="1198"/>
                  </a:lnTo>
                  <a:lnTo>
                    <a:pt x="803" y="1198"/>
                  </a:lnTo>
                  <a:lnTo>
                    <a:pt x="803" y="1198"/>
                  </a:lnTo>
                  <a:lnTo>
                    <a:pt x="803" y="1196"/>
                  </a:lnTo>
                  <a:lnTo>
                    <a:pt x="801" y="1193"/>
                  </a:lnTo>
                  <a:lnTo>
                    <a:pt x="799" y="1193"/>
                  </a:lnTo>
                  <a:lnTo>
                    <a:pt x="799" y="1193"/>
                  </a:lnTo>
                  <a:lnTo>
                    <a:pt x="799" y="1191"/>
                  </a:lnTo>
                  <a:lnTo>
                    <a:pt x="799" y="1191"/>
                  </a:lnTo>
                  <a:lnTo>
                    <a:pt x="796" y="1189"/>
                  </a:lnTo>
                  <a:lnTo>
                    <a:pt x="796" y="1189"/>
                  </a:lnTo>
                  <a:lnTo>
                    <a:pt x="796" y="1189"/>
                  </a:lnTo>
                  <a:lnTo>
                    <a:pt x="796" y="1191"/>
                  </a:lnTo>
                  <a:lnTo>
                    <a:pt x="794" y="1191"/>
                  </a:lnTo>
                  <a:lnTo>
                    <a:pt x="794" y="1189"/>
                  </a:lnTo>
                  <a:lnTo>
                    <a:pt x="792" y="1189"/>
                  </a:lnTo>
                  <a:lnTo>
                    <a:pt x="789" y="1189"/>
                  </a:lnTo>
                  <a:lnTo>
                    <a:pt x="789" y="1189"/>
                  </a:lnTo>
                  <a:lnTo>
                    <a:pt x="787" y="1186"/>
                  </a:lnTo>
                  <a:lnTo>
                    <a:pt x="787" y="1184"/>
                  </a:lnTo>
                  <a:lnTo>
                    <a:pt x="787" y="1184"/>
                  </a:lnTo>
                  <a:lnTo>
                    <a:pt x="789" y="1184"/>
                  </a:lnTo>
                  <a:lnTo>
                    <a:pt x="787" y="1182"/>
                  </a:lnTo>
                  <a:lnTo>
                    <a:pt x="789" y="1182"/>
                  </a:lnTo>
                  <a:lnTo>
                    <a:pt x="787" y="1182"/>
                  </a:lnTo>
                  <a:lnTo>
                    <a:pt x="785" y="1184"/>
                  </a:lnTo>
                  <a:lnTo>
                    <a:pt x="782" y="1182"/>
                  </a:lnTo>
                  <a:lnTo>
                    <a:pt x="780" y="1177"/>
                  </a:lnTo>
                  <a:lnTo>
                    <a:pt x="780" y="1177"/>
                  </a:lnTo>
                  <a:lnTo>
                    <a:pt x="777" y="1174"/>
                  </a:lnTo>
                  <a:lnTo>
                    <a:pt x="780" y="1174"/>
                  </a:lnTo>
                  <a:lnTo>
                    <a:pt x="780" y="1172"/>
                  </a:lnTo>
                  <a:lnTo>
                    <a:pt x="777" y="1172"/>
                  </a:lnTo>
                  <a:lnTo>
                    <a:pt x="777" y="1170"/>
                  </a:lnTo>
                  <a:lnTo>
                    <a:pt x="777" y="1170"/>
                  </a:lnTo>
                  <a:lnTo>
                    <a:pt x="775" y="1167"/>
                  </a:lnTo>
                  <a:lnTo>
                    <a:pt x="775" y="1165"/>
                  </a:lnTo>
                  <a:lnTo>
                    <a:pt x="775" y="1165"/>
                  </a:lnTo>
                  <a:lnTo>
                    <a:pt x="770" y="1165"/>
                  </a:lnTo>
                  <a:lnTo>
                    <a:pt x="768" y="1163"/>
                  </a:lnTo>
                  <a:lnTo>
                    <a:pt x="768" y="1163"/>
                  </a:lnTo>
                  <a:lnTo>
                    <a:pt x="763" y="1163"/>
                  </a:lnTo>
                  <a:lnTo>
                    <a:pt x="763" y="1163"/>
                  </a:lnTo>
                  <a:lnTo>
                    <a:pt x="761" y="1160"/>
                  </a:lnTo>
                  <a:lnTo>
                    <a:pt x="763" y="1158"/>
                  </a:lnTo>
                  <a:lnTo>
                    <a:pt x="763" y="1158"/>
                  </a:lnTo>
                  <a:lnTo>
                    <a:pt x="763" y="1156"/>
                  </a:lnTo>
                  <a:lnTo>
                    <a:pt x="763" y="1156"/>
                  </a:lnTo>
                  <a:lnTo>
                    <a:pt x="763" y="1153"/>
                  </a:lnTo>
                  <a:lnTo>
                    <a:pt x="766" y="1153"/>
                  </a:lnTo>
                  <a:lnTo>
                    <a:pt x="763" y="1151"/>
                  </a:lnTo>
                  <a:lnTo>
                    <a:pt x="763" y="1151"/>
                  </a:lnTo>
                  <a:lnTo>
                    <a:pt x="766" y="1151"/>
                  </a:lnTo>
                  <a:lnTo>
                    <a:pt x="766" y="1148"/>
                  </a:lnTo>
                  <a:lnTo>
                    <a:pt x="766" y="1148"/>
                  </a:lnTo>
                  <a:lnTo>
                    <a:pt x="768" y="1146"/>
                  </a:lnTo>
                  <a:lnTo>
                    <a:pt x="770" y="1144"/>
                  </a:lnTo>
                  <a:lnTo>
                    <a:pt x="768" y="1144"/>
                  </a:lnTo>
                  <a:lnTo>
                    <a:pt x="768" y="1141"/>
                  </a:lnTo>
                  <a:lnTo>
                    <a:pt x="768" y="1141"/>
                  </a:lnTo>
                  <a:lnTo>
                    <a:pt x="768" y="1139"/>
                  </a:lnTo>
                  <a:lnTo>
                    <a:pt x="768" y="1139"/>
                  </a:lnTo>
                  <a:lnTo>
                    <a:pt x="770" y="1137"/>
                  </a:lnTo>
                  <a:lnTo>
                    <a:pt x="768" y="1134"/>
                  </a:lnTo>
                  <a:lnTo>
                    <a:pt x="770" y="1134"/>
                  </a:lnTo>
                  <a:lnTo>
                    <a:pt x="770" y="1132"/>
                  </a:lnTo>
                  <a:lnTo>
                    <a:pt x="768" y="1130"/>
                  </a:lnTo>
                  <a:lnTo>
                    <a:pt x="768" y="1127"/>
                  </a:lnTo>
                  <a:lnTo>
                    <a:pt x="768" y="1125"/>
                  </a:lnTo>
                  <a:lnTo>
                    <a:pt x="770" y="1118"/>
                  </a:lnTo>
                  <a:lnTo>
                    <a:pt x="770" y="1118"/>
                  </a:lnTo>
                  <a:lnTo>
                    <a:pt x="768" y="1118"/>
                  </a:lnTo>
                  <a:lnTo>
                    <a:pt x="768" y="1118"/>
                  </a:lnTo>
                  <a:lnTo>
                    <a:pt x="768" y="1115"/>
                  </a:lnTo>
                  <a:lnTo>
                    <a:pt x="770" y="1111"/>
                  </a:lnTo>
                  <a:lnTo>
                    <a:pt x="770" y="1108"/>
                  </a:lnTo>
                  <a:lnTo>
                    <a:pt x="770" y="1108"/>
                  </a:lnTo>
                  <a:lnTo>
                    <a:pt x="770" y="1106"/>
                  </a:lnTo>
                  <a:lnTo>
                    <a:pt x="773" y="1106"/>
                  </a:lnTo>
                  <a:lnTo>
                    <a:pt x="775" y="1101"/>
                  </a:lnTo>
                  <a:lnTo>
                    <a:pt x="777" y="1099"/>
                  </a:lnTo>
                  <a:lnTo>
                    <a:pt x="777" y="1094"/>
                  </a:lnTo>
                  <a:lnTo>
                    <a:pt x="777" y="1092"/>
                  </a:lnTo>
                  <a:lnTo>
                    <a:pt x="780" y="1092"/>
                  </a:lnTo>
                  <a:lnTo>
                    <a:pt x="782" y="1092"/>
                  </a:lnTo>
                  <a:lnTo>
                    <a:pt x="782" y="1092"/>
                  </a:lnTo>
                  <a:lnTo>
                    <a:pt x="785" y="1092"/>
                  </a:lnTo>
                  <a:lnTo>
                    <a:pt x="785" y="1092"/>
                  </a:lnTo>
                  <a:lnTo>
                    <a:pt x="787" y="1092"/>
                  </a:lnTo>
                  <a:lnTo>
                    <a:pt x="787" y="1094"/>
                  </a:lnTo>
                  <a:lnTo>
                    <a:pt x="789" y="1094"/>
                  </a:lnTo>
                  <a:lnTo>
                    <a:pt x="789" y="1092"/>
                  </a:lnTo>
                  <a:lnTo>
                    <a:pt x="789" y="1092"/>
                  </a:lnTo>
                  <a:lnTo>
                    <a:pt x="794" y="1092"/>
                  </a:lnTo>
                  <a:lnTo>
                    <a:pt x="794" y="1092"/>
                  </a:lnTo>
                  <a:lnTo>
                    <a:pt x="796" y="1092"/>
                  </a:lnTo>
                  <a:lnTo>
                    <a:pt x="796" y="1094"/>
                  </a:lnTo>
                  <a:lnTo>
                    <a:pt x="796" y="1094"/>
                  </a:lnTo>
                  <a:lnTo>
                    <a:pt x="799" y="1097"/>
                  </a:lnTo>
                  <a:lnTo>
                    <a:pt x="799" y="1094"/>
                  </a:lnTo>
                  <a:lnTo>
                    <a:pt x="801" y="1094"/>
                  </a:lnTo>
                  <a:lnTo>
                    <a:pt x="803" y="1092"/>
                  </a:lnTo>
                  <a:lnTo>
                    <a:pt x="803" y="1094"/>
                  </a:lnTo>
                  <a:lnTo>
                    <a:pt x="806" y="1094"/>
                  </a:lnTo>
                  <a:lnTo>
                    <a:pt x="806" y="1092"/>
                  </a:lnTo>
                  <a:lnTo>
                    <a:pt x="806" y="1089"/>
                  </a:lnTo>
                  <a:lnTo>
                    <a:pt x="806" y="1089"/>
                  </a:lnTo>
                  <a:lnTo>
                    <a:pt x="806" y="1089"/>
                  </a:lnTo>
                  <a:lnTo>
                    <a:pt x="808" y="1089"/>
                  </a:lnTo>
                  <a:lnTo>
                    <a:pt x="808" y="1087"/>
                  </a:lnTo>
                  <a:lnTo>
                    <a:pt x="808" y="1087"/>
                  </a:lnTo>
                  <a:lnTo>
                    <a:pt x="808" y="1087"/>
                  </a:lnTo>
                  <a:lnTo>
                    <a:pt x="808" y="1085"/>
                  </a:lnTo>
                  <a:lnTo>
                    <a:pt x="808" y="1082"/>
                  </a:lnTo>
                  <a:lnTo>
                    <a:pt x="808" y="1082"/>
                  </a:lnTo>
                  <a:lnTo>
                    <a:pt x="806" y="1080"/>
                  </a:lnTo>
                  <a:lnTo>
                    <a:pt x="803" y="1082"/>
                  </a:lnTo>
                  <a:lnTo>
                    <a:pt x="803" y="1080"/>
                  </a:lnTo>
                  <a:lnTo>
                    <a:pt x="799" y="1080"/>
                  </a:lnTo>
                  <a:lnTo>
                    <a:pt x="799" y="1080"/>
                  </a:lnTo>
                  <a:lnTo>
                    <a:pt x="796" y="1080"/>
                  </a:lnTo>
                  <a:lnTo>
                    <a:pt x="799" y="1078"/>
                  </a:lnTo>
                  <a:lnTo>
                    <a:pt x="799" y="1073"/>
                  </a:lnTo>
                  <a:lnTo>
                    <a:pt x="801" y="1073"/>
                  </a:lnTo>
                  <a:lnTo>
                    <a:pt x="801" y="1071"/>
                  </a:lnTo>
                  <a:lnTo>
                    <a:pt x="803" y="1068"/>
                  </a:lnTo>
                  <a:lnTo>
                    <a:pt x="801" y="1068"/>
                  </a:lnTo>
                  <a:lnTo>
                    <a:pt x="801" y="1068"/>
                  </a:lnTo>
                  <a:lnTo>
                    <a:pt x="801" y="1066"/>
                  </a:lnTo>
                  <a:lnTo>
                    <a:pt x="803" y="1061"/>
                  </a:lnTo>
                  <a:lnTo>
                    <a:pt x="803" y="1059"/>
                  </a:lnTo>
                  <a:lnTo>
                    <a:pt x="803" y="1056"/>
                  </a:lnTo>
                  <a:lnTo>
                    <a:pt x="803" y="1054"/>
                  </a:lnTo>
                  <a:lnTo>
                    <a:pt x="806" y="1052"/>
                  </a:lnTo>
                  <a:lnTo>
                    <a:pt x="808" y="1052"/>
                  </a:lnTo>
                  <a:lnTo>
                    <a:pt x="808" y="1052"/>
                  </a:lnTo>
                  <a:lnTo>
                    <a:pt x="808" y="1052"/>
                  </a:lnTo>
                  <a:lnTo>
                    <a:pt x="808" y="1052"/>
                  </a:lnTo>
                  <a:lnTo>
                    <a:pt x="811" y="1049"/>
                  </a:lnTo>
                  <a:lnTo>
                    <a:pt x="811" y="1049"/>
                  </a:lnTo>
                  <a:lnTo>
                    <a:pt x="813" y="1052"/>
                  </a:lnTo>
                  <a:lnTo>
                    <a:pt x="815" y="1052"/>
                  </a:lnTo>
                  <a:lnTo>
                    <a:pt x="815" y="1052"/>
                  </a:lnTo>
                  <a:lnTo>
                    <a:pt x="815" y="1052"/>
                  </a:lnTo>
                  <a:lnTo>
                    <a:pt x="818" y="1052"/>
                  </a:lnTo>
                  <a:lnTo>
                    <a:pt x="820" y="1052"/>
                  </a:lnTo>
                  <a:lnTo>
                    <a:pt x="820" y="1052"/>
                  </a:lnTo>
                  <a:lnTo>
                    <a:pt x="820" y="1049"/>
                  </a:lnTo>
                  <a:lnTo>
                    <a:pt x="820" y="1049"/>
                  </a:lnTo>
                  <a:lnTo>
                    <a:pt x="820" y="1047"/>
                  </a:lnTo>
                  <a:lnTo>
                    <a:pt x="818" y="1047"/>
                  </a:lnTo>
                  <a:lnTo>
                    <a:pt x="818" y="1047"/>
                  </a:lnTo>
                  <a:lnTo>
                    <a:pt x="818" y="1047"/>
                  </a:lnTo>
                  <a:lnTo>
                    <a:pt x="818" y="1045"/>
                  </a:lnTo>
                  <a:lnTo>
                    <a:pt x="820" y="1045"/>
                  </a:lnTo>
                  <a:lnTo>
                    <a:pt x="820" y="1045"/>
                  </a:lnTo>
                  <a:lnTo>
                    <a:pt x="822" y="1042"/>
                  </a:lnTo>
                  <a:lnTo>
                    <a:pt x="825" y="1037"/>
                  </a:lnTo>
                  <a:lnTo>
                    <a:pt x="825" y="1037"/>
                  </a:lnTo>
                  <a:lnTo>
                    <a:pt x="827" y="1035"/>
                  </a:lnTo>
                  <a:lnTo>
                    <a:pt x="827" y="1033"/>
                  </a:lnTo>
                  <a:lnTo>
                    <a:pt x="827" y="1033"/>
                  </a:lnTo>
                  <a:lnTo>
                    <a:pt x="829" y="1033"/>
                  </a:lnTo>
                  <a:lnTo>
                    <a:pt x="827" y="1035"/>
                  </a:lnTo>
                  <a:lnTo>
                    <a:pt x="829" y="1035"/>
                  </a:lnTo>
                  <a:lnTo>
                    <a:pt x="829" y="1037"/>
                  </a:lnTo>
                  <a:lnTo>
                    <a:pt x="832" y="1035"/>
                  </a:lnTo>
                  <a:lnTo>
                    <a:pt x="832" y="1035"/>
                  </a:lnTo>
                  <a:lnTo>
                    <a:pt x="832" y="1033"/>
                  </a:lnTo>
                  <a:lnTo>
                    <a:pt x="834" y="1033"/>
                  </a:lnTo>
                  <a:lnTo>
                    <a:pt x="834" y="1030"/>
                  </a:lnTo>
                  <a:lnTo>
                    <a:pt x="834" y="1028"/>
                  </a:lnTo>
                  <a:lnTo>
                    <a:pt x="837" y="1028"/>
                  </a:lnTo>
                  <a:lnTo>
                    <a:pt x="837" y="1023"/>
                  </a:lnTo>
                  <a:lnTo>
                    <a:pt x="839" y="1023"/>
                  </a:lnTo>
                  <a:lnTo>
                    <a:pt x="839" y="1021"/>
                  </a:lnTo>
                  <a:lnTo>
                    <a:pt x="839" y="1021"/>
                  </a:lnTo>
                  <a:lnTo>
                    <a:pt x="841" y="1019"/>
                  </a:lnTo>
                  <a:lnTo>
                    <a:pt x="841" y="1019"/>
                  </a:lnTo>
                  <a:lnTo>
                    <a:pt x="841" y="1016"/>
                  </a:lnTo>
                  <a:lnTo>
                    <a:pt x="844" y="1016"/>
                  </a:lnTo>
                  <a:lnTo>
                    <a:pt x="844" y="1019"/>
                  </a:lnTo>
                  <a:lnTo>
                    <a:pt x="844" y="1019"/>
                  </a:lnTo>
                  <a:lnTo>
                    <a:pt x="844" y="1019"/>
                  </a:lnTo>
                  <a:lnTo>
                    <a:pt x="846" y="1019"/>
                  </a:lnTo>
                  <a:lnTo>
                    <a:pt x="846" y="1016"/>
                  </a:lnTo>
                  <a:lnTo>
                    <a:pt x="848" y="1014"/>
                  </a:lnTo>
                  <a:lnTo>
                    <a:pt x="848" y="1014"/>
                  </a:lnTo>
                  <a:lnTo>
                    <a:pt x="851" y="1014"/>
                  </a:lnTo>
                  <a:lnTo>
                    <a:pt x="851" y="1011"/>
                  </a:lnTo>
                  <a:lnTo>
                    <a:pt x="851" y="1009"/>
                  </a:lnTo>
                  <a:lnTo>
                    <a:pt x="848" y="1009"/>
                  </a:lnTo>
                  <a:lnTo>
                    <a:pt x="851" y="1004"/>
                  </a:lnTo>
                  <a:lnTo>
                    <a:pt x="851" y="1004"/>
                  </a:lnTo>
                  <a:lnTo>
                    <a:pt x="853" y="1004"/>
                  </a:lnTo>
                  <a:lnTo>
                    <a:pt x="853" y="1002"/>
                  </a:lnTo>
                  <a:lnTo>
                    <a:pt x="855" y="1002"/>
                  </a:lnTo>
                  <a:lnTo>
                    <a:pt x="855" y="997"/>
                  </a:lnTo>
                  <a:lnTo>
                    <a:pt x="855" y="997"/>
                  </a:lnTo>
                  <a:lnTo>
                    <a:pt x="853" y="997"/>
                  </a:lnTo>
                  <a:lnTo>
                    <a:pt x="853" y="995"/>
                  </a:lnTo>
                  <a:lnTo>
                    <a:pt x="853" y="995"/>
                  </a:lnTo>
                  <a:lnTo>
                    <a:pt x="855" y="995"/>
                  </a:lnTo>
                  <a:lnTo>
                    <a:pt x="855" y="995"/>
                  </a:lnTo>
                  <a:lnTo>
                    <a:pt x="855" y="995"/>
                  </a:lnTo>
                  <a:lnTo>
                    <a:pt x="858" y="993"/>
                  </a:lnTo>
                  <a:lnTo>
                    <a:pt x="858" y="990"/>
                  </a:lnTo>
                  <a:lnTo>
                    <a:pt x="858" y="990"/>
                  </a:lnTo>
                  <a:lnTo>
                    <a:pt x="858" y="988"/>
                  </a:lnTo>
                  <a:lnTo>
                    <a:pt x="855" y="988"/>
                  </a:lnTo>
                  <a:lnTo>
                    <a:pt x="855" y="988"/>
                  </a:lnTo>
                  <a:lnTo>
                    <a:pt x="855" y="986"/>
                  </a:lnTo>
                  <a:lnTo>
                    <a:pt x="853" y="986"/>
                  </a:lnTo>
                  <a:lnTo>
                    <a:pt x="853" y="983"/>
                  </a:lnTo>
                  <a:lnTo>
                    <a:pt x="851" y="981"/>
                  </a:lnTo>
                  <a:lnTo>
                    <a:pt x="848" y="981"/>
                  </a:lnTo>
                  <a:lnTo>
                    <a:pt x="848" y="978"/>
                  </a:lnTo>
                  <a:lnTo>
                    <a:pt x="851" y="976"/>
                  </a:lnTo>
                  <a:lnTo>
                    <a:pt x="851" y="976"/>
                  </a:lnTo>
                  <a:lnTo>
                    <a:pt x="851" y="976"/>
                  </a:lnTo>
                  <a:lnTo>
                    <a:pt x="851" y="976"/>
                  </a:lnTo>
                  <a:lnTo>
                    <a:pt x="846" y="976"/>
                  </a:lnTo>
                  <a:lnTo>
                    <a:pt x="846" y="976"/>
                  </a:lnTo>
                  <a:lnTo>
                    <a:pt x="846" y="978"/>
                  </a:lnTo>
                  <a:lnTo>
                    <a:pt x="844" y="978"/>
                  </a:lnTo>
                  <a:lnTo>
                    <a:pt x="844" y="976"/>
                  </a:lnTo>
                  <a:lnTo>
                    <a:pt x="841" y="976"/>
                  </a:lnTo>
                  <a:lnTo>
                    <a:pt x="841" y="976"/>
                  </a:lnTo>
                  <a:lnTo>
                    <a:pt x="841" y="976"/>
                  </a:lnTo>
                  <a:lnTo>
                    <a:pt x="841" y="976"/>
                  </a:lnTo>
                  <a:lnTo>
                    <a:pt x="839" y="976"/>
                  </a:lnTo>
                  <a:lnTo>
                    <a:pt x="839" y="974"/>
                  </a:lnTo>
                  <a:lnTo>
                    <a:pt x="837" y="974"/>
                  </a:lnTo>
                  <a:lnTo>
                    <a:pt x="837" y="976"/>
                  </a:lnTo>
                  <a:lnTo>
                    <a:pt x="837" y="976"/>
                  </a:lnTo>
                  <a:lnTo>
                    <a:pt x="837" y="974"/>
                  </a:lnTo>
                  <a:lnTo>
                    <a:pt x="837" y="974"/>
                  </a:lnTo>
                  <a:lnTo>
                    <a:pt x="837" y="974"/>
                  </a:lnTo>
                  <a:lnTo>
                    <a:pt x="837" y="974"/>
                  </a:lnTo>
                  <a:lnTo>
                    <a:pt x="834" y="974"/>
                  </a:lnTo>
                  <a:lnTo>
                    <a:pt x="834" y="971"/>
                  </a:lnTo>
                  <a:lnTo>
                    <a:pt x="834" y="971"/>
                  </a:lnTo>
                  <a:lnTo>
                    <a:pt x="834" y="971"/>
                  </a:lnTo>
                  <a:lnTo>
                    <a:pt x="832" y="971"/>
                  </a:lnTo>
                  <a:lnTo>
                    <a:pt x="832" y="971"/>
                  </a:lnTo>
                  <a:lnTo>
                    <a:pt x="834" y="971"/>
                  </a:lnTo>
                  <a:lnTo>
                    <a:pt x="832" y="969"/>
                  </a:lnTo>
                  <a:lnTo>
                    <a:pt x="832" y="969"/>
                  </a:lnTo>
                  <a:lnTo>
                    <a:pt x="832" y="969"/>
                  </a:lnTo>
                  <a:lnTo>
                    <a:pt x="832" y="969"/>
                  </a:lnTo>
                  <a:lnTo>
                    <a:pt x="832" y="969"/>
                  </a:lnTo>
                  <a:lnTo>
                    <a:pt x="832" y="969"/>
                  </a:lnTo>
                  <a:lnTo>
                    <a:pt x="832" y="967"/>
                  </a:lnTo>
                  <a:lnTo>
                    <a:pt x="832" y="967"/>
                  </a:lnTo>
                  <a:lnTo>
                    <a:pt x="832" y="964"/>
                  </a:lnTo>
                  <a:lnTo>
                    <a:pt x="832" y="964"/>
                  </a:lnTo>
                  <a:lnTo>
                    <a:pt x="832" y="967"/>
                  </a:lnTo>
                  <a:lnTo>
                    <a:pt x="829" y="967"/>
                  </a:lnTo>
                  <a:lnTo>
                    <a:pt x="829" y="967"/>
                  </a:lnTo>
                  <a:lnTo>
                    <a:pt x="829" y="964"/>
                  </a:lnTo>
                  <a:lnTo>
                    <a:pt x="829" y="962"/>
                  </a:lnTo>
                  <a:lnTo>
                    <a:pt x="827" y="964"/>
                  </a:lnTo>
                  <a:lnTo>
                    <a:pt x="827" y="964"/>
                  </a:lnTo>
                  <a:lnTo>
                    <a:pt x="827" y="964"/>
                  </a:lnTo>
                  <a:lnTo>
                    <a:pt x="827" y="964"/>
                  </a:lnTo>
                  <a:lnTo>
                    <a:pt x="825" y="964"/>
                  </a:lnTo>
                  <a:lnTo>
                    <a:pt x="825" y="964"/>
                  </a:lnTo>
                  <a:lnTo>
                    <a:pt x="822" y="964"/>
                  </a:lnTo>
                  <a:lnTo>
                    <a:pt x="822" y="962"/>
                  </a:lnTo>
                  <a:lnTo>
                    <a:pt x="822" y="964"/>
                  </a:lnTo>
                  <a:lnTo>
                    <a:pt x="822" y="964"/>
                  </a:lnTo>
                  <a:lnTo>
                    <a:pt x="820" y="964"/>
                  </a:lnTo>
                  <a:lnTo>
                    <a:pt x="820" y="964"/>
                  </a:lnTo>
                  <a:lnTo>
                    <a:pt x="820" y="964"/>
                  </a:lnTo>
                  <a:lnTo>
                    <a:pt x="820" y="964"/>
                  </a:lnTo>
                  <a:lnTo>
                    <a:pt x="818" y="964"/>
                  </a:lnTo>
                  <a:lnTo>
                    <a:pt x="818" y="964"/>
                  </a:lnTo>
                  <a:lnTo>
                    <a:pt x="820" y="962"/>
                  </a:lnTo>
                  <a:lnTo>
                    <a:pt x="820" y="960"/>
                  </a:lnTo>
                  <a:lnTo>
                    <a:pt x="818" y="960"/>
                  </a:lnTo>
                  <a:lnTo>
                    <a:pt x="815" y="957"/>
                  </a:lnTo>
                  <a:lnTo>
                    <a:pt x="815" y="960"/>
                  </a:lnTo>
                  <a:lnTo>
                    <a:pt x="815" y="957"/>
                  </a:lnTo>
                  <a:lnTo>
                    <a:pt x="815" y="957"/>
                  </a:lnTo>
                  <a:lnTo>
                    <a:pt x="815" y="955"/>
                  </a:lnTo>
                  <a:lnTo>
                    <a:pt x="813" y="955"/>
                  </a:lnTo>
                  <a:lnTo>
                    <a:pt x="813" y="955"/>
                  </a:lnTo>
                  <a:lnTo>
                    <a:pt x="813" y="955"/>
                  </a:lnTo>
                  <a:lnTo>
                    <a:pt x="813" y="952"/>
                  </a:lnTo>
                  <a:lnTo>
                    <a:pt x="813" y="952"/>
                  </a:lnTo>
                  <a:lnTo>
                    <a:pt x="813" y="952"/>
                  </a:lnTo>
                  <a:lnTo>
                    <a:pt x="811" y="950"/>
                  </a:lnTo>
                  <a:lnTo>
                    <a:pt x="811" y="950"/>
                  </a:lnTo>
                  <a:lnTo>
                    <a:pt x="808" y="952"/>
                  </a:lnTo>
                  <a:lnTo>
                    <a:pt x="808" y="952"/>
                  </a:lnTo>
                  <a:lnTo>
                    <a:pt x="806" y="952"/>
                  </a:lnTo>
                  <a:lnTo>
                    <a:pt x="806" y="952"/>
                  </a:lnTo>
                  <a:lnTo>
                    <a:pt x="806" y="952"/>
                  </a:lnTo>
                  <a:lnTo>
                    <a:pt x="803" y="952"/>
                  </a:lnTo>
                  <a:lnTo>
                    <a:pt x="801" y="952"/>
                  </a:lnTo>
                  <a:lnTo>
                    <a:pt x="799" y="952"/>
                  </a:lnTo>
                  <a:lnTo>
                    <a:pt x="799" y="952"/>
                  </a:lnTo>
                  <a:lnTo>
                    <a:pt x="799" y="952"/>
                  </a:lnTo>
                  <a:lnTo>
                    <a:pt x="796" y="952"/>
                  </a:lnTo>
                  <a:lnTo>
                    <a:pt x="796" y="952"/>
                  </a:lnTo>
                  <a:lnTo>
                    <a:pt x="796" y="952"/>
                  </a:lnTo>
                  <a:lnTo>
                    <a:pt x="794" y="952"/>
                  </a:lnTo>
                  <a:lnTo>
                    <a:pt x="794" y="952"/>
                  </a:lnTo>
                  <a:lnTo>
                    <a:pt x="792" y="952"/>
                  </a:lnTo>
                  <a:lnTo>
                    <a:pt x="789" y="952"/>
                  </a:lnTo>
                  <a:lnTo>
                    <a:pt x="789" y="952"/>
                  </a:lnTo>
                  <a:lnTo>
                    <a:pt x="789" y="952"/>
                  </a:lnTo>
                  <a:lnTo>
                    <a:pt x="787" y="950"/>
                  </a:lnTo>
                  <a:lnTo>
                    <a:pt x="787" y="952"/>
                  </a:lnTo>
                  <a:lnTo>
                    <a:pt x="787" y="950"/>
                  </a:lnTo>
                  <a:lnTo>
                    <a:pt x="787" y="948"/>
                  </a:lnTo>
                  <a:lnTo>
                    <a:pt x="785" y="945"/>
                  </a:lnTo>
                  <a:lnTo>
                    <a:pt x="782" y="945"/>
                  </a:lnTo>
                  <a:lnTo>
                    <a:pt x="782" y="943"/>
                  </a:lnTo>
                  <a:lnTo>
                    <a:pt x="780" y="945"/>
                  </a:lnTo>
                  <a:lnTo>
                    <a:pt x="780" y="948"/>
                  </a:lnTo>
                  <a:lnTo>
                    <a:pt x="777" y="945"/>
                  </a:lnTo>
                  <a:lnTo>
                    <a:pt x="777" y="945"/>
                  </a:lnTo>
                  <a:lnTo>
                    <a:pt x="775" y="945"/>
                  </a:lnTo>
                  <a:lnTo>
                    <a:pt x="775" y="948"/>
                  </a:lnTo>
                  <a:lnTo>
                    <a:pt x="775" y="950"/>
                  </a:lnTo>
                  <a:lnTo>
                    <a:pt x="773" y="950"/>
                  </a:lnTo>
                  <a:lnTo>
                    <a:pt x="770" y="950"/>
                  </a:lnTo>
                  <a:lnTo>
                    <a:pt x="768" y="950"/>
                  </a:lnTo>
                  <a:lnTo>
                    <a:pt x="768" y="950"/>
                  </a:lnTo>
                  <a:lnTo>
                    <a:pt x="768" y="948"/>
                  </a:lnTo>
                  <a:lnTo>
                    <a:pt x="766" y="945"/>
                  </a:lnTo>
                  <a:lnTo>
                    <a:pt x="766" y="945"/>
                  </a:lnTo>
                  <a:lnTo>
                    <a:pt x="763" y="945"/>
                  </a:lnTo>
                  <a:lnTo>
                    <a:pt x="763" y="943"/>
                  </a:lnTo>
                  <a:lnTo>
                    <a:pt x="763" y="943"/>
                  </a:lnTo>
                  <a:lnTo>
                    <a:pt x="763" y="943"/>
                  </a:lnTo>
                  <a:lnTo>
                    <a:pt x="763" y="943"/>
                  </a:lnTo>
                  <a:lnTo>
                    <a:pt x="761" y="941"/>
                  </a:lnTo>
                  <a:lnTo>
                    <a:pt x="761" y="941"/>
                  </a:lnTo>
                  <a:lnTo>
                    <a:pt x="759" y="941"/>
                  </a:lnTo>
                  <a:lnTo>
                    <a:pt x="759" y="941"/>
                  </a:lnTo>
                  <a:lnTo>
                    <a:pt x="756" y="938"/>
                  </a:lnTo>
                  <a:lnTo>
                    <a:pt x="754" y="936"/>
                  </a:lnTo>
                  <a:lnTo>
                    <a:pt x="754" y="936"/>
                  </a:lnTo>
                  <a:lnTo>
                    <a:pt x="751" y="934"/>
                  </a:lnTo>
                  <a:lnTo>
                    <a:pt x="751" y="934"/>
                  </a:lnTo>
                  <a:lnTo>
                    <a:pt x="751" y="934"/>
                  </a:lnTo>
                  <a:lnTo>
                    <a:pt x="751" y="934"/>
                  </a:lnTo>
                  <a:lnTo>
                    <a:pt x="749" y="934"/>
                  </a:lnTo>
                  <a:lnTo>
                    <a:pt x="747" y="934"/>
                  </a:lnTo>
                  <a:lnTo>
                    <a:pt x="747" y="936"/>
                  </a:lnTo>
                  <a:lnTo>
                    <a:pt x="747" y="936"/>
                  </a:lnTo>
                  <a:lnTo>
                    <a:pt x="747" y="936"/>
                  </a:lnTo>
                  <a:lnTo>
                    <a:pt x="744" y="938"/>
                  </a:lnTo>
                  <a:lnTo>
                    <a:pt x="742" y="938"/>
                  </a:lnTo>
                  <a:lnTo>
                    <a:pt x="742" y="938"/>
                  </a:lnTo>
                  <a:lnTo>
                    <a:pt x="740" y="936"/>
                  </a:lnTo>
                  <a:lnTo>
                    <a:pt x="742" y="934"/>
                  </a:lnTo>
                  <a:lnTo>
                    <a:pt x="740" y="934"/>
                  </a:lnTo>
                  <a:lnTo>
                    <a:pt x="737" y="931"/>
                  </a:lnTo>
                  <a:lnTo>
                    <a:pt x="737" y="931"/>
                  </a:lnTo>
                  <a:lnTo>
                    <a:pt x="735" y="931"/>
                  </a:lnTo>
                  <a:lnTo>
                    <a:pt x="735" y="931"/>
                  </a:lnTo>
                  <a:lnTo>
                    <a:pt x="735" y="934"/>
                  </a:lnTo>
                  <a:lnTo>
                    <a:pt x="735" y="934"/>
                  </a:lnTo>
                  <a:lnTo>
                    <a:pt x="733" y="936"/>
                  </a:lnTo>
                  <a:lnTo>
                    <a:pt x="733" y="934"/>
                  </a:lnTo>
                  <a:lnTo>
                    <a:pt x="733" y="936"/>
                  </a:lnTo>
                  <a:lnTo>
                    <a:pt x="728" y="936"/>
                  </a:lnTo>
                  <a:lnTo>
                    <a:pt x="728" y="936"/>
                  </a:lnTo>
                  <a:lnTo>
                    <a:pt x="726" y="936"/>
                  </a:lnTo>
                  <a:lnTo>
                    <a:pt x="726" y="931"/>
                  </a:lnTo>
                  <a:lnTo>
                    <a:pt x="723" y="931"/>
                  </a:lnTo>
                  <a:lnTo>
                    <a:pt x="723" y="931"/>
                  </a:lnTo>
                  <a:lnTo>
                    <a:pt x="721" y="931"/>
                  </a:lnTo>
                  <a:lnTo>
                    <a:pt x="721" y="931"/>
                  </a:lnTo>
                  <a:lnTo>
                    <a:pt x="718" y="931"/>
                  </a:lnTo>
                  <a:lnTo>
                    <a:pt x="718" y="931"/>
                  </a:lnTo>
                  <a:lnTo>
                    <a:pt x="716" y="934"/>
                  </a:lnTo>
                  <a:lnTo>
                    <a:pt x="716" y="934"/>
                  </a:lnTo>
                  <a:lnTo>
                    <a:pt x="716" y="936"/>
                  </a:lnTo>
                  <a:lnTo>
                    <a:pt x="716" y="936"/>
                  </a:lnTo>
                  <a:lnTo>
                    <a:pt x="714" y="938"/>
                  </a:lnTo>
                  <a:lnTo>
                    <a:pt x="709" y="938"/>
                  </a:lnTo>
                  <a:lnTo>
                    <a:pt x="707" y="941"/>
                  </a:lnTo>
                  <a:lnTo>
                    <a:pt x="704" y="941"/>
                  </a:lnTo>
                  <a:lnTo>
                    <a:pt x="702" y="943"/>
                  </a:lnTo>
                  <a:lnTo>
                    <a:pt x="697" y="943"/>
                  </a:lnTo>
                  <a:lnTo>
                    <a:pt x="697" y="943"/>
                  </a:lnTo>
                  <a:lnTo>
                    <a:pt x="697" y="945"/>
                  </a:lnTo>
                  <a:lnTo>
                    <a:pt x="695" y="945"/>
                  </a:lnTo>
                  <a:lnTo>
                    <a:pt x="695" y="945"/>
                  </a:lnTo>
                  <a:lnTo>
                    <a:pt x="692" y="945"/>
                  </a:lnTo>
                  <a:lnTo>
                    <a:pt x="690" y="943"/>
                  </a:lnTo>
                  <a:lnTo>
                    <a:pt x="688" y="943"/>
                  </a:lnTo>
                  <a:lnTo>
                    <a:pt x="685" y="943"/>
                  </a:lnTo>
                  <a:lnTo>
                    <a:pt x="683" y="943"/>
                  </a:lnTo>
                  <a:lnTo>
                    <a:pt x="681" y="943"/>
                  </a:lnTo>
                  <a:lnTo>
                    <a:pt x="678" y="943"/>
                  </a:lnTo>
                  <a:lnTo>
                    <a:pt x="678" y="943"/>
                  </a:lnTo>
                  <a:lnTo>
                    <a:pt x="676" y="943"/>
                  </a:lnTo>
                  <a:lnTo>
                    <a:pt x="676" y="943"/>
                  </a:lnTo>
                  <a:lnTo>
                    <a:pt x="671" y="943"/>
                  </a:lnTo>
                  <a:lnTo>
                    <a:pt x="671" y="943"/>
                  </a:lnTo>
                  <a:lnTo>
                    <a:pt x="671" y="929"/>
                  </a:lnTo>
                  <a:lnTo>
                    <a:pt x="669" y="912"/>
                  </a:lnTo>
                  <a:lnTo>
                    <a:pt x="669" y="910"/>
                  </a:lnTo>
                  <a:lnTo>
                    <a:pt x="664" y="908"/>
                  </a:lnTo>
                  <a:lnTo>
                    <a:pt x="655" y="898"/>
                  </a:lnTo>
                  <a:lnTo>
                    <a:pt x="643" y="886"/>
                  </a:lnTo>
                  <a:lnTo>
                    <a:pt x="612" y="858"/>
                  </a:lnTo>
                  <a:lnTo>
                    <a:pt x="612" y="858"/>
                  </a:lnTo>
                  <a:lnTo>
                    <a:pt x="610" y="860"/>
                  </a:lnTo>
                  <a:lnTo>
                    <a:pt x="607" y="860"/>
                  </a:lnTo>
                  <a:lnTo>
                    <a:pt x="605" y="860"/>
                  </a:lnTo>
                  <a:lnTo>
                    <a:pt x="603" y="860"/>
                  </a:lnTo>
                  <a:lnTo>
                    <a:pt x="603" y="863"/>
                  </a:lnTo>
                  <a:lnTo>
                    <a:pt x="600" y="865"/>
                  </a:lnTo>
                  <a:lnTo>
                    <a:pt x="600" y="865"/>
                  </a:lnTo>
                  <a:lnTo>
                    <a:pt x="598" y="865"/>
                  </a:lnTo>
                  <a:lnTo>
                    <a:pt x="598" y="867"/>
                  </a:lnTo>
                  <a:lnTo>
                    <a:pt x="596" y="867"/>
                  </a:lnTo>
                  <a:lnTo>
                    <a:pt x="596" y="867"/>
                  </a:lnTo>
                  <a:lnTo>
                    <a:pt x="593" y="870"/>
                  </a:lnTo>
                  <a:lnTo>
                    <a:pt x="588" y="867"/>
                  </a:lnTo>
                  <a:lnTo>
                    <a:pt x="588" y="867"/>
                  </a:lnTo>
                  <a:lnTo>
                    <a:pt x="586" y="867"/>
                  </a:lnTo>
                  <a:lnTo>
                    <a:pt x="584" y="867"/>
                  </a:lnTo>
                  <a:lnTo>
                    <a:pt x="577" y="870"/>
                  </a:lnTo>
                  <a:lnTo>
                    <a:pt x="577" y="870"/>
                  </a:lnTo>
                  <a:lnTo>
                    <a:pt x="574" y="870"/>
                  </a:lnTo>
                  <a:lnTo>
                    <a:pt x="574" y="870"/>
                  </a:lnTo>
                  <a:lnTo>
                    <a:pt x="574" y="867"/>
                  </a:lnTo>
                  <a:lnTo>
                    <a:pt x="574" y="867"/>
                  </a:lnTo>
                  <a:lnTo>
                    <a:pt x="572" y="865"/>
                  </a:lnTo>
                  <a:lnTo>
                    <a:pt x="570" y="863"/>
                  </a:lnTo>
                  <a:lnTo>
                    <a:pt x="570" y="863"/>
                  </a:lnTo>
                  <a:lnTo>
                    <a:pt x="567" y="860"/>
                  </a:lnTo>
                  <a:lnTo>
                    <a:pt x="567" y="860"/>
                  </a:lnTo>
                  <a:lnTo>
                    <a:pt x="567" y="858"/>
                  </a:lnTo>
                  <a:lnTo>
                    <a:pt x="565" y="858"/>
                  </a:lnTo>
                  <a:lnTo>
                    <a:pt x="565" y="858"/>
                  </a:lnTo>
                  <a:lnTo>
                    <a:pt x="565" y="858"/>
                  </a:lnTo>
                  <a:lnTo>
                    <a:pt x="565" y="858"/>
                  </a:lnTo>
                  <a:lnTo>
                    <a:pt x="563" y="860"/>
                  </a:lnTo>
                  <a:lnTo>
                    <a:pt x="560" y="858"/>
                  </a:lnTo>
                  <a:lnTo>
                    <a:pt x="560" y="860"/>
                  </a:lnTo>
                  <a:lnTo>
                    <a:pt x="558" y="858"/>
                  </a:lnTo>
                  <a:lnTo>
                    <a:pt x="555" y="860"/>
                  </a:lnTo>
                  <a:lnTo>
                    <a:pt x="553" y="863"/>
                  </a:lnTo>
                  <a:lnTo>
                    <a:pt x="551" y="860"/>
                  </a:lnTo>
                  <a:lnTo>
                    <a:pt x="551" y="860"/>
                  </a:lnTo>
                  <a:lnTo>
                    <a:pt x="551" y="860"/>
                  </a:lnTo>
                  <a:lnTo>
                    <a:pt x="546" y="858"/>
                  </a:lnTo>
                  <a:lnTo>
                    <a:pt x="546" y="858"/>
                  </a:lnTo>
                  <a:lnTo>
                    <a:pt x="546" y="856"/>
                  </a:lnTo>
                  <a:lnTo>
                    <a:pt x="544" y="856"/>
                  </a:lnTo>
                  <a:lnTo>
                    <a:pt x="541" y="858"/>
                  </a:lnTo>
                  <a:lnTo>
                    <a:pt x="539" y="856"/>
                  </a:lnTo>
                  <a:lnTo>
                    <a:pt x="539" y="856"/>
                  </a:lnTo>
                  <a:lnTo>
                    <a:pt x="537" y="856"/>
                  </a:lnTo>
                  <a:lnTo>
                    <a:pt x="534" y="853"/>
                  </a:lnTo>
                  <a:lnTo>
                    <a:pt x="529" y="853"/>
                  </a:lnTo>
                  <a:lnTo>
                    <a:pt x="532" y="851"/>
                  </a:lnTo>
                  <a:lnTo>
                    <a:pt x="532" y="849"/>
                  </a:lnTo>
                  <a:lnTo>
                    <a:pt x="527" y="849"/>
                  </a:lnTo>
                  <a:lnTo>
                    <a:pt x="525" y="844"/>
                  </a:lnTo>
                  <a:lnTo>
                    <a:pt x="522" y="844"/>
                  </a:lnTo>
                  <a:lnTo>
                    <a:pt x="520" y="844"/>
                  </a:lnTo>
                  <a:lnTo>
                    <a:pt x="520" y="844"/>
                  </a:lnTo>
                  <a:lnTo>
                    <a:pt x="520" y="841"/>
                  </a:lnTo>
                  <a:lnTo>
                    <a:pt x="518" y="841"/>
                  </a:lnTo>
                  <a:lnTo>
                    <a:pt x="515" y="841"/>
                  </a:lnTo>
                  <a:lnTo>
                    <a:pt x="513" y="839"/>
                  </a:lnTo>
                  <a:lnTo>
                    <a:pt x="513" y="837"/>
                  </a:lnTo>
                  <a:lnTo>
                    <a:pt x="513" y="837"/>
                  </a:lnTo>
                  <a:lnTo>
                    <a:pt x="511" y="834"/>
                  </a:lnTo>
                  <a:lnTo>
                    <a:pt x="508" y="837"/>
                  </a:lnTo>
                  <a:lnTo>
                    <a:pt x="508" y="839"/>
                  </a:lnTo>
                  <a:lnTo>
                    <a:pt x="506" y="837"/>
                  </a:lnTo>
                  <a:lnTo>
                    <a:pt x="503" y="834"/>
                  </a:lnTo>
                  <a:lnTo>
                    <a:pt x="503" y="834"/>
                  </a:lnTo>
                  <a:lnTo>
                    <a:pt x="503" y="834"/>
                  </a:lnTo>
                  <a:lnTo>
                    <a:pt x="503" y="834"/>
                  </a:lnTo>
                  <a:lnTo>
                    <a:pt x="503" y="834"/>
                  </a:lnTo>
                  <a:lnTo>
                    <a:pt x="501" y="832"/>
                  </a:lnTo>
                  <a:lnTo>
                    <a:pt x="501" y="834"/>
                  </a:lnTo>
                  <a:lnTo>
                    <a:pt x="499" y="832"/>
                  </a:lnTo>
                  <a:lnTo>
                    <a:pt x="496" y="832"/>
                  </a:lnTo>
                  <a:lnTo>
                    <a:pt x="499" y="832"/>
                  </a:lnTo>
                  <a:lnTo>
                    <a:pt x="496" y="832"/>
                  </a:lnTo>
                  <a:lnTo>
                    <a:pt x="496" y="830"/>
                  </a:lnTo>
                  <a:lnTo>
                    <a:pt x="496" y="830"/>
                  </a:lnTo>
                  <a:lnTo>
                    <a:pt x="496" y="830"/>
                  </a:lnTo>
                  <a:lnTo>
                    <a:pt x="494" y="832"/>
                  </a:lnTo>
                  <a:lnTo>
                    <a:pt x="494" y="830"/>
                  </a:lnTo>
                  <a:lnTo>
                    <a:pt x="494" y="830"/>
                  </a:lnTo>
                  <a:lnTo>
                    <a:pt x="492" y="827"/>
                  </a:lnTo>
                  <a:lnTo>
                    <a:pt x="492" y="825"/>
                  </a:lnTo>
                  <a:lnTo>
                    <a:pt x="487" y="825"/>
                  </a:lnTo>
                  <a:lnTo>
                    <a:pt x="485" y="823"/>
                  </a:lnTo>
                  <a:lnTo>
                    <a:pt x="482" y="820"/>
                  </a:lnTo>
                  <a:lnTo>
                    <a:pt x="480" y="820"/>
                  </a:lnTo>
                  <a:lnTo>
                    <a:pt x="480" y="820"/>
                  </a:lnTo>
                  <a:lnTo>
                    <a:pt x="477" y="820"/>
                  </a:lnTo>
                  <a:lnTo>
                    <a:pt x="477" y="818"/>
                  </a:lnTo>
                  <a:lnTo>
                    <a:pt x="475" y="815"/>
                  </a:lnTo>
                  <a:lnTo>
                    <a:pt x="475" y="815"/>
                  </a:lnTo>
                  <a:lnTo>
                    <a:pt x="477" y="815"/>
                  </a:lnTo>
                  <a:lnTo>
                    <a:pt x="475" y="815"/>
                  </a:lnTo>
                  <a:lnTo>
                    <a:pt x="475" y="815"/>
                  </a:lnTo>
                  <a:lnTo>
                    <a:pt x="475" y="815"/>
                  </a:lnTo>
                  <a:lnTo>
                    <a:pt x="473" y="815"/>
                  </a:lnTo>
                  <a:lnTo>
                    <a:pt x="473" y="813"/>
                  </a:lnTo>
                  <a:lnTo>
                    <a:pt x="473" y="815"/>
                  </a:lnTo>
                  <a:lnTo>
                    <a:pt x="473" y="815"/>
                  </a:lnTo>
                  <a:lnTo>
                    <a:pt x="470" y="813"/>
                  </a:lnTo>
                  <a:lnTo>
                    <a:pt x="470" y="813"/>
                  </a:lnTo>
                  <a:lnTo>
                    <a:pt x="470" y="813"/>
                  </a:lnTo>
                  <a:lnTo>
                    <a:pt x="468" y="813"/>
                  </a:lnTo>
                  <a:lnTo>
                    <a:pt x="468" y="811"/>
                  </a:lnTo>
                  <a:lnTo>
                    <a:pt x="468" y="808"/>
                  </a:lnTo>
                  <a:lnTo>
                    <a:pt x="468" y="808"/>
                  </a:lnTo>
                  <a:lnTo>
                    <a:pt x="466" y="808"/>
                  </a:lnTo>
                  <a:lnTo>
                    <a:pt x="463" y="806"/>
                  </a:lnTo>
                  <a:lnTo>
                    <a:pt x="463" y="806"/>
                  </a:lnTo>
                  <a:lnTo>
                    <a:pt x="459" y="806"/>
                  </a:lnTo>
                  <a:lnTo>
                    <a:pt x="459" y="806"/>
                  </a:lnTo>
                  <a:lnTo>
                    <a:pt x="456" y="806"/>
                  </a:lnTo>
                  <a:lnTo>
                    <a:pt x="456" y="804"/>
                  </a:lnTo>
                  <a:lnTo>
                    <a:pt x="456" y="804"/>
                  </a:lnTo>
                  <a:lnTo>
                    <a:pt x="454" y="806"/>
                  </a:lnTo>
                  <a:lnTo>
                    <a:pt x="454" y="806"/>
                  </a:lnTo>
                  <a:lnTo>
                    <a:pt x="451" y="804"/>
                  </a:lnTo>
                  <a:lnTo>
                    <a:pt x="451" y="806"/>
                  </a:lnTo>
                  <a:lnTo>
                    <a:pt x="449" y="806"/>
                  </a:lnTo>
                  <a:lnTo>
                    <a:pt x="449" y="806"/>
                  </a:lnTo>
                  <a:lnTo>
                    <a:pt x="449" y="804"/>
                  </a:lnTo>
                  <a:lnTo>
                    <a:pt x="447" y="804"/>
                  </a:lnTo>
                  <a:lnTo>
                    <a:pt x="447" y="804"/>
                  </a:lnTo>
                  <a:lnTo>
                    <a:pt x="447" y="804"/>
                  </a:lnTo>
                  <a:lnTo>
                    <a:pt x="444" y="804"/>
                  </a:lnTo>
                  <a:lnTo>
                    <a:pt x="444" y="801"/>
                  </a:lnTo>
                  <a:lnTo>
                    <a:pt x="440" y="801"/>
                  </a:lnTo>
                  <a:lnTo>
                    <a:pt x="437" y="801"/>
                  </a:lnTo>
                  <a:lnTo>
                    <a:pt x="437" y="801"/>
                  </a:lnTo>
                  <a:lnTo>
                    <a:pt x="435" y="801"/>
                  </a:lnTo>
                  <a:lnTo>
                    <a:pt x="435" y="801"/>
                  </a:lnTo>
                  <a:lnTo>
                    <a:pt x="435" y="801"/>
                  </a:lnTo>
                  <a:lnTo>
                    <a:pt x="430" y="801"/>
                  </a:lnTo>
                  <a:lnTo>
                    <a:pt x="430" y="801"/>
                  </a:lnTo>
                  <a:lnTo>
                    <a:pt x="423" y="801"/>
                  </a:lnTo>
                  <a:lnTo>
                    <a:pt x="423" y="804"/>
                  </a:lnTo>
                  <a:lnTo>
                    <a:pt x="423" y="804"/>
                  </a:lnTo>
                  <a:lnTo>
                    <a:pt x="421" y="804"/>
                  </a:lnTo>
                  <a:lnTo>
                    <a:pt x="421" y="804"/>
                  </a:lnTo>
                  <a:lnTo>
                    <a:pt x="418" y="804"/>
                  </a:lnTo>
                  <a:lnTo>
                    <a:pt x="418" y="804"/>
                  </a:lnTo>
                  <a:lnTo>
                    <a:pt x="418" y="804"/>
                  </a:lnTo>
                  <a:lnTo>
                    <a:pt x="416" y="806"/>
                  </a:lnTo>
                  <a:lnTo>
                    <a:pt x="414" y="806"/>
                  </a:lnTo>
                  <a:lnTo>
                    <a:pt x="414" y="806"/>
                  </a:lnTo>
                  <a:lnTo>
                    <a:pt x="409" y="808"/>
                  </a:lnTo>
                  <a:lnTo>
                    <a:pt x="407" y="811"/>
                  </a:lnTo>
                  <a:lnTo>
                    <a:pt x="407" y="808"/>
                  </a:lnTo>
                  <a:lnTo>
                    <a:pt x="404" y="811"/>
                  </a:lnTo>
                  <a:lnTo>
                    <a:pt x="404" y="811"/>
                  </a:lnTo>
                  <a:lnTo>
                    <a:pt x="404" y="811"/>
                  </a:lnTo>
                  <a:lnTo>
                    <a:pt x="404" y="811"/>
                  </a:lnTo>
                  <a:lnTo>
                    <a:pt x="402" y="811"/>
                  </a:lnTo>
                  <a:lnTo>
                    <a:pt x="402" y="813"/>
                  </a:lnTo>
                  <a:lnTo>
                    <a:pt x="402" y="813"/>
                  </a:lnTo>
                  <a:lnTo>
                    <a:pt x="402" y="815"/>
                  </a:lnTo>
                  <a:lnTo>
                    <a:pt x="400" y="815"/>
                  </a:lnTo>
                  <a:lnTo>
                    <a:pt x="400" y="815"/>
                  </a:lnTo>
                  <a:lnTo>
                    <a:pt x="400" y="818"/>
                  </a:lnTo>
                  <a:lnTo>
                    <a:pt x="400" y="818"/>
                  </a:lnTo>
                  <a:lnTo>
                    <a:pt x="400" y="818"/>
                  </a:lnTo>
                  <a:lnTo>
                    <a:pt x="400" y="818"/>
                  </a:lnTo>
                  <a:lnTo>
                    <a:pt x="397" y="818"/>
                  </a:lnTo>
                  <a:lnTo>
                    <a:pt x="397" y="820"/>
                  </a:lnTo>
                  <a:lnTo>
                    <a:pt x="395" y="820"/>
                  </a:lnTo>
                  <a:lnTo>
                    <a:pt x="395" y="820"/>
                  </a:lnTo>
                  <a:lnTo>
                    <a:pt x="395" y="820"/>
                  </a:lnTo>
                  <a:lnTo>
                    <a:pt x="392" y="823"/>
                  </a:lnTo>
                  <a:lnTo>
                    <a:pt x="392" y="823"/>
                  </a:lnTo>
                  <a:lnTo>
                    <a:pt x="392" y="820"/>
                  </a:lnTo>
                  <a:lnTo>
                    <a:pt x="392" y="818"/>
                  </a:lnTo>
                  <a:lnTo>
                    <a:pt x="392" y="818"/>
                  </a:lnTo>
                  <a:lnTo>
                    <a:pt x="392" y="818"/>
                  </a:lnTo>
                  <a:lnTo>
                    <a:pt x="388" y="815"/>
                  </a:lnTo>
                  <a:lnTo>
                    <a:pt x="385" y="813"/>
                  </a:lnTo>
                  <a:lnTo>
                    <a:pt x="385" y="813"/>
                  </a:lnTo>
                  <a:lnTo>
                    <a:pt x="383" y="813"/>
                  </a:lnTo>
                  <a:lnTo>
                    <a:pt x="383" y="813"/>
                  </a:lnTo>
                  <a:lnTo>
                    <a:pt x="381" y="813"/>
                  </a:lnTo>
                  <a:lnTo>
                    <a:pt x="376" y="813"/>
                  </a:lnTo>
                  <a:lnTo>
                    <a:pt x="376" y="811"/>
                  </a:lnTo>
                  <a:lnTo>
                    <a:pt x="374" y="811"/>
                  </a:lnTo>
                  <a:lnTo>
                    <a:pt x="374" y="811"/>
                  </a:lnTo>
                  <a:lnTo>
                    <a:pt x="374" y="811"/>
                  </a:lnTo>
                  <a:lnTo>
                    <a:pt x="374" y="811"/>
                  </a:lnTo>
                  <a:lnTo>
                    <a:pt x="371" y="811"/>
                  </a:lnTo>
                  <a:lnTo>
                    <a:pt x="371" y="811"/>
                  </a:lnTo>
                  <a:lnTo>
                    <a:pt x="369" y="811"/>
                  </a:lnTo>
                  <a:lnTo>
                    <a:pt x="369" y="811"/>
                  </a:lnTo>
                  <a:lnTo>
                    <a:pt x="369" y="808"/>
                  </a:lnTo>
                  <a:lnTo>
                    <a:pt x="369" y="808"/>
                  </a:lnTo>
                  <a:lnTo>
                    <a:pt x="369" y="806"/>
                  </a:lnTo>
                  <a:lnTo>
                    <a:pt x="366" y="806"/>
                  </a:lnTo>
                  <a:lnTo>
                    <a:pt x="364" y="806"/>
                  </a:lnTo>
                  <a:lnTo>
                    <a:pt x="364" y="806"/>
                  </a:lnTo>
                  <a:lnTo>
                    <a:pt x="362" y="806"/>
                  </a:lnTo>
                  <a:lnTo>
                    <a:pt x="362" y="806"/>
                  </a:lnTo>
                  <a:lnTo>
                    <a:pt x="362" y="804"/>
                  </a:lnTo>
                  <a:lnTo>
                    <a:pt x="357" y="804"/>
                  </a:lnTo>
                  <a:lnTo>
                    <a:pt x="352" y="804"/>
                  </a:lnTo>
                  <a:lnTo>
                    <a:pt x="352" y="804"/>
                  </a:lnTo>
                  <a:lnTo>
                    <a:pt x="350" y="801"/>
                  </a:lnTo>
                  <a:lnTo>
                    <a:pt x="350" y="801"/>
                  </a:lnTo>
                  <a:lnTo>
                    <a:pt x="350" y="801"/>
                  </a:lnTo>
                  <a:lnTo>
                    <a:pt x="348" y="801"/>
                  </a:lnTo>
                  <a:lnTo>
                    <a:pt x="348" y="801"/>
                  </a:lnTo>
                  <a:lnTo>
                    <a:pt x="348" y="801"/>
                  </a:lnTo>
                  <a:lnTo>
                    <a:pt x="348" y="799"/>
                  </a:lnTo>
                  <a:lnTo>
                    <a:pt x="348" y="799"/>
                  </a:lnTo>
                  <a:lnTo>
                    <a:pt x="348" y="799"/>
                  </a:lnTo>
                  <a:lnTo>
                    <a:pt x="348" y="799"/>
                  </a:lnTo>
                  <a:lnTo>
                    <a:pt x="350" y="799"/>
                  </a:lnTo>
                  <a:lnTo>
                    <a:pt x="348" y="797"/>
                  </a:lnTo>
                  <a:lnTo>
                    <a:pt x="350" y="797"/>
                  </a:lnTo>
                  <a:lnTo>
                    <a:pt x="350" y="794"/>
                  </a:lnTo>
                  <a:lnTo>
                    <a:pt x="348" y="794"/>
                  </a:lnTo>
                  <a:lnTo>
                    <a:pt x="348" y="792"/>
                  </a:lnTo>
                  <a:lnTo>
                    <a:pt x="348" y="794"/>
                  </a:lnTo>
                  <a:lnTo>
                    <a:pt x="348" y="792"/>
                  </a:lnTo>
                  <a:lnTo>
                    <a:pt x="348" y="792"/>
                  </a:lnTo>
                  <a:lnTo>
                    <a:pt x="348" y="789"/>
                  </a:lnTo>
                  <a:lnTo>
                    <a:pt x="348" y="787"/>
                  </a:lnTo>
                  <a:lnTo>
                    <a:pt x="350" y="782"/>
                  </a:lnTo>
                  <a:lnTo>
                    <a:pt x="352" y="775"/>
                  </a:lnTo>
                  <a:lnTo>
                    <a:pt x="355" y="775"/>
                  </a:lnTo>
                  <a:lnTo>
                    <a:pt x="355" y="771"/>
                  </a:lnTo>
                  <a:lnTo>
                    <a:pt x="357" y="766"/>
                  </a:lnTo>
                  <a:lnTo>
                    <a:pt x="357" y="763"/>
                  </a:lnTo>
                  <a:lnTo>
                    <a:pt x="357" y="763"/>
                  </a:lnTo>
                  <a:lnTo>
                    <a:pt x="362" y="759"/>
                  </a:lnTo>
                  <a:lnTo>
                    <a:pt x="359" y="759"/>
                  </a:lnTo>
                  <a:lnTo>
                    <a:pt x="357" y="759"/>
                  </a:lnTo>
                  <a:lnTo>
                    <a:pt x="357" y="756"/>
                  </a:lnTo>
                  <a:lnTo>
                    <a:pt x="357" y="759"/>
                  </a:lnTo>
                  <a:lnTo>
                    <a:pt x="357" y="756"/>
                  </a:lnTo>
                  <a:lnTo>
                    <a:pt x="355" y="756"/>
                  </a:lnTo>
                  <a:lnTo>
                    <a:pt x="357" y="756"/>
                  </a:lnTo>
                  <a:lnTo>
                    <a:pt x="355" y="756"/>
                  </a:lnTo>
                  <a:lnTo>
                    <a:pt x="355" y="756"/>
                  </a:lnTo>
                  <a:lnTo>
                    <a:pt x="352" y="756"/>
                  </a:lnTo>
                  <a:lnTo>
                    <a:pt x="352" y="756"/>
                  </a:lnTo>
                  <a:lnTo>
                    <a:pt x="352" y="756"/>
                  </a:lnTo>
                  <a:lnTo>
                    <a:pt x="352" y="756"/>
                  </a:lnTo>
                  <a:lnTo>
                    <a:pt x="352" y="756"/>
                  </a:lnTo>
                  <a:lnTo>
                    <a:pt x="352" y="756"/>
                  </a:lnTo>
                  <a:lnTo>
                    <a:pt x="350" y="756"/>
                  </a:lnTo>
                  <a:lnTo>
                    <a:pt x="350" y="756"/>
                  </a:lnTo>
                  <a:lnTo>
                    <a:pt x="350" y="756"/>
                  </a:lnTo>
                  <a:lnTo>
                    <a:pt x="348" y="756"/>
                  </a:lnTo>
                  <a:lnTo>
                    <a:pt x="348" y="756"/>
                  </a:lnTo>
                  <a:lnTo>
                    <a:pt x="348" y="754"/>
                  </a:lnTo>
                  <a:lnTo>
                    <a:pt x="348" y="754"/>
                  </a:lnTo>
                  <a:lnTo>
                    <a:pt x="345" y="754"/>
                  </a:lnTo>
                  <a:lnTo>
                    <a:pt x="345" y="754"/>
                  </a:lnTo>
                  <a:lnTo>
                    <a:pt x="345" y="754"/>
                  </a:lnTo>
                  <a:lnTo>
                    <a:pt x="345" y="754"/>
                  </a:lnTo>
                  <a:lnTo>
                    <a:pt x="345" y="754"/>
                  </a:lnTo>
                  <a:lnTo>
                    <a:pt x="343" y="754"/>
                  </a:lnTo>
                  <a:lnTo>
                    <a:pt x="343" y="754"/>
                  </a:lnTo>
                  <a:lnTo>
                    <a:pt x="343" y="754"/>
                  </a:lnTo>
                  <a:lnTo>
                    <a:pt x="340" y="754"/>
                  </a:lnTo>
                  <a:lnTo>
                    <a:pt x="340" y="754"/>
                  </a:lnTo>
                  <a:lnTo>
                    <a:pt x="340" y="752"/>
                  </a:lnTo>
                  <a:lnTo>
                    <a:pt x="338" y="752"/>
                  </a:lnTo>
                  <a:lnTo>
                    <a:pt x="338" y="754"/>
                  </a:lnTo>
                  <a:lnTo>
                    <a:pt x="338" y="752"/>
                  </a:lnTo>
                  <a:lnTo>
                    <a:pt x="338" y="752"/>
                  </a:lnTo>
                  <a:lnTo>
                    <a:pt x="338" y="752"/>
                  </a:lnTo>
                  <a:lnTo>
                    <a:pt x="336" y="752"/>
                  </a:lnTo>
                  <a:lnTo>
                    <a:pt x="336" y="752"/>
                  </a:lnTo>
                  <a:lnTo>
                    <a:pt x="336" y="752"/>
                  </a:lnTo>
                  <a:lnTo>
                    <a:pt x="333" y="749"/>
                  </a:lnTo>
                  <a:lnTo>
                    <a:pt x="336" y="749"/>
                  </a:lnTo>
                  <a:lnTo>
                    <a:pt x="331" y="749"/>
                  </a:lnTo>
                  <a:lnTo>
                    <a:pt x="331" y="749"/>
                  </a:lnTo>
                  <a:lnTo>
                    <a:pt x="331" y="752"/>
                  </a:lnTo>
                  <a:lnTo>
                    <a:pt x="329" y="752"/>
                  </a:lnTo>
                  <a:lnTo>
                    <a:pt x="329" y="752"/>
                  </a:lnTo>
                  <a:lnTo>
                    <a:pt x="329" y="752"/>
                  </a:lnTo>
                  <a:lnTo>
                    <a:pt x="329" y="752"/>
                  </a:lnTo>
                  <a:lnTo>
                    <a:pt x="326" y="752"/>
                  </a:lnTo>
                  <a:lnTo>
                    <a:pt x="326" y="752"/>
                  </a:lnTo>
                  <a:lnTo>
                    <a:pt x="326" y="752"/>
                  </a:lnTo>
                  <a:lnTo>
                    <a:pt x="326" y="752"/>
                  </a:lnTo>
                  <a:lnTo>
                    <a:pt x="324" y="752"/>
                  </a:lnTo>
                  <a:lnTo>
                    <a:pt x="324" y="752"/>
                  </a:lnTo>
                  <a:lnTo>
                    <a:pt x="324" y="752"/>
                  </a:lnTo>
                  <a:lnTo>
                    <a:pt x="324" y="749"/>
                  </a:lnTo>
                  <a:lnTo>
                    <a:pt x="322" y="749"/>
                  </a:lnTo>
                  <a:lnTo>
                    <a:pt x="322" y="752"/>
                  </a:lnTo>
                  <a:lnTo>
                    <a:pt x="322" y="752"/>
                  </a:lnTo>
                  <a:lnTo>
                    <a:pt x="322" y="749"/>
                  </a:lnTo>
                  <a:lnTo>
                    <a:pt x="322" y="752"/>
                  </a:lnTo>
                  <a:lnTo>
                    <a:pt x="319" y="752"/>
                  </a:lnTo>
                  <a:lnTo>
                    <a:pt x="319" y="749"/>
                  </a:lnTo>
                  <a:lnTo>
                    <a:pt x="319" y="749"/>
                  </a:lnTo>
                  <a:lnTo>
                    <a:pt x="319" y="749"/>
                  </a:lnTo>
                  <a:lnTo>
                    <a:pt x="317" y="752"/>
                  </a:lnTo>
                  <a:lnTo>
                    <a:pt x="317" y="752"/>
                  </a:lnTo>
                  <a:lnTo>
                    <a:pt x="314" y="752"/>
                  </a:lnTo>
                  <a:lnTo>
                    <a:pt x="317" y="752"/>
                  </a:lnTo>
                  <a:lnTo>
                    <a:pt x="317" y="749"/>
                  </a:lnTo>
                  <a:lnTo>
                    <a:pt x="312" y="749"/>
                  </a:lnTo>
                  <a:lnTo>
                    <a:pt x="312" y="749"/>
                  </a:lnTo>
                  <a:lnTo>
                    <a:pt x="312" y="749"/>
                  </a:lnTo>
                  <a:lnTo>
                    <a:pt x="310" y="749"/>
                  </a:lnTo>
                  <a:lnTo>
                    <a:pt x="307" y="749"/>
                  </a:lnTo>
                  <a:lnTo>
                    <a:pt x="307" y="747"/>
                  </a:lnTo>
                  <a:lnTo>
                    <a:pt x="307" y="747"/>
                  </a:lnTo>
                  <a:lnTo>
                    <a:pt x="307" y="747"/>
                  </a:lnTo>
                  <a:lnTo>
                    <a:pt x="305" y="745"/>
                  </a:lnTo>
                  <a:lnTo>
                    <a:pt x="305" y="747"/>
                  </a:lnTo>
                  <a:lnTo>
                    <a:pt x="305" y="747"/>
                  </a:lnTo>
                  <a:lnTo>
                    <a:pt x="303" y="747"/>
                  </a:lnTo>
                  <a:lnTo>
                    <a:pt x="303" y="747"/>
                  </a:lnTo>
                  <a:lnTo>
                    <a:pt x="303" y="749"/>
                  </a:lnTo>
                  <a:lnTo>
                    <a:pt x="303" y="747"/>
                  </a:lnTo>
                  <a:lnTo>
                    <a:pt x="300" y="749"/>
                  </a:lnTo>
                  <a:lnTo>
                    <a:pt x="303" y="749"/>
                  </a:lnTo>
                  <a:lnTo>
                    <a:pt x="303" y="749"/>
                  </a:lnTo>
                  <a:lnTo>
                    <a:pt x="300" y="747"/>
                  </a:lnTo>
                  <a:lnTo>
                    <a:pt x="298" y="747"/>
                  </a:lnTo>
                  <a:lnTo>
                    <a:pt x="298" y="747"/>
                  </a:lnTo>
                  <a:lnTo>
                    <a:pt x="298" y="747"/>
                  </a:lnTo>
                  <a:lnTo>
                    <a:pt x="296" y="747"/>
                  </a:lnTo>
                  <a:lnTo>
                    <a:pt x="296" y="749"/>
                  </a:lnTo>
                  <a:lnTo>
                    <a:pt x="293" y="747"/>
                  </a:lnTo>
                  <a:lnTo>
                    <a:pt x="291" y="747"/>
                  </a:lnTo>
                  <a:lnTo>
                    <a:pt x="291" y="749"/>
                  </a:lnTo>
                  <a:lnTo>
                    <a:pt x="288" y="749"/>
                  </a:lnTo>
                  <a:lnTo>
                    <a:pt x="288" y="749"/>
                  </a:lnTo>
                  <a:lnTo>
                    <a:pt x="288" y="749"/>
                  </a:lnTo>
                  <a:lnTo>
                    <a:pt x="288" y="749"/>
                  </a:lnTo>
                  <a:lnTo>
                    <a:pt x="286" y="749"/>
                  </a:lnTo>
                  <a:lnTo>
                    <a:pt x="286" y="752"/>
                  </a:lnTo>
                  <a:lnTo>
                    <a:pt x="284" y="749"/>
                  </a:lnTo>
                  <a:lnTo>
                    <a:pt x="284" y="752"/>
                  </a:lnTo>
                  <a:lnTo>
                    <a:pt x="284" y="752"/>
                  </a:lnTo>
                  <a:lnTo>
                    <a:pt x="284" y="752"/>
                  </a:lnTo>
                  <a:lnTo>
                    <a:pt x="284" y="752"/>
                  </a:lnTo>
                  <a:lnTo>
                    <a:pt x="281" y="752"/>
                  </a:lnTo>
                  <a:lnTo>
                    <a:pt x="281" y="752"/>
                  </a:lnTo>
                  <a:lnTo>
                    <a:pt x="279" y="752"/>
                  </a:lnTo>
                  <a:lnTo>
                    <a:pt x="277" y="754"/>
                  </a:lnTo>
                  <a:lnTo>
                    <a:pt x="274" y="756"/>
                  </a:lnTo>
                  <a:lnTo>
                    <a:pt x="274" y="756"/>
                  </a:lnTo>
                  <a:lnTo>
                    <a:pt x="274" y="756"/>
                  </a:lnTo>
                  <a:lnTo>
                    <a:pt x="274" y="756"/>
                  </a:lnTo>
                  <a:lnTo>
                    <a:pt x="272" y="756"/>
                  </a:lnTo>
                  <a:lnTo>
                    <a:pt x="272" y="756"/>
                  </a:lnTo>
                  <a:lnTo>
                    <a:pt x="272" y="759"/>
                  </a:lnTo>
                  <a:lnTo>
                    <a:pt x="270" y="759"/>
                  </a:lnTo>
                  <a:lnTo>
                    <a:pt x="270" y="756"/>
                  </a:lnTo>
                  <a:lnTo>
                    <a:pt x="270" y="759"/>
                  </a:lnTo>
                  <a:lnTo>
                    <a:pt x="270" y="756"/>
                  </a:lnTo>
                  <a:lnTo>
                    <a:pt x="267" y="759"/>
                  </a:lnTo>
                  <a:lnTo>
                    <a:pt x="265" y="759"/>
                  </a:lnTo>
                  <a:lnTo>
                    <a:pt x="265" y="759"/>
                  </a:lnTo>
                  <a:lnTo>
                    <a:pt x="265" y="759"/>
                  </a:lnTo>
                  <a:lnTo>
                    <a:pt x="263" y="759"/>
                  </a:lnTo>
                  <a:lnTo>
                    <a:pt x="263" y="759"/>
                  </a:lnTo>
                  <a:lnTo>
                    <a:pt x="263" y="759"/>
                  </a:lnTo>
                  <a:lnTo>
                    <a:pt x="263" y="761"/>
                  </a:lnTo>
                  <a:lnTo>
                    <a:pt x="260" y="761"/>
                  </a:lnTo>
                  <a:lnTo>
                    <a:pt x="260" y="761"/>
                  </a:lnTo>
                  <a:lnTo>
                    <a:pt x="260" y="761"/>
                  </a:lnTo>
                  <a:lnTo>
                    <a:pt x="260" y="761"/>
                  </a:lnTo>
                  <a:lnTo>
                    <a:pt x="258" y="761"/>
                  </a:lnTo>
                  <a:lnTo>
                    <a:pt x="258" y="763"/>
                  </a:lnTo>
                  <a:lnTo>
                    <a:pt x="255" y="763"/>
                  </a:lnTo>
                  <a:lnTo>
                    <a:pt x="255" y="763"/>
                  </a:lnTo>
                  <a:lnTo>
                    <a:pt x="255" y="763"/>
                  </a:lnTo>
                  <a:lnTo>
                    <a:pt x="253" y="763"/>
                  </a:lnTo>
                  <a:lnTo>
                    <a:pt x="253" y="766"/>
                  </a:lnTo>
                  <a:lnTo>
                    <a:pt x="253" y="766"/>
                  </a:lnTo>
                  <a:lnTo>
                    <a:pt x="251" y="766"/>
                  </a:lnTo>
                  <a:lnTo>
                    <a:pt x="253" y="766"/>
                  </a:lnTo>
                  <a:lnTo>
                    <a:pt x="251" y="768"/>
                  </a:lnTo>
                  <a:lnTo>
                    <a:pt x="251" y="766"/>
                  </a:lnTo>
                  <a:lnTo>
                    <a:pt x="248" y="766"/>
                  </a:lnTo>
                  <a:lnTo>
                    <a:pt x="248" y="768"/>
                  </a:lnTo>
                  <a:lnTo>
                    <a:pt x="248" y="768"/>
                  </a:lnTo>
                  <a:lnTo>
                    <a:pt x="248" y="771"/>
                  </a:lnTo>
                  <a:lnTo>
                    <a:pt x="248" y="768"/>
                  </a:lnTo>
                  <a:lnTo>
                    <a:pt x="248" y="771"/>
                  </a:lnTo>
                  <a:lnTo>
                    <a:pt x="246" y="768"/>
                  </a:lnTo>
                  <a:lnTo>
                    <a:pt x="246" y="771"/>
                  </a:lnTo>
                  <a:lnTo>
                    <a:pt x="246" y="771"/>
                  </a:lnTo>
                  <a:lnTo>
                    <a:pt x="246" y="771"/>
                  </a:lnTo>
                  <a:lnTo>
                    <a:pt x="244" y="771"/>
                  </a:lnTo>
                  <a:lnTo>
                    <a:pt x="244" y="773"/>
                  </a:lnTo>
                  <a:lnTo>
                    <a:pt x="244" y="773"/>
                  </a:lnTo>
                  <a:lnTo>
                    <a:pt x="244" y="773"/>
                  </a:lnTo>
                  <a:lnTo>
                    <a:pt x="244" y="773"/>
                  </a:lnTo>
                  <a:lnTo>
                    <a:pt x="241" y="775"/>
                  </a:lnTo>
                  <a:lnTo>
                    <a:pt x="241" y="773"/>
                  </a:lnTo>
                  <a:lnTo>
                    <a:pt x="241" y="775"/>
                  </a:lnTo>
                  <a:lnTo>
                    <a:pt x="239" y="775"/>
                  </a:lnTo>
                  <a:lnTo>
                    <a:pt x="239" y="775"/>
                  </a:lnTo>
                  <a:lnTo>
                    <a:pt x="239" y="778"/>
                  </a:lnTo>
                  <a:lnTo>
                    <a:pt x="237" y="778"/>
                  </a:lnTo>
                  <a:lnTo>
                    <a:pt x="237" y="778"/>
                  </a:lnTo>
                  <a:lnTo>
                    <a:pt x="237" y="778"/>
                  </a:lnTo>
                  <a:lnTo>
                    <a:pt x="237" y="778"/>
                  </a:lnTo>
                  <a:lnTo>
                    <a:pt x="234" y="778"/>
                  </a:lnTo>
                  <a:lnTo>
                    <a:pt x="234" y="778"/>
                  </a:lnTo>
                  <a:lnTo>
                    <a:pt x="232" y="778"/>
                  </a:lnTo>
                  <a:lnTo>
                    <a:pt x="232" y="780"/>
                  </a:lnTo>
                  <a:lnTo>
                    <a:pt x="232" y="780"/>
                  </a:lnTo>
                  <a:lnTo>
                    <a:pt x="229" y="780"/>
                  </a:lnTo>
                  <a:lnTo>
                    <a:pt x="229" y="780"/>
                  </a:lnTo>
                  <a:lnTo>
                    <a:pt x="229" y="780"/>
                  </a:lnTo>
                  <a:lnTo>
                    <a:pt x="227" y="780"/>
                  </a:lnTo>
                  <a:lnTo>
                    <a:pt x="227" y="780"/>
                  </a:lnTo>
                  <a:lnTo>
                    <a:pt x="229" y="782"/>
                  </a:lnTo>
                  <a:lnTo>
                    <a:pt x="227" y="782"/>
                  </a:lnTo>
                  <a:lnTo>
                    <a:pt x="227" y="782"/>
                  </a:lnTo>
                  <a:lnTo>
                    <a:pt x="227" y="785"/>
                  </a:lnTo>
                  <a:lnTo>
                    <a:pt x="227" y="785"/>
                  </a:lnTo>
                  <a:lnTo>
                    <a:pt x="227" y="785"/>
                  </a:lnTo>
                  <a:lnTo>
                    <a:pt x="229" y="785"/>
                  </a:lnTo>
                  <a:lnTo>
                    <a:pt x="227" y="785"/>
                  </a:lnTo>
                  <a:lnTo>
                    <a:pt x="227" y="785"/>
                  </a:lnTo>
                  <a:lnTo>
                    <a:pt x="225" y="787"/>
                  </a:lnTo>
                  <a:lnTo>
                    <a:pt x="225" y="787"/>
                  </a:lnTo>
                  <a:lnTo>
                    <a:pt x="225" y="789"/>
                  </a:lnTo>
                  <a:lnTo>
                    <a:pt x="225" y="787"/>
                  </a:lnTo>
                  <a:lnTo>
                    <a:pt x="225" y="789"/>
                  </a:lnTo>
                  <a:lnTo>
                    <a:pt x="225" y="789"/>
                  </a:lnTo>
                  <a:lnTo>
                    <a:pt x="225" y="789"/>
                  </a:lnTo>
                  <a:lnTo>
                    <a:pt x="227" y="789"/>
                  </a:lnTo>
                  <a:lnTo>
                    <a:pt x="227" y="792"/>
                  </a:lnTo>
                  <a:lnTo>
                    <a:pt x="225" y="792"/>
                  </a:lnTo>
                  <a:lnTo>
                    <a:pt x="225" y="792"/>
                  </a:lnTo>
                  <a:lnTo>
                    <a:pt x="225" y="792"/>
                  </a:lnTo>
                  <a:lnTo>
                    <a:pt x="222" y="794"/>
                  </a:lnTo>
                  <a:lnTo>
                    <a:pt x="222" y="792"/>
                  </a:lnTo>
                  <a:lnTo>
                    <a:pt x="222" y="794"/>
                  </a:lnTo>
                  <a:lnTo>
                    <a:pt x="220" y="794"/>
                  </a:lnTo>
                  <a:lnTo>
                    <a:pt x="220" y="794"/>
                  </a:lnTo>
                  <a:lnTo>
                    <a:pt x="218" y="794"/>
                  </a:lnTo>
                  <a:lnTo>
                    <a:pt x="218" y="794"/>
                  </a:lnTo>
                  <a:lnTo>
                    <a:pt x="218" y="794"/>
                  </a:lnTo>
                  <a:lnTo>
                    <a:pt x="218" y="797"/>
                  </a:lnTo>
                  <a:lnTo>
                    <a:pt x="215" y="797"/>
                  </a:lnTo>
                  <a:lnTo>
                    <a:pt x="213" y="797"/>
                  </a:lnTo>
                  <a:lnTo>
                    <a:pt x="213" y="797"/>
                  </a:lnTo>
                  <a:lnTo>
                    <a:pt x="213" y="797"/>
                  </a:lnTo>
                  <a:lnTo>
                    <a:pt x="211" y="799"/>
                  </a:lnTo>
                  <a:lnTo>
                    <a:pt x="211" y="797"/>
                  </a:lnTo>
                  <a:lnTo>
                    <a:pt x="208" y="799"/>
                  </a:lnTo>
                  <a:lnTo>
                    <a:pt x="211" y="801"/>
                  </a:lnTo>
                  <a:lnTo>
                    <a:pt x="208" y="801"/>
                  </a:lnTo>
                  <a:lnTo>
                    <a:pt x="208" y="801"/>
                  </a:lnTo>
                  <a:lnTo>
                    <a:pt x="208" y="801"/>
                  </a:lnTo>
                  <a:lnTo>
                    <a:pt x="206" y="801"/>
                  </a:lnTo>
                  <a:lnTo>
                    <a:pt x="206" y="801"/>
                  </a:lnTo>
                  <a:lnTo>
                    <a:pt x="201" y="804"/>
                  </a:lnTo>
                  <a:lnTo>
                    <a:pt x="201" y="806"/>
                  </a:lnTo>
                  <a:lnTo>
                    <a:pt x="201" y="806"/>
                  </a:lnTo>
                  <a:lnTo>
                    <a:pt x="201" y="806"/>
                  </a:lnTo>
                  <a:lnTo>
                    <a:pt x="199" y="806"/>
                  </a:lnTo>
                  <a:lnTo>
                    <a:pt x="199" y="811"/>
                  </a:lnTo>
                  <a:lnTo>
                    <a:pt x="196" y="813"/>
                  </a:lnTo>
                  <a:lnTo>
                    <a:pt x="196" y="813"/>
                  </a:lnTo>
                  <a:lnTo>
                    <a:pt x="194" y="813"/>
                  </a:lnTo>
                  <a:lnTo>
                    <a:pt x="187" y="813"/>
                  </a:lnTo>
                  <a:lnTo>
                    <a:pt x="185" y="811"/>
                  </a:lnTo>
                  <a:lnTo>
                    <a:pt x="187" y="811"/>
                  </a:lnTo>
                  <a:lnTo>
                    <a:pt x="185" y="811"/>
                  </a:lnTo>
                  <a:lnTo>
                    <a:pt x="185" y="813"/>
                  </a:lnTo>
                  <a:lnTo>
                    <a:pt x="182" y="813"/>
                  </a:lnTo>
                  <a:lnTo>
                    <a:pt x="182" y="813"/>
                  </a:lnTo>
                  <a:lnTo>
                    <a:pt x="182" y="813"/>
                  </a:lnTo>
                  <a:lnTo>
                    <a:pt x="180" y="813"/>
                  </a:lnTo>
                  <a:lnTo>
                    <a:pt x="180" y="813"/>
                  </a:lnTo>
                  <a:lnTo>
                    <a:pt x="177" y="815"/>
                  </a:lnTo>
                  <a:lnTo>
                    <a:pt x="177" y="815"/>
                  </a:lnTo>
                  <a:lnTo>
                    <a:pt x="175" y="818"/>
                  </a:lnTo>
                  <a:lnTo>
                    <a:pt x="175" y="818"/>
                  </a:lnTo>
                  <a:lnTo>
                    <a:pt x="173" y="818"/>
                  </a:lnTo>
                  <a:lnTo>
                    <a:pt x="173" y="820"/>
                  </a:lnTo>
                  <a:lnTo>
                    <a:pt x="173" y="820"/>
                  </a:lnTo>
                  <a:lnTo>
                    <a:pt x="170" y="820"/>
                  </a:lnTo>
                  <a:lnTo>
                    <a:pt x="170" y="823"/>
                  </a:lnTo>
                  <a:lnTo>
                    <a:pt x="170" y="823"/>
                  </a:lnTo>
                  <a:lnTo>
                    <a:pt x="170" y="823"/>
                  </a:lnTo>
                  <a:lnTo>
                    <a:pt x="168" y="823"/>
                  </a:lnTo>
                  <a:lnTo>
                    <a:pt x="168" y="823"/>
                  </a:lnTo>
                  <a:lnTo>
                    <a:pt x="168" y="825"/>
                  </a:lnTo>
                  <a:lnTo>
                    <a:pt x="166" y="825"/>
                  </a:lnTo>
                  <a:lnTo>
                    <a:pt x="166" y="823"/>
                  </a:lnTo>
                  <a:lnTo>
                    <a:pt x="166" y="825"/>
                  </a:lnTo>
                  <a:lnTo>
                    <a:pt x="166" y="827"/>
                  </a:lnTo>
                  <a:lnTo>
                    <a:pt x="166" y="825"/>
                  </a:lnTo>
                  <a:lnTo>
                    <a:pt x="163" y="827"/>
                  </a:lnTo>
                  <a:lnTo>
                    <a:pt x="161" y="827"/>
                  </a:lnTo>
                  <a:lnTo>
                    <a:pt x="161" y="830"/>
                  </a:lnTo>
                  <a:lnTo>
                    <a:pt x="161" y="830"/>
                  </a:lnTo>
                  <a:lnTo>
                    <a:pt x="161" y="830"/>
                  </a:lnTo>
                  <a:lnTo>
                    <a:pt x="161" y="830"/>
                  </a:lnTo>
                  <a:lnTo>
                    <a:pt x="161" y="830"/>
                  </a:lnTo>
                  <a:lnTo>
                    <a:pt x="159" y="830"/>
                  </a:lnTo>
                  <a:lnTo>
                    <a:pt x="159" y="832"/>
                  </a:lnTo>
                  <a:lnTo>
                    <a:pt x="159" y="832"/>
                  </a:lnTo>
                  <a:lnTo>
                    <a:pt x="159" y="832"/>
                  </a:lnTo>
                  <a:lnTo>
                    <a:pt x="156" y="834"/>
                  </a:lnTo>
                  <a:lnTo>
                    <a:pt x="154" y="837"/>
                  </a:lnTo>
                  <a:lnTo>
                    <a:pt x="151" y="837"/>
                  </a:lnTo>
                  <a:lnTo>
                    <a:pt x="151" y="834"/>
                  </a:lnTo>
                  <a:lnTo>
                    <a:pt x="151" y="834"/>
                  </a:lnTo>
                  <a:lnTo>
                    <a:pt x="151" y="837"/>
                  </a:lnTo>
                  <a:lnTo>
                    <a:pt x="149" y="839"/>
                  </a:lnTo>
                  <a:lnTo>
                    <a:pt x="149" y="839"/>
                  </a:lnTo>
                  <a:lnTo>
                    <a:pt x="149" y="839"/>
                  </a:lnTo>
                  <a:lnTo>
                    <a:pt x="149" y="839"/>
                  </a:lnTo>
                  <a:lnTo>
                    <a:pt x="147" y="839"/>
                  </a:lnTo>
                  <a:lnTo>
                    <a:pt x="147" y="839"/>
                  </a:lnTo>
                  <a:lnTo>
                    <a:pt x="147" y="839"/>
                  </a:lnTo>
                  <a:lnTo>
                    <a:pt x="144" y="841"/>
                  </a:lnTo>
                  <a:lnTo>
                    <a:pt x="142" y="839"/>
                  </a:lnTo>
                  <a:lnTo>
                    <a:pt x="142" y="839"/>
                  </a:lnTo>
                  <a:lnTo>
                    <a:pt x="140" y="839"/>
                  </a:lnTo>
                  <a:lnTo>
                    <a:pt x="137" y="839"/>
                  </a:lnTo>
                  <a:lnTo>
                    <a:pt x="137" y="839"/>
                  </a:lnTo>
                  <a:lnTo>
                    <a:pt x="137" y="839"/>
                  </a:lnTo>
                  <a:lnTo>
                    <a:pt x="135" y="839"/>
                  </a:lnTo>
                  <a:lnTo>
                    <a:pt x="135" y="839"/>
                  </a:lnTo>
                  <a:lnTo>
                    <a:pt x="135" y="839"/>
                  </a:lnTo>
                  <a:lnTo>
                    <a:pt x="133" y="841"/>
                  </a:lnTo>
                  <a:lnTo>
                    <a:pt x="133" y="844"/>
                  </a:lnTo>
                  <a:lnTo>
                    <a:pt x="130" y="841"/>
                  </a:lnTo>
                  <a:lnTo>
                    <a:pt x="130" y="844"/>
                  </a:lnTo>
                  <a:lnTo>
                    <a:pt x="130" y="844"/>
                  </a:lnTo>
                  <a:lnTo>
                    <a:pt x="130" y="844"/>
                  </a:lnTo>
                  <a:lnTo>
                    <a:pt x="128" y="844"/>
                  </a:lnTo>
                  <a:lnTo>
                    <a:pt x="128" y="849"/>
                  </a:lnTo>
                  <a:lnTo>
                    <a:pt x="128" y="849"/>
                  </a:lnTo>
                  <a:lnTo>
                    <a:pt x="125" y="849"/>
                  </a:lnTo>
                  <a:lnTo>
                    <a:pt x="125" y="849"/>
                  </a:lnTo>
                  <a:lnTo>
                    <a:pt x="125" y="849"/>
                  </a:lnTo>
                  <a:lnTo>
                    <a:pt x="123" y="851"/>
                  </a:lnTo>
                  <a:lnTo>
                    <a:pt x="123" y="849"/>
                  </a:lnTo>
                  <a:lnTo>
                    <a:pt x="123" y="849"/>
                  </a:lnTo>
                  <a:lnTo>
                    <a:pt x="123" y="851"/>
                  </a:lnTo>
                  <a:lnTo>
                    <a:pt x="123" y="851"/>
                  </a:lnTo>
                  <a:lnTo>
                    <a:pt x="123" y="853"/>
                  </a:lnTo>
                  <a:lnTo>
                    <a:pt x="121" y="856"/>
                  </a:lnTo>
                  <a:lnTo>
                    <a:pt x="121" y="858"/>
                  </a:lnTo>
                  <a:lnTo>
                    <a:pt x="118" y="858"/>
                  </a:lnTo>
                  <a:lnTo>
                    <a:pt x="118" y="858"/>
                  </a:lnTo>
                  <a:lnTo>
                    <a:pt x="118" y="858"/>
                  </a:lnTo>
                  <a:lnTo>
                    <a:pt x="118" y="858"/>
                  </a:lnTo>
                  <a:lnTo>
                    <a:pt x="116" y="858"/>
                  </a:lnTo>
                  <a:lnTo>
                    <a:pt x="116" y="858"/>
                  </a:lnTo>
                  <a:lnTo>
                    <a:pt x="116" y="858"/>
                  </a:lnTo>
                  <a:lnTo>
                    <a:pt x="116" y="858"/>
                  </a:lnTo>
                  <a:lnTo>
                    <a:pt x="116" y="860"/>
                  </a:lnTo>
                  <a:lnTo>
                    <a:pt x="114" y="860"/>
                  </a:lnTo>
                  <a:lnTo>
                    <a:pt x="114" y="860"/>
                  </a:lnTo>
                  <a:lnTo>
                    <a:pt x="114" y="860"/>
                  </a:lnTo>
                  <a:lnTo>
                    <a:pt x="114" y="860"/>
                  </a:lnTo>
                  <a:lnTo>
                    <a:pt x="114" y="860"/>
                  </a:lnTo>
                  <a:lnTo>
                    <a:pt x="114" y="860"/>
                  </a:lnTo>
                  <a:lnTo>
                    <a:pt x="111" y="860"/>
                  </a:lnTo>
                  <a:lnTo>
                    <a:pt x="109" y="860"/>
                  </a:lnTo>
                  <a:lnTo>
                    <a:pt x="109" y="860"/>
                  </a:lnTo>
                  <a:lnTo>
                    <a:pt x="107" y="860"/>
                  </a:lnTo>
                  <a:lnTo>
                    <a:pt x="104" y="860"/>
                  </a:lnTo>
                  <a:lnTo>
                    <a:pt x="104" y="860"/>
                  </a:lnTo>
                  <a:lnTo>
                    <a:pt x="102" y="860"/>
                  </a:lnTo>
                  <a:lnTo>
                    <a:pt x="102" y="860"/>
                  </a:lnTo>
                  <a:lnTo>
                    <a:pt x="102" y="863"/>
                  </a:lnTo>
                  <a:lnTo>
                    <a:pt x="100" y="863"/>
                  </a:lnTo>
                  <a:lnTo>
                    <a:pt x="100" y="863"/>
                  </a:lnTo>
                  <a:lnTo>
                    <a:pt x="100" y="863"/>
                  </a:lnTo>
                  <a:lnTo>
                    <a:pt x="100" y="865"/>
                  </a:lnTo>
                  <a:lnTo>
                    <a:pt x="97" y="865"/>
                  </a:lnTo>
                  <a:lnTo>
                    <a:pt x="97" y="865"/>
                  </a:lnTo>
                  <a:lnTo>
                    <a:pt x="97" y="865"/>
                  </a:lnTo>
                  <a:lnTo>
                    <a:pt x="95" y="867"/>
                  </a:lnTo>
                  <a:lnTo>
                    <a:pt x="90" y="863"/>
                  </a:lnTo>
                  <a:lnTo>
                    <a:pt x="85" y="863"/>
                  </a:lnTo>
                  <a:lnTo>
                    <a:pt x="83" y="865"/>
                  </a:lnTo>
                  <a:lnTo>
                    <a:pt x="83" y="867"/>
                  </a:lnTo>
                  <a:lnTo>
                    <a:pt x="81" y="867"/>
                  </a:lnTo>
                  <a:lnTo>
                    <a:pt x="83" y="870"/>
                  </a:lnTo>
                  <a:lnTo>
                    <a:pt x="81" y="872"/>
                  </a:lnTo>
                  <a:lnTo>
                    <a:pt x="81" y="872"/>
                  </a:lnTo>
                  <a:lnTo>
                    <a:pt x="78" y="872"/>
                  </a:lnTo>
                  <a:lnTo>
                    <a:pt x="78" y="872"/>
                  </a:lnTo>
                  <a:lnTo>
                    <a:pt x="76" y="872"/>
                  </a:lnTo>
                  <a:lnTo>
                    <a:pt x="76" y="872"/>
                  </a:lnTo>
                  <a:lnTo>
                    <a:pt x="76" y="872"/>
                  </a:lnTo>
                  <a:lnTo>
                    <a:pt x="74" y="874"/>
                  </a:lnTo>
                  <a:lnTo>
                    <a:pt x="74" y="877"/>
                  </a:lnTo>
                  <a:lnTo>
                    <a:pt x="74" y="877"/>
                  </a:lnTo>
                  <a:lnTo>
                    <a:pt x="74" y="877"/>
                  </a:lnTo>
                  <a:lnTo>
                    <a:pt x="71" y="879"/>
                  </a:lnTo>
                  <a:lnTo>
                    <a:pt x="74" y="879"/>
                  </a:lnTo>
                  <a:lnTo>
                    <a:pt x="69" y="879"/>
                  </a:lnTo>
                  <a:lnTo>
                    <a:pt x="69" y="879"/>
                  </a:lnTo>
                  <a:lnTo>
                    <a:pt x="69" y="877"/>
                  </a:lnTo>
                  <a:lnTo>
                    <a:pt x="69" y="879"/>
                  </a:lnTo>
                  <a:lnTo>
                    <a:pt x="66" y="877"/>
                  </a:lnTo>
                  <a:lnTo>
                    <a:pt x="66" y="874"/>
                  </a:lnTo>
                  <a:lnTo>
                    <a:pt x="64" y="872"/>
                  </a:lnTo>
                  <a:lnTo>
                    <a:pt x="64" y="870"/>
                  </a:lnTo>
                  <a:lnTo>
                    <a:pt x="66" y="870"/>
                  </a:lnTo>
                  <a:lnTo>
                    <a:pt x="69" y="870"/>
                  </a:lnTo>
                  <a:lnTo>
                    <a:pt x="69" y="870"/>
                  </a:lnTo>
                  <a:lnTo>
                    <a:pt x="69" y="870"/>
                  </a:lnTo>
                  <a:lnTo>
                    <a:pt x="71" y="870"/>
                  </a:lnTo>
                  <a:lnTo>
                    <a:pt x="74" y="867"/>
                  </a:lnTo>
                  <a:lnTo>
                    <a:pt x="74" y="867"/>
                  </a:lnTo>
                  <a:lnTo>
                    <a:pt x="74" y="867"/>
                  </a:lnTo>
                  <a:lnTo>
                    <a:pt x="74" y="865"/>
                  </a:lnTo>
                  <a:lnTo>
                    <a:pt x="74" y="863"/>
                  </a:lnTo>
                  <a:lnTo>
                    <a:pt x="74" y="863"/>
                  </a:lnTo>
                  <a:lnTo>
                    <a:pt x="74" y="860"/>
                  </a:lnTo>
                  <a:lnTo>
                    <a:pt x="76" y="860"/>
                  </a:lnTo>
                  <a:lnTo>
                    <a:pt x="76" y="858"/>
                  </a:lnTo>
                  <a:lnTo>
                    <a:pt x="78" y="858"/>
                  </a:lnTo>
                  <a:lnTo>
                    <a:pt x="78" y="856"/>
                  </a:lnTo>
                  <a:lnTo>
                    <a:pt x="78" y="856"/>
                  </a:lnTo>
                  <a:lnTo>
                    <a:pt x="83" y="851"/>
                  </a:lnTo>
                  <a:lnTo>
                    <a:pt x="83" y="846"/>
                  </a:lnTo>
                  <a:lnTo>
                    <a:pt x="83" y="846"/>
                  </a:lnTo>
                  <a:lnTo>
                    <a:pt x="83" y="844"/>
                  </a:lnTo>
                  <a:lnTo>
                    <a:pt x="83" y="841"/>
                  </a:lnTo>
                  <a:lnTo>
                    <a:pt x="83" y="839"/>
                  </a:lnTo>
                  <a:lnTo>
                    <a:pt x="81" y="839"/>
                  </a:lnTo>
                  <a:lnTo>
                    <a:pt x="81" y="837"/>
                  </a:lnTo>
                  <a:lnTo>
                    <a:pt x="78" y="837"/>
                  </a:lnTo>
                  <a:lnTo>
                    <a:pt x="78" y="832"/>
                  </a:lnTo>
                  <a:lnTo>
                    <a:pt x="76" y="830"/>
                  </a:lnTo>
                  <a:lnTo>
                    <a:pt x="74" y="830"/>
                  </a:lnTo>
                  <a:lnTo>
                    <a:pt x="74" y="830"/>
                  </a:lnTo>
                  <a:lnTo>
                    <a:pt x="76" y="827"/>
                  </a:lnTo>
                  <a:lnTo>
                    <a:pt x="74" y="825"/>
                  </a:lnTo>
                  <a:lnTo>
                    <a:pt x="74" y="825"/>
                  </a:lnTo>
                  <a:lnTo>
                    <a:pt x="74" y="823"/>
                  </a:lnTo>
                  <a:lnTo>
                    <a:pt x="74" y="823"/>
                  </a:lnTo>
                  <a:lnTo>
                    <a:pt x="76" y="823"/>
                  </a:lnTo>
                  <a:lnTo>
                    <a:pt x="76" y="820"/>
                  </a:lnTo>
                  <a:lnTo>
                    <a:pt x="78" y="820"/>
                  </a:lnTo>
                  <a:lnTo>
                    <a:pt x="78" y="820"/>
                  </a:lnTo>
                  <a:lnTo>
                    <a:pt x="78" y="815"/>
                  </a:lnTo>
                  <a:lnTo>
                    <a:pt x="78" y="815"/>
                  </a:lnTo>
                  <a:lnTo>
                    <a:pt x="78" y="815"/>
                  </a:lnTo>
                  <a:lnTo>
                    <a:pt x="78" y="813"/>
                  </a:lnTo>
                  <a:lnTo>
                    <a:pt x="78" y="811"/>
                  </a:lnTo>
                  <a:lnTo>
                    <a:pt x="78" y="811"/>
                  </a:lnTo>
                  <a:lnTo>
                    <a:pt x="78" y="808"/>
                  </a:lnTo>
                  <a:lnTo>
                    <a:pt x="78" y="806"/>
                  </a:lnTo>
                  <a:lnTo>
                    <a:pt x="78" y="806"/>
                  </a:lnTo>
                  <a:lnTo>
                    <a:pt x="76" y="806"/>
                  </a:lnTo>
                  <a:lnTo>
                    <a:pt x="76" y="804"/>
                  </a:lnTo>
                  <a:lnTo>
                    <a:pt x="76" y="804"/>
                  </a:lnTo>
                  <a:lnTo>
                    <a:pt x="76" y="804"/>
                  </a:lnTo>
                  <a:lnTo>
                    <a:pt x="76" y="801"/>
                  </a:lnTo>
                  <a:lnTo>
                    <a:pt x="78" y="801"/>
                  </a:lnTo>
                  <a:lnTo>
                    <a:pt x="78" y="801"/>
                  </a:lnTo>
                  <a:lnTo>
                    <a:pt x="78" y="801"/>
                  </a:lnTo>
                  <a:lnTo>
                    <a:pt x="78" y="801"/>
                  </a:lnTo>
                  <a:lnTo>
                    <a:pt x="81" y="801"/>
                  </a:lnTo>
                  <a:lnTo>
                    <a:pt x="81" y="799"/>
                  </a:lnTo>
                  <a:lnTo>
                    <a:pt x="81" y="799"/>
                  </a:lnTo>
                  <a:lnTo>
                    <a:pt x="81" y="797"/>
                  </a:lnTo>
                  <a:lnTo>
                    <a:pt x="81" y="797"/>
                  </a:lnTo>
                  <a:lnTo>
                    <a:pt x="78" y="794"/>
                  </a:lnTo>
                  <a:lnTo>
                    <a:pt x="81" y="792"/>
                  </a:lnTo>
                  <a:lnTo>
                    <a:pt x="81" y="789"/>
                  </a:lnTo>
                  <a:lnTo>
                    <a:pt x="81" y="789"/>
                  </a:lnTo>
                  <a:lnTo>
                    <a:pt x="81" y="789"/>
                  </a:lnTo>
                  <a:lnTo>
                    <a:pt x="81" y="789"/>
                  </a:lnTo>
                  <a:lnTo>
                    <a:pt x="81" y="787"/>
                  </a:lnTo>
                  <a:lnTo>
                    <a:pt x="81" y="787"/>
                  </a:lnTo>
                  <a:lnTo>
                    <a:pt x="81" y="787"/>
                  </a:lnTo>
                  <a:lnTo>
                    <a:pt x="81" y="785"/>
                  </a:lnTo>
                  <a:lnTo>
                    <a:pt x="81" y="787"/>
                  </a:lnTo>
                  <a:lnTo>
                    <a:pt x="83" y="785"/>
                  </a:lnTo>
                  <a:lnTo>
                    <a:pt x="81" y="785"/>
                  </a:lnTo>
                  <a:lnTo>
                    <a:pt x="81" y="782"/>
                  </a:lnTo>
                  <a:lnTo>
                    <a:pt x="78" y="782"/>
                  </a:lnTo>
                  <a:lnTo>
                    <a:pt x="81" y="780"/>
                  </a:lnTo>
                  <a:lnTo>
                    <a:pt x="78" y="780"/>
                  </a:lnTo>
                  <a:lnTo>
                    <a:pt x="81" y="780"/>
                  </a:lnTo>
                  <a:lnTo>
                    <a:pt x="81" y="780"/>
                  </a:lnTo>
                  <a:lnTo>
                    <a:pt x="81" y="778"/>
                  </a:lnTo>
                  <a:lnTo>
                    <a:pt x="78" y="778"/>
                  </a:lnTo>
                  <a:lnTo>
                    <a:pt x="78" y="775"/>
                  </a:lnTo>
                  <a:lnTo>
                    <a:pt x="78" y="775"/>
                  </a:lnTo>
                  <a:lnTo>
                    <a:pt x="78" y="773"/>
                  </a:lnTo>
                  <a:lnTo>
                    <a:pt x="78" y="771"/>
                  </a:lnTo>
                  <a:lnTo>
                    <a:pt x="78" y="771"/>
                  </a:lnTo>
                  <a:lnTo>
                    <a:pt x="78" y="771"/>
                  </a:lnTo>
                  <a:lnTo>
                    <a:pt x="78" y="771"/>
                  </a:lnTo>
                  <a:lnTo>
                    <a:pt x="78" y="768"/>
                  </a:lnTo>
                  <a:lnTo>
                    <a:pt x="78" y="768"/>
                  </a:lnTo>
                  <a:lnTo>
                    <a:pt x="81" y="771"/>
                  </a:lnTo>
                  <a:lnTo>
                    <a:pt x="83" y="771"/>
                  </a:lnTo>
                  <a:lnTo>
                    <a:pt x="83" y="771"/>
                  </a:lnTo>
                  <a:lnTo>
                    <a:pt x="83" y="771"/>
                  </a:lnTo>
                  <a:lnTo>
                    <a:pt x="85" y="768"/>
                  </a:lnTo>
                  <a:lnTo>
                    <a:pt x="88" y="768"/>
                  </a:lnTo>
                  <a:lnTo>
                    <a:pt x="88" y="768"/>
                  </a:lnTo>
                  <a:lnTo>
                    <a:pt x="88" y="766"/>
                  </a:lnTo>
                  <a:lnTo>
                    <a:pt x="90" y="766"/>
                  </a:lnTo>
                  <a:lnTo>
                    <a:pt x="90" y="763"/>
                  </a:lnTo>
                  <a:lnTo>
                    <a:pt x="90" y="763"/>
                  </a:lnTo>
                  <a:lnTo>
                    <a:pt x="90" y="761"/>
                  </a:lnTo>
                  <a:lnTo>
                    <a:pt x="90" y="761"/>
                  </a:lnTo>
                  <a:lnTo>
                    <a:pt x="88" y="761"/>
                  </a:lnTo>
                  <a:lnTo>
                    <a:pt x="88" y="759"/>
                  </a:lnTo>
                  <a:lnTo>
                    <a:pt x="85" y="759"/>
                  </a:lnTo>
                  <a:lnTo>
                    <a:pt x="85" y="756"/>
                  </a:lnTo>
                  <a:lnTo>
                    <a:pt x="83" y="752"/>
                  </a:lnTo>
                  <a:lnTo>
                    <a:pt x="83" y="752"/>
                  </a:lnTo>
                  <a:lnTo>
                    <a:pt x="81" y="752"/>
                  </a:lnTo>
                  <a:lnTo>
                    <a:pt x="81" y="749"/>
                  </a:lnTo>
                  <a:lnTo>
                    <a:pt x="81" y="749"/>
                  </a:lnTo>
                  <a:lnTo>
                    <a:pt x="78" y="749"/>
                  </a:lnTo>
                  <a:lnTo>
                    <a:pt x="78" y="749"/>
                  </a:lnTo>
                  <a:lnTo>
                    <a:pt x="76" y="749"/>
                  </a:lnTo>
                  <a:lnTo>
                    <a:pt x="76" y="749"/>
                  </a:lnTo>
                  <a:lnTo>
                    <a:pt x="76" y="747"/>
                  </a:lnTo>
                  <a:lnTo>
                    <a:pt x="74" y="747"/>
                  </a:lnTo>
                  <a:lnTo>
                    <a:pt x="71" y="745"/>
                  </a:lnTo>
                  <a:lnTo>
                    <a:pt x="74" y="742"/>
                  </a:lnTo>
                  <a:lnTo>
                    <a:pt x="71" y="740"/>
                  </a:lnTo>
                  <a:lnTo>
                    <a:pt x="69" y="740"/>
                  </a:lnTo>
                  <a:lnTo>
                    <a:pt x="69" y="742"/>
                  </a:lnTo>
                  <a:lnTo>
                    <a:pt x="66" y="742"/>
                  </a:lnTo>
                  <a:lnTo>
                    <a:pt x="66" y="740"/>
                  </a:lnTo>
                  <a:lnTo>
                    <a:pt x="64" y="740"/>
                  </a:lnTo>
                  <a:lnTo>
                    <a:pt x="64" y="737"/>
                  </a:lnTo>
                  <a:lnTo>
                    <a:pt x="64" y="735"/>
                  </a:lnTo>
                  <a:lnTo>
                    <a:pt x="62" y="735"/>
                  </a:lnTo>
                  <a:lnTo>
                    <a:pt x="59" y="735"/>
                  </a:lnTo>
                  <a:lnTo>
                    <a:pt x="55" y="735"/>
                  </a:lnTo>
                  <a:lnTo>
                    <a:pt x="55" y="733"/>
                  </a:lnTo>
                  <a:lnTo>
                    <a:pt x="55" y="730"/>
                  </a:lnTo>
                  <a:lnTo>
                    <a:pt x="55" y="730"/>
                  </a:lnTo>
                  <a:lnTo>
                    <a:pt x="52" y="730"/>
                  </a:lnTo>
                  <a:lnTo>
                    <a:pt x="50" y="728"/>
                  </a:lnTo>
                  <a:lnTo>
                    <a:pt x="48" y="728"/>
                  </a:lnTo>
                  <a:lnTo>
                    <a:pt x="45" y="728"/>
                  </a:lnTo>
                  <a:lnTo>
                    <a:pt x="48" y="726"/>
                  </a:lnTo>
                  <a:lnTo>
                    <a:pt x="48" y="728"/>
                  </a:lnTo>
                  <a:lnTo>
                    <a:pt x="50" y="728"/>
                  </a:lnTo>
                  <a:lnTo>
                    <a:pt x="50" y="723"/>
                  </a:lnTo>
                  <a:lnTo>
                    <a:pt x="50" y="723"/>
                  </a:lnTo>
                  <a:lnTo>
                    <a:pt x="50" y="723"/>
                  </a:lnTo>
                  <a:lnTo>
                    <a:pt x="48" y="723"/>
                  </a:lnTo>
                  <a:lnTo>
                    <a:pt x="50" y="721"/>
                  </a:lnTo>
                  <a:lnTo>
                    <a:pt x="52" y="719"/>
                  </a:lnTo>
                  <a:lnTo>
                    <a:pt x="52" y="716"/>
                  </a:lnTo>
                  <a:lnTo>
                    <a:pt x="52" y="714"/>
                  </a:lnTo>
                  <a:lnTo>
                    <a:pt x="52" y="711"/>
                  </a:lnTo>
                  <a:lnTo>
                    <a:pt x="52" y="711"/>
                  </a:lnTo>
                  <a:lnTo>
                    <a:pt x="50" y="711"/>
                  </a:lnTo>
                  <a:lnTo>
                    <a:pt x="45" y="709"/>
                  </a:lnTo>
                  <a:lnTo>
                    <a:pt x="45" y="704"/>
                  </a:lnTo>
                  <a:lnTo>
                    <a:pt x="45" y="702"/>
                  </a:lnTo>
                  <a:lnTo>
                    <a:pt x="50" y="695"/>
                  </a:lnTo>
                  <a:lnTo>
                    <a:pt x="50" y="695"/>
                  </a:lnTo>
                  <a:lnTo>
                    <a:pt x="50" y="695"/>
                  </a:lnTo>
                  <a:lnTo>
                    <a:pt x="48" y="693"/>
                  </a:lnTo>
                  <a:lnTo>
                    <a:pt x="45" y="693"/>
                  </a:lnTo>
                  <a:lnTo>
                    <a:pt x="45" y="693"/>
                  </a:lnTo>
                  <a:lnTo>
                    <a:pt x="45" y="690"/>
                  </a:lnTo>
                  <a:lnTo>
                    <a:pt x="43" y="688"/>
                  </a:lnTo>
                  <a:lnTo>
                    <a:pt x="45" y="688"/>
                  </a:lnTo>
                  <a:lnTo>
                    <a:pt x="50" y="686"/>
                  </a:lnTo>
                  <a:lnTo>
                    <a:pt x="52" y="686"/>
                  </a:lnTo>
                  <a:lnTo>
                    <a:pt x="50" y="681"/>
                  </a:lnTo>
                  <a:lnTo>
                    <a:pt x="48" y="683"/>
                  </a:lnTo>
                  <a:lnTo>
                    <a:pt x="45" y="681"/>
                  </a:lnTo>
                  <a:lnTo>
                    <a:pt x="45" y="681"/>
                  </a:lnTo>
                  <a:lnTo>
                    <a:pt x="50" y="678"/>
                  </a:lnTo>
                  <a:lnTo>
                    <a:pt x="50" y="678"/>
                  </a:lnTo>
                  <a:lnTo>
                    <a:pt x="50" y="676"/>
                  </a:lnTo>
                  <a:lnTo>
                    <a:pt x="50" y="676"/>
                  </a:lnTo>
                  <a:lnTo>
                    <a:pt x="48" y="676"/>
                  </a:lnTo>
                  <a:lnTo>
                    <a:pt x="45" y="674"/>
                  </a:lnTo>
                  <a:lnTo>
                    <a:pt x="48" y="674"/>
                  </a:lnTo>
                  <a:lnTo>
                    <a:pt x="50" y="669"/>
                  </a:lnTo>
                  <a:lnTo>
                    <a:pt x="50" y="669"/>
                  </a:lnTo>
                  <a:lnTo>
                    <a:pt x="52" y="669"/>
                  </a:lnTo>
                  <a:lnTo>
                    <a:pt x="52" y="667"/>
                  </a:lnTo>
                  <a:lnTo>
                    <a:pt x="55" y="664"/>
                  </a:lnTo>
                  <a:lnTo>
                    <a:pt x="59" y="662"/>
                  </a:lnTo>
                  <a:lnTo>
                    <a:pt x="59" y="660"/>
                  </a:lnTo>
                  <a:lnTo>
                    <a:pt x="55" y="657"/>
                  </a:lnTo>
                  <a:lnTo>
                    <a:pt x="52" y="660"/>
                  </a:lnTo>
                  <a:lnTo>
                    <a:pt x="52" y="657"/>
                  </a:lnTo>
                  <a:lnTo>
                    <a:pt x="50" y="660"/>
                  </a:lnTo>
                  <a:lnTo>
                    <a:pt x="50" y="657"/>
                  </a:lnTo>
                  <a:lnTo>
                    <a:pt x="50" y="657"/>
                  </a:lnTo>
                  <a:lnTo>
                    <a:pt x="50" y="655"/>
                  </a:lnTo>
                  <a:lnTo>
                    <a:pt x="50" y="652"/>
                  </a:lnTo>
                  <a:lnTo>
                    <a:pt x="50" y="650"/>
                  </a:lnTo>
                  <a:lnTo>
                    <a:pt x="52" y="650"/>
                  </a:lnTo>
                  <a:lnTo>
                    <a:pt x="52" y="648"/>
                  </a:lnTo>
                  <a:lnTo>
                    <a:pt x="50" y="648"/>
                  </a:lnTo>
                  <a:lnTo>
                    <a:pt x="50" y="648"/>
                  </a:lnTo>
                  <a:lnTo>
                    <a:pt x="52" y="645"/>
                  </a:lnTo>
                  <a:lnTo>
                    <a:pt x="52" y="645"/>
                  </a:lnTo>
                  <a:lnTo>
                    <a:pt x="52" y="643"/>
                  </a:lnTo>
                  <a:lnTo>
                    <a:pt x="50" y="641"/>
                  </a:lnTo>
                  <a:lnTo>
                    <a:pt x="50" y="641"/>
                  </a:lnTo>
                  <a:lnTo>
                    <a:pt x="50" y="641"/>
                  </a:lnTo>
                  <a:lnTo>
                    <a:pt x="50" y="641"/>
                  </a:lnTo>
                  <a:lnTo>
                    <a:pt x="52" y="638"/>
                  </a:lnTo>
                  <a:lnTo>
                    <a:pt x="52" y="636"/>
                  </a:lnTo>
                  <a:lnTo>
                    <a:pt x="55" y="636"/>
                  </a:lnTo>
                  <a:lnTo>
                    <a:pt x="57" y="636"/>
                  </a:lnTo>
                  <a:lnTo>
                    <a:pt x="59" y="634"/>
                  </a:lnTo>
                  <a:lnTo>
                    <a:pt x="62" y="634"/>
                  </a:lnTo>
                  <a:lnTo>
                    <a:pt x="64" y="631"/>
                  </a:lnTo>
                  <a:lnTo>
                    <a:pt x="64" y="631"/>
                  </a:lnTo>
                  <a:lnTo>
                    <a:pt x="66" y="629"/>
                  </a:lnTo>
                  <a:lnTo>
                    <a:pt x="69" y="626"/>
                  </a:lnTo>
                  <a:lnTo>
                    <a:pt x="74" y="624"/>
                  </a:lnTo>
                  <a:lnTo>
                    <a:pt x="74" y="622"/>
                  </a:lnTo>
                  <a:lnTo>
                    <a:pt x="74" y="619"/>
                  </a:lnTo>
                  <a:lnTo>
                    <a:pt x="74" y="619"/>
                  </a:lnTo>
                  <a:lnTo>
                    <a:pt x="71" y="619"/>
                  </a:lnTo>
                  <a:lnTo>
                    <a:pt x="66" y="619"/>
                  </a:lnTo>
                  <a:lnTo>
                    <a:pt x="64" y="622"/>
                  </a:lnTo>
                  <a:lnTo>
                    <a:pt x="64" y="622"/>
                  </a:lnTo>
                  <a:lnTo>
                    <a:pt x="62" y="622"/>
                  </a:lnTo>
                  <a:lnTo>
                    <a:pt x="57" y="626"/>
                  </a:lnTo>
                  <a:lnTo>
                    <a:pt x="52" y="626"/>
                  </a:lnTo>
                  <a:lnTo>
                    <a:pt x="52" y="626"/>
                  </a:lnTo>
                  <a:lnTo>
                    <a:pt x="50" y="629"/>
                  </a:lnTo>
                  <a:lnTo>
                    <a:pt x="45" y="629"/>
                  </a:lnTo>
                  <a:lnTo>
                    <a:pt x="45" y="629"/>
                  </a:lnTo>
                  <a:lnTo>
                    <a:pt x="43" y="629"/>
                  </a:lnTo>
                  <a:lnTo>
                    <a:pt x="43" y="626"/>
                  </a:lnTo>
                  <a:lnTo>
                    <a:pt x="43" y="626"/>
                  </a:lnTo>
                  <a:lnTo>
                    <a:pt x="43" y="626"/>
                  </a:lnTo>
                  <a:lnTo>
                    <a:pt x="40" y="624"/>
                  </a:lnTo>
                  <a:lnTo>
                    <a:pt x="40" y="622"/>
                  </a:lnTo>
                  <a:lnTo>
                    <a:pt x="40" y="619"/>
                  </a:lnTo>
                  <a:lnTo>
                    <a:pt x="40" y="617"/>
                  </a:lnTo>
                  <a:lnTo>
                    <a:pt x="38" y="617"/>
                  </a:lnTo>
                  <a:lnTo>
                    <a:pt x="38" y="617"/>
                  </a:lnTo>
                  <a:lnTo>
                    <a:pt x="38" y="615"/>
                  </a:lnTo>
                  <a:lnTo>
                    <a:pt x="40" y="612"/>
                  </a:lnTo>
                  <a:lnTo>
                    <a:pt x="40" y="612"/>
                  </a:lnTo>
                  <a:lnTo>
                    <a:pt x="40" y="610"/>
                  </a:lnTo>
                  <a:lnTo>
                    <a:pt x="40" y="610"/>
                  </a:lnTo>
                  <a:lnTo>
                    <a:pt x="40" y="608"/>
                  </a:lnTo>
                  <a:lnTo>
                    <a:pt x="40" y="608"/>
                  </a:lnTo>
                  <a:lnTo>
                    <a:pt x="40" y="608"/>
                  </a:lnTo>
                  <a:lnTo>
                    <a:pt x="40" y="605"/>
                  </a:lnTo>
                  <a:lnTo>
                    <a:pt x="40" y="605"/>
                  </a:lnTo>
                  <a:lnTo>
                    <a:pt x="43" y="603"/>
                  </a:lnTo>
                  <a:lnTo>
                    <a:pt x="43" y="600"/>
                  </a:lnTo>
                  <a:lnTo>
                    <a:pt x="40" y="600"/>
                  </a:lnTo>
                  <a:lnTo>
                    <a:pt x="40" y="600"/>
                  </a:lnTo>
                  <a:lnTo>
                    <a:pt x="40" y="598"/>
                  </a:lnTo>
                  <a:lnTo>
                    <a:pt x="38" y="596"/>
                  </a:lnTo>
                  <a:lnTo>
                    <a:pt x="40" y="593"/>
                  </a:lnTo>
                  <a:lnTo>
                    <a:pt x="43" y="593"/>
                  </a:lnTo>
                  <a:lnTo>
                    <a:pt x="43" y="591"/>
                  </a:lnTo>
                  <a:lnTo>
                    <a:pt x="43" y="591"/>
                  </a:lnTo>
                  <a:lnTo>
                    <a:pt x="43" y="589"/>
                  </a:lnTo>
                  <a:lnTo>
                    <a:pt x="43" y="589"/>
                  </a:lnTo>
                  <a:lnTo>
                    <a:pt x="45" y="586"/>
                  </a:lnTo>
                  <a:lnTo>
                    <a:pt x="45" y="586"/>
                  </a:lnTo>
                  <a:lnTo>
                    <a:pt x="48" y="584"/>
                  </a:lnTo>
                  <a:lnTo>
                    <a:pt x="48" y="584"/>
                  </a:lnTo>
                  <a:lnTo>
                    <a:pt x="50" y="584"/>
                  </a:lnTo>
                  <a:lnTo>
                    <a:pt x="50" y="584"/>
                  </a:lnTo>
                  <a:lnTo>
                    <a:pt x="52" y="584"/>
                  </a:lnTo>
                  <a:lnTo>
                    <a:pt x="52" y="584"/>
                  </a:lnTo>
                  <a:lnTo>
                    <a:pt x="52" y="584"/>
                  </a:lnTo>
                  <a:lnTo>
                    <a:pt x="55" y="584"/>
                  </a:lnTo>
                  <a:lnTo>
                    <a:pt x="55" y="584"/>
                  </a:lnTo>
                  <a:lnTo>
                    <a:pt x="57" y="582"/>
                  </a:lnTo>
                  <a:lnTo>
                    <a:pt x="59" y="582"/>
                  </a:lnTo>
                  <a:lnTo>
                    <a:pt x="59" y="582"/>
                  </a:lnTo>
                  <a:lnTo>
                    <a:pt x="62" y="579"/>
                  </a:lnTo>
                  <a:lnTo>
                    <a:pt x="64" y="579"/>
                  </a:lnTo>
                  <a:lnTo>
                    <a:pt x="64" y="574"/>
                  </a:lnTo>
                  <a:lnTo>
                    <a:pt x="64" y="574"/>
                  </a:lnTo>
                  <a:lnTo>
                    <a:pt x="64" y="572"/>
                  </a:lnTo>
                  <a:lnTo>
                    <a:pt x="62" y="572"/>
                  </a:lnTo>
                  <a:lnTo>
                    <a:pt x="55" y="574"/>
                  </a:lnTo>
                  <a:lnTo>
                    <a:pt x="55" y="574"/>
                  </a:lnTo>
                  <a:lnTo>
                    <a:pt x="52" y="577"/>
                  </a:lnTo>
                  <a:lnTo>
                    <a:pt x="45" y="574"/>
                  </a:lnTo>
                  <a:lnTo>
                    <a:pt x="45" y="574"/>
                  </a:lnTo>
                  <a:lnTo>
                    <a:pt x="43" y="577"/>
                  </a:lnTo>
                  <a:lnTo>
                    <a:pt x="40" y="577"/>
                  </a:lnTo>
                  <a:lnTo>
                    <a:pt x="43" y="574"/>
                  </a:lnTo>
                  <a:lnTo>
                    <a:pt x="43" y="572"/>
                  </a:lnTo>
                  <a:lnTo>
                    <a:pt x="43" y="570"/>
                  </a:lnTo>
                  <a:lnTo>
                    <a:pt x="43" y="567"/>
                  </a:lnTo>
                  <a:lnTo>
                    <a:pt x="43" y="565"/>
                  </a:lnTo>
                  <a:lnTo>
                    <a:pt x="45" y="565"/>
                  </a:lnTo>
                  <a:lnTo>
                    <a:pt x="45" y="563"/>
                  </a:lnTo>
                  <a:lnTo>
                    <a:pt x="45" y="560"/>
                  </a:lnTo>
                  <a:lnTo>
                    <a:pt x="45" y="560"/>
                  </a:lnTo>
                  <a:lnTo>
                    <a:pt x="43" y="558"/>
                  </a:lnTo>
                  <a:lnTo>
                    <a:pt x="43" y="558"/>
                  </a:lnTo>
                  <a:lnTo>
                    <a:pt x="43" y="556"/>
                  </a:lnTo>
                  <a:lnTo>
                    <a:pt x="45" y="556"/>
                  </a:lnTo>
                  <a:lnTo>
                    <a:pt x="45" y="553"/>
                  </a:lnTo>
                  <a:lnTo>
                    <a:pt x="43" y="551"/>
                  </a:lnTo>
                  <a:lnTo>
                    <a:pt x="45" y="551"/>
                  </a:lnTo>
                  <a:lnTo>
                    <a:pt x="45" y="546"/>
                  </a:lnTo>
                  <a:lnTo>
                    <a:pt x="45" y="546"/>
                  </a:lnTo>
                  <a:lnTo>
                    <a:pt x="43" y="546"/>
                  </a:lnTo>
                  <a:lnTo>
                    <a:pt x="43" y="544"/>
                  </a:lnTo>
                  <a:lnTo>
                    <a:pt x="43" y="544"/>
                  </a:lnTo>
                  <a:lnTo>
                    <a:pt x="43" y="541"/>
                  </a:lnTo>
                  <a:lnTo>
                    <a:pt x="45" y="541"/>
                  </a:lnTo>
                  <a:lnTo>
                    <a:pt x="48" y="539"/>
                  </a:lnTo>
                  <a:lnTo>
                    <a:pt x="45" y="537"/>
                  </a:lnTo>
                  <a:lnTo>
                    <a:pt x="45" y="537"/>
                  </a:lnTo>
                  <a:lnTo>
                    <a:pt x="45" y="537"/>
                  </a:lnTo>
                  <a:lnTo>
                    <a:pt x="45" y="537"/>
                  </a:lnTo>
                  <a:lnTo>
                    <a:pt x="43" y="537"/>
                  </a:lnTo>
                  <a:lnTo>
                    <a:pt x="45" y="532"/>
                  </a:lnTo>
                  <a:lnTo>
                    <a:pt x="43" y="530"/>
                  </a:lnTo>
                  <a:lnTo>
                    <a:pt x="45" y="530"/>
                  </a:lnTo>
                  <a:lnTo>
                    <a:pt x="45" y="527"/>
                  </a:lnTo>
                  <a:lnTo>
                    <a:pt x="45" y="525"/>
                  </a:lnTo>
                  <a:lnTo>
                    <a:pt x="48" y="525"/>
                  </a:lnTo>
                  <a:lnTo>
                    <a:pt x="48" y="525"/>
                  </a:lnTo>
                  <a:lnTo>
                    <a:pt x="50" y="523"/>
                  </a:lnTo>
                  <a:lnTo>
                    <a:pt x="55" y="523"/>
                  </a:lnTo>
                  <a:lnTo>
                    <a:pt x="59" y="523"/>
                  </a:lnTo>
                  <a:lnTo>
                    <a:pt x="59" y="520"/>
                  </a:lnTo>
                  <a:lnTo>
                    <a:pt x="59" y="518"/>
                  </a:lnTo>
                  <a:lnTo>
                    <a:pt x="59" y="518"/>
                  </a:lnTo>
                  <a:lnTo>
                    <a:pt x="59" y="515"/>
                  </a:lnTo>
                  <a:lnTo>
                    <a:pt x="57" y="515"/>
                  </a:lnTo>
                  <a:lnTo>
                    <a:pt x="50" y="518"/>
                  </a:lnTo>
                  <a:lnTo>
                    <a:pt x="48" y="518"/>
                  </a:lnTo>
                  <a:lnTo>
                    <a:pt x="48" y="513"/>
                  </a:lnTo>
                  <a:lnTo>
                    <a:pt x="48" y="511"/>
                  </a:lnTo>
                  <a:lnTo>
                    <a:pt x="48" y="511"/>
                  </a:lnTo>
                  <a:lnTo>
                    <a:pt x="48" y="508"/>
                  </a:lnTo>
                  <a:lnTo>
                    <a:pt x="45" y="508"/>
                  </a:lnTo>
                  <a:lnTo>
                    <a:pt x="45" y="508"/>
                  </a:lnTo>
                  <a:lnTo>
                    <a:pt x="43" y="508"/>
                  </a:lnTo>
                  <a:lnTo>
                    <a:pt x="43" y="508"/>
                  </a:lnTo>
                  <a:lnTo>
                    <a:pt x="43" y="508"/>
                  </a:lnTo>
                  <a:lnTo>
                    <a:pt x="40" y="508"/>
                  </a:lnTo>
                  <a:lnTo>
                    <a:pt x="40" y="506"/>
                  </a:lnTo>
                  <a:lnTo>
                    <a:pt x="43" y="506"/>
                  </a:lnTo>
                  <a:lnTo>
                    <a:pt x="43" y="504"/>
                  </a:lnTo>
                  <a:lnTo>
                    <a:pt x="43" y="504"/>
                  </a:lnTo>
                  <a:lnTo>
                    <a:pt x="43" y="501"/>
                  </a:lnTo>
                  <a:lnTo>
                    <a:pt x="40" y="499"/>
                  </a:lnTo>
                  <a:lnTo>
                    <a:pt x="38" y="499"/>
                  </a:lnTo>
                  <a:lnTo>
                    <a:pt x="36" y="499"/>
                  </a:lnTo>
                  <a:lnTo>
                    <a:pt x="36" y="497"/>
                  </a:lnTo>
                  <a:lnTo>
                    <a:pt x="36" y="499"/>
                  </a:lnTo>
                  <a:lnTo>
                    <a:pt x="33" y="497"/>
                  </a:lnTo>
                  <a:lnTo>
                    <a:pt x="36" y="497"/>
                  </a:lnTo>
                  <a:lnTo>
                    <a:pt x="36" y="494"/>
                  </a:lnTo>
                  <a:lnTo>
                    <a:pt x="36" y="494"/>
                  </a:lnTo>
                  <a:lnTo>
                    <a:pt x="38" y="494"/>
                  </a:lnTo>
                  <a:lnTo>
                    <a:pt x="38" y="492"/>
                  </a:lnTo>
                  <a:lnTo>
                    <a:pt x="38" y="492"/>
                  </a:lnTo>
                  <a:lnTo>
                    <a:pt x="36" y="492"/>
                  </a:lnTo>
                  <a:lnTo>
                    <a:pt x="33" y="492"/>
                  </a:lnTo>
                  <a:lnTo>
                    <a:pt x="31" y="492"/>
                  </a:lnTo>
                  <a:lnTo>
                    <a:pt x="33" y="489"/>
                  </a:lnTo>
                  <a:lnTo>
                    <a:pt x="33" y="489"/>
                  </a:lnTo>
                  <a:lnTo>
                    <a:pt x="31" y="485"/>
                  </a:lnTo>
                  <a:lnTo>
                    <a:pt x="31" y="485"/>
                  </a:lnTo>
                  <a:lnTo>
                    <a:pt x="33" y="485"/>
                  </a:lnTo>
                  <a:lnTo>
                    <a:pt x="33" y="482"/>
                  </a:lnTo>
                  <a:lnTo>
                    <a:pt x="33" y="482"/>
                  </a:lnTo>
                  <a:lnTo>
                    <a:pt x="33" y="480"/>
                  </a:lnTo>
                  <a:lnTo>
                    <a:pt x="31" y="480"/>
                  </a:lnTo>
                  <a:lnTo>
                    <a:pt x="31" y="478"/>
                  </a:lnTo>
                  <a:lnTo>
                    <a:pt x="31" y="478"/>
                  </a:lnTo>
                  <a:lnTo>
                    <a:pt x="31" y="475"/>
                  </a:lnTo>
                  <a:lnTo>
                    <a:pt x="31" y="475"/>
                  </a:lnTo>
                  <a:lnTo>
                    <a:pt x="31" y="475"/>
                  </a:lnTo>
                  <a:lnTo>
                    <a:pt x="31" y="473"/>
                  </a:lnTo>
                  <a:lnTo>
                    <a:pt x="33" y="471"/>
                  </a:lnTo>
                  <a:lnTo>
                    <a:pt x="33" y="471"/>
                  </a:lnTo>
                  <a:lnTo>
                    <a:pt x="33" y="468"/>
                  </a:lnTo>
                  <a:lnTo>
                    <a:pt x="33" y="466"/>
                  </a:lnTo>
                  <a:lnTo>
                    <a:pt x="31" y="466"/>
                  </a:lnTo>
                  <a:lnTo>
                    <a:pt x="31" y="463"/>
                  </a:lnTo>
                  <a:lnTo>
                    <a:pt x="31" y="463"/>
                  </a:lnTo>
                  <a:lnTo>
                    <a:pt x="31" y="461"/>
                  </a:lnTo>
                  <a:lnTo>
                    <a:pt x="31" y="461"/>
                  </a:lnTo>
                  <a:lnTo>
                    <a:pt x="31" y="461"/>
                  </a:lnTo>
                  <a:lnTo>
                    <a:pt x="29" y="459"/>
                  </a:lnTo>
                  <a:lnTo>
                    <a:pt x="29" y="456"/>
                  </a:lnTo>
                  <a:lnTo>
                    <a:pt x="31" y="456"/>
                  </a:lnTo>
                  <a:lnTo>
                    <a:pt x="31" y="456"/>
                  </a:lnTo>
                  <a:lnTo>
                    <a:pt x="31" y="454"/>
                  </a:lnTo>
                  <a:lnTo>
                    <a:pt x="33" y="452"/>
                  </a:lnTo>
                  <a:lnTo>
                    <a:pt x="36" y="452"/>
                  </a:lnTo>
                  <a:lnTo>
                    <a:pt x="36" y="449"/>
                  </a:lnTo>
                  <a:lnTo>
                    <a:pt x="38" y="447"/>
                  </a:lnTo>
                  <a:lnTo>
                    <a:pt x="40" y="447"/>
                  </a:lnTo>
                  <a:lnTo>
                    <a:pt x="43" y="447"/>
                  </a:lnTo>
                  <a:lnTo>
                    <a:pt x="48" y="447"/>
                  </a:lnTo>
                  <a:lnTo>
                    <a:pt x="52" y="445"/>
                  </a:lnTo>
                  <a:lnTo>
                    <a:pt x="55" y="445"/>
                  </a:lnTo>
                  <a:lnTo>
                    <a:pt x="57" y="442"/>
                  </a:lnTo>
                  <a:lnTo>
                    <a:pt x="57" y="440"/>
                  </a:lnTo>
                  <a:lnTo>
                    <a:pt x="57" y="437"/>
                  </a:lnTo>
                  <a:lnTo>
                    <a:pt x="55" y="437"/>
                  </a:lnTo>
                  <a:lnTo>
                    <a:pt x="55" y="437"/>
                  </a:lnTo>
                  <a:lnTo>
                    <a:pt x="52" y="440"/>
                  </a:lnTo>
                  <a:lnTo>
                    <a:pt x="50" y="440"/>
                  </a:lnTo>
                  <a:lnTo>
                    <a:pt x="48" y="440"/>
                  </a:lnTo>
                  <a:lnTo>
                    <a:pt x="45" y="440"/>
                  </a:lnTo>
                  <a:lnTo>
                    <a:pt x="43" y="437"/>
                  </a:lnTo>
                  <a:lnTo>
                    <a:pt x="40" y="440"/>
                  </a:lnTo>
                  <a:lnTo>
                    <a:pt x="38" y="440"/>
                  </a:lnTo>
                  <a:lnTo>
                    <a:pt x="36" y="437"/>
                  </a:lnTo>
                  <a:lnTo>
                    <a:pt x="36" y="437"/>
                  </a:lnTo>
                  <a:lnTo>
                    <a:pt x="33" y="437"/>
                  </a:lnTo>
                  <a:lnTo>
                    <a:pt x="31" y="435"/>
                  </a:lnTo>
                  <a:lnTo>
                    <a:pt x="33" y="435"/>
                  </a:lnTo>
                  <a:lnTo>
                    <a:pt x="31" y="433"/>
                  </a:lnTo>
                  <a:lnTo>
                    <a:pt x="33" y="430"/>
                  </a:lnTo>
                  <a:lnTo>
                    <a:pt x="33" y="433"/>
                  </a:lnTo>
                  <a:lnTo>
                    <a:pt x="36" y="430"/>
                  </a:lnTo>
                  <a:lnTo>
                    <a:pt x="36" y="430"/>
                  </a:lnTo>
                  <a:lnTo>
                    <a:pt x="36" y="430"/>
                  </a:lnTo>
                  <a:lnTo>
                    <a:pt x="36" y="428"/>
                  </a:lnTo>
                  <a:lnTo>
                    <a:pt x="38" y="428"/>
                  </a:lnTo>
                  <a:lnTo>
                    <a:pt x="36" y="426"/>
                  </a:lnTo>
                  <a:lnTo>
                    <a:pt x="36" y="426"/>
                  </a:lnTo>
                  <a:lnTo>
                    <a:pt x="38" y="426"/>
                  </a:lnTo>
                  <a:lnTo>
                    <a:pt x="38" y="423"/>
                  </a:lnTo>
                  <a:lnTo>
                    <a:pt x="36" y="423"/>
                  </a:lnTo>
                  <a:lnTo>
                    <a:pt x="36" y="421"/>
                  </a:lnTo>
                  <a:lnTo>
                    <a:pt x="33" y="421"/>
                  </a:lnTo>
                  <a:lnTo>
                    <a:pt x="31" y="421"/>
                  </a:lnTo>
                  <a:lnTo>
                    <a:pt x="33" y="421"/>
                  </a:lnTo>
                  <a:lnTo>
                    <a:pt x="38" y="419"/>
                  </a:lnTo>
                  <a:lnTo>
                    <a:pt x="40" y="414"/>
                  </a:lnTo>
                  <a:lnTo>
                    <a:pt x="43" y="414"/>
                  </a:lnTo>
                  <a:lnTo>
                    <a:pt x="43" y="412"/>
                  </a:lnTo>
                  <a:lnTo>
                    <a:pt x="40" y="409"/>
                  </a:lnTo>
                  <a:lnTo>
                    <a:pt x="40" y="409"/>
                  </a:lnTo>
                  <a:lnTo>
                    <a:pt x="40" y="407"/>
                  </a:lnTo>
                  <a:lnTo>
                    <a:pt x="40" y="404"/>
                  </a:lnTo>
                  <a:lnTo>
                    <a:pt x="40" y="404"/>
                  </a:lnTo>
                  <a:lnTo>
                    <a:pt x="43" y="404"/>
                  </a:lnTo>
                  <a:lnTo>
                    <a:pt x="45" y="404"/>
                  </a:lnTo>
                  <a:lnTo>
                    <a:pt x="45" y="404"/>
                  </a:lnTo>
                  <a:lnTo>
                    <a:pt x="45" y="404"/>
                  </a:lnTo>
                  <a:lnTo>
                    <a:pt x="48" y="404"/>
                  </a:lnTo>
                  <a:lnTo>
                    <a:pt x="52" y="407"/>
                  </a:lnTo>
                  <a:lnTo>
                    <a:pt x="55" y="409"/>
                  </a:lnTo>
                  <a:lnTo>
                    <a:pt x="57" y="407"/>
                  </a:lnTo>
                  <a:lnTo>
                    <a:pt x="59" y="409"/>
                  </a:lnTo>
                  <a:lnTo>
                    <a:pt x="62" y="407"/>
                  </a:lnTo>
                  <a:lnTo>
                    <a:pt x="69" y="407"/>
                  </a:lnTo>
                  <a:lnTo>
                    <a:pt x="69" y="407"/>
                  </a:lnTo>
                  <a:lnTo>
                    <a:pt x="69" y="404"/>
                  </a:lnTo>
                  <a:lnTo>
                    <a:pt x="69" y="402"/>
                  </a:lnTo>
                  <a:lnTo>
                    <a:pt x="66" y="402"/>
                  </a:lnTo>
                  <a:lnTo>
                    <a:pt x="64" y="402"/>
                  </a:lnTo>
                  <a:lnTo>
                    <a:pt x="64" y="402"/>
                  </a:lnTo>
                  <a:lnTo>
                    <a:pt x="62" y="402"/>
                  </a:lnTo>
                  <a:lnTo>
                    <a:pt x="59" y="402"/>
                  </a:lnTo>
                  <a:lnTo>
                    <a:pt x="59" y="400"/>
                  </a:lnTo>
                  <a:lnTo>
                    <a:pt x="57" y="402"/>
                  </a:lnTo>
                  <a:lnTo>
                    <a:pt x="55" y="402"/>
                  </a:lnTo>
                  <a:lnTo>
                    <a:pt x="55" y="402"/>
                  </a:lnTo>
                  <a:lnTo>
                    <a:pt x="52" y="400"/>
                  </a:lnTo>
                  <a:lnTo>
                    <a:pt x="52" y="400"/>
                  </a:lnTo>
                  <a:lnTo>
                    <a:pt x="52" y="397"/>
                  </a:lnTo>
                  <a:lnTo>
                    <a:pt x="50" y="397"/>
                  </a:lnTo>
                  <a:lnTo>
                    <a:pt x="48" y="397"/>
                  </a:lnTo>
                  <a:lnTo>
                    <a:pt x="45" y="395"/>
                  </a:lnTo>
                  <a:lnTo>
                    <a:pt x="45" y="395"/>
                  </a:lnTo>
                  <a:lnTo>
                    <a:pt x="43" y="395"/>
                  </a:lnTo>
                  <a:lnTo>
                    <a:pt x="40" y="393"/>
                  </a:lnTo>
                  <a:lnTo>
                    <a:pt x="36" y="393"/>
                  </a:lnTo>
                  <a:lnTo>
                    <a:pt x="33" y="393"/>
                  </a:lnTo>
                  <a:lnTo>
                    <a:pt x="31" y="393"/>
                  </a:lnTo>
                  <a:lnTo>
                    <a:pt x="31" y="393"/>
                  </a:lnTo>
                  <a:lnTo>
                    <a:pt x="29" y="393"/>
                  </a:lnTo>
                  <a:lnTo>
                    <a:pt x="26" y="393"/>
                  </a:lnTo>
                  <a:lnTo>
                    <a:pt x="26" y="393"/>
                  </a:lnTo>
                  <a:lnTo>
                    <a:pt x="26" y="390"/>
                  </a:lnTo>
                  <a:lnTo>
                    <a:pt x="24" y="390"/>
                  </a:lnTo>
                  <a:lnTo>
                    <a:pt x="22" y="390"/>
                  </a:lnTo>
                  <a:lnTo>
                    <a:pt x="19" y="390"/>
                  </a:lnTo>
                  <a:lnTo>
                    <a:pt x="19" y="390"/>
                  </a:lnTo>
                  <a:lnTo>
                    <a:pt x="17" y="388"/>
                  </a:lnTo>
                  <a:lnTo>
                    <a:pt x="14" y="388"/>
                  </a:lnTo>
                  <a:lnTo>
                    <a:pt x="14" y="388"/>
                  </a:lnTo>
                  <a:lnTo>
                    <a:pt x="14" y="386"/>
                  </a:lnTo>
                  <a:lnTo>
                    <a:pt x="12" y="383"/>
                  </a:lnTo>
                  <a:lnTo>
                    <a:pt x="12" y="378"/>
                  </a:lnTo>
                  <a:lnTo>
                    <a:pt x="12" y="378"/>
                  </a:lnTo>
                  <a:lnTo>
                    <a:pt x="10" y="376"/>
                  </a:lnTo>
                  <a:lnTo>
                    <a:pt x="10" y="376"/>
                  </a:lnTo>
                  <a:lnTo>
                    <a:pt x="10" y="371"/>
                  </a:lnTo>
                  <a:lnTo>
                    <a:pt x="7" y="371"/>
                  </a:lnTo>
                  <a:lnTo>
                    <a:pt x="7" y="371"/>
                  </a:lnTo>
                  <a:lnTo>
                    <a:pt x="5" y="371"/>
                  </a:lnTo>
                  <a:lnTo>
                    <a:pt x="3" y="369"/>
                  </a:lnTo>
                  <a:lnTo>
                    <a:pt x="3" y="364"/>
                  </a:lnTo>
                  <a:lnTo>
                    <a:pt x="3" y="362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 cap="flat">
              <a:solidFill>
                <a:schemeClr val="bg2">
                  <a:lumMod val="7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>
                <a:solidFill>
                  <a:srgbClr val="000000"/>
                </a:solidFill>
              </a:endParaRPr>
            </a:p>
          </p:txBody>
        </p:sp>
        <p:sp>
          <p:nvSpPr>
            <p:cNvPr id="24" name="Freeform 16"/>
            <p:cNvSpPr>
              <a:spLocks/>
            </p:cNvSpPr>
            <p:nvPr/>
          </p:nvSpPr>
          <p:spPr bwMode="gray">
            <a:xfrm>
              <a:off x="3523083" y="3161534"/>
              <a:ext cx="428264" cy="579502"/>
            </a:xfrm>
            <a:custGeom>
              <a:avLst/>
              <a:gdLst/>
              <a:ahLst/>
              <a:cxnLst>
                <a:cxn ang="0">
                  <a:pos x="22" y="36"/>
                </a:cxn>
                <a:cxn ang="0">
                  <a:pos x="22" y="12"/>
                </a:cxn>
                <a:cxn ang="0">
                  <a:pos x="71" y="10"/>
                </a:cxn>
                <a:cxn ang="0">
                  <a:pos x="109" y="5"/>
                </a:cxn>
                <a:cxn ang="0">
                  <a:pos x="163" y="5"/>
                </a:cxn>
                <a:cxn ang="0">
                  <a:pos x="182" y="7"/>
                </a:cxn>
                <a:cxn ang="0">
                  <a:pos x="215" y="26"/>
                </a:cxn>
                <a:cxn ang="0">
                  <a:pos x="253" y="48"/>
                </a:cxn>
                <a:cxn ang="0">
                  <a:pos x="289" y="69"/>
                </a:cxn>
                <a:cxn ang="0">
                  <a:pos x="315" y="85"/>
                </a:cxn>
                <a:cxn ang="0">
                  <a:pos x="345" y="111"/>
                </a:cxn>
                <a:cxn ang="0">
                  <a:pos x="376" y="121"/>
                </a:cxn>
                <a:cxn ang="0">
                  <a:pos x="400" y="149"/>
                </a:cxn>
                <a:cxn ang="0">
                  <a:pos x="440" y="196"/>
                </a:cxn>
                <a:cxn ang="0">
                  <a:pos x="475" y="227"/>
                </a:cxn>
                <a:cxn ang="0">
                  <a:pos x="518" y="248"/>
                </a:cxn>
                <a:cxn ang="0">
                  <a:pos x="470" y="298"/>
                </a:cxn>
                <a:cxn ang="0">
                  <a:pos x="456" y="333"/>
                </a:cxn>
                <a:cxn ang="0">
                  <a:pos x="435" y="362"/>
                </a:cxn>
                <a:cxn ang="0">
                  <a:pos x="426" y="390"/>
                </a:cxn>
                <a:cxn ang="0">
                  <a:pos x="404" y="426"/>
                </a:cxn>
                <a:cxn ang="0">
                  <a:pos x="385" y="428"/>
                </a:cxn>
                <a:cxn ang="0">
                  <a:pos x="369" y="449"/>
                </a:cxn>
                <a:cxn ang="0">
                  <a:pos x="362" y="468"/>
                </a:cxn>
                <a:cxn ang="0">
                  <a:pos x="364" y="477"/>
                </a:cxn>
                <a:cxn ang="0">
                  <a:pos x="352" y="503"/>
                </a:cxn>
                <a:cxn ang="0">
                  <a:pos x="357" y="522"/>
                </a:cxn>
                <a:cxn ang="0">
                  <a:pos x="345" y="537"/>
                </a:cxn>
                <a:cxn ang="0">
                  <a:pos x="338" y="551"/>
                </a:cxn>
                <a:cxn ang="0">
                  <a:pos x="350" y="567"/>
                </a:cxn>
                <a:cxn ang="0">
                  <a:pos x="364" y="581"/>
                </a:cxn>
                <a:cxn ang="0">
                  <a:pos x="362" y="605"/>
                </a:cxn>
                <a:cxn ang="0">
                  <a:pos x="352" y="624"/>
                </a:cxn>
                <a:cxn ang="0">
                  <a:pos x="338" y="636"/>
                </a:cxn>
                <a:cxn ang="0">
                  <a:pos x="324" y="645"/>
                </a:cxn>
                <a:cxn ang="0">
                  <a:pos x="312" y="659"/>
                </a:cxn>
                <a:cxn ang="0">
                  <a:pos x="296" y="652"/>
                </a:cxn>
                <a:cxn ang="0">
                  <a:pos x="274" y="638"/>
                </a:cxn>
                <a:cxn ang="0">
                  <a:pos x="263" y="617"/>
                </a:cxn>
                <a:cxn ang="0">
                  <a:pos x="232" y="593"/>
                </a:cxn>
                <a:cxn ang="0">
                  <a:pos x="187" y="600"/>
                </a:cxn>
                <a:cxn ang="0">
                  <a:pos x="116" y="591"/>
                </a:cxn>
                <a:cxn ang="0">
                  <a:pos x="126" y="553"/>
                </a:cxn>
                <a:cxn ang="0">
                  <a:pos x="135" y="525"/>
                </a:cxn>
                <a:cxn ang="0">
                  <a:pos x="102" y="511"/>
                </a:cxn>
                <a:cxn ang="0">
                  <a:pos x="81" y="470"/>
                </a:cxn>
                <a:cxn ang="0">
                  <a:pos x="74" y="433"/>
                </a:cxn>
                <a:cxn ang="0">
                  <a:pos x="67" y="390"/>
                </a:cxn>
                <a:cxn ang="0">
                  <a:pos x="64" y="355"/>
                </a:cxn>
                <a:cxn ang="0">
                  <a:pos x="64" y="333"/>
                </a:cxn>
                <a:cxn ang="0">
                  <a:pos x="62" y="312"/>
                </a:cxn>
                <a:cxn ang="0">
                  <a:pos x="38" y="296"/>
                </a:cxn>
                <a:cxn ang="0">
                  <a:pos x="22" y="272"/>
                </a:cxn>
                <a:cxn ang="0">
                  <a:pos x="29" y="241"/>
                </a:cxn>
                <a:cxn ang="0">
                  <a:pos x="33" y="215"/>
                </a:cxn>
                <a:cxn ang="0">
                  <a:pos x="38" y="168"/>
                </a:cxn>
                <a:cxn ang="0">
                  <a:pos x="22" y="161"/>
                </a:cxn>
                <a:cxn ang="0">
                  <a:pos x="19" y="137"/>
                </a:cxn>
                <a:cxn ang="0">
                  <a:pos x="12" y="118"/>
                </a:cxn>
                <a:cxn ang="0">
                  <a:pos x="12" y="92"/>
                </a:cxn>
              </a:cxnLst>
              <a:rect l="0" t="0" r="r" b="b"/>
              <a:pathLst>
                <a:path w="530" h="662">
                  <a:moveTo>
                    <a:pt x="3" y="74"/>
                  </a:moveTo>
                  <a:lnTo>
                    <a:pt x="3" y="71"/>
                  </a:lnTo>
                  <a:lnTo>
                    <a:pt x="3" y="69"/>
                  </a:lnTo>
                  <a:lnTo>
                    <a:pt x="3" y="69"/>
                  </a:lnTo>
                  <a:lnTo>
                    <a:pt x="5" y="64"/>
                  </a:lnTo>
                  <a:lnTo>
                    <a:pt x="12" y="50"/>
                  </a:lnTo>
                  <a:lnTo>
                    <a:pt x="12" y="48"/>
                  </a:lnTo>
                  <a:lnTo>
                    <a:pt x="15" y="48"/>
                  </a:lnTo>
                  <a:lnTo>
                    <a:pt x="17" y="45"/>
                  </a:lnTo>
                  <a:lnTo>
                    <a:pt x="19" y="43"/>
                  </a:lnTo>
                  <a:lnTo>
                    <a:pt x="19" y="40"/>
                  </a:lnTo>
                  <a:lnTo>
                    <a:pt x="19" y="40"/>
                  </a:lnTo>
                  <a:lnTo>
                    <a:pt x="19" y="40"/>
                  </a:lnTo>
                  <a:lnTo>
                    <a:pt x="22" y="38"/>
                  </a:lnTo>
                  <a:lnTo>
                    <a:pt x="22" y="36"/>
                  </a:lnTo>
                  <a:lnTo>
                    <a:pt x="22" y="36"/>
                  </a:lnTo>
                  <a:lnTo>
                    <a:pt x="22" y="36"/>
                  </a:lnTo>
                  <a:lnTo>
                    <a:pt x="22" y="33"/>
                  </a:lnTo>
                  <a:lnTo>
                    <a:pt x="22" y="31"/>
                  </a:lnTo>
                  <a:lnTo>
                    <a:pt x="22" y="31"/>
                  </a:lnTo>
                  <a:lnTo>
                    <a:pt x="22" y="31"/>
                  </a:lnTo>
                  <a:lnTo>
                    <a:pt x="22" y="29"/>
                  </a:lnTo>
                  <a:lnTo>
                    <a:pt x="22" y="29"/>
                  </a:lnTo>
                  <a:lnTo>
                    <a:pt x="19" y="26"/>
                  </a:lnTo>
                  <a:lnTo>
                    <a:pt x="19" y="24"/>
                  </a:lnTo>
                  <a:lnTo>
                    <a:pt x="19" y="24"/>
                  </a:lnTo>
                  <a:lnTo>
                    <a:pt x="17" y="24"/>
                  </a:lnTo>
                  <a:lnTo>
                    <a:pt x="15" y="22"/>
                  </a:lnTo>
                  <a:lnTo>
                    <a:pt x="15" y="22"/>
                  </a:lnTo>
                  <a:lnTo>
                    <a:pt x="12" y="22"/>
                  </a:lnTo>
                  <a:lnTo>
                    <a:pt x="12" y="17"/>
                  </a:lnTo>
                  <a:lnTo>
                    <a:pt x="19" y="14"/>
                  </a:lnTo>
                  <a:lnTo>
                    <a:pt x="19" y="12"/>
                  </a:lnTo>
                  <a:lnTo>
                    <a:pt x="22" y="12"/>
                  </a:lnTo>
                  <a:lnTo>
                    <a:pt x="26" y="12"/>
                  </a:lnTo>
                  <a:lnTo>
                    <a:pt x="31" y="12"/>
                  </a:lnTo>
                  <a:lnTo>
                    <a:pt x="33" y="12"/>
                  </a:lnTo>
                  <a:lnTo>
                    <a:pt x="38" y="12"/>
                  </a:lnTo>
                  <a:lnTo>
                    <a:pt x="43" y="14"/>
                  </a:lnTo>
                  <a:lnTo>
                    <a:pt x="43" y="12"/>
                  </a:lnTo>
                  <a:lnTo>
                    <a:pt x="43" y="14"/>
                  </a:lnTo>
                  <a:lnTo>
                    <a:pt x="48" y="14"/>
                  </a:lnTo>
                  <a:lnTo>
                    <a:pt x="55" y="12"/>
                  </a:lnTo>
                  <a:lnTo>
                    <a:pt x="55" y="12"/>
                  </a:lnTo>
                  <a:lnTo>
                    <a:pt x="59" y="12"/>
                  </a:lnTo>
                  <a:lnTo>
                    <a:pt x="62" y="10"/>
                  </a:lnTo>
                  <a:lnTo>
                    <a:pt x="67" y="10"/>
                  </a:lnTo>
                  <a:lnTo>
                    <a:pt x="67" y="10"/>
                  </a:lnTo>
                  <a:lnTo>
                    <a:pt x="67" y="10"/>
                  </a:lnTo>
                  <a:lnTo>
                    <a:pt x="71" y="10"/>
                  </a:lnTo>
                  <a:lnTo>
                    <a:pt x="71" y="10"/>
                  </a:lnTo>
                  <a:lnTo>
                    <a:pt x="71" y="10"/>
                  </a:lnTo>
                  <a:lnTo>
                    <a:pt x="71" y="10"/>
                  </a:lnTo>
                  <a:lnTo>
                    <a:pt x="74" y="10"/>
                  </a:lnTo>
                  <a:lnTo>
                    <a:pt x="74" y="10"/>
                  </a:lnTo>
                  <a:lnTo>
                    <a:pt x="74" y="12"/>
                  </a:lnTo>
                  <a:lnTo>
                    <a:pt x="76" y="12"/>
                  </a:lnTo>
                  <a:lnTo>
                    <a:pt x="78" y="12"/>
                  </a:lnTo>
                  <a:lnTo>
                    <a:pt x="81" y="10"/>
                  </a:lnTo>
                  <a:lnTo>
                    <a:pt x="83" y="7"/>
                  </a:lnTo>
                  <a:lnTo>
                    <a:pt x="85" y="7"/>
                  </a:lnTo>
                  <a:lnTo>
                    <a:pt x="88" y="7"/>
                  </a:lnTo>
                  <a:lnTo>
                    <a:pt x="95" y="7"/>
                  </a:lnTo>
                  <a:lnTo>
                    <a:pt x="95" y="7"/>
                  </a:lnTo>
                  <a:lnTo>
                    <a:pt x="100" y="7"/>
                  </a:lnTo>
                  <a:lnTo>
                    <a:pt x="107" y="7"/>
                  </a:lnTo>
                  <a:lnTo>
                    <a:pt x="109" y="5"/>
                  </a:lnTo>
                  <a:lnTo>
                    <a:pt x="109" y="5"/>
                  </a:lnTo>
                  <a:lnTo>
                    <a:pt x="114" y="3"/>
                  </a:lnTo>
                  <a:lnTo>
                    <a:pt x="116" y="3"/>
                  </a:lnTo>
                  <a:lnTo>
                    <a:pt x="116" y="0"/>
                  </a:lnTo>
                  <a:lnTo>
                    <a:pt x="118" y="0"/>
                  </a:lnTo>
                  <a:lnTo>
                    <a:pt x="123" y="3"/>
                  </a:lnTo>
                  <a:lnTo>
                    <a:pt x="126" y="3"/>
                  </a:lnTo>
                  <a:lnTo>
                    <a:pt x="130" y="3"/>
                  </a:lnTo>
                  <a:lnTo>
                    <a:pt x="135" y="3"/>
                  </a:lnTo>
                  <a:lnTo>
                    <a:pt x="140" y="3"/>
                  </a:lnTo>
                  <a:lnTo>
                    <a:pt x="144" y="3"/>
                  </a:lnTo>
                  <a:lnTo>
                    <a:pt x="149" y="3"/>
                  </a:lnTo>
                  <a:lnTo>
                    <a:pt x="149" y="3"/>
                  </a:lnTo>
                  <a:lnTo>
                    <a:pt x="154" y="3"/>
                  </a:lnTo>
                  <a:lnTo>
                    <a:pt x="159" y="3"/>
                  </a:lnTo>
                  <a:lnTo>
                    <a:pt x="156" y="3"/>
                  </a:lnTo>
                  <a:lnTo>
                    <a:pt x="161" y="5"/>
                  </a:lnTo>
                  <a:lnTo>
                    <a:pt x="163" y="5"/>
                  </a:lnTo>
                  <a:lnTo>
                    <a:pt x="166" y="5"/>
                  </a:lnTo>
                  <a:lnTo>
                    <a:pt x="166" y="5"/>
                  </a:lnTo>
                  <a:lnTo>
                    <a:pt x="168" y="5"/>
                  </a:lnTo>
                  <a:lnTo>
                    <a:pt x="173" y="5"/>
                  </a:lnTo>
                  <a:lnTo>
                    <a:pt x="173" y="5"/>
                  </a:lnTo>
                  <a:lnTo>
                    <a:pt x="173" y="5"/>
                  </a:lnTo>
                  <a:lnTo>
                    <a:pt x="173" y="5"/>
                  </a:lnTo>
                  <a:lnTo>
                    <a:pt x="175" y="5"/>
                  </a:lnTo>
                  <a:lnTo>
                    <a:pt x="175" y="5"/>
                  </a:lnTo>
                  <a:lnTo>
                    <a:pt x="178" y="7"/>
                  </a:lnTo>
                  <a:lnTo>
                    <a:pt x="180" y="5"/>
                  </a:lnTo>
                  <a:lnTo>
                    <a:pt x="178" y="5"/>
                  </a:lnTo>
                  <a:lnTo>
                    <a:pt x="178" y="5"/>
                  </a:lnTo>
                  <a:lnTo>
                    <a:pt x="182" y="7"/>
                  </a:lnTo>
                  <a:lnTo>
                    <a:pt x="185" y="7"/>
                  </a:lnTo>
                  <a:lnTo>
                    <a:pt x="182" y="7"/>
                  </a:lnTo>
                  <a:lnTo>
                    <a:pt x="182" y="7"/>
                  </a:lnTo>
                  <a:lnTo>
                    <a:pt x="182" y="7"/>
                  </a:lnTo>
                  <a:lnTo>
                    <a:pt x="187" y="10"/>
                  </a:lnTo>
                  <a:lnTo>
                    <a:pt x="185" y="7"/>
                  </a:lnTo>
                  <a:lnTo>
                    <a:pt x="189" y="10"/>
                  </a:lnTo>
                  <a:lnTo>
                    <a:pt x="189" y="10"/>
                  </a:lnTo>
                  <a:lnTo>
                    <a:pt x="192" y="12"/>
                  </a:lnTo>
                  <a:lnTo>
                    <a:pt x="194" y="12"/>
                  </a:lnTo>
                  <a:lnTo>
                    <a:pt x="194" y="12"/>
                  </a:lnTo>
                  <a:lnTo>
                    <a:pt x="194" y="12"/>
                  </a:lnTo>
                  <a:lnTo>
                    <a:pt x="196" y="12"/>
                  </a:lnTo>
                  <a:lnTo>
                    <a:pt x="199" y="14"/>
                  </a:lnTo>
                  <a:lnTo>
                    <a:pt x="204" y="17"/>
                  </a:lnTo>
                  <a:lnTo>
                    <a:pt x="204" y="19"/>
                  </a:lnTo>
                  <a:lnTo>
                    <a:pt x="208" y="22"/>
                  </a:lnTo>
                  <a:lnTo>
                    <a:pt x="211" y="22"/>
                  </a:lnTo>
                  <a:lnTo>
                    <a:pt x="213" y="26"/>
                  </a:lnTo>
                  <a:lnTo>
                    <a:pt x="215" y="26"/>
                  </a:lnTo>
                  <a:lnTo>
                    <a:pt x="218" y="26"/>
                  </a:lnTo>
                  <a:lnTo>
                    <a:pt x="220" y="26"/>
                  </a:lnTo>
                  <a:lnTo>
                    <a:pt x="222" y="29"/>
                  </a:lnTo>
                  <a:lnTo>
                    <a:pt x="225" y="29"/>
                  </a:lnTo>
                  <a:lnTo>
                    <a:pt x="225" y="31"/>
                  </a:lnTo>
                  <a:lnTo>
                    <a:pt x="227" y="31"/>
                  </a:lnTo>
                  <a:lnTo>
                    <a:pt x="227" y="29"/>
                  </a:lnTo>
                  <a:lnTo>
                    <a:pt x="230" y="31"/>
                  </a:lnTo>
                  <a:lnTo>
                    <a:pt x="232" y="33"/>
                  </a:lnTo>
                  <a:lnTo>
                    <a:pt x="232" y="36"/>
                  </a:lnTo>
                  <a:lnTo>
                    <a:pt x="234" y="36"/>
                  </a:lnTo>
                  <a:lnTo>
                    <a:pt x="237" y="36"/>
                  </a:lnTo>
                  <a:lnTo>
                    <a:pt x="239" y="38"/>
                  </a:lnTo>
                  <a:lnTo>
                    <a:pt x="241" y="40"/>
                  </a:lnTo>
                  <a:lnTo>
                    <a:pt x="246" y="43"/>
                  </a:lnTo>
                  <a:lnTo>
                    <a:pt x="248" y="45"/>
                  </a:lnTo>
                  <a:lnTo>
                    <a:pt x="253" y="48"/>
                  </a:lnTo>
                  <a:lnTo>
                    <a:pt x="255" y="48"/>
                  </a:lnTo>
                  <a:lnTo>
                    <a:pt x="258" y="50"/>
                  </a:lnTo>
                  <a:lnTo>
                    <a:pt x="260" y="50"/>
                  </a:lnTo>
                  <a:lnTo>
                    <a:pt x="263" y="50"/>
                  </a:lnTo>
                  <a:lnTo>
                    <a:pt x="265" y="50"/>
                  </a:lnTo>
                  <a:lnTo>
                    <a:pt x="267" y="55"/>
                  </a:lnTo>
                  <a:lnTo>
                    <a:pt x="267" y="55"/>
                  </a:lnTo>
                  <a:lnTo>
                    <a:pt x="270" y="55"/>
                  </a:lnTo>
                  <a:lnTo>
                    <a:pt x="270" y="55"/>
                  </a:lnTo>
                  <a:lnTo>
                    <a:pt x="272" y="57"/>
                  </a:lnTo>
                  <a:lnTo>
                    <a:pt x="274" y="57"/>
                  </a:lnTo>
                  <a:lnTo>
                    <a:pt x="277" y="57"/>
                  </a:lnTo>
                  <a:lnTo>
                    <a:pt x="277" y="57"/>
                  </a:lnTo>
                  <a:lnTo>
                    <a:pt x="279" y="59"/>
                  </a:lnTo>
                  <a:lnTo>
                    <a:pt x="284" y="66"/>
                  </a:lnTo>
                  <a:lnTo>
                    <a:pt x="286" y="69"/>
                  </a:lnTo>
                  <a:lnTo>
                    <a:pt x="289" y="69"/>
                  </a:lnTo>
                  <a:lnTo>
                    <a:pt x="289" y="71"/>
                  </a:lnTo>
                  <a:lnTo>
                    <a:pt x="291" y="74"/>
                  </a:lnTo>
                  <a:lnTo>
                    <a:pt x="293" y="74"/>
                  </a:lnTo>
                  <a:lnTo>
                    <a:pt x="293" y="74"/>
                  </a:lnTo>
                  <a:lnTo>
                    <a:pt x="293" y="74"/>
                  </a:lnTo>
                  <a:lnTo>
                    <a:pt x="296" y="76"/>
                  </a:lnTo>
                  <a:lnTo>
                    <a:pt x="298" y="78"/>
                  </a:lnTo>
                  <a:lnTo>
                    <a:pt x="300" y="81"/>
                  </a:lnTo>
                  <a:lnTo>
                    <a:pt x="300" y="78"/>
                  </a:lnTo>
                  <a:lnTo>
                    <a:pt x="303" y="81"/>
                  </a:lnTo>
                  <a:lnTo>
                    <a:pt x="303" y="81"/>
                  </a:lnTo>
                  <a:lnTo>
                    <a:pt x="305" y="81"/>
                  </a:lnTo>
                  <a:lnTo>
                    <a:pt x="305" y="81"/>
                  </a:lnTo>
                  <a:lnTo>
                    <a:pt x="307" y="78"/>
                  </a:lnTo>
                  <a:lnTo>
                    <a:pt x="310" y="78"/>
                  </a:lnTo>
                  <a:lnTo>
                    <a:pt x="312" y="83"/>
                  </a:lnTo>
                  <a:lnTo>
                    <a:pt x="315" y="85"/>
                  </a:lnTo>
                  <a:lnTo>
                    <a:pt x="317" y="85"/>
                  </a:lnTo>
                  <a:lnTo>
                    <a:pt x="317" y="88"/>
                  </a:lnTo>
                  <a:lnTo>
                    <a:pt x="317" y="88"/>
                  </a:lnTo>
                  <a:lnTo>
                    <a:pt x="319" y="92"/>
                  </a:lnTo>
                  <a:lnTo>
                    <a:pt x="319" y="92"/>
                  </a:lnTo>
                  <a:lnTo>
                    <a:pt x="322" y="92"/>
                  </a:lnTo>
                  <a:lnTo>
                    <a:pt x="324" y="95"/>
                  </a:lnTo>
                  <a:lnTo>
                    <a:pt x="326" y="97"/>
                  </a:lnTo>
                  <a:lnTo>
                    <a:pt x="329" y="100"/>
                  </a:lnTo>
                  <a:lnTo>
                    <a:pt x="331" y="100"/>
                  </a:lnTo>
                  <a:lnTo>
                    <a:pt x="331" y="100"/>
                  </a:lnTo>
                  <a:lnTo>
                    <a:pt x="333" y="100"/>
                  </a:lnTo>
                  <a:lnTo>
                    <a:pt x="338" y="104"/>
                  </a:lnTo>
                  <a:lnTo>
                    <a:pt x="338" y="107"/>
                  </a:lnTo>
                  <a:lnTo>
                    <a:pt x="341" y="109"/>
                  </a:lnTo>
                  <a:lnTo>
                    <a:pt x="343" y="109"/>
                  </a:lnTo>
                  <a:lnTo>
                    <a:pt x="345" y="111"/>
                  </a:lnTo>
                  <a:lnTo>
                    <a:pt x="350" y="116"/>
                  </a:lnTo>
                  <a:lnTo>
                    <a:pt x="352" y="116"/>
                  </a:lnTo>
                  <a:lnTo>
                    <a:pt x="355" y="118"/>
                  </a:lnTo>
                  <a:lnTo>
                    <a:pt x="357" y="118"/>
                  </a:lnTo>
                  <a:lnTo>
                    <a:pt x="359" y="118"/>
                  </a:lnTo>
                  <a:lnTo>
                    <a:pt x="362" y="118"/>
                  </a:lnTo>
                  <a:lnTo>
                    <a:pt x="362" y="118"/>
                  </a:lnTo>
                  <a:lnTo>
                    <a:pt x="364" y="121"/>
                  </a:lnTo>
                  <a:lnTo>
                    <a:pt x="367" y="121"/>
                  </a:lnTo>
                  <a:lnTo>
                    <a:pt x="367" y="121"/>
                  </a:lnTo>
                  <a:lnTo>
                    <a:pt x="369" y="121"/>
                  </a:lnTo>
                  <a:lnTo>
                    <a:pt x="369" y="121"/>
                  </a:lnTo>
                  <a:lnTo>
                    <a:pt x="371" y="121"/>
                  </a:lnTo>
                  <a:lnTo>
                    <a:pt x="371" y="123"/>
                  </a:lnTo>
                  <a:lnTo>
                    <a:pt x="374" y="121"/>
                  </a:lnTo>
                  <a:lnTo>
                    <a:pt x="376" y="121"/>
                  </a:lnTo>
                  <a:lnTo>
                    <a:pt x="376" y="121"/>
                  </a:lnTo>
                  <a:lnTo>
                    <a:pt x="376" y="121"/>
                  </a:lnTo>
                  <a:lnTo>
                    <a:pt x="374" y="118"/>
                  </a:lnTo>
                  <a:lnTo>
                    <a:pt x="376" y="121"/>
                  </a:lnTo>
                  <a:lnTo>
                    <a:pt x="381" y="128"/>
                  </a:lnTo>
                  <a:lnTo>
                    <a:pt x="381" y="130"/>
                  </a:lnTo>
                  <a:lnTo>
                    <a:pt x="385" y="135"/>
                  </a:lnTo>
                  <a:lnTo>
                    <a:pt x="388" y="142"/>
                  </a:lnTo>
                  <a:lnTo>
                    <a:pt x="393" y="147"/>
                  </a:lnTo>
                  <a:lnTo>
                    <a:pt x="395" y="149"/>
                  </a:lnTo>
                  <a:lnTo>
                    <a:pt x="397" y="149"/>
                  </a:lnTo>
                  <a:lnTo>
                    <a:pt x="397" y="151"/>
                  </a:lnTo>
                  <a:lnTo>
                    <a:pt x="395" y="149"/>
                  </a:lnTo>
                  <a:lnTo>
                    <a:pt x="397" y="151"/>
                  </a:lnTo>
                  <a:lnTo>
                    <a:pt x="397" y="151"/>
                  </a:lnTo>
                  <a:lnTo>
                    <a:pt x="397" y="149"/>
                  </a:lnTo>
                  <a:lnTo>
                    <a:pt x="397" y="149"/>
                  </a:lnTo>
                  <a:lnTo>
                    <a:pt x="400" y="149"/>
                  </a:lnTo>
                  <a:lnTo>
                    <a:pt x="402" y="151"/>
                  </a:lnTo>
                  <a:lnTo>
                    <a:pt x="402" y="154"/>
                  </a:lnTo>
                  <a:lnTo>
                    <a:pt x="407" y="159"/>
                  </a:lnTo>
                  <a:lnTo>
                    <a:pt x="407" y="159"/>
                  </a:lnTo>
                  <a:lnTo>
                    <a:pt x="409" y="161"/>
                  </a:lnTo>
                  <a:lnTo>
                    <a:pt x="411" y="163"/>
                  </a:lnTo>
                  <a:lnTo>
                    <a:pt x="411" y="166"/>
                  </a:lnTo>
                  <a:lnTo>
                    <a:pt x="416" y="170"/>
                  </a:lnTo>
                  <a:lnTo>
                    <a:pt x="416" y="170"/>
                  </a:lnTo>
                  <a:lnTo>
                    <a:pt x="421" y="177"/>
                  </a:lnTo>
                  <a:lnTo>
                    <a:pt x="423" y="180"/>
                  </a:lnTo>
                  <a:lnTo>
                    <a:pt x="430" y="187"/>
                  </a:lnTo>
                  <a:lnTo>
                    <a:pt x="430" y="187"/>
                  </a:lnTo>
                  <a:lnTo>
                    <a:pt x="433" y="192"/>
                  </a:lnTo>
                  <a:lnTo>
                    <a:pt x="435" y="192"/>
                  </a:lnTo>
                  <a:lnTo>
                    <a:pt x="437" y="194"/>
                  </a:lnTo>
                  <a:lnTo>
                    <a:pt x="440" y="196"/>
                  </a:lnTo>
                  <a:lnTo>
                    <a:pt x="444" y="201"/>
                  </a:lnTo>
                  <a:lnTo>
                    <a:pt x="449" y="203"/>
                  </a:lnTo>
                  <a:lnTo>
                    <a:pt x="454" y="208"/>
                  </a:lnTo>
                  <a:lnTo>
                    <a:pt x="456" y="208"/>
                  </a:lnTo>
                  <a:lnTo>
                    <a:pt x="459" y="211"/>
                  </a:lnTo>
                  <a:lnTo>
                    <a:pt x="461" y="211"/>
                  </a:lnTo>
                  <a:lnTo>
                    <a:pt x="461" y="211"/>
                  </a:lnTo>
                  <a:lnTo>
                    <a:pt x="463" y="211"/>
                  </a:lnTo>
                  <a:lnTo>
                    <a:pt x="466" y="211"/>
                  </a:lnTo>
                  <a:lnTo>
                    <a:pt x="466" y="213"/>
                  </a:lnTo>
                  <a:lnTo>
                    <a:pt x="466" y="213"/>
                  </a:lnTo>
                  <a:lnTo>
                    <a:pt x="466" y="215"/>
                  </a:lnTo>
                  <a:lnTo>
                    <a:pt x="468" y="220"/>
                  </a:lnTo>
                  <a:lnTo>
                    <a:pt x="470" y="222"/>
                  </a:lnTo>
                  <a:lnTo>
                    <a:pt x="473" y="225"/>
                  </a:lnTo>
                  <a:lnTo>
                    <a:pt x="475" y="227"/>
                  </a:lnTo>
                  <a:lnTo>
                    <a:pt x="475" y="227"/>
                  </a:lnTo>
                  <a:lnTo>
                    <a:pt x="478" y="232"/>
                  </a:lnTo>
                  <a:lnTo>
                    <a:pt x="480" y="232"/>
                  </a:lnTo>
                  <a:lnTo>
                    <a:pt x="480" y="234"/>
                  </a:lnTo>
                  <a:lnTo>
                    <a:pt x="487" y="239"/>
                  </a:lnTo>
                  <a:lnTo>
                    <a:pt x="489" y="241"/>
                  </a:lnTo>
                  <a:lnTo>
                    <a:pt x="494" y="241"/>
                  </a:lnTo>
                  <a:lnTo>
                    <a:pt x="496" y="241"/>
                  </a:lnTo>
                  <a:lnTo>
                    <a:pt x="499" y="239"/>
                  </a:lnTo>
                  <a:lnTo>
                    <a:pt x="499" y="241"/>
                  </a:lnTo>
                  <a:lnTo>
                    <a:pt x="501" y="241"/>
                  </a:lnTo>
                  <a:lnTo>
                    <a:pt x="501" y="244"/>
                  </a:lnTo>
                  <a:lnTo>
                    <a:pt x="504" y="244"/>
                  </a:lnTo>
                  <a:lnTo>
                    <a:pt x="511" y="246"/>
                  </a:lnTo>
                  <a:lnTo>
                    <a:pt x="515" y="248"/>
                  </a:lnTo>
                  <a:lnTo>
                    <a:pt x="515" y="248"/>
                  </a:lnTo>
                  <a:lnTo>
                    <a:pt x="518" y="248"/>
                  </a:lnTo>
                  <a:lnTo>
                    <a:pt x="518" y="248"/>
                  </a:lnTo>
                  <a:lnTo>
                    <a:pt x="518" y="248"/>
                  </a:lnTo>
                  <a:lnTo>
                    <a:pt x="518" y="248"/>
                  </a:lnTo>
                  <a:lnTo>
                    <a:pt x="520" y="251"/>
                  </a:lnTo>
                  <a:lnTo>
                    <a:pt x="525" y="253"/>
                  </a:lnTo>
                  <a:lnTo>
                    <a:pt x="525" y="255"/>
                  </a:lnTo>
                  <a:lnTo>
                    <a:pt x="527" y="258"/>
                  </a:lnTo>
                  <a:lnTo>
                    <a:pt x="527" y="263"/>
                  </a:lnTo>
                  <a:lnTo>
                    <a:pt x="530" y="267"/>
                  </a:lnTo>
                  <a:lnTo>
                    <a:pt x="530" y="267"/>
                  </a:lnTo>
                  <a:lnTo>
                    <a:pt x="518" y="270"/>
                  </a:lnTo>
                  <a:lnTo>
                    <a:pt x="506" y="274"/>
                  </a:lnTo>
                  <a:lnTo>
                    <a:pt x="504" y="274"/>
                  </a:lnTo>
                  <a:lnTo>
                    <a:pt x="480" y="279"/>
                  </a:lnTo>
                  <a:lnTo>
                    <a:pt x="480" y="284"/>
                  </a:lnTo>
                  <a:lnTo>
                    <a:pt x="478" y="289"/>
                  </a:lnTo>
                  <a:lnTo>
                    <a:pt x="475" y="296"/>
                  </a:lnTo>
                  <a:lnTo>
                    <a:pt x="470" y="298"/>
                  </a:lnTo>
                  <a:lnTo>
                    <a:pt x="470" y="298"/>
                  </a:lnTo>
                  <a:lnTo>
                    <a:pt x="470" y="298"/>
                  </a:lnTo>
                  <a:lnTo>
                    <a:pt x="468" y="303"/>
                  </a:lnTo>
                  <a:lnTo>
                    <a:pt x="466" y="307"/>
                  </a:lnTo>
                  <a:lnTo>
                    <a:pt x="463" y="314"/>
                  </a:lnTo>
                  <a:lnTo>
                    <a:pt x="461" y="317"/>
                  </a:lnTo>
                  <a:lnTo>
                    <a:pt x="461" y="317"/>
                  </a:lnTo>
                  <a:lnTo>
                    <a:pt x="463" y="319"/>
                  </a:lnTo>
                  <a:lnTo>
                    <a:pt x="463" y="322"/>
                  </a:lnTo>
                  <a:lnTo>
                    <a:pt x="461" y="324"/>
                  </a:lnTo>
                  <a:lnTo>
                    <a:pt x="461" y="324"/>
                  </a:lnTo>
                  <a:lnTo>
                    <a:pt x="463" y="326"/>
                  </a:lnTo>
                  <a:lnTo>
                    <a:pt x="463" y="326"/>
                  </a:lnTo>
                  <a:lnTo>
                    <a:pt x="461" y="326"/>
                  </a:lnTo>
                  <a:lnTo>
                    <a:pt x="461" y="329"/>
                  </a:lnTo>
                  <a:lnTo>
                    <a:pt x="459" y="331"/>
                  </a:lnTo>
                  <a:lnTo>
                    <a:pt x="456" y="333"/>
                  </a:lnTo>
                  <a:lnTo>
                    <a:pt x="454" y="333"/>
                  </a:lnTo>
                  <a:lnTo>
                    <a:pt x="454" y="336"/>
                  </a:lnTo>
                  <a:lnTo>
                    <a:pt x="454" y="336"/>
                  </a:lnTo>
                  <a:lnTo>
                    <a:pt x="452" y="338"/>
                  </a:lnTo>
                  <a:lnTo>
                    <a:pt x="454" y="340"/>
                  </a:lnTo>
                  <a:lnTo>
                    <a:pt x="452" y="343"/>
                  </a:lnTo>
                  <a:lnTo>
                    <a:pt x="449" y="345"/>
                  </a:lnTo>
                  <a:lnTo>
                    <a:pt x="449" y="348"/>
                  </a:lnTo>
                  <a:lnTo>
                    <a:pt x="449" y="348"/>
                  </a:lnTo>
                  <a:lnTo>
                    <a:pt x="449" y="352"/>
                  </a:lnTo>
                  <a:lnTo>
                    <a:pt x="449" y="352"/>
                  </a:lnTo>
                  <a:lnTo>
                    <a:pt x="447" y="355"/>
                  </a:lnTo>
                  <a:lnTo>
                    <a:pt x="444" y="355"/>
                  </a:lnTo>
                  <a:lnTo>
                    <a:pt x="444" y="355"/>
                  </a:lnTo>
                  <a:lnTo>
                    <a:pt x="442" y="359"/>
                  </a:lnTo>
                  <a:lnTo>
                    <a:pt x="440" y="359"/>
                  </a:lnTo>
                  <a:lnTo>
                    <a:pt x="435" y="362"/>
                  </a:lnTo>
                  <a:lnTo>
                    <a:pt x="435" y="362"/>
                  </a:lnTo>
                  <a:lnTo>
                    <a:pt x="435" y="364"/>
                  </a:lnTo>
                  <a:lnTo>
                    <a:pt x="435" y="366"/>
                  </a:lnTo>
                  <a:lnTo>
                    <a:pt x="433" y="366"/>
                  </a:lnTo>
                  <a:lnTo>
                    <a:pt x="430" y="371"/>
                  </a:lnTo>
                  <a:lnTo>
                    <a:pt x="428" y="374"/>
                  </a:lnTo>
                  <a:lnTo>
                    <a:pt x="426" y="376"/>
                  </a:lnTo>
                  <a:lnTo>
                    <a:pt x="426" y="376"/>
                  </a:lnTo>
                  <a:lnTo>
                    <a:pt x="426" y="381"/>
                  </a:lnTo>
                  <a:lnTo>
                    <a:pt x="423" y="383"/>
                  </a:lnTo>
                  <a:lnTo>
                    <a:pt x="423" y="385"/>
                  </a:lnTo>
                  <a:lnTo>
                    <a:pt x="426" y="383"/>
                  </a:lnTo>
                  <a:lnTo>
                    <a:pt x="428" y="383"/>
                  </a:lnTo>
                  <a:lnTo>
                    <a:pt x="428" y="385"/>
                  </a:lnTo>
                  <a:lnTo>
                    <a:pt x="430" y="385"/>
                  </a:lnTo>
                  <a:lnTo>
                    <a:pt x="428" y="388"/>
                  </a:lnTo>
                  <a:lnTo>
                    <a:pt x="426" y="390"/>
                  </a:lnTo>
                  <a:lnTo>
                    <a:pt x="421" y="395"/>
                  </a:lnTo>
                  <a:lnTo>
                    <a:pt x="421" y="397"/>
                  </a:lnTo>
                  <a:lnTo>
                    <a:pt x="421" y="397"/>
                  </a:lnTo>
                  <a:lnTo>
                    <a:pt x="421" y="400"/>
                  </a:lnTo>
                  <a:lnTo>
                    <a:pt x="418" y="404"/>
                  </a:lnTo>
                  <a:lnTo>
                    <a:pt x="416" y="407"/>
                  </a:lnTo>
                  <a:lnTo>
                    <a:pt x="416" y="409"/>
                  </a:lnTo>
                  <a:lnTo>
                    <a:pt x="414" y="409"/>
                  </a:lnTo>
                  <a:lnTo>
                    <a:pt x="414" y="411"/>
                  </a:lnTo>
                  <a:lnTo>
                    <a:pt x="414" y="414"/>
                  </a:lnTo>
                  <a:lnTo>
                    <a:pt x="414" y="414"/>
                  </a:lnTo>
                  <a:lnTo>
                    <a:pt x="411" y="414"/>
                  </a:lnTo>
                  <a:lnTo>
                    <a:pt x="411" y="414"/>
                  </a:lnTo>
                  <a:lnTo>
                    <a:pt x="409" y="416"/>
                  </a:lnTo>
                  <a:lnTo>
                    <a:pt x="404" y="418"/>
                  </a:lnTo>
                  <a:lnTo>
                    <a:pt x="404" y="421"/>
                  </a:lnTo>
                  <a:lnTo>
                    <a:pt x="404" y="426"/>
                  </a:lnTo>
                  <a:lnTo>
                    <a:pt x="402" y="426"/>
                  </a:lnTo>
                  <a:lnTo>
                    <a:pt x="402" y="426"/>
                  </a:lnTo>
                  <a:lnTo>
                    <a:pt x="400" y="428"/>
                  </a:lnTo>
                  <a:lnTo>
                    <a:pt x="400" y="428"/>
                  </a:lnTo>
                  <a:lnTo>
                    <a:pt x="397" y="428"/>
                  </a:lnTo>
                  <a:lnTo>
                    <a:pt x="397" y="430"/>
                  </a:lnTo>
                  <a:lnTo>
                    <a:pt x="395" y="430"/>
                  </a:lnTo>
                  <a:lnTo>
                    <a:pt x="393" y="430"/>
                  </a:lnTo>
                  <a:lnTo>
                    <a:pt x="393" y="428"/>
                  </a:lnTo>
                  <a:lnTo>
                    <a:pt x="393" y="430"/>
                  </a:lnTo>
                  <a:lnTo>
                    <a:pt x="388" y="433"/>
                  </a:lnTo>
                  <a:lnTo>
                    <a:pt x="388" y="430"/>
                  </a:lnTo>
                  <a:lnTo>
                    <a:pt x="388" y="428"/>
                  </a:lnTo>
                  <a:lnTo>
                    <a:pt x="388" y="428"/>
                  </a:lnTo>
                  <a:lnTo>
                    <a:pt x="385" y="428"/>
                  </a:lnTo>
                  <a:lnTo>
                    <a:pt x="385" y="426"/>
                  </a:lnTo>
                  <a:lnTo>
                    <a:pt x="385" y="428"/>
                  </a:lnTo>
                  <a:lnTo>
                    <a:pt x="385" y="426"/>
                  </a:lnTo>
                  <a:lnTo>
                    <a:pt x="383" y="428"/>
                  </a:lnTo>
                  <a:lnTo>
                    <a:pt x="383" y="428"/>
                  </a:lnTo>
                  <a:lnTo>
                    <a:pt x="381" y="430"/>
                  </a:lnTo>
                  <a:lnTo>
                    <a:pt x="378" y="430"/>
                  </a:lnTo>
                  <a:lnTo>
                    <a:pt x="378" y="433"/>
                  </a:lnTo>
                  <a:lnTo>
                    <a:pt x="378" y="435"/>
                  </a:lnTo>
                  <a:lnTo>
                    <a:pt x="376" y="435"/>
                  </a:lnTo>
                  <a:lnTo>
                    <a:pt x="376" y="437"/>
                  </a:lnTo>
                  <a:lnTo>
                    <a:pt x="376" y="440"/>
                  </a:lnTo>
                  <a:lnTo>
                    <a:pt x="376" y="440"/>
                  </a:lnTo>
                  <a:lnTo>
                    <a:pt x="371" y="442"/>
                  </a:lnTo>
                  <a:lnTo>
                    <a:pt x="371" y="444"/>
                  </a:lnTo>
                  <a:lnTo>
                    <a:pt x="369" y="444"/>
                  </a:lnTo>
                  <a:lnTo>
                    <a:pt x="369" y="449"/>
                  </a:lnTo>
                  <a:lnTo>
                    <a:pt x="369" y="449"/>
                  </a:lnTo>
                  <a:lnTo>
                    <a:pt x="369" y="449"/>
                  </a:lnTo>
                  <a:lnTo>
                    <a:pt x="369" y="451"/>
                  </a:lnTo>
                  <a:lnTo>
                    <a:pt x="367" y="451"/>
                  </a:lnTo>
                  <a:lnTo>
                    <a:pt x="367" y="451"/>
                  </a:lnTo>
                  <a:lnTo>
                    <a:pt x="364" y="454"/>
                  </a:lnTo>
                  <a:lnTo>
                    <a:pt x="364" y="454"/>
                  </a:lnTo>
                  <a:lnTo>
                    <a:pt x="362" y="456"/>
                  </a:lnTo>
                  <a:lnTo>
                    <a:pt x="362" y="456"/>
                  </a:lnTo>
                  <a:lnTo>
                    <a:pt x="362" y="456"/>
                  </a:lnTo>
                  <a:lnTo>
                    <a:pt x="362" y="459"/>
                  </a:lnTo>
                  <a:lnTo>
                    <a:pt x="362" y="459"/>
                  </a:lnTo>
                  <a:lnTo>
                    <a:pt x="362" y="461"/>
                  </a:lnTo>
                  <a:lnTo>
                    <a:pt x="362" y="463"/>
                  </a:lnTo>
                  <a:lnTo>
                    <a:pt x="362" y="466"/>
                  </a:lnTo>
                  <a:lnTo>
                    <a:pt x="364" y="466"/>
                  </a:lnTo>
                  <a:lnTo>
                    <a:pt x="362" y="468"/>
                  </a:lnTo>
                  <a:lnTo>
                    <a:pt x="362" y="468"/>
                  </a:lnTo>
                  <a:lnTo>
                    <a:pt x="362" y="468"/>
                  </a:lnTo>
                  <a:lnTo>
                    <a:pt x="359" y="468"/>
                  </a:lnTo>
                  <a:lnTo>
                    <a:pt x="359" y="470"/>
                  </a:lnTo>
                  <a:lnTo>
                    <a:pt x="359" y="470"/>
                  </a:lnTo>
                  <a:lnTo>
                    <a:pt x="359" y="470"/>
                  </a:lnTo>
                  <a:lnTo>
                    <a:pt x="359" y="470"/>
                  </a:lnTo>
                  <a:lnTo>
                    <a:pt x="359" y="470"/>
                  </a:lnTo>
                  <a:lnTo>
                    <a:pt x="362" y="470"/>
                  </a:lnTo>
                  <a:lnTo>
                    <a:pt x="362" y="473"/>
                  </a:lnTo>
                  <a:lnTo>
                    <a:pt x="362" y="473"/>
                  </a:lnTo>
                  <a:lnTo>
                    <a:pt x="367" y="473"/>
                  </a:lnTo>
                  <a:lnTo>
                    <a:pt x="367" y="473"/>
                  </a:lnTo>
                  <a:lnTo>
                    <a:pt x="369" y="470"/>
                  </a:lnTo>
                  <a:lnTo>
                    <a:pt x="369" y="473"/>
                  </a:lnTo>
                  <a:lnTo>
                    <a:pt x="369" y="473"/>
                  </a:lnTo>
                  <a:lnTo>
                    <a:pt x="364" y="477"/>
                  </a:lnTo>
                  <a:lnTo>
                    <a:pt x="364" y="477"/>
                  </a:lnTo>
                  <a:lnTo>
                    <a:pt x="364" y="477"/>
                  </a:lnTo>
                  <a:lnTo>
                    <a:pt x="362" y="480"/>
                  </a:lnTo>
                  <a:lnTo>
                    <a:pt x="362" y="482"/>
                  </a:lnTo>
                  <a:lnTo>
                    <a:pt x="359" y="485"/>
                  </a:lnTo>
                  <a:lnTo>
                    <a:pt x="357" y="487"/>
                  </a:lnTo>
                  <a:lnTo>
                    <a:pt x="357" y="489"/>
                  </a:lnTo>
                  <a:lnTo>
                    <a:pt x="357" y="489"/>
                  </a:lnTo>
                  <a:lnTo>
                    <a:pt x="357" y="492"/>
                  </a:lnTo>
                  <a:lnTo>
                    <a:pt x="357" y="492"/>
                  </a:lnTo>
                  <a:lnTo>
                    <a:pt x="355" y="494"/>
                  </a:lnTo>
                  <a:lnTo>
                    <a:pt x="355" y="494"/>
                  </a:lnTo>
                  <a:lnTo>
                    <a:pt x="352" y="496"/>
                  </a:lnTo>
                  <a:lnTo>
                    <a:pt x="355" y="496"/>
                  </a:lnTo>
                  <a:lnTo>
                    <a:pt x="355" y="499"/>
                  </a:lnTo>
                  <a:lnTo>
                    <a:pt x="352" y="501"/>
                  </a:lnTo>
                  <a:lnTo>
                    <a:pt x="352" y="501"/>
                  </a:lnTo>
                  <a:lnTo>
                    <a:pt x="352" y="501"/>
                  </a:lnTo>
                  <a:lnTo>
                    <a:pt x="352" y="503"/>
                  </a:lnTo>
                  <a:lnTo>
                    <a:pt x="352" y="506"/>
                  </a:lnTo>
                  <a:lnTo>
                    <a:pt x="352" y="506"/>
                  </a:lnTo>
                  <a:lnTo>
                    <a:pt x="352" y="508"/>
                  </a:lnTo>
                  <a:lnTo>
                    <a:pt x="350" y="508"/>
                  </a:lnTo>
                  <a:lnTo>
                    <a:pt x="352" y="508"/>
                  </a:lnTo>
                  <a:lnTo>
                    <a:pt x="350" y="508"/>
                  </a:lnTo>
                  <a:lnTo>
                    <a:pt x="350" y="511"/>
                  </a:lnTo>
                  <a:lnTo>
                    <a:pt x="350" y="511"/>
                  </a:lnTo>
                  <a:lnTo>
                    <a:pt x="350" y="515"/>
                  </a:lnTo>
                  <a:lnTo>
                    <a:pt x="352" y="515"/>
                  </a:lnTo>
                  <a:lnTo>
                    <a:pt x="352" y="518"/>
                  </a:lnTo>
                  <a:lnTo>
                    <a:pt x="352" y="518"/>
                  </a:lnTo>
                  <a:lnTo>
                    <a:pt x="352" y="518"/>
                  </a:lnTo>
                  <a:lnTo>
                    <a:pt x="352" y="520"/>
                  </a:lnTo>
                  <a:lnTo>
                    <a:pt x="355" y="520"/>
                  </a:lnTo>
                  <a:lnTo>
                    <a:pt x="355" y="522"/>
                  </a:lnTo>
                  <a:lnTo>
                    <a:pt x="357" y="522"/>
                  </a:lnTo>
                  <a:lnTo>
                    <a:pt x="357" y="525"/>
                  </a:lnTo>
                  <a:lnTo>
                    <a:pt x="355" y="522"/>
                  </a:lnTo>
                  <a:lnTo>
                    <a:pt x="352" y="522"/>
                  </a:lnTo>
                  <a:lnTo>
                    <a:pt x="355" y="525"/>
                  </a:lnTo>
                  <a:lnTo>
                    <a:pt x="355" y="525"/>
                  </a:lnTo>
                  <a:lnTo>
                    <a:pt x="352" y="525"/>
                  </a:lnTo>
                  <a:lnTo>
                    <a:pt x="352" y="527"/>
                  </a:lnTo>
                  <a:lnTo>
                    <a:pt x="350" y="527"/>
                  </a:lnTo>
                  <a:lnTo>
                    <a:pt x="350" y="529"/>
                  </a:lnTo>
                  <a:lnTo>
                    <a:pt x="350" y="529"/>
                  </a:lnTo>
                  <a:lnTo>
                    <a:pt x="350" y="532"/>
                  </a:lnTo>
                  <a:lnTo>
                    <a:pt x="350" y="532"/>
                  </a:lnTo>
                  <a:lnTo>
                    <a:pt x="350" y="532"/>
                  </a:lnTo>
                  <a:lnTo>
                    <a:pt x="348" y="534"/>
                  </a:lnTo>
                  <a:lnTo>
                    <a:pt x="348" y="534"/>
                  </a:lnTo>
                  <a:lnTo>
                    <a:pt x="345" y="534"/>
                  </a:lnTo>
                  <a:lnTo>
                    <a:pt x="345" y="537"/>
                  </a:lnTo>
                  <a:lnTo>
                    <a:pt x="343" y="537"/>
                  </a:lnTo>
                  <a:lnTo>
                    <a:pt x="343" y="537"/>
                  </a:lnTo>
                  <a:lnTo>
                    <a:pt x="343" y="537"/>
                  </a:lnTo>
                  <a:lnTo>
                    <a:pt x="338" y="537"/>
                  </a:lnTo>
                  <a:lnTo>
                    <a:pt x="338" y="539"/>
                  </a:lnTo>
                  <a:lnTo>
                    <a:pt x="338" y="539"/>
                  </a:lnTo>
                  <a:lnTo>
                    <a:pt x="338" y="541"/>
                  </a:lnTo>
                  <a:lnTo>
                    <a:pt x="341" y="544"/>
                  </a:lnTo>
                  <a:lnTo>
                    <a:pt x="338" y="544"/>
                  </a:lnTo>
                  <a:lnTo>
                    <a:pt x="338" y="546"/>
                  </a:lnTo>
                  <a:lnTo>
                    <a:pt x="341" y="546"/>
                  </a:lnTo>
                  <a:lnTo>
                    <a:pt x="341" y="546"/>
                  </a:lnTo>
                  <a:lnTo>
                    <a:pt x="341" y="546"/>
                  </a:lnTo>
                  <a:lnTo>
                    <a:pt x="341" y="546"/>
                  </a:lnTo>
                  <a:lnTo>
                    <a:pt x="341" y="548"/>
                  </a:lnTo>
                  <a:lnTo>
                    <a:pt x="338" y="548"/>
                  </a:lnTo>
                  <a:lnTo>
                    <a:pt x="338" y="551"/>
                  </a:lnTo>
                  <a:lnTo>
                    <a:pt x="338" y="551"/>
                  </a:lnTo>
                  <a:lnTo>
                    <a:pt x="341" y="551"/>
                  </a:lnTo>
                  <a:lnTo>
                    <a:pt x="343" y="553"/>
                  </a:lnTo>
                  <a:lnTo>
                    <a:pt x="343" y="553"/>
                  </a:lnTo>
                  <a:lnTo>
                    <a:pt x="345" y="553"/>
                  </a:lnTo>
                  <a:lnTo>
                    <a:pt x="348" y="553"/>
                  </a:lnTo>
                  <a:lnTo>
                    <a:pt x="348" y="555"/>
                  </a:lnTo>
                  <a:lnTo>
                    <a:pt x="350" y="555"/>
                  </a:lnTo>
                  <a:lnTo>
                    <a:pt x="350" y="558"/>
                  </a:lnTo>
                  <a:lnTo>
                    <a:pt x="350" y="560"/>
                  </a:lnTo>
                  <a:lnTo>
                    <a:pt x="350" y="560"/>
                  </a:lnTo>
                  <a:lnTo>
                    <a:pt x="350" y="560"/>
                  </a:lnTo>
                  <a:lnTo>
                    <a:pt x="352" y="563"/>
                  </a:lnTo>
                  <a:lnTo>
                    <a:pt x="352" y="563"/>
                  </a:lnTo>
                  <a:lnTo>
                    <a:pt x="350" y="565"/>
                  </a:lnTo>
                  <a:lnTo>
                    <a:pt x="350" y="567"/>
                  </a:lnTo>
                  <a:lnTo>
                    <a:pt x="350" y="567"/>
                  </a:lnTo>
                  <a:lnTo>
                    <a:pt x="350" y="572"/>
                  </a:lnTo>
                  <a:lnTo>
                    <a:pt x="348" y="572"/>
                  </a:lnTo>
                  <a:lnTo>
                    <a:pt x="350" y="572"/>
                  </a:lnTo>
                  <a:lnTo>
                    <a:pt x="348" y="574"/>
                  </a:lnTo>
                  <a:lnTo>
                    <a:pt x="348" y="574"/>
                  </a:lnTo>
                  <a:lnTo>
                    <a:pt x="350" y="574"/>
                  </a:lnTo>
                  <a:lnTo>
                    <a:pt x="352" y="574"/>
                  </a:lnTo>
                  <a:lnTo>
                    <a:pt x="355" y="574"/>
                  </a:lnTo>
                  <a:lnTo>
                    <a:pt x="357" y="574"/>
                  </a:lnTo>
                  <a:lnTo>
                    <a:pt x="357" y="577"/>
                  </a:lnTo>
                  <a:lnTo>
                    <a:pt x="357" y="579"/>
                  </a:lnTo>
                  <a:lnTo>
                    <a:pt x="357" y="579"/>
                  </a:lnTo>
                  <a:lnTo>
                    <a:pt x="357" y="581"/>
                  </a:lnTo>
                  <a:lnTo>
                    <a:pt x="359" y="581"/>
                  </a:lnTo>
                  <a:lnTo>
                    <a:pt x="359" y="581"/>
                  </a:lnTo>
                  <a:lnTo>
                    <a:pt x="362" y="584"/>
                  </a:lnTo>
                  <a:lnTo>
                    <a:pt x="364" y="581"/>
                  </a:lnTo>
                  <a:lnTo>
                    <a:pt x="367" y="581"/>
                  </a:lnTo>
                  <a:lnTo>
                    <a:pt x="364" y="584"/>
                  </a:lnTo>
                  <a:lnTo>
                    <a:pt x="367" y="584"/>
                  </a:lnTo>
                  <a:lnTo>
                    <a:pt x="367" y="584"/>
                  </a:lnTo>
                  <a:lnTo>
                    <a:pt x="367" y="586"/>
                  </a:lnTo>
                  <a:lnTo>
                    <a:pt x="367" y="588"/>
                  </a:lnTo>
                  <a:lnTo>
                    <a:pt x="367" y="591"/>
                  </a:lnTo>
                  <a:lnTo>
                    <a:pt x="367" y="591"/>
                  </a:lnTo>
                  <a:lnTo>
                    <a:pt x="367" y="593"/>
                  </a:lnTo>
                  <a:lnTo>
                    <a:pt x="367" y="593"/>
                  </a:lnTo>
                  <a:lnTo>
                    <a:pt x="367" y="596"/>
                  </a:lnTo>
                  <a:lnTo>
                    <a:pt x="364" y="598"/>
                  </a:lnTo>
                  <a:lnTo>
                    <a:pt x="362" y="600"/>
                  </a:lnTo>
                  <a:lnTo>
                    <a:pt x="362" y="603"/>
                  </a:lnTo>
                  <a:lnTo>
                    <a:pt x="359" y="603"/>
                  </a:lnTo>
                  <a:lnTo>
                    <a:pt x="359" y="605"/>
                  </a:lnTo>
                  <a:lnTo>
                    <a:pt x="362" y="605"/>
                  </a:lnTo>
                  <a:lnTo>
                    <a:pt x="362" y="607"/>
                  </a:lnTo>
                  <a:lnTo>
                    <a:pt x="359" y="607"/>
                  </a:lnTo>
                  <a:lnTo>
                    <a:pt x="359" y="607"/>
                  </a:lnTo>
                  <a:lnTo>
                    <a:pt x="359" y="610"/>
                  </a:lnTo>
                  <a:lnTo>
                    <a:pt x="359" y="610"/>
                  </a:lnTo>
                  <a:lnTo>
                    <a:pt x="352" y="610"/>
                  </a:lnTo>
                  <a:lnTo>
                    <a:pt x="352" y="612"/>
                  </a:lnTo>
                  <a:lnTo>
                    <a:pt x="355" y="612"/>
                  </a:lnTo>
                  <a:lnTo>
                    <a:pt x="355" y="614"/>
                  </a:lnTo>
                  <a:lnTo>
                    <a:pt x="352" y="617"/>
                  </a:lnTo>
                  <a:lnTo>
                    <a:pt x="352" y="617"/>
                  </a:lnTo>
                  <a:lnTo>
                    <a:pt x="352" y="619"/>
                  </a:lnTo>
                  <a:lnTo>
                    <a:pt x="352" y="619"/>
                  </a:lnTo>
                  <a:lnTo>
                    <a:pt x="352" y="619"/>
                  </a:lnTo>
                  <a:lnTo>
                    <a:pt x="352" y="622"/>
                  </a:lnTo>
                  <a:lnTo>
                    <a:pt x="352" y="622"/>
                  </a:lnTo>
                  <a:lnTo>
                    <a:pt x="352" y="624"/>
                  </a:lnTo>
                  <a:lnTo>
                    <a:pt x="352" y="624"/>
                  </a:lnTo>
                  <a:lnTo>
                    <a:pt x="352" y="624"/>
                  </a:lnTo>
                  <a:lnTo>
                    <a:pt x="350" y="626"/>
                  </a:lnTo>
                  <a:lnTo>
                    <a:pt x="348" y="626"/>
                  </a:lnTo>
                  <a:lnTo>
                    <a:pt x="345" y="626"/>
                  </a:lnTo>
                  <a:lnTo>
                    <a:pt x="345" y="626"/>
                  </a:lnTo>
                  <a:lnTo>
                    <a:pt x="345" y="629"/>
                  </a:lnTo>
                  <a:lnTo>
                    <a:pt x="343" y="631"/>
                  </a:lnTo>
                  <a:lnTo>
                    <a:pt x="343" y="631"/>
                  </a:lnTo>
                  <a:lnTo>
                    <a:pt x="343" y="633"/>
                  </a:lnTo>
                  <a:lnTo>
                    <a:pt x="343" y="633"/>
                  </a:lnTo>
                  <a:lnTo>
                    <a:pt x="341" y="633"/>
                  </a:lnTo>
                  <a:lnTo>
                    <a:pt x="343" y="633"/>
                  </a:lnTo>
                  <a:lnTo>
                    <a:pt x="341" y="636"/>
                  </a:lnTo>
                  <a:lnTo>
                    <a:pt x="341" y="636"/>
                  </a:lnTo>
                  <a:lnTo>
                    <a:pt x="341" y="636"/>
                  </a:lnTo>
                  <a:lnTo>
                    <a:pt x="338" y="636"/>
                  </a:lnTo>
                  <a:lnTo>
                    <a:pt x="338" y="638"/>
                  </a:lnTo>
                  <a:lnTo>
                    <a:pt x="336" y="636"/>
                  </a:lnTo>
                  <a:lnTo>
                    <a:pt x="336" y="638"/>
                  </a:lnTo>
                  <a:lnTo>
                    <a:pt x="336" y="638"/>
                  </a:lnTo>
                  <a:lnTo>
                    <a:pt x="333" y="638"/>
                  </a:lnTo>
                  <a:lnTo>
                    <a:pt x="331" y="638"/>
                  </a:lnTo>
                  <a:lnTo>
                    <a:pt x="331" y="638"/>
                  </a:lnTo>
                  <a:lnTo>
                    <a:pt x="331" y="638"/>
                  </a:lnTo>
                  <a:lnTo>
                    <a:pt x="331" y="638"/>
                  </a:lnTo>
                  <a:lnTo>
                    <a:pt x="331" y="640"/>
                  </a:lnTo>
                  <a:lnTo>
                    <a:pt x="331" y="643"/>
                  </a:lnTo>
                  <a:lnTo>
                    <a:pt x="331" y="645"/>
                  </a:lnTo>
                  <a:lnTo>
                    <a:pt x="329" y="645"/>
                  </a:lnTo>
                  <a:lnTo>
                    <a:pt x="329" y="645"/>
                  </a:lnTo>
                  <a:lnTo>
                    <a:pt x="326" y="645"/>
                  </a:lnTo>
                  <a:lnTo>
                    <a:pt x="324" y="643"/>
                  </a:lnTo>
                  <a:lnTo>
                    <a:pt x="324" y="645"/>
                  </a:lnTo>
                  <a:lnTo>
                    <a:pt x="324" y="648"/>
                  </a:lnTo>
                  <a:lnTo>
                    <a:pt x="322" y="648"/>
                  </a:lnTo>
                  <a:lnTo>
                    <a:pt x="322" y="648"/>
                  </a:lnTo>
                  <a:lnTo>
                    <a:pt x="319" y="648"/>
                  </a:lnTo>
                  <a:lnTo>
                    <a:pt x="319" y="650"/>
                  </a:lnTo>
                  <a:lnTo>
                    <a:pt x="319" y="650"/>
                  </a:lnTo>
                  <a:lnTo>
                    <a:pt x="317" y="648"/>
                  </a:lnTo>
                  <a:lnTo>
                    <a:pt x="317" y="650"/>
                  </a:lnTo>
                  <a:lnTo>
                    <a:pt x="315" y="650"/>
                  </a:lnTo>
                  <a:lnTo>
                    <a:pt x="315" y="650"/>
                  </a:lnTo>
                  <a:lnTo>
                    <a:pt x="315" y="652"/>
                  </a:lnTo>
                  <a:lnTo>
                    <a:pt x="315" y="652"/>
                  </a:lnTo>
                  <a:lnTo>
                    <a:pt x="315" y="655"/>
                  </a:lnTo>
                  <a:lnTo>
                    <a:pt x="315" y="657"/>
                  </a:lnTo>
                  <a:lnTo>
                    <a:pt x="315" y="657"/>
                  </a:lnTo>
                  <a:lnTo>
                    <a:pt x="312" y="659"/>
                  </a:lnTo>
                  <a:lnTo>
                    <a:pt x="312" y="659"/>
                  </a:lnTo>
                  <a:lnTo>
                    <a:pt x="312" y="662"/>
                  </a:lnTo>
                  <a:lnTo>
                    <a:pt x="312" y="662"/>
                  </a:lnTo>
                  <a:lnTo>
                    <a:pt x="312" y="662"/>
                  </a:lnTo>
                  <a:lnTo>
                    <a:pt x="310" y="662"/>
                  </a:lnTo>
                  <a:lnTo>
                    <a:pt x="307" y="662"/>
                  </a:lnTo>
                  <a:lnTo>
                    <a:pt x="307" y="659"/>
                  </a:lnTo>
                  <a:lnTo>
                    <a:pt x="307" y="657"/>
                  </a:lnTo>
                  <a:lnTo>
                    <a:pt x="305" y="657"/>
                  </a:lnTo>
                  <a:lnTo>
                    <a:pt x="305" y="657"/>
                  </a:lnTo>
                  <a:lnTo>
                    <a:pt x="303" y="657"/>
                  </a:lnTo>
                  <a:lnTo>
                    <a:pt x="300" y="659"/>
                  </a:lnTo>
                  <a:lnTo>
                    <a:pt x="296" y="662"/>
                  </a:lnTo>
                  <a:lnTo>
                    <a:pt x="296" y="662"/>
                  </a:lnTo>
                  <a:lnTo>
                    <a:pt x="298" y="659"/>
                  </a:lnTo>
                  <a:lnTo>
                    <a:pt x="296" y="657"/>
                  </a:lnTo>
                  <a:lnTo>
                    <a:pt x="296" y="657"/>
                  </a:lnTo>
                  <a:lnTo>
                    <a:pt x="296" y="652"/>
                  </a:lnTo>
                  <a:lnTo>
                    <a:pt x="296" y="652"/>
                  </a:lnTo>
                  <a:lnTo>
                    <a:pt x="296" y="650"/>
                  </a:lnTo>
                  <a:lnTo>
                    <a:pt x="293" y="648"/>
                  </a:lnTo>
                  <a:lnTo>
                    <a:pt x="291" y="645"/>
                  </a:lnTo>
                  <a:lnTo>
                    <a:pt x="291" y="645"/>
                  </a:lnTo>
                  <a:lnTo>
                    <a:pt x="286" y="645"/>
                  </a:lnTo>
                  <a:lnTo>
                    <a:pt x="284" y="643"/>
                  </a:lnTo>
                  <a:lnTo>
                    <a:pt x="281" y="640"/>
                  </a:lnTo>
                  <a:lnTo>
                    <a:pt x="279" y="643"/>
                  </a:lnTo>
                  <a:lnTo>
                    <a:pt x="279" y="643"/>
                  </a:lnTo>
                  <a:lnTo>
                    <a:pt x="277" y="643"/>
                  </a:lnTo>
                  <a:lnTo>
                    <a:pt x="277" y="643"/>
                  </a:lnTo>
                  <a:lnTo>
                    <a:pt x="277" y="643"/>
                  </a:lnTo>
                  <a:lnTo>
                    <a:pt x="277" y="640"/>
                  </a:lnTo>
                  <a:lnTo>
                    <a:pt x="277" y="638"/>
                  </a:lnTo>
                  <a:lnTo>
                    <a:pt x="274" y="638"/>
                  </a:lnTo>
                  <a:lnTo>
                    <a:pt x="274" y="638"/>
                  </a:lnTo>
                  <a:lnTo>
                    <a:pt x="274" y="636"/>
                  </a:lnTo>
                  <a:lnTo>
                    <a:pt x="272" y="638"/>
                  </a:lnTo>
                  <a:lnTo>
                    <a:pt x="270" y="638"/>
                  </a:lnTo>
                  <a:lnTo>
                    <a:pt x="270" y="636"/>
                  </a:lnTo>
                  <a:lnTo>
                    <a:pt x="270" y="636"/>
                  </a:lnTo>
                  <a:lnTo>
                    <a:pt x="270" y="633"/>
                  </a:lnTo>
                  <a:lnTo>
                    <a:pt x="270" y="631"/>
                  </a:lnTo>
                  <a:lnTo>
                    <a:pt x="272" y="629"/>
                  </a:lnTo>
                  <a:lnTo>
                    <a:pt x="274" y="629"/>
                  </a:lnTo>
                  <a:lnTo>
                    <a:pt x="272" y="629"/>
                  </a:lnTo>
                  <a:lnTo>
                    <a:pt x="272" y="629"/>
                  </a:lnTo>
                  <a:lnTo>
                    <a:pt x="270" y="629"/>
                  </a:lnTo>
                  <a:lnTo>
                    <a:pt x="270" y="626"/>
                  </a:lnTo>
                  <a:lnTo>
                    <a:pt x="267" y="622"/>
                  </a:lnTo>
                  <a:lnTo>
                    <a:pt x="267" y="622"/>
                  </a:lnTo>
                  <a:lnTo>
                    <a:pt x="267" y="619"/>
                  </a:lnTo>
                  <a:lnTo>
                    <a:pt x="263" y="617"/>
                  </a:lnTo>
                  <a:lnTo>
                    <a:pt x="260" y="614"/>
                  </a:lnTo>
                  <a:lnTo>
                    <a:pt x="258" y="612"/>
                  </a:lnTo>
                  <a:lnTo>
                    <a:pt x="258" y="612"/>
                  </a:lnTo>
                  <a:lnTo>
                    <a:pt x="255" y="612"/>
                  </a:lnTo>
                  <a:lnTo>
                    <a:pt x="251" y="610"/>
                  </a:lnTo>
                  <a:lnTo>
                    <a:pt x="251" y="610"/>
                  </a:lnTo>
                  <a:lnTo>
                    <a:pt x="248" y="610"/>
                  </a:lnTo>
                  <a:lnTo>
                    <a:pt x="246" y="607"/>
                  </a:lnTo>
                  <a:lnTo>
                    <a:pt x="246" y="605"/>
                  </a:lnTo>
                  <a:lnTo>
                    <a:pt x="244" y="605"/>
                  </a:lnTo>
                  <a:lnTo>
                    <a:pt x="241" y="605"/>
                  </a:lnTo>
                  <a:lnTo>
                    <a:pt x="239" y="600"/>
                  </a:lnTo>
                  <a:lnTo>
                    <a:pt x="237" y="600"/>
                  </a:lnTo>
                  <a:lnTo>
                    <a:pt x="234" y="598"/>
                  </a:lnTo>
                  <a:lnTo>
                    <a:pt x="232" y="596"/>
                  </a:lnTo>
                  <a:lnTo>
                    <a:pt x="232" y="596"/>
                  </a:lnTo>
                  <a:lnTo>
                    <a:pt x="232" y="593"/>
                  </a:lnTo>
                  <a:lnTo>
                    <a:pt x="230" y="593"/>
                  </a:lnTo>
                  <a:lnTo>
                    <a:pt x="227" y="593"/>
                  </a:lnTo>
                  <a:lnTo>
                    <a:pt x="225" y="591"/>
                  </a:lnTo>
                  <a:lnTo>
                    <a:pt x="222" y="591"/>
                  </a:lnTo>
                  <a:lnTo>
                    <a:pt x="220" y="591"/>
                  </a:lnTo>
                  <a:lnTo>
                    <a:pt x="218" y="591"/>
                  </a:lnTo>
                  <a:lnTo>
                    <a:pt x="213" y="593"/>
                  </a:lnTo>
                  <a:lnTo>
                    <a:pt x="208" y="593"/>
                  </a:lnTo>
                  <a:lnTo>
                    <a:pt x="206" y="593"/>
                  </a:lnTo>
                  <a:lnTo>
                    <a:pt x="204" y="593"/>
                  </a:lnTo>
                  <a:lnTo>
                    <a:pt x="204" y="593"/>
                  </a:lnTo>
                  <a:lnTo>
                    <a:pt x="201" y="593"/>
                  </a:lnTo>
                  <a:lnTo>
                    <a:pt x="199" y="593"/>
                  </a:lnTo>
                  <a:lnTo>
                    <a:pt x="194" y="596"/>
                  </a:lnTo>
                  <a:lnTo>
                    <a:pt x="194" y="593"/>
                  </a:lnTo>
                  <a:lnTo>
                    <a:pt x="192" y="593"/>
                  </a:lnTo>
                  <a:lnTo>
                    <a:pt x="187" y="600"/>
                  </a:lnTo>
                  <a:lnTo>
                    <a:pt x="185" y="603"/>
                  </a:lnTo>
                  <a:lnTo>
                    <a:pt x="180" y="600"/>
                  </a:lnTo>
                  <a:lnTo>
                    <a:pt x="178" y="603"/>
                  </a:lnTo>
                  <a:lnTo>
                    <a:pt x="173" y="603"/>
                  </a:lnTo>
                  <a:lnTo>
                    <a:pt x="163" y="605"/>
                  </a:lnTo>
                  <a:lnTo>
                    <a:pt x="149" y="607"/>
                  </a:lnTo>
                  <a:lnTo>
                    <a:pt x="147" y="603"/>
                  </a:lnTo>
                  <a:lnTo>
                    <a:pt x="147" y="600"/>
                  </a:lnTo>
                  <a:lnTo>
                    <a:pt x="144" y="600"/>
                  </a:lnTo>
                  <a:lnTo>
                    <a:pt x="140" y="600"/>
                  </a:lnTo>
                  <a:lnTo>
                    <a:pt x="135" y="600"/>
                  </a:lnTo>
                  <a:lnTo>
                    <a:pt x="128" y="600"/>
                  </a:lnTo>
                  <a:lnTo>
                    <a:pt x="118" y="600"/>
                  </a:lnTo>
                  <a:lnTo>
                    <a:pt x="111" y="603"/>
                  </a:lnTo>
                  <a:lnTo>
                    <a:pt x="114" y="596"/>
                  </a:lnTo>
                  <a:lnTo>
                    <a:pt x="111" y="593"/>
                  </a:lnTo>
                  <a:lnTo>
                    <a:pt x="116" y="591"/>
                  </a:lnTo>
                  <a:lnTo>
                    <a:pt x="116" y="591"/>
                  </a:lnTo>
                  <a:lnTo>
                    <a:pt x="116" y="586"/>
                  </a:lnTo>
                  <a:lnTo>
                    <a:pt x="116" y="579"/>
                  </a:lnTo>
                  <a:lnTo>
                    <a:pt x="118" y="574"/>
                  </a:lnTo>
                  <a:lnTo>
                    <a:pt x="118" y="574"/>
                  </a:lnTo>
                  <a:lnTo>
                    <a:pt x="118" y="572"/>
                  </a:lnTo>
                  <a:lnTo>
                    <a:pt x="121" y="567"/>
                  </a:lnTo>
                  <a:lnTo>
                    <a:pt x="118" y="565"/>
                  </a:lnTo>
                  <a:lnTo>
                    <a:pt x="121" y="563"/>
                  </a:lnTo>
                  <a:lnTo>
                    <a:pt x="121" y="563"/>
                  </a:lnTo>
                  <a:lnTo>
                    <a:pt x="123" y="560"/>
                  </a:lnTo>
                  <a:lnTo>
                    <a:pt x="126" y="558"/>
                  </a:lnTo>
                  <a:lnTo>
                    <a:pt x="126" y="555"/>
                  </a:lnTo>
                  <a:lnTo>
                    <a:pt x="128" y="555"/>
                  </a:lnTo>
                  <a:lnTo>
                    <a:pt x="128" y="553"/>
                  </a:lnTo>
                  <a:lnTo>
                    <a:pt x="126" y="553"/>
                  </a:lnTo>
                  <a:lnTo>
                    <a:pt x="126" y="553"/>
                  </a:lnTo>
                  <a:lnTo>
                    <a:pt x="128" y="553"/>
                  </a:lnTo>
                  <a:lnTo>
                    <a:pt x="128" y="553"/>
                  </a:lnTo>
                  <a:lnTo>
                    <a:pt x="130" y="551"/>
                  </a:lnTo>
                  <a:lnTo>
                    <a:pt x="130" y="551"/>
                  </a:lnTo>
                  <a:lnTo>
                    <a:pt x="128" y="551"/>
                  </a:lnTo>
                  <a:lnTo>
                    <a:pt x="128" y="544"/>
                  </a:lnTo>
                  <a:lnTo>
                    <a:pt x="128" y="541"/>
                  </a:lnTo>
                  <a:lnTo>
                    <a:pt x="126" y="537"/>
                  </a:lnTo>
                  <a:lnTo>
                    <a:pt x="128" y="537"/>
                  </a:lnTo>
                  <a:lnTo>
                    <a:pt x="128" y="532"/>
                  </a:lnTo>
                  <a:lnTo>
                    <a:pt x="128" y="532"/>
                  </a:lnTo>
                  <a:lnTo>
                    <a:pt x="130" y="532"/>
                  </a:lnTo>
                  <a:lnTo>
                    <a:pt x="130" y="529"/>
                  </a:lnTo>
                  <a:lnTo>
                    <a:pt x="133" y="527"/>
                  </a:lnTo>
                  <a:lnTo>
                    <a:pt x="133" y="527"/>
                  </a:lnTo>
                  <a:lnTo>
                    <a:pt x="135" y="525"/>
                  </a:lnTo>
                  <a:lnTo>
                    <a:pt x="135" y="525"/>
                  </a:lnTo>
                  <a:lnTo>
                    <a:pt x="133" y="525"/>
                  </a:lnTo>
                  <a:lnTo>
                    <a:pt x="130" y="525"/>
                  </a:lnTo>
                  <a:lnTo>
                    <a:pt x="128" y="527"/>
                  </a:lnTo>
                  <a:lnTo>
                    <a:pt x="128" y="527"/>
                  </a:lnTo>
                  <a:lnTo>
                    <a:pt x="126" y="525"/>
                  </a:lnTo>
                  <a:lnTo>
                    <a:pt x="126" y="522"/>
                  </a:lnTo>
                  <a:lnTo>
                    <a:pt x="126" y="522"/>
                  </a:lnTo>
                  <a:lnTo>
                    <a:pt x="123" y="520"/>
                  </a:lnTo>
                  <a:lnTo>
                    <a:pt x="123" y="518"/>
                  </a:lnTo>
                  <a:lnTo>
                    <a:pt x="121" y="518"/>
                  </a:lnTo>
                  <a:lnTo>
                    <a:pt x="121" y="515"/>
                  </a:lnTo>
                  <a:lnTo>
                    <a:pt x="118" y="515"/>
                  </a:lnTo>
                  <a:lnTo>
                    <a:pt x="116" y="515"/>
                  </a:lnTo>
                  <a:lnTo>
                    <a:pt x="109" y="515"/>
                  </a:lnTo>
                  <a:lnTo>
                    <a:pt x="104" y="513"/>
                  </a:lnTo>
                  <a:lnTo>
                    <a:pt x="104" y="513"/>
                  </a:lnTo>
                  <a:lnTo>
                    <a:pt x="102" y="511"/>
                  </a:lnTo>
                  <a:lnTo>
                    <a:pt x="100" y="508"/>
                  </a:lnTo>
                  <a:lnTo>
                    <a:pt x="92" y="508"/>
                  </a:lnTo>
                  <a:lnTo>
                    <a:pt x="90" y="506"/>
                  </a:lnTo>
                  <a:lnTo>
                    <a:pt x="88" y="506"/>
                  </a:lnTo>
                  <a:lnTo>
                    <a:pt x="90" y="501"/>
                  </a:lnTo>
                  <a:lnTo>
                    <a:pt x="90" y="501"/>
                  </a:lnTo>
                  <a:lnTo>
                    <a:pt x="88" y="499"/>
                  </a:lnTo>
                  <a:lnTo>
                    <a:pt x="88" y="499"/>
                  </a:lnTo>
                  <a:lnTo>
                    <a:pt x="85" y="494"/>
                  </a:lnTo>
                  <a:lnTo>
                    <a:pt x="81" y="489"/>
                  </a:lnTo>
                  <a:lnTo>
                    <a:pt x="81" y="487"/>
                  </a:lnTo>
                  <a:lnTo>
                    <a:pt x="81" y="485"/>
                  </a:lnTo>
                  <a:lnTo>
                    <a:pt x="81" y="482"/>
                  </a:lnTo>
                  <a:lnTo>
                    <a:pt x="81" y="480"/>
                  </a:lnTo>
                  <a:lnTo>
                    <a:pt x="81" y="475"/>
                  </a:lnTo>
                  <a:lnTo>
                    <a:pt x="81" y="470"/>
                  </a:lnTo>
                  <a:lnTo>
                    <a:pt x="81" y="470"/>
                  </a:lnTo>
                  <a:lnTo>
                    <a:pt x="81" y="468"/>
                  </a:lnTo>
                  <a:lnTo>
                    <a:pt x="83" y="463"/>
                  </a:lnTo>
                  <a:lnTo>
                    <a:pt x="83" y="463"/>
                  </a:lnTo>
                  <a:lnTo>
                    <a:pt x="83" y="461"/>
                  </a:lnTo>
                  <a:lnTo>
                    <a:pt x="83" y="461"/>
                  </a:lnTo>
                  <a:lnTo>
                    <a:pt x="81" y="459"/>
                  </a:lnTo>
                  <a:lnTo>
                    <a:pt x="81" y="459"/>
                  </a:lnTo>
                  <a:lnTo>
                    <a:pt x="78" y="459"/>
                  </a:lnTo>
                  <a:lnTo>
                    <a:pt x="76" y="454"/>
                  </a:lnTo>
                  <a:lnTo>
                    <a:pt x="74" y="449"/>
                  </a:lnTo>
                  <a:lnTo>
                    <a:pt x="74" y="447"/>
                  </a:lnTo>
                  <a:lnTo>
                    <a:pt x="74" y="442"/>
                  </a:lnTo>
                  <a:lnTo>
                    <a:pt x="74" y="442"/>
                  </a:lnTo>
                  <a:lnTo>
                    <a:pt x="74" y="442"/>
                  </a:lnTo>
                  <a:lnTo>
                    <a:pt x="74" y="440"/>
                  </a:lnTo>
                  <a:lnTo>
                    <a:pt x="74" y="437"/>
                  </a:lnTo>
                  <a:lnTo>
                    <a:pt x="74" y="433"/>
                  </a:lnTo>
                  <a:lnTo>
                    <a:pt x="71" y="428"/>
                  </a:lnTo>
                  <a:lnTo>
                    <a:pt x="69" y="426"/>
                  </a:lnTo>
                  <a:lnTo>
                    <a:pt x="67" y="426"/>
                  </a:lnTo>
                  <a:lnTo>
                    <a:pt x="67" y="426"/>
                  </a:lnTo>
                  <a:lnTo>
                    <a:pt x="67" y="426"/>
                  </a:lnTo>
                  <a:lnTo>
                    <a:pt x="67" y="423"/>
                  </a:lnTo>
                  <a:lnTo>
                    <a:pt x="69" y="421"/>
                  </a:lnTo>
                  <a:lnTo>
                    <a:pt x="69" y="418"/>
                  </a:lnTo>
                  <a:lnTo>
                    <a:pt x="69" y="418"/>
                  </a:lnTo>
                  <a:lnTo>
                    <a:pt x="71" y="416"/>
                  </a:lnTo>
                  <a:lnTo>
                    <a:pt x="71" y="409"/>
                  </a:lnTo>
                  <a:lnTo>
                    <a:pt x="67" y="407"/>
                  </a:lnTo>
                  <a:lnTo>
                    <a:pt x="69" y="404"/>
                  </a:lnTo>
                  <a:lnTo>
                    <a:pt x="67" y="400"/>
                  </a:lnTo>
                  <a:lnTo>
                    <a:pt x="67" y="397"/>
                  </a:lnTo>
                  <a:lnTo>
                    <a:pt x="67" y="392"/>
                  </a:lnTo>
                  <a:lnTo>
                    <a:pt x="67" y="390"/>
                  </a:lnTo>
                  <a:lnTo>
                    <a:pt x="64" y="385"/>
                  </a:lnTo>
                  <a:lnTo>
                    <a:pt x="67" y="385"/>
                  </a:lnTo>
                  <a:lnTo>
                    <a:pt x="64" y="381"/>
                  </a:lnTo>
                  <a:lnTo>
                    <a:pt x="64" y="378"/>
                  </a:lnTo>
                  <a:lnTo>
                    <a:pt x="62" y="376"/>
                  </a:lnTo>
                  <a:lnTo>
                    <a:pt x="64" y="376"/>
                  </a:lnTo>
                  <a:lnTo>
                    <a:pt x="67" y="376"/>
                  </a:lnTo>
                  <a:lnTo>
                    <a:pt x="67" y="374"/>
                  </a:lnTo>
                  <a:lnTo>
                    <a:pt x="67" y="369"/>
                  </a:lnTo>
                  <a:lnTo>
                    <a:pt x="67" y="369"/>
                  </a:lnTo>
                  <a:lnTo>
                    <a:pt x="67" y="366"/>
                  </a:lnTo>
                  <a:lnTo>
                    <a:pt x="67" y="362"/>
                  </a:lnTo>
                  <a:lnTo>
                    <a:pt x="64" y="362"/>
                  </a:lnTo>
                  <a:lnTo>
                    <a:pt x="64" y="359"/>
                  </a:lnTo>
                  <a:lnTo>
                    <a:pt x="62" y="357"/>
                  </a:lnTo>
                  <a:lnTo>
                    <a:pt x="64" y="357"/>
                  </a:lnTo>
                  <a:lnTo>
                    <a:pt x="64" y="355"/>
                  </a:lnTo>
                  <a:lnTo>
                    <a:pt x="64" y="355"/>
                  </a:lnTo>
                  <a:lnTo>
                    <a:pt x="64" y="352"/>
                  </a:lnTo>
                  <a:lnTo>
                    <a:pt x="64" y="352"/>
                  </a:lnTo>
                  <a:lnTo>
                    <a:pt x="64" y="350"/>
                  </a:lnTo>
                  <a:lnTo>
                    <a:pt x="64" y="350"/>
                  </a:lnTo>
                  <a:lnTo>
                    <a:pt x="64" y="348"/>
                  </a:lnTo>
                  <a:lnTo>
                    <a:pt x="64" y="348"/>
                  </a:lnTo>
                  <a:lnTo>
                    <a:pt x="62" y="348"/>
                  </a:lnTo>
                  <a:lnTo>
                    <a:pt x="62" y="345"/>
                  </a:lnTo>
                  <a:lnTo>
                    <a:pt x="62" y="343"/>
                  </a:lnTo>
                  <a:lnTo>
                    <a:pt x="62" y="343"/>
                  </a:lnTo>
                  <a:lnTo>
                    <a:pt x="64" y="343"/>
                  </a:lnTo>
                  <a:lnTo>
                    <a:pt x="67" y="343"/>
                  </a:lnTo>
                  <a:lnTo>
                    <a:pt x="64" y="340"/>
                  </a:lnTo>
                  <a:lnTo>
                    <a:pt x="64" y="338"/>
                  </a:lnTo>
                  <a:lnTo>
                    <a:pt x="62" y="336"/>
                  </a:lnTo>
                  <a:lnTo>
                    <a:pt x="64" y="333"/>
                  </a:lnTo>
                  <a:lnTo>
                    <a:pt x="64" y="333"/>
                  </a:lnTo>
                  <a:lnTo>
                    <a:pt x="67" y="331"/>
                  </a:lnTo>
                  <a:lnTo>
                    <a:pt x="67" y="329"/>
                  </a:lnTo>
                  <a:lnTo>
                    <a:pt x="64" y="329"/>
                  </a:lnTo>
                  <a:lnTo>
                    <a:pt x="64" y="326"/>
                  </a:lnTo>
                  <a:lnTo>
                    <a:pt x="64" y="326"/>
                  </a:lnTo>
                  <a:lnTo>
                    <a:pt x="64" y="324"/>
                  </a:lnTo>
                  <a:lnTo>
                    <a:pt x="67" y="324"/>
                  </a:lnTo>
                  <a:lnTo>
                    <a:pt x="64" y="322"/>
                  </a:lnTo>
                  <a:lnTo>
                    <a:pt x="64" y="322"/>
                  </a:lnTo>
                  <a:lnTo>
                    <a:pt x="62" y="322"/>
                  </a:lnTo>
                  <a:lnTo>
                    <a:pt x="64" y="319"/>
                  </a:lnTo>
                  <a:lnTo>
                    <a:pt x="64" y="314"/>
                  </a:lnTo>
                  <a:lnTo>
                    <a:pt x="64" y="312"/>
                  </a:lnTo>
                  <a:lnTo>
                    <a:pt x="64" y="312"/>
                  </a:lnTo>
                  <a:lnTo>
                    <a:pt x="62" y="312"/>
                  </a:lnTo>
                  <a:lnTo>
                    <a:pt x="62" y="312"/>
                  </a:lnTo>
                  <a:lnTo>
                    <a:pt x="59" y="307"/>
                  </a:lnTo>
                  <a:lnTo>
                    <a:pt x="57" y="307"/>
                  </a:lnTo>
                  <a:lnTo>
                    <a:pt x="57" y="310"/>
                  </a:lnTo>
                  <a:lnTo>
                    <a:pt x="57" y="307"/>
                  </a:lnTo>
                  <a:lnTo>
                    <a:pt x="52" y="305"/>
                  </a:lnTo>
                  <a:lnTo>
                    <a:pt x="52" y="303"/>
                  </a:lnTo>
                  <a:lnTo>
                    <a:pt x="52" y="303"/>
                  </a:lnTo>
                  <a:lnTo>
                    <a:pt x="50" y="300"/>
                  </a:lnTo>
                  <a:lnTo>
                    <a:pt x="50" y="300"/>
                  </a:lnTo>
                  <a:lnTo>
                    <a:pt x="48" y="303"/>
                  </a:lnTo>
                  <a:lnTo>
                    <a:pt x="45" y="300"/>
                  </a:lnTo>
                  <a:lnTo>
                    <a:pt x="45" y="298"/>
                  </a:lnTo>
                  <a:lnTo>
                    <a:pt x="43" y="298"/>
                  </a:lnTo>
                  <a:lnTo>
                    <a:pt x="43" y="298"/>
                  </a:lnTo>
                  <a:lnTo>
                    <a:pt x="43" y="298"/>
                  </a:lnTo>
                  <a:lnTo>
                    <a:pt x="43" y="296"/>
                  </a:lnTo>
                  <a:lnTo>
                    <a:pt x="38" y="296"/>
                  </a:lnTo>
                  <a:lnTo>
                    <a:pt x="38" y="293"/>
                  </a:lnTo>
                  <a:lnTo>
                    <a:pt x="38" y="289"/>
                  </a:lnTo>
                  <a:lnTo>
                    <a:pt x="38" y="289"/>
                  </a:lnTo>
                  <a:lnTo>
                    <a:pt x="38" y="286"/>
                  </a:lnTo>
                  <a:lnTo>
                    <a:pt x="36" y="286"/>
                  </a:lnTo>
                  <a:lnTo>
                    <a:pt x="36" y="289"/>
                  </a:lnTo>
                  <a:lnTo>
                    <a:pt x="31" y="281"/>
                  </a:lnTo>
                  <a:lnTo>
                    <a:pt x="29" y="281"/>
                  </a:lnTo>
                  <a:lnTo>
                    <a:pt x="29" y="284"/>
                  </a:lnTo>
                  <a:lnTo>
                    <a:pt x="29" y="281"/>
                  </a:lnTo>
                  <a:lnTo>
                    <a:pt x="29" y="281"/>
                  </a:lnTo>
                  <a:lnTo>
                    <a:pt x="26" y="281"/>
                  </a:lnTo>
                  <a:lnTo>
                    <a:pt x="26" y="281"/>
                  </a:lnTo>
                  <a:lnTo>
                    <a:pt x="26" y="279"/>
                  </a:lnTo>
                  <a:lnTo>
                    <a:pt x="24" y="277"/>
                  </a:lnTo>
                  <a:lnTo>
                    <a:pt x="26" y="274"/>
                  </a:lnTo>
                  <a:lnTo>
                    <a:pt x="22" y="272"/>
                  </a:lnTo>
                  <a:lnTo>
                    <a:pt x="24" y="270"/>
                  </a:lnTo>
                  <a:lnTo>
                    <a:pt x="24" y="265"/>
                  </a:lnTo>
                  <a:lnTo>
                    <a:pt x="26" y="265"/>
                  </a:lnTo>
                  <a:lnTo>
                    <a:pt x="26" y="265"/>
                  </a:lnTo>
                  <a:lnTo>
                    <a:pt x="26" y="260"/>
                  </a:lnTo>
                  <a:lnTo>
                    <a:pt x="29" y="260"/>
                  </a:lnTo>
                  <a:lnTo>
                    <a:pt x="29" y="260"/>
                  </a:lnTo>
                  <a:lnTo>
                    <a:pt x="24" y="258"/>
                  </a:lnTo>
                  <a:lnTo>
                    <a:pt x="22" y="258"/>
                  </a:lnTo>
                  <a:lnTo>
                    <a:pt x="22" y="258"/>
                  </a:lnTo>
                  <a:lnTo>
                    <a:pt x="24" y="255"/>
                  </a:lnTo>
                  <a:lnTo>
                    <a:pt x="24" y="255"/>
                  </a:lnTo>
                  <a:lnTo>
                    <a:pt x="26" y="253"/>
                  </a:lnTo>
                  <a:lnTo>
                    <a:pt x="29" y="251"/>
                  </a:lnTo>
                  <a:lnTo>
                    <a:pt x="33" y="246"/>
                  </a:lnTo>
                  <a:lnTo>
                    <a:pt x="31" y="244"/>
                  </a:lnTo>
                  <a:lnTo>
                    <a:pt x="29" y="241"/>
                  </a:lnTo>
                  <a:lnTo>
                    <a:pt x="26" y="239"/>
                  </a:lnTo>
                  <a:lnTo>
                    <a:pt x="26" y="239"/>
                  </a:lnTo>
                  <a:lnTo>
                    <a:pt x="26" y="234"/>
                  </a:lnTo>
                  <a:lnTo>
                    <a:pt x="26" y="234"/>
                  </a:lnTo>
                  <a:lnTo>
                    <a:pt x="26" y="234"/>
                  </a:lnTo>
                  <a:lnTo>
                    <a:pt x="24" y="234"/>
                  </a:lnTo>
                  <a:lnTo>
                    <a:pt x="24" y="232"/>
                  </a:lnTo>
                  <a:lnTo>
                    <a:pt x="24" y="232"/>
                  </a:lnTo>
                  <a:lnTo>
                    <a:pt x="26" y="232"/>
                  </a:lnTo>
                  <a:lnTo>
                    <a:pt x="26" y="229"/>
                  </a:lnTo>
                  <a:lnTo>
                    <a:pt x="29" y="229"/>
                  </a:lnTo>
                  <a:lnTo>
                    <a:pt x="29" y="227"/>
                  </a:lnTo>
                  <a:lnTo>
                    <a:pt x="31" y="225"/>
                  </a:lnTo>
                  <a:lnTo>
                    <a:pt x="31" y="222"/>
                  </a:lnTo>
                  <a:lnTo>
                    <a:pt x="33" y="220"/>
                  </a:lnTo>
                  <a:lnTo>
                    <a:pt x="33" y="215"/>
                  </a:lnTo>
                  <a:lnTo>
                    <a:pt x="33" y="215"/>
                  </a:lnTo>
                  <a:lnTo>
                    <a:pt x="33" y="213"/>
                  </a:lnTo>
                  <a:lnTo>
                    <a:pt x="33" y="208"/>
                  </a:lnTo>
                  <a:lnTo>
                    <a:pt x="33" y="208"/>
                  </a:lnTo>
                  <a:lnTo>
                    <a:pt x="36" y="206"/>
                  </a:lnTo>
                  <a:lnTo>
                    <a:pt x="38" y="203"/>
                  </a:lnTo>
                  <a:lnTo>
                    <a:pt x="38" y="201"/>
                  </a:lnTo>
                  <a:lnTo>
                    <a:pt x="38" y="201"/>
                  </a:lnTo>
                  <a:lnTo>
                    <a:pt x="38" y="199"/>
                  </a:lnTo>
                  <a:lnTo>
                    <a:pt x="38" y="189"/>
                  </a:lnTo>
                  <a:lnTo>
                    <a:pt x="43" y="182"/>
                  </a:lnTo>
                  <a:lnTo>
                    <a:pt x="43" y="180"/>
                  </a:lnTo>
                  <a:lnTo>
                    <a:pt x="41" y="180"/>
                  </a:lnTo>
                  <a:lnTo>
                    <a:pt x="38" y="177"/>
                  </a:lnTo>
                  <a:lnTo>
                    <a:pt x="38" y="177"/>
                  </a:lnTo>
                  <a:lnTo>
                    <a:pt x="36" y="175"/>
                  </a:lnTo>
                  <a:lnTo>
                    <a:pt x="38" y="173"/>
                  </a:lnTo>
                  <a:lnTo>
                    <a:pt x="38" y="168"/>
                  </a:lnTo>
                  <a:lnTo>
                    <a:pt x="38" y="166"/>
                  </a:lnTo>
                  <a:lnTo>
                    <a:pt x="41" y="166"/>
                  </a:lnTo>
                  <a:lnTo>
                    <a:pt x="41" y="163"/>
                  </a:lnTo>
                  <a:lnTo>
                    <a:pt x="38" y="163"/>
                  </a:lnTo>
                  <a:lnTo>
                    <a:pt x="36" y="163"/>
                  </a:lnTo>
                  <a:lnTo>
                    <a:pt x="33" y="161"/>
                  </a:lnTo>
                  <a:lnTo>
                    <a:pt x="33" y="161"/>
                  </a:lnTo>
                  <a:lnTo>
                    <a:pt x="31" y="161"/>
                  </a:lnTo>
                  <a:lnTo>
                    <a:pt x="31" y="161"/>
                  </a:lnTo>
                  <a:lnTo>
                    <a:pt x="31" y="161"/>
                  </a:lnTo>
                  <a:lnTo>
                    <a:pt x="29" y="161"/>
                  </a:lnTo>
                  <a:lnTo>
                    <a:pt x="29" y="161"/>
                  </a:lnTo>
                  <a:lnTo>
                    <a:pt x="26" y="161"/>
                  </a:lnTo>
                  <a:lnTo>
                    <a:pt x="24" y="161"/>
                  </a:lnTo>
                  <a:lnTo>
                    <a:pt x="22" y="163"/>
                  </a:lnTo>
                  <a:lnTo>
                    <a:pt x="22" y="163"/>
                  </a:lnTo>
                  <a:lnTo>
                    <a:pt x="22" y="161"/>
                  </a:lnTo>
                  <a:lnTo>
                    <a:pt x="24" y="161"/>
                  </a:lnTo>
                  <a:lnTo>
                    <a:pt x="24" y="159"/>
                  </a:lnTo>
                  <a:lnTo>
                    <a:pt x="22" y="156"/>
                  </a:lnTo>
                  <a:lnTo>
                    <a:pt x="24" y="156"/>
                  </a:lnTo>
                  <a:lnTo>
                    <a:pt x="24" y="156"/>
                  </a:lnTo>
                  <a:lnTo>
                    <a:pt x="24" y="156"/>
                  </a:lnTo>
                  <a:lnTo>
                    <a:pt x="24" y="154"/>
                  </a:lnTo>
                  <a:lnTo>
                    <a:pt x="26" y="154"/>
                  </a:lnTo>
                  <a:lnTo>
                    <a:pt x="26" y="149"/>
                  </a:lnTo>
                  <a:lnTo>
                    <a:pt x="26" y="147"/>
                  </a:lnTo>
                  <a:lnTo>
                    <a:pt x="24" y="144"/>
                  </a:lnTo>
                  <a:lnTo>
                    <a:pt x="22" y="142"/>
                  </a:lnTo>
                  <a:lnTo>
                    <a:pt x="22" y="142"/>
                  </a:lnTo>
                  <a:lnTo>
                    <a:pt x="22" y="140"/>
                  </a:lnTo>
                  <a:lnTo>
                    <a:pt x="22" y="140"/>
                  </a:lnTo>
                  <a:lnTo>
                    <a:pt x="19" y="140"/>
                  </a:lnTo>
                  <a:lnTo>
                    <a:pt x="19" y="137"/>
                  </a:lnTo>
                  <a:lnTo>
                    <a:pt x="19" y="135"/>
                  </a:lnTo>
                  <a:lnTo>
                    <a:pt x="19" y="135"/>
                  </a:lnTo>
                  <a:lnTo>
                    <a:pt x="19" y="135"/>
                  </a:lnTo>
                  <a:lnTo>
                    <a:pt x="17" y="137"/>
                  </a:lnTo>
                  <a:lnTo>
                    <a:pt x="17" y="135"/>
                  </a:lnTo>
                  <a:lnTo>
                    <a:pt x="22" y="130"/>
                  </a:lnTo>
                  <a:lnTo>
                    <a:pt x="22" y="128"/>
                  </a:lnTo>
                  <a:lnTo>
                    <a:pt x="22" y="128"/>
                  </a:lnTo>
                  <a:lnTo>
                    <a:pt x="22" y="123"/>
                  </a:lnTo>
                  <a:lnTo>
                    <a:pt x="22" y="121"/>
                  </a:lnTo>
                  <a:lnTo>
                    <a:pt x="24" y="121"/>
                  </a:lnTo>
                  <a:lnTo>
                    <a:pt x="24" y="121"/>
                  </a:lnTo>
                  <a:lnTo>
                    <a:pt x="22" y="118"/>
                  </a:lnTo>
                  <a:lnTo>
                    <a:pt x="19" y="118"/>
                  </a:lnTo>
                  <a:lnTo>
                    <a:pt x="17" y="118"/>
                  </a:lnTo>
                  <a:lnTo>
                    <a:pt x="17" y="118"/>
                  </a:lnTo>
                  <a:lnTo>
                    <a:pt x="12" y="118"/>
                  </a:lnTo>
                  <a:lnTo>
                    <a:pt x="12" y="116"/>
                  </a:lnTo>
                  <a:lnTo>
                    <a:pt x="10" y="116"/>
                  </a:lnTo>
                  <a:lnTo>
                    <a:pt x="12" y="114"/>
                  </a:lnTo>
                  <a:lnTo>
                    <a:pt x="12" y="109"/>
                  </a:lnTo>
                  <a:lnTo>
                    <a:pt x="10" y="104"/>
                  </a:lnTo>
                  <a:lnTo>
                    <a:pt x="10" y="104"/>
                  </a:lnTo>
                  <a:lnTo>
                    <a:pt x="7" y="102"/>
                  </a:lnTo>
                  <a:lnTo>
                    <a:pt x="7" y="102"/>
                  </a:lnTo>
                  <a:lnTo>
                    <a:pt x="7" y="102"/>
                  </a:lnTo>
                  <a:lnTo>
                    <a:pt x="7" y="100"/>
                  </a:lnTo>
                  <a:lnTo>
                    <a:pt x="12" y="100"/>
                  </a:lnTo>
                  <a:lnTo>
                    <a:pt x="12" y="97"/>
                  </a:lnTo>
                  <a:lnTo>
                    <a:pt x="12" y="92"/>
                  </a:lnTo>
                  <a:lnTo>
                    <a:pt x="15" y="92"/>
                  </a:lnTo>
                  <a:lnTo>
                    <a:pt x="17" y="92"/>
                  </a:lnTo>
                  <a:lnTo>
                    <a:pt x="15" y="92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2" y="88"/>
                  </a:lnTo>
                  <a:lnTo>
                    <a:pt x="10" y="85"/>
                  </a:lnTo>
                  <a:lnTo>
                    <a:pt x="10" y="85"/>
                  </a:lnTo>
                  <a:lnTo>
                    <a:pt x="10" y="83"/>
                  </a:lnTo>
                  <a:lnTo>
                    <a:pt x="10" y="81"/>
                  </a:lnTo>
                  <a:lnTo>
                    <a:pt x="10" y="81"/>
                  </a:lnTo>
                  <a:lnTo>
                    <a:pt x="5" y="81"/>
                  </a:lnTo>
                  <a:lnTo>
                    <a:pt x="5" y="78"/>
                  </a:lnTo>
                  <a:lnTo>
                    <a:pt x="3" y="78"/>
                  </a:lnTo>
                  <a:lnTo>
                    <a:pt x="3" y="76"/>
                  </a:lnTo>
                  <a:lnTo>
                    <a:pt x="3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3" y="74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 cap="flat">
              <a:solidFill>
                <a:schemeClr val="bg2">
                  <a:lumMod val="7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>
                <a:solidFill>
                  <a:srgbClr val="000000"/>
                </a:solidFill>
              </a:endParaRPr>
            </a:p>
          </p:txBody>
        </p:sp>
        <p:sp>
          <p:nvSpPr>
            <p:cNvPr id="25" name="Freeform 20"/>
            <p:cNvSpPr>
              <a:spLocks noEditPoints="1"/>
            </p:cNvSpPr>
            <p:nvPr/>
          </p:nvSpPr>
          <p:spPr bwMode="gray">
            <a:xfrm>
              <a:off x="2773218" y="2961072"/>
              <a:ext cx="711887" cy="1054834"/>
            </a:xfrm>
            <a:custGeom>
              <a:avLst/>
              <a:gdLst/>
              <a:ahLst/>
              <a:cxnLst>
                <a:cxn ang="0">
                  <a:pos x="175" y="416"/>
                </a:cxn>
                <a:cxn ang="0">
                  <a:pos x="210" y="364"/>
                </a:cxn>
                <a:cxn ang="0">
                  <a:pos x="227" y="312"/>
                </a:cxn>
                <a:cxn ang="0">
                  <a:pos x="253" y="281"/>
                </a:cxn>
                <a:cxn ang="0">
                  <a:pos x="269" y="239"/>
                </a:cxn>
                <a:cxn ang="0">
                  <a:pos x="286" y="199"/>
                </a:cxn>
                <a:cxn ang="0">
                  <a:pos x="319" y="121"/>
                </a:cxn>
                <a:cxn ang="0">
                  <a:pos x="331" y="29"/>
                </a:cxn>
                <a:cxn ang="0">
                  <a:pos x="350" y="12"/>
                </a:cxn>
                <a:cxn ang="0">
                  <a:pos x="361" y="19"/>
                </a:cxn>
                <a:cxn ang="0">
                  <a:pos x="369" y="19"/>
                </a:cxn>
                <a:cxn ang="0">
                  <a:pos x="387" y="14"/>
                </a:cxn>
                <a:cxn ang="0">
                  <a:pos x="387" y="33"/>
                </a:cxn>
                <a:cxn ang="0">
                  <a:pos x="392" y="43"/>
                </a:cxn>
                <a:cxn ang="0">
                  <a:pos x="404" y="31"/>
                </a:cxn>
                <a:cxn ang="0">
                  <a:pos x="411" y="47"/>
                </a:cxn>
                <a:cxn ang="0">
                  <a:pos x="418" y="66"/>
                </a:cxn>
                <a:cxn ang="0">
                  <a:pos x="430" y="40"/>
                </a:cxn>
                <a:cxn ang="0">
                  <a:pos x="425" y="71"/>
                </a:cxn>
                <a:cxn ang="0">
                  <a:pos x="430" y="90"/>
                </a:cxn>
                <a:cxn ang="0">
                  <a:pos x="458" y="66"/>
                </a:cxn>
                <a:cxn ang="0">
                  <a:pos x="465" y="50"/>
                </a:cxn>
                <a:cxn ang="0">
                  <a:pos x="494" y="50"/>
                </a:cxn>
                <a:cxn ang="0">
                  <a:pos x="503" y="78"/>
                </a:cxn>
                <a:cxn ang="0">
                  <a:pos x="513" y="81"/>
                </a:cxn>
                <a:cxn ang="0">
                  <a:pos x="501" y="102"/>
                </a:cxn>
                <a:cxn ang="0">
                  <a:pos x="522" y="102"/>
                </a:cxn>
                <a:cxn ang="0">
                  <a:pos x="536" y="121"/>
                </a:cxn>
                <a:cxn ang="0">
                  <a:pos x="550" y="180"/>
                </a:cxn>
                <a:cxn ang="0">
                  <a:pos x="588" y="187"/>
                </a:cxn>
                <a:cxn ang="0">
                  <a:pos x="758" y="201"/>
                </a:cxn>
                <a:cxn ang="0">
                  <a:pos x="841" y="215"/>
                </a:cxn>
                <a:cxn ang="0">
                  <a:pos x="855" y="288"/>
                </a:cxn>
                <a:cxn ang="0">
                  <a:pos x="782" y="331"/>
                </a:cxn>
                <a:cxn ang="0">
                  <a:pos x="744" y="449"/>
                </a:cxn>
                <a:cxn ang="0">
                  <a:pos x="735" y="577"/>
                </a:cxn>
                <a:cxn ang="0">
                  <a:pos x="746" y="683"/>
                </a:cxn>
                <a:cxn ang="0">
                  <a:pos x="666" y="754"/>
                </a:cxn>
                <a:cxn ang="0">
                  <a:pos x="581" y="763"/>
                </a:cxn>
                <a:cxn ang="0">
                  <a:pos x="489" y="834"/>
                </a:cxn>
                <a:cxn ang="0">
                  <a:pos x="413" y="877"/>
                </a:cxn>
                <a:cxn ang="0">
                  <a:pos x="387" y="959"/>
                </a:cxn>
                <a:cxn ang="0">
                  <a:pos x="350" y="1032"/>
                </a:cxn>
                <a:cxn ang="0">
                  <a:pos x="373" y="1106"/>
                </a:cxn>
                <a:cxn ang="0">
                  <a:pos x="357" y="1198"/>
                </a:cxn>
                <a:cxn ang="0">
                  <a:pos x="267" y="1139"/>
                </a:cxn>
                <a:cxn ang="0">
                  <a:pos x="241" y="1066"/>
                </a:cxn>
                <a:cxn ang="0">
                  <a:pos x="220" y="1035"/>
                </a:cxn>
                <a:cxn ang="0">
                  <a:pos x="231" y="988"/>
                </a:cxn>
                <a:cxn ang="0">
                  <a:pos x="260" y="955"/>
                </a:cxn>
                <a:cxn ang="0">
                  <a:pos x="250" y="903"/>
                </a:cxn>
                <a:cxn ang="0">
                  <a:pos x="208" y="905"/>
                </a:cxn>
                <a:cxn ang="0">
                  <a:pos x="182" y="865"/>
                </a:cxn>
                <a:cxn ang="0">
                  <a:pos x="128" y="808"/>
                </a:cxn>
                <a:cxn ang="0">
                  <a:pos x="168" y="655"/>
                </a:cxn>
                <a:cxn ang="0">
                  <a:pos x="24" y="553"/>
                </a:cxn>
                <a:cxn ang="0">
                  <a:pos x="508" y="83"/>
                </a:cxn>
                <a:cxn ang="0">
                  <a:pos x="484" y="45"/>
                </a:cxn>
                <a:cxn ang="0">
                  <a:pos x="503" y="69"/>
                </a:cxn>
                <a:cxn ang="0">
                  <a:pos x="600" y="177"/>
                </a:cxn>
                <a:cxn ang="0">
                  <a:pos x="465" y="45"/>
                </a:cxn>
                <a:cxn ang="0">
                  <a:pos x="480" y="45"/>
                </a:cxn>
                <a:cxn ang="0">
                  <a:pos x="503" y="64"/>
                </a:cxn>
              </a:cxnLst>
              <a:rect l="0" t="0" r="r" b="b"/>
              <a:pathLst>
                <a:path w="881" h="1205">
                  <a:moveTo>
                    <a:pt x="0" y="562"/>
                  </a:moveTo>
                  <a:lnTo>
                    <a:pt x="24" y="543"/>
                  </a:lnTo>
                  <a:lnTo>
                    <a:pt x="35" y="534"/>
                  </a:lnTo>
                  <a:lnTo>
                    <a:pt x="38" y="532"/>
                  </a:lnTo>
                  <a:lnTo>
                    <a:pt x="40" y="532"/>
                  </a:lnTo>
                  <a:lnTo>
                    <a:pt x="38" y="529"/>
                  </a:lnTo>
                  <a:lnTo>
                    <a:pt x="40" y="527"/>
                  </a:lnTo>
                  <a:lnTo>
                    <a:pt x="40" y="527"/>
                  </a:lnTo>
                  <a:lnTo>
                    <a:pt x="43" y="529"/>
                  </a:lnTo>
                  <a:lnTo>
                    <a:pt x="45" y="527"/>
                  </a:lnTo>
                  <a:lnTo>
                    <a:pt x="68" y="508"/>
                  </a:lnTo>
                  <a:lnTo>
                    <a:pt x="71" y="506"/>
                  </a:lnTo>
                  <a:lnTo>
                    <a:pt x="85" y="494"/>
                  </a:lnTo>
                  <a:lnTo>
                    <a:pt x="87" y="494"/>
                  </a:lnTo>
                  <a:lnTo>
                    <a:pt x="92" y="489"/>
                  </a:lnTo>
                  <a:lnTo>
                    <a:pt x="102" y="480"/>
                  </a:lnTo>
                  <a:lnTo>
                    <a:pt x="118" y="468"/>
                  </a:lnTo>
                  <a:lnTo>
                    <a:pt x="120" y="466"/>
                  </a:lnTo>
                  <a:lnTo>
                    <a:pt x="120" y="463"/>
                  </a:lnTo>
                  <a:lnTo>
                    <a:pt x="125" y="463"/>
                  </a:lnTo>
                  <a:lnTo>
                    <a:pt x="125" y="463"/>
                  </a:lnTo>
                  <a:lnTo>
                    <a:pt x="128" y="466"/>
                  </a:lnTo>
                  <a:lnTo>
                    <a:pt x="128" y="466"/>
                  </a:lnTo>
                  <a:lnTo>
                    <a:pt x="130" y="466"/>
                  </a:lnTo>
                  <a:lnTo>
                    <a:pt x="130" y="466"/>
                  </a:lnTo>
                  <a:lnTo>
                    <a:pt x="132" y="466"/>
                  </a:lnTo>
                  <a:lnTo>
                    <a:pt x="135" y="468"/>
                  </a:lnTo>
                  <a:lnTo>
                    <a:pt x="139" y="463"/>
                  </a:lnTo>
                  <a:lnTo>
                    <a:pt x="139" y="461"/>
                  </a:lnTo>
                  <a:lnTo>
                    <a:pt x="142" y="461"/>
                  </a:lnTo>
                  <a:lnTo>
                    <a:pt x="144" y="461"/>
                  </a:lnTo>
                  <a:lnTo>
                    <a:pt x="144" y="458"/>
                  </a:lnTo>
                  <a:lnTo>
                    <a:pt x="149" y="454"/>
                  </a:lnTo>
                  <a:lnTo>
                    <a:pt x="149" y="449"/>
                  </a:lnTo>
                  <a:lnTo>
                    <a:pt x="154" y="444"/>
                  </a:lnTo>
                  <a:lnTo>
                    <a:pt x="156" y="442"/>
                  </a:lnTo>
                  <a:lnTo>
                    <a:pt x="158" y="440"/>
                  </a:lnTo>
                  <a:lnTo>
                    <a:pt x="158" y="440"/>
                  </a:lnTo>
                  <a:lnTo>
                    <a:pt x="158" y="437"/>
                  </a:lnTo>
                  <a:lnTo>
                    <a:pt x="158" y="435"/>
                  </a:lnTo>
                  <a:lnTo>
                    <a:pt x="161" y="432"/>
                  </a:lnTo>
                  <a:lnTo>
                    <a:pt x="161" y="432"/>
                  </a:lnTo>
                  <a:lnTo>
                    <a:pt x="161" y="432"/>
                  </a:lnTo>
                  <a:lnTo>
                    <a:pt x="161" y="430"/>
                  </a:lnTo>
                  <a:lnTo>
                    <a:pt x="163" y="430"/>
                  </a:lnTo>
                  <a:lnTo>
                    <a:pt x="161" y="428"/>
                  </a:lnTo>
                  <a:lnTo>
                    <a:pt x="165" y="425"/>
                  </a:lnTo>
                  <a:lnTo>
                    <a:pt x="165" y="425"/>
                  </a:lnTo>
                  <a:lnTo>
                    <a:pt x="165" y="425"/>
                  </a:lnTo>
                  <a:lnTo>
                    <a:pt x="168" y="425"/>
                  </a:lnTo>
                  <a:lnTo>
                    <a:pt x="168" y="423"/>
                  </a:lnTo>
                  <a:lnTo>
                    <a:pt x="168" y="423"/>
                  </a:lnTo>
                  <a:lnTo>
                    <a:pt x="170" y="423"/>
                  </a:lnTo>
                  <a:lnTo>
                    <a:pt x="170" y="423"/>
                  </a:lnTo>
                  <a:lnTo>
                    <a:pt x="172" y="421"/>
                  </a:lnTo>
                  <a:lnTo>
                    <a:pt x="172" y="421"/>
                  </a:lnTo>
                  <a:lnTo>
                    <a:pt x="175" y="421"/>
                  </a:lnTo>
                  <a:lnTo>
                    <a:pt x="172" y="416"/>
                  </a:lnTo>
                  <a:lnTo>
                    <a:pt x="175" y="416"/>
                  </a:lnTo>
                  <a:lnTo>
                    <a:pt x="175" y="416"/>
                  </a:lnTo>
                  <a:lnTo>
                    <a:pt x="175" y="414"/>
                  </a:lnTo>
                  <a:lnTo>
                    <a:pt x="175" y="414"/>
                  </a:lnTo>
                  <a:lnTo>
                    <a:pt x="175" y="411"/>
                  </a:lnTo>
                  <a:lnTo>
                    <a:pt x="175" y="411"/>
                  </a:lnTo>
                  <a:lnTo>
                    <a:pt x="177" y="411"/>
                  </a:lnTo>
                  <a:lnTo>
                    <a:pt x="177" y="411"/>
                  </a:lnTo>
                  <a:lnTo>
                    <a:pt x="177" y="411"/>
                  </a:lnTo>
                  <a:lnTo>
                    <a:pt x="177" y="409"/>
                  </a:lnTo>
                  <a:lnTo>
                    <a:pt x="177" y="406"/>
                  </a:lnTo>
                  <a:lnTo>
                    <a:pt x="177" y="406"/>
                  </a:lnTo>
                  <a:lnTo>
                    <a:pt x="177" y="406"/>
                  </a:lnTo>
                  <a:lnTo>
                    <a:pt x="177" y="404"/>
                  </a:lnTo>
                  <a:lnTo>
                    <a:pt x="177" y="402"/>
                  </a:lnTo>
                  <a:lnTo>
                    <a:pt x="177" y="402"/>
                  </a:lnTo>
                  <a:lnTo>
                    <a:pt x="177" y="399"/>
                  </a:lnTo>
                  <a:lnTo>
                    <a:pt x="180" y="399"/>
                  </a:lnTo>
                  <a:lnTo>
                    <a:pt x="180" y="397"/>
                  </a:lnTo>
                  <a:lnTo>
                    <a:pt x="180" y="397"/>
                  </a:lnTo>
                  <a:lnTo>
                    <a:pt x="180" y="397"/>
                  </a:lnTo>
                  <a:lnTo>
                    <a:pt x="180" y="395"/>
                  </a:lnTo>
                  <a:lnTo>
                    <a:pt x="182" y="395"/>
                  </a:lnTo>
                  <a:lnTo>
                    <a:pt x="182" y="395"/>
                  </a:lnTo>
                  <a:lnTo>
                    <a:pt x="182" y="395"/>
                  </a:lnTo>
                  <a:lnTo>
                    <a:pt x="182" y="395"/>
                  </a:lnTo>
                  <a:lnTo>
                    <a:pt x="182" y="395"/>
                  </a:lnTo>
                  <a:lnTo>
                    <a:pt x="184" y="395"/>
                  </a:lnTo>
                  <a:lnTo>
                    <a:pt x="184" y="392"/>
                  </a:lnTo>
                  <a:lnTo>
                    <a:pt x="184" y="392"/>
                  </a:lnTo>
                  <a:lnTo>
                    <a:pt x="184" y="392"/>
                  </a:lnTo>
                  <a:lnTo>
                    <a:pt x="187" y="390"/>
                  </a:lnTo>
                  <a:lnTo>
                    <a:pt x="187" y="390"/>
                  </a:lnTo>
                  <a:lnTo>
                    <a:pt x="187" y="390"/>
                  </a:lnTo>
                  <a:lnTo>
                    <a:pt x="191" y="388"/>
                  </a:lnTo>
                  <a:lnTo>
                    <a:pt x="191" y="388"/>
                  </a:lnTo>
                  <a:lnTo>
                    <a:pt x="194" y="388"/>
                  </a:lnTo>
                  <a:lnTo>
                    <a:pt x="194" y="388"/>
                  </a:lnTo>
                  <a:lnTo>
                    <a:pt x="194" y="385"/>
                  </a:lnTo>
                  <a:lnTo>
                    <a:pt x="196" y="385"/>
                  </a:lnTo>
                  <a:lnTo>
                    <a:pt x="196" y="383"/>
                  </a:lnTo>
                  <a:lnTo>
                    <a:pt x="198" y="385"/>
                  </a:lnTo>
                  <a:lnTo>
                    <a:pt x="198" y="383"/>
                  </a:lnTo>
                  <a:lnTo>
                    <a:pt x="198" y="383"/>
                  </a:lnTo>
                  <a:lnTo>
                    <a:pt x="198" y="380"/>
                  </a:lnTo>
                  <a:lnTo>
                    <a:pt x="198" y="380"/>
                  </a:lnTo>
                  <a:lnTo>
                    <a:pt x="198" y="380"/>
                  </a:lnTo>
                  <a:lnTo>
                    <a:pt x="201" y="378"/>
                  </a:lnTo>
                  <a:lnTo>
                    <a:pt x="201" y="376"/>
                  </a:lnTo>
                  <a:lnTo>
                    <a:pt x="201" y="376"/>
                  </a:lnTo>
                  <a:lnTo>
                    <a:pt x="203" y="373"/>
                  </a:lnTo>
                  <a:lnTo>
                    <a:pt x="203" y="376"/>
                  </a:lnTo>
                  <a:lnTo>
                    <a:pt x="203" y="373"/>
                  </a:lnTo>
                  <a:lnTo>
                    <a:pt x="203" y="371"/>
                  </a:lnTo>
                  <a:lnTo>
                    <a:pt x="206" y="371"/>
                  </a:lnTo>
                  <a:lnTo>
                    <a:pt x="206" y="371"/>
                  </a:lnTo>
                  <a:lnTo>
                    <a:pt x="208" y="371"/>
                  </a:lnTo>
                  <a:lnTo>
                    <a:pt x="208" y="371"/>
                  </a:lnTo>
                  <a:lnTo>
                    <a:pt x="208" y="369"/>
                  </a:lnTo>
                  <a:lnTo>
                    <a:pt x="210" y="369"/>
                  </a:lnTo>
                  <a:lnTo>
                    <a:pt x="210" y="366"/>
                  </a:lnTo>
                  <a:lnTo>
                    <a:pt x="210" y="364"/>
                  </a:lnTo>
                  <a:lnTo>
                    <a:pt x="213" y="364"/>
                  </a:lnTo>
                  <a:lnTo>
                    <a:pt x="213" y="362"/>
                  </a:lnTo>
                  <a:lnTo>
                    <a:pt x="213" y="362"/>
                  </a:lnTo>
                  <a:lnTo>
                    <a:pt x="213" y="359"/>
                  </a:lnTo>
                  <a:lnTo>
                    <a:pt x="213" y="359"/>
                  </a:lnTo>
                  <a:lnTo>
                    <a:pt x="213" y="357"/>
                  </a:lnTo>
                  <a:lnTo>
                    <a:pt x="213" y="357"/>
                  </a:lnTo>
                  <a:lnTo>
                    <a:pt x="215" y="355"/>
                  </a:lnTo>
                  <a:lnTo>
                    <a:pt x="215" y="352"/>
                  </a:lnTo>
                  <a:lnTo>
                    <a:pt x="213" y="352"/>
                  </a:lnTo>
                  <a:lnTo>
                    <a:pt x="215" y="350"/>
                  </a:lnTo>
                  <a:lnTo>
                    <a:pt x="215" y="350"/>
                  </a:lnTo>
                  <a:lnTo>
                    <a:pt x="215" y="345"/>
                  </a:lnTo>
                  <a:lnTo>
                    <a:pt x="217" y="343"/>
                  </a:lnTo>
                  <a:lnTo>
                    <a:pt x="217" y="343"/>
                  </a:lnTo>
                  <a:lnTo>
                    <a:pt x="215" y="343"/>
                  </a:lnTo>
                  <a:lnTo>
                    <a:pt x="215" y="343"/>
                  </a:lnTo>
                  <a:lnTo>
                    <a:pt x="215" y="343"/>
                  </a:lnTo>
                  <a:lnTo>
                    <a:pt x="215" y="340"/>
                  </a:lnTo>
                  <a:lnTo>
                    <a:pt x="215" y="340"/>
                  </a:lnTo>
                  <a:lnTo>
                    <a:pt x="217" y="340"/>
                  </a:lnTo>
                  <a:lnTo>
                    <a:pt x="215" y="340"/>
                  </a:lnTo>
                  <a:lnTo>
                    <a:pt x="217" y="340"/>
                  </a:lnTo>
                  <a:lnTo>
                    <a:pt x="215" y="340"/>
                  </a:lnTo>
                  <a:lnTo>
                    <a:pt x="217" y="338"/>
                  </a:lnTo>
                  <a:lnTo>
                    <a:pt x="215" y="338"/>
                  </a:lnTo>
                  <a:lnTo>
                    <a:pt x="217" y="338"/>
                  </a:lnTo>
                  <a:lnTo>
                    <a:pt x="217" y="336"/>
                  </a:lnTo>
                  <a:lnTo>
                    <a:pt x="217" y="336"/>
                  </a:lnTo>
                  <a:lnTo>
                    <a:pt x="217" y="333"/>
                  </a:lnTo>
                  <a:lnTo>
                    <a:pt x="217" y="333"/>
                  </a:lnTo>
                  <a:lnTo>
                    <a:pt x="217" y="331"/>
                  </a:lnTo>
                  <a:lnTo>
                    <a:pt x="217" y="331"/>
                  </a:lnTo>
                  <a:lnTo>
                    <a:pt x="217" y="331"/>
                  </a:lnTo>
                  <a:lnTo>
                    <a:pt x="217" y="331"/>
                  </a:lnTo>
                  <a:lnTo>
                    <a:pt x="220" y="331"/>
                  </a:lnTo>
                  <a:lnTo>
                    <a:pt x="220" y="329"/>
                  </a:lnTo>
                  <a:lnTo>
                    <a:pt x="220" y="329"/>
                  </a:lnTo>
                  <a:lnTo>
                    <a:pt x="220" y="326"/>
                  </a:lnTo>
                  <a:lnTo>
                    <a:pt x="222" y="326"/>
                  </a:lnTo>
                  <a:lnTo>
                    <a:pt x="222" y="326"/>
                  </a:lnTo>
                  <a:lnTo>
                    <a:pt x="224" y="324"/>
                  </a:lnTo>
                  <a:lnTo>
                    <a:pt x="224" y="324"/>
                  </a:lnTo>
                  <a:lnTo>
                    <a:pt x="227" y="324"/>
                  </a:lnTo>
                  <a:lnTo>
                    <a:pt x="224" y="321"/>
                  </a:lnTo>
                  <a:lnTo>
                    <a:pt x="224" y="321"/>
                  </a:lnTo>
                  <a:lnTo>
                    <a:pt x="227" y="321"/>
                  </a:lnTo>
                  <a:lnTo>
                    <a:pt x="227" y="321"/>
                  </a:lnTo>
                  <a:lnTo>
                    <a:pt x="227" y="321"/>
                  </a:lnTo>
                  <a:lnTo>
                    <a:pt x="227" y="317"/>
                  </a:lnTo>
                  <a:lnTo>
                    <a:pt x="229" y="319"/>
                  </a:lnTo>
                  <a:lnTo>
                    <a:pt x="229" y="317"/>
                  </a:lnTo>
                  <a:lnTo>
                    <a:pt x="227" y="317"/>
                  </a:lnTo>
                  <a:lnTo>
                    <a:pt x="227" y="317"/>
                  </a:lnTo>
                  <a:lnTo>
                    <a:pt x="229" y="317"/>
                  </a:lnTo>
                  <a:lnTo>
                    <a:pt x="227" y="314"/>
                  </a:lnTo>
                  <a:lnTo>
                    <a:pt x="229" y="314"/>
                  </a:lnTo>
                  <a:lnTo>
                    <a:pt x="229" y="314"/>
                  </a:lnTo>
                  <a:lnTo>
                    <a:pt x="227" y="314"/>
                  </a:lnTo>
                  <a:lnTo>
                    <a:pt x="227" y="312"/>
                  </a:lnTo>
                  <a:lnTo>
                    <a:pt x="229" y="312"/>
                  </a:lnTo>
                  <a:lnTo>
                    <a:pt x="229" y="312"/>
                  </a:lnTo>
                  <a:lnTo>
                    <a:pt x="229" y="312"/>
                  </a:lnTo>
                  <a:lnTo>
                    <a:pt x="229" y="312"/>
                  </a:lnTo>
                  <a:lnTo>
                    <a:pt x="229" y="310"/>
                  </a:lnTo>
                  <a:lnTo>
                    <a:pt x="229" y="307"/>
                  </a:lnTo>
                  <a:lnTo>
                    <a:pt x="229" y="307"/>
                  </a:lnTo>
                  <a:lnTo>
                    <a:pt x="229" y="307"/>
                  </a:lnTo>
                  <a:lnTo>
                    <a:pt x="229" y="305"/>
                  </a:lnTo>
                  <a:lnTo>
                    <a:pt x="229" y="305"/>
                  </a:lnTo>
                  <a:lnTo>
                    <a:pt x="231" y="305"/>
                  </a:lnTo>
                  <a:lnTo>
                    <a:pt x="231" y="305"/>
                  </a:lnTo>
                  <a:lnTo>
                    <a:pt x="231" y="305"/>
                  </a:lnTo>
                  <a:lnTo>
                    <a:pt x="231" y="305"/>
                  </a:lnTo>
                  <a:lnTo>
                    <a:pt x="231" y="303"/>
                  </a:lnTo>
                  <a:lnTo>
                    <a:pt x="234" y="305"/>
                  </a:lnTo>
                  <a:lnTo>
                    <a:pt x="234" y="303"/>
                  </a:lnTo>
                  <a:lnTo>
                    <a:pt x="234" y="303"/>
                  </a:lnTo>
                  <a:lnTo>
                    <a:pt x="234" y="303"/>
                  </a:lnTo>
                  <a:lnTo>
                    <a:pt x="234" y="303"/>
                  </a:lnTo>
                  <a:lnTo>
                    <a:pt x="236" y="300"/>
                  </a:lnTo>
                  <a:lnTo>
                    <a:pt x="236" y="300"/>
                  </a:lnTo>
                  <a:lnTo>
                    <a:pt x="236" y="300"/>
                  </a:lnTo>
                  <a:lnTo>
                    <a:pt x="236" y="303"/>
                  </a:lnTo>
                  <a:lnTo>
                    <a:pt x="239" y="300"/>
                  </a:lnTo>
                  <a:lnTo>
                    <a:pt x="239" y="300"/>
                  </a:lnTo>
                  <a:lnTo>
                    <a:pt x="239" y="298"/>
                  </a:lnTo>
                  <a:lnTo>
                    <a:pt x="239" y="298"/>
                  </a:lnTo>
                  <a:lnTo>
                    <a:pt x="239" y="300"/>
                  </a:lnTo>
                  <a:lnTo>
                    <a:pt x="241" y="300"/>
                  </a:lnTo>
                  <a:lnTo>
                    <a:pt x="241" y="300"/>
                  </a:lnTo>
                  <a:lnTo>
                    <a:pt x="241" y="298"/>
                  </a:lnTo>
                  <a:lnTo>
                    <a:pt x="241" y="298"/>
                  </a:lnTo>
                  <a:lnTo>
                    <a:pt x="243" y="298"/>
                  </a:lnTo>
                  <a:lnTo>
                    <a:pt x="243" y="298"/>
                  </a:lnTo>
                  <a:lnTo>
                    <a:pt x="246" y="298"/>
                  </a:lnTo>
                  <a:lnTo>
                    <a:pt x="246" y="295"/>
                  </a:lnTo>
                  <a:lnTo>
                    <a:pt x="243" y="295"/>
                  </a:lnTo>
                  <a:lnTo>
                    <a:pt x="246" y="293"/>
                  </a:lnTo>
                  <a:lnTo>
                    <a:pt x="243" y="291"/>
                  </a:lnTo>
                  <a:lnTo>
                    <a:pt x="246" y="291"/>
                  </a:lnTo>
                  <a:lnTo>
                    <a:pt x="246" y="291"/>
                  </a:lnTo>
                  <a:lnTo>
                    <a:pt x="246" y="291"/>
                  </a:lnTo>
                  <a:lnTo>
                    <a:pt x="246" y="288"/>
                  </a:lnTo>
                  <a:lnTo>
                    <a:pt x="248" y="286"/>
                  </a:lnTo>
                  <a:lnTo>
                    <a:pt x="248" y="288"/>
                  </a:lnTo>
                  <a:lnTo>
                    <a:pt x="248" y="288"/>
                  </a:lnTo>
                  <a:lnTo>
                    <a:pt x="250" y="286"/>
                  </a:lnTo>
                  <a:lnTo>
                    <a:pt x="248" y="286"/>
                  </a:lnTo>
                  <a:lnTo>
                    <a:pt x="250" y="284"/>
                  </a:lnTo>
                  <a:lnTo>
                    <a:pt x="250" y="284"/>
                  </a:lnTo>
                  <a:lnTo>
                    <a:pt x="253" y="286"/>
                  </a:lnTo>
                  <a:lnTo>
                    <a:pt x="253" y="284"/>
                  </a:lnTo>
                  <a:lnTo>
                    <a:pt x="253" y="284"/>
                  </a:lnTo>
                  <a:lnTo>
                    <a:pt x="250" y="284"/>
                  </a:lnTo>
                  <a:lnTo>
                    <a:pt x="253" y="281"/>
                  </a:lnTo>
                  <a:lnTo>
                    <a:pt x="253" y="281"/>
                  </a:lnTo>
                  <a:lnTo>
                    <a:pt x="250" y="279"/>
                  </a:lnTo>
                  <a:lnTo>
                    <a:pt x="250" y="279"/>
                  </a:lnTo>
                  <a:lnTo>
                    <a:pt x="253" y="281"/>
                  </a:lnTo>
                  <a:lnTo>
                    <a:pt x="255" y="279"/>
                  </a:lnTo>
                  <a:lnTo>
                    <a:pt x="253" y="277"/>
                  </a:lnTo>
                  <a:lnTo>
                    <a:pt x="255" y="277"/>
                  </a:lnTo>
                  <a:lnTo>
                    <a:pt x="255" y="277"/>
                  </a:lnTo>
                  <a:lnTo>
                    <a:pt x="257" y="277"/>
                  </a:lnTo>
                  <a:lnTo>
                    <a:pt x="255" y="274"/>
                  </a:lnTo>
                  <a:lnTo>
                    <a:pt x="255" y="274"/>
                  </a:lnTo>
                  <a:lnTo>
                    <a:pt x="255" y="274"/>
                  </a:lnTo>
                  <a:lnTo>
                    <a:pt x="253" y="272"/>
                  </a:lnTo>
                  <a:lnTo>
                    <a:pt x="255" y="272"/>
                  </a:lnTo>
                  <a:lnTo>
                    <a:pt x="255" y="272"/>
                  </a:lnTo>
                  <a:lnTo>
                    <a:pt x="255" y="272"/>
                  </a:lnTo>
                  <a:lnTo>
                    <a:pt x="257" y="269"/>
                  </a:lnTo>
                  <a:lnTo>
                    <a:pt x="257" y="269"/>
                  </a:lnTo>
                  <a:lnTo>
                    <a:pt x="257" y="274"/>
                  </a:lnTo>
                  <a:lnTo>
                    <a:pt x="257" y="274"/>
                  </a:lnTo>
                  <a:lnTo>
                    <a:pt x="260" y="272"/>
                  </a:lnTo>
                  <a:lnTo>
                    <a:pt x="257" y="269"/>
                  </a:lnTo>
                  <a:lnTo>
                    <a:pt x="260" y="267"/>
                  </a:lnTo>
                  <a:lnTo>
                    <a:pt x="262" y="269"/>
                  </a:lnTo>
                  <a:lnTo>
                    <a:pt x="262" y="267"/>
                  </a:lnTo>
                  <a:lnTo>
                    <a:pt x="262" y="265"/>
                  </a:lnTo>
                  <a:lnTo>
                    <a:pt x="262" y="265"/>
                  </a:lnTo>
                  <a:lnTo>
                    <a:pt x="262" y="260"/>
                  </a:lnTo>
                  <a:lnTo>
                    <a:pt x="265" y="260"/>
                  </a:lnTo>
                  <a:lnTo>
                    <a:pt x="262" y="260"/>
                  </a:lnTo>
                  <a:lnTo>
                    <a:pt x="265" y="258"/>
                  </a:lnTo>
                  <a:lnTo>
                    <a:pt x="262" y="258"/>
                  </a:lnTo>
                  <a:lnTo>
                    <a:pt x="262" y="255"/>
                  </a:lnTo>
                  <a:lnTo>
                    <a:pt x="265" y="255"/>
                  </a:lnTo>
                  <a:lnTo>
                    <a:pt x="265" y="255"/>
                  </a:lnTo>
                  <a:lnTo>
                    <a:pt x="267" y="255"/>
                  </a:lnTo>
                  <a:lnTo>
                    <a:pt x="265" y="253"/>
                  </a:lnTo>
                  <a:lnTo>
                    <a:pt x="265" y="253"/>
                  </a:lnTo>
                  <a:lnTo>
                    <a:pt x="265" y="253"/>
                  </a:lnTo>
                  <a:lnTo>
                    <a:pt x="267" y="253"/>
                  </a:lnTo>
                  <a:lnTo>
                    <a:pt x="267" y="251"/>
                  </a:lnTo>
                  <a:lnTo>
                    <a:pt x="265" y="251"/>
                  </a:lnTo>
                  <a:lnTo>
                    <a:pt x="265" y="251"/>
                  </a:lnTo>
                  <a:lnTo>
                    <a:pt x="265" y="248"/>
                  </a:lnTo>
                  <a:lnTo>
                    <a:pt x="265" y="248"/>
                  </a:lnTo>
                  <a:lnTo>
                    <a:pt x="265" y="248"/>
                  </a:lnTo>
                  <a:lnTo>
                    <a:pt x="265" y="246"/>
                  </a:lnTo>
                  <a:lnTo>
                    <a:pt x="265" y="246"/>
                  </a:lnTo>
                  <a:lnTo>
                    <a:pt x="265" y="243"/>
                  </a:lnTo>
                  <a:lnTo>
                    <a:pt x="265" y="243"/>
                  </a:lnTo>
                  <a:lnTo>
                    <a:pt x="262" y="241"/>
                  </a:lnTo>
                  <a:lnTo>
                    <a:pt x="262" y="241"/>
                  </a:lnTo>
                  <a:lnTo>
                    <a:pt x="262" y="241"/>
                  </a:lnTo>
                  <a:lnTo>
                    <a:pt x="265" y="241"/>
                  </a:lnTo>
                  <a:lnTo>
                    <a:pt x="265" y="241"/>
                  </a:lnTo>
                  <a:lnTo>
                    <a:pt x="267" y="241"/>
                  </a:lnTo>
                  <a:lnTo>
                    <a:pt x="267" y="241"/>
                  </a:lnTo>
                  <a:lnTo>
                    <a:pt x="267" y="239"/>
                  </a:lnTo>
                  <a:lnTo>
                    <a:pt x="267" y="239"/>
                  </a:lnTo>
                  <a:lnTo>
                    <a:pt x="267" y="239"/>
                  </a:lnTo>
                  <a:lnTo>
                    <a:pt x="267" y="239"/>
                  </a:lnTo>
                  <a:lnTo>
                    <a:pt x="267" y="236"/>
                  </a:lnTo>
                  <a:lnTo>
                    <a:pt x="267" y="236"/>
                  </a:lnTo>
                  <a:lnTo>
                    <a:pt x="269" y="239"/>
                  </a:lnTo>
                  <a:lnTo>
                    <a:pt x="272" y="236"/>
                  </a:lnTo>
                  <a:lnTo>
                    <a:pt x="269" y="236"/>
                  </a:lnTo>
                  <a:lnTo>
                    <a:pt x="269" y="234"/>
                  </a:lnTo>
                  <a:lnTo>
                    <a:pt x="269" y="234"/>
                  </a:lnTo>
                  <a:lnTo>
                    <a:pt x="269" y="234"/>
                  </a:lnTo>
                  <a:lnTo>
                    <a:pt x="272" y="234"/>
                  </a:lnTo>
                  <a:lnTo>
                    <a:pt x="274" y="236"/>
                  </a:lnTo>
                  <a:lnTo>
                    <a:pt x="274" y="234"/>
                  </a:lnTo>
                  <a:lnTo>
                    <a:pt x="276" y="234"/>
                  </a:lnTo>
                  <a:lnTo>
                    <a:pt x="274" y="234"/>
                  </a:lnTo>
                  <a:lnTo>
                    <a:pt x="274" y="234"/>
                  </a:lnTo>
                  <a:lnTo>
                    <a:pt x="274" y="234"/>
                  </a:lnTo>
                  <a:lnTo>
                    <a:pt x="274" y="234"/>
                  </a:lnTo>
                  <a:lnTo>
                    <a:pt x="274" y="234"/>
                  </a:lnTo>
                  <a:lnTo>
                    <a:pt x="274" y="234"/>
                  </a:lnTo>
                  <a:lnTo>
                    <a:pt x="274" y="232"/>
                  </a:lnTo>
                  <a:lnTo>
                    <a:pt x="272" y="232"/>
                  </a:lnTo>
                  <a:lnTo>
                    <a:pt x="272" y="232"/>
                  </a:lnTo>
                  <a:lnTo>
                    <a:pt x="272" y="229"/>
                  </a:lnTo>
                  <a:lnTo>
                    <a:pt x="272" y="229"/>
                  </a:lnTo>
                  <a:lnTo>
                    <a:pt x="272" y="229"/>
                  </a:lnTo>
                  <a:lnTo>
                    <a:pt x="272" y="229"/>
                  </a:lnTo>
                  <a:lnTo>
                    <a:pt x="269" y="229"/>
                  </a:lnTo>
                  <a:lnTo>
                    <a:pt x="269" y="232"/>
                  </a:lnTo>
                  <a:lnTo>
                    <a:pt x="267" y="229"/>
                  </a:lnTo>
                  <a:lnTo>
                    <a:pt x="267" y="227"/>
                  </a:lnTo>
                  <a:lnTo>
                    <a:pt x="267" y="225"/>
                  </a:lnTo>
                  <a:lnTo>
                    <a:pt x="267" y="225"/>
                  </a:lnTo>
                  <a:lnTo>
                    <a:pt x="267" y="225"/>
                  </a:lnTo>
                  <a:lnTo>
                    <a:pt x="267" y="225"/>
                  </a:lnTo>
                  <a:lnTo>
                    <a:pt x="265" y="222"/>
                  </a:lnTo>
                  <a:lnTo>
                    <a:pt x="265" y="222"/>
                  </a:lnTo>
                  <a:lnTo>
                    <a:pt x="265" y="220"/>
                  </a:lnTo>
                  <a:lnTo>
                    <a:pt x="265" y="222"/>
                  </a:lnTo>
                  <a:lnTo>
                    <a:pt x="265" y="220"/>
                  </a:lnTo>
                  <a:lnTo>
                    <a:pt x="262" y="220"/>
                  </a:lnTo>
                  <a:lnTo>
                    <a:pt x="265" y="215"/>
                  </a:lnTo>
                  <a:lnTo>
                    <a:pt x="267" y="215"/>
                  </a:lnTo>
                  <a:lnTo>
                    <a:pt x="267" y="215"/>
                  </a:lnTo>
                  <a:lnTo>
                    <a:pt x="267" y="215"/>
                  </a:lnTo>
                  <a:lnTo>
                    <a:pt x="267" y="215"/>
                  </a:lnTo>
                  <a:lnTo>
                    <a:pt x="267" y="213"/>
                  </a:lnTo>
                  <a:lnTo>
                    <a:pt x="269" y="213"/>
                  </a:lnTo>
                  <a:lnTo>
                    <a:pt x="269" y="213"/>
                  </a:lnTo>
                  <a:lnTo>
                    <a:pt x="269" y="210"/>
                  </a:lnTo>
                  <a:lnTo>
                    <a:pt x="269" y="210"/>
                  </a:lnTo>
                  <a:lnTo>
                    <a:pt x="272" y="210"/>
                  </a:lnTo>
                  <a:lnTo>
                    <a:pt x="274" y="213"/>
                  </a:lnTo>
                  <a:lnTo>
                    <a:pt x="274" y="213"/>
                  </a:lnTo>
                  <a:lnTo>
                    <a:pt x="274" y="208"/>
                  </a:lnTo>
                  <a:lnTo>
                    <a:pt x="276" y="208"/>
                  </a:lnTo>
                  <a:lnTo>
                    <a:pt x="276" y="208"/>
                  </a:lnTo>
                  <a:lnTo>
                    <a:pt x="279" y="208"/>
                  </a:lnTo>
                  <a:lnTo>
                    <a:pt x="281" y="206"/>
                  </a:lnTo>
                  <a:lnTo>
                    <a:pt x="283" y="206"/>
                  </a:lnTo>
                  <a:lnTo>
                    <a:pt x="283" y="203"/>
                  </a:lnTo>
                  <a:lnTo>
                    <a:pt x="286" y="201"/>
                  </a:lnTo>
                  <a:lnTo>
                    <a:pt x="286" y="201"/>
                  </a:lnTo>
                  <a:lnTo>
                    <a:pt x="286" y="201"/>
                  </a:lnTo>
                  <a:lnTo>
                    <a:pt x="286" y="199"/>
                  </a:lnTo>
                  <a:lnTo>
                    <a:pt x="286" y="199"/>
                  </a:lnTo>
                  <a:lnTo>
                    <a:pt x="286" y="196"/>
                  </a:lnTo>
                  <a:lnTo>
                    <a:pt x="286" y="196"/>
                  </a:lnTo>
                  <a:lnTo>
                    <a:pt x="286" y="196"/>
                  </a:lnTo>
                  <a:lnTo>
                    <a:pt x="288" y="196"/>
                  </a:lnTo>
                  <a:lnTo>
                    <a:pt x="291" y="196"/>
                  </a:lnTo>
                  <a:lnTo>
                    <a:pt x="295" y="194"/>
                  </a:lnTo>
                  <a:lnTo>
                    <a:pt x="295" y="194"/>
                  </a:lnTo>
                  <a:lnTo>
                    <a:pt x="293" y="194"/>
                  </a:lnTo>
                  <a:lnTo>
                    <a:pt x="293" y="192"/>
                  </a:lnTo>
                  <a:lnTo>
                    <a:pt x="293" y="192"/>
                  </a:lnTo>
                  <a:lnTo>
                    <a:pt x="293" y="189"/>
                  </a:lnTo>
                  <a:lnTo>
                    <a:pt x="293" y="187"/>
                  </a:lnTo>
                  <a:lnTo>
                    <a:pt x="293" y="184"/>
                  </a:lnTo>
                  <a:lnTo>
                    <a:pt x="293" y="184"/>
                  </a:lnTo>
                  <a:lnTo>
                    <a:pt x="293" y="184"/>
                  </a:lnTo>
                  <a:lnTo>
                    <a:pt x="293" y="182"/>
                  </a:lnTo>
                  <a:lnTo>
                    <a:pt x="293" y="180"/>
                  </a:lnTo>
                  <a:lnTo>
                    <a:pt x="295" y="177"/>
                  </a:lnTo>
                  <a:lnTo>
                    <a:pt x="295" y="175"/>
                  </a:lnTo>
                  <a:lnTo>
                    <a:pt x="295" y="175"/>
                  </a:lnTo>
                  <a:lnTo>
                    <a:pt x="295" y="173"/>
                  </a:lnTo>
                  <a:lnTo>
                    <a:pt x="295" y="173"/>
                  </a:lnTo>
                  <a:lnTo>
                    <a:pt x="293" y="175"/>
                  </a:lnTo>
                  <a:lnTo>
                    <a:pt x="291" y="175"/>
                  </a:lnTo>
                  <a:lnTo>
                    <a:pt x="291" y="175"/>
                  </a:lnTo>
                  <a:lnTo>
                    <a:pt x="291" y="175"/>
                  </a:lnTo>
                  <a:lnTo>
                    <a:pt x="291" y="173"/>
                  </a:lnTo>
                  <a:lnTo>
                    <a:pt x="293" y="170"/>
                  </a:lnTo>
                  <a:lnTo>
                    <a:pt x="293" y="168"/>
                  </a:lnTo>
                  <a:lnTo>
                    <a:pt x="293" y="168"/>
                  </a:lnTo>
                  <a:lnTo>
                    <a:pt x="293" y="166"/>
                  </a:lnTo>
                  <a:lnTo>
                    <a:pt x="295" y="163"/>
                  </a:lnTo>
                  <a:lnTo>
                    <a:pt x="295" y="158"/>
                  </a:lnTo>
                  <a:lnTo>
                    <a:pt x="293" y="158"/>
                  </a:lnTo>
                  <a:lnTo>
                    <a:pt x="293" y="156"/>
                  </a:lnTo>
                  <a:lnTo>
                    <a:pt x="295" y="156"/>
                  </a:lnTo>
                  <a:lnTo>
                    <a:pt x="298" y="158"/>
                  </a:lnTo>
                  <a:lnTo>
                    <a:pt x="300" y="158"/>
                  </a:lnTo>
                  <a:lnTo>
                    <a:pt x="300" y="158"/>
                  </a:lnTo>
                  <a:lnTo>
                    <a:pt x="302" y="156"/>
                  </a:lnTo>
                  <a:lnTo>
                    <a:pt x="302" y="156"/>
                  </a:lnTo>
                  <a:lnTo>
                    <a:pt x="305" y="154"/>
                  </a:lnTo>
                  <a:lnTo>
                    <a:pt x="305" y="154"/>
                  </a:lnTo>
                  <a:lnTo>
                    <a:pt x="307" y="149"/>
                  </a:lnTo>
                  <a:lnTo>
                    <a:pt x="309" y="149"/>
                  </a:lnTo>
                  <a:lnTo>
                    <a:pt x="312" y="147"/>
                  </a:lnTo>
                  <a:lnTo>
                    <a:pt x="312" y="147"/>
                  </a:lnTo>
                  <a:lnTo>
                    <a:pt x="312" y="144"/>
                  </a:lnTo>
                  <a:lnTo>
                    <a:pt x="312" y="144"/>
                  </a:lnTo>
                  <a:lnTo>
                    <a:pt x="314" y="142"/>
                  </a:lnTo>
                  <a:lnTo>
                    <a:pt x="314" y="140"/>
                  </a:lnTo>
                  <a:lnTo>
                    <a:pt x="314" y="137"/>
                  </a:lnTo>
                  <a:lnTo>
                    <a:pt x="314" y="137"/>
                  </a:lnTo>
                  <a:lnTo>
                    <a:pt x="314" y="132"/>
                  </a:lnTo>
                  <a:lnTo>
                    <a:pt x="314" y="132"/>
                  </a:lnTo>
                  <a:lnTo>
                    <a:pt x="314" y="130"/>
                  </a:lnTo>
                  <a:lnTo>
                    <a:pt x="317" y="128"/>
                  </a:lnTo>
                  <a:lnTo>
                    <a:pt x="317" y="125"/>
                  </a:lnTo>
                  <a:lnTo>
                    <a:pt x="319" y="121"/>
                  </a:lnTo>
                  <a:lnTo>
                    <a:pt x="321" y="114"/>
                  </a:lnTo>
                  <a:lnTo>
                    <a:pt x="319" y="111"/>
                  </a:lnTo>
                  <a:lnTo>
                    <a:pt x="319" y="111"/>
                  </a:lnTo>
                  <a:lnTo>
                    <a:pt x="319" y="109"/>
                  </a:lnTo>
                  <a:lnTo>
                    <a:pt x="321" y="104"/>
                  </a:lnTo>
                  <a:lnTo>
                    <a:pt x="321" y="102"/>
                  </a:lnTo>
                  <a:lnTo>
                    <a:pt x="321" y="102"/>
                  </a:lnTo>
                  <a:lnTo>
                    <a:pt x="319" y="99"/>
                  </a:lnTo>
                  <a:lnTo>
                    <a:pt x="314" y="99"/>
                  </a:lnTo>
                  <a:lnTo>
                    <a:pt x="312" y="99"/>
                  </a:lnTo>
                  <a:lnTo>
                    <a:pt x="312" y="99"/>
                  </a:lnTo>
                  <a:lnTo>
                    <a:pt x="312" y="99"/>
                  </a:lnTo>
                  <a:lnTo>
                    <a:pt x="309" y="99"/>
                  </a:lnTo>
                  <a:lnTo>
                    <a:pt x="309" y="99"/>
                  </a:lnTo>
                  <a:lnTo>
                    <a:pt x="307" y="95"/>
                  </a:lnTo>
                  <a:lnTo>
                    <a:pt x="309" y="92"/>
                  </a:lnTo>
                  <a:lnTo>
                    <a:pt x="309" y="90"/>
                  </a:lnTo>
                  <a:lnTo>
                    <a:pt x="309" y="90"/>
                  </a:lnTo>
                  <a:lnTo>
                    <a:pt x="312" y="90"/>
                  </a:lnTo>
                  <a:lnTo>
                    <a:pt x="314" y="90"/>
                  </a:lnTo>
                  <a:lnTo>
                    <a:pt x="319" y="90"/>
                  </a:lnTo>
                  <a:lnTo>
                    <a:pt x="319" y="90"/>
                  </a:lnTo>
                  <a:lnTo>
                    <a:pt x="321" y="90"/>
                  </a:lnTo>
                  <a:lnTo>
                    <a:pt x="321" y="90"/>
                  </a:lnTo>
                  <a:lnTo>
                    <a:pt x="321" y="90"/>
                  </a:lnTo>
                  <a:lnTo>
                    <a:pt x="321" y="88"/>
                  </a:lnTo>
                  <a:lnTo>
                    <a:pt x="324" y="88"/>
                  </a:lnTo>
                  <a:lnTo>
                    <a:pt x="324" y="88"/>
                  </a:lnTo>
                  <a:lnTo>
                    <a:pt x="326" y="85"/>
                  </a:lnTo>
                  <a:lnTo>
                    <a:pt x="328" y="85"/>
                  </a:lnTo>
                  <a:lnTo>
                    <a:pt x="328" y="83"/>
                  </a:lnTo>
                  <a:lnTo>
                    <a:pt x="328" y="81"/>
                  </a:lnTo>
                  <a:lnTo>
                    <a:pt x="328" y="81"/>
                  </a:lnTo>
                  <a:lnTo>
                    <a:pt x="328" y="81"/>
                  </a:lnTo>
                  <a:lnTo>
                    <a:pt x="328" y="76"/>
                  </a:lnTo>
                  <a:lnTo>
                    <a:pt x="331" y="73"/>
                  </a:lnTo>
                  <a:lnTo>
                    <a:pt x="331" y="73"/>
                  </a:lnTo>
                  <a:lnTo>
                    <a:pt x="328" y="73"/>
                  </a:lnTo>
                  <a:lnTo>
                    <a:pt x="328" y="71"/>
                  </a:lnTo>
                  <a:lnTo>
                    <a:pt x="331" y="71"/>
                  </a:lnTo>
                  <a:lnTo>
                    <a:pt x="331" y="64"/>
                  </a:lnTo>
                  <a:lnTo>
                    <a:pt x="331" y="62"/>
                  </a:lnTo>
                  <a:lnTo>
                    <a:pt x="328" y="59"/>
                  </a:lnTo>
                  <a:lnTo>
                    <a:pt x="328" y="59"/>
                  </a:lnTo>
                  <a:lnTo>
                    <a:pt x="326" y="57"/>
                  </a:lnTo>
                  <a:lnTo>
                    <a:pt x="331" y="52"/>
                  </a:lnTo>
                  <a:lnTo>
                    <a:pt x="331" y="52"/>
                  </a:lnTo>
                  <a:lnTo>
                    <a:pt x="328" y="50"/>
                  </a:lnTo>
                  <a:lnTo>
                    <a:pt x="331" y="47"/>
                  </a:lnTo>
                  <a:lnTo>
                    <a:pt x="333" y="45"/>
                  </a:lnTo>
                  <a:lnTo>
                    <a:pt x="333" y="43"/>
                  </a:lnTo>
                  <a:lnTo>
                    <a:pt x="333" y="40"/>
                  </a:lnTo>
                  <a:lnTo>
                    <a:pt x="335" y="38"/>
                  </a:lnTo>
                  <a:lnTo>
                    <a:pt x="335" y="38"/>
                  </a:lnTo>
                  <a:lnTo>
                    <a:pt x="331" y="38"/>
                  </a:lnTo>
                  <a:lnTo>
                    <a:pt x="331" y="38"/>
                  </a:lnTo>
                  <a:lnTo>
                    <a:pt x="331" y="36"/>
                  </a:lnTo>
                  <a:lnTo>
                    <a:pt x="328" y="36"/>
                  </a:lnTo>
                  <a:lnTo>
                    <a:pt x="328" y="31"/>
                  </a:lnTo>
                  <a:lnTo>
                    <a:pt x="331" y="29"/>
                  </a:lnTo>
                  <a:lnTo>
                    <a:pt x="328" y="24"/>
                  </a:lnTo>
                  <a:lnTo>
                    <a:pt x="331" y="21"/>
                  </a:lnTo>
                  <a:lnTo>
                    <a:pt x="333" y="21"/>
                  </a:lnTo>
                  <a:lnTo>
                    <a:pt x="335" y="21"/>
                  </a:lnTo>
                  <a:lnTo>
                    <a:pt x="335" y="21"/>
                  </a:lnTo>
                  <a:lnTo>
                    <a:pt x="338" y="21"/>
                  </a:lnTo>
                  <a:lnTo>
                    <a:pt x="338" y="17"/>
                  </a:lnTo>
                  <a:lnTo>
                    <a:pt x="340" y="14"/>
                  </a:lnTo>
                  <a:lnTo>
                    <a:pt x="340" y="17"/>
                  </a:lnTo>
                  <a:lnTo>
                    <a:pt x="340" y="17"/>
                  </a:lnTo>
                  <a:lnTo>
                    <a:pt x="340" y="14"/>
                  </a:lnTo>
                  <a:lnTo>
                    <a:pt x="340" y="12"/>
                  </a:lnTo>
                  <a:lnTo>
                    <a:pt x="343" y="12"/>
                  </a:lnTo>
                  <a:lnTo>
                    <a:pt x="343" y="12"/>
                  </a:lnTo>
                  <a:lnTo>
                    <a:pt x="343" y="14"/>
                  </a:lnTo>
                  <a:lnTo>
                    <a:pt x="343" y="17"/>
                  </a:lnTo>
                  <a:lnTo>
                    <a:pt x="343" y="17"/>
                  </a:lnTo>
                  <a:lnTo>
                    <a:pt x="343" y="14"/>
                  </a:lnTo>
                  <a:lnTo>
                    <a:pt x="343" y="12"/>
                  </a:lnTo>
                  <a:lnTo>
                    <a:pt x="343" y="10"/>
                  </a:lnTo>
                  <a:lnTo>
                    <a:pt x="343" y="10"/>
                  </a:lnTo>
                  <a:lnTo>
                    <a:pt x="345" y="10"/>
                  </a:lnTo>
                  <a:lnTo>
                    <a:pt x="347" y="5"/>
                  </a:lnTo>
                  <a:lnTo>
                    <a:pt x="347" y="7"/>
                  </a:lnTo>
                  <a:lnTo>
                    <a:pt x="347" y="5"/>
                  </a:lnTo>
                  <a:lnTo>
                    <a:pt x="347" y="3"/>
                  </a:lnTo>
                  <a:lnTo>
                    <a:pt x="347" y="3"/>
                  </a:lnTo>
                  <a:lnTo>
                    <a:pt x="347" y="5"/>
                  </a:lnTo>
                  <a:lnTo>
                    <a:pt x="347" y="7"/>
                  </a:lnTo>
                  <a:lnTo>
                    <a:pt x="350" y="7"/>
                  </a:lnTo>
                  <a:lnTo>
                    <a:pt x="350" y="3"/>
                  </a:lnTo>
                  <a:lnTo>
                    <a:pt x="350" y="3"/>
                  </a:lnTo>
                  <a:lnTo>
                    <a:pt x="350" y="3"/>
                  </a:lnTo>
                  <a:lnTo>
                    <a:pt x="350" y="0"/>
                  </a:lnTo>
                  <a:lnTo>
                    <a:pt x="352" y="0"/>
                  </a:lnTo>
                  <a:lnTo>
                    <a:pt x="352" y="3"/>
                  </a:lnTo>
                  <a:lnTo>
                    <a:pt x="352" y="3"/>
                  </a:lnTo>
                  <a:lnTo>
                    <a:pt x="352" y="3"/>
                  </a:lnTo>
                  <a:lnTo>
                    <a:pt x="352" y="3"/>
                  </a:lnTo>
                  <a:lnTo>
                    <a:pt x="352" y="3"/>
                  </a:lnTo>
                  <a:lnTo>
                    <a:pt x="352" y="5"/>
                  </a:lnTo>
                  <a:lnTo>
                    <a:pt x="354" y="5"/>
                  </a:lnTo>
                  <a:lnTo>
                    <a:pt x="354" y="7"/>
                  </a:lnTo>
                  <a:lnTo>
                    <a:pt x="352" y="7"/>
                  </a:lnTo>
                  <a:lnTo>
                    <a:pt x="352" y="7"/>
                  </a:lnTo>
                  <a:lnTo>
                    <a:pt x="350" y="7"/>
                  </a:lnTo>
                  <a:lnTo>
                    <a:pt x="350" y="7"/>
                  </a:lnTo>
                  <a:lnTo>
                    <a:pt x="352" y="7"/>
                  </a:lnTo>
                  <a:lnTo>
                    <a:pt x="352" y="10"/>
                  </a:lnTo>
                  <a:lnTo>
                    <a:pt x="352" y="10"/>
                  </a:lnTo>
                  <a:lnTo>
                    <a:pt x="350" y="10"/>
                  </a:lnTo>
                  <a:lnTo>
                    <a:pt x="352" y="10"/>
                  </a:lnTo>
                  <a:lnTo>
                    <a:pt x="352" y="10"/>
                  </a:lnTo>
                  <a:lnTo>
                    <a:pt x="354" y="10"/>
                  </a:lnTo>
                  <a:lnTo>
                    <a:pt x="354" y="7"/>
                  </a:lnTo>
                  <a:lnTo>
                    <a:pt x="354" y="10"/>
                  </a:lnTo>
                  <a:lnTo>
                    <a:pt x="354" y="12"/>
                  </a:lnTo>
                  <a:lnTo>
                    <a:pt x="354" y="12"/>
                  </a:lnTo>
                  <a:lnTo>
                    <a:pt x="352" y="12"/>
                  </a:lnTo>
                  <a:lnTo>
                    <a:pt x="350" y="12"/>
                  </a:lnTo>
                  <a:lnTo>
                    <a:pt x="350" y="14"/>
                  </a:lnTo>
                  <a:lnTo>
                    <a:pt x="350" y="14"/>
                  </a:lnTo>
                  <a:lnTo>
                    <a:pt x="350" y="17"/>
                  </a:lnTo>
                  <a:lnTo>
                    <a:pt x="350" y="14"/>
                  </a:lnTo>
                  <a:lnTo>
                    <a:pt x="350" y="17"/>
                  </a:lnTo>
                  <a:lnTo>
                    <a:pt x="350" y="17"/>
                  </a:lnTo>
                  <a:lnTo>
                    <a:pt x="352" y="17"/>
                  </a:lnTo>
                  <a:lnTo>
                    <a:pt x="350" y="14"/>
                  </a:lnTo>
                  <a:lnTo>
                    <a:pt x="352" y="12"/>
                  </a:lnTo>
                  <a:lnTo>
                    <a:pt x="352" y="12"/>
                  </a:lnTo>
                  <a:lnTo>
                    <a:pt x="352" y="14"/>
                  </a:lnTo>
                  <a:lnTo>
                    <a:pt x="354" y="12"/>
                  </a:lnTo>
                  <a:lnTo>
                    <a:pt x="357" y="12"/>
                  </a:lnTo>
                  <a:lnTo>
                    <a:pt x="354" y="14"/>
                  </a:lnTo>
                  <a:lnTo>
                    <a:pt x="354" y="17"/>
                  </a:lnTo>
                  <a:lnTo>
                    <a:pt x="357" y="17"/>
                  </a:lnTo>
                  <a:lnTo>
                    <a:pt x="354" y="17"/>
                  </a:lnTo>
                  <a:lnTo>
                    <a:pt x="354" y="19"/>
                  </a:lnTo>
                  <a:lnTo>
                    <a:pt x="354" y="21"/>
                  </a:lnTo>
                  <a:lnTo>
                    <a:pt x="354" y="21"/>
                  </a:lnTo>
                  <a:lnTo>
                    <a:pt x="354" y="26"/>
                  </a:lnTo>
                  <a:lnTo>
                    <a:pt x="354" y="26"/>
                  </a:lnTo>
                  <a:lnTo>
                    <a:pt x="357" y="26"/>
                  </a:lnTo>
                  <a:lnTo>
                    <a:pt x="357" y="21"/>
                  </a:lnTo>
                  <a:lnTo>
                    <a:pt x="357" y="19"/>
                  </a:lnTo>
                  <a:lnTo>
                    <a:pt x="359" y="12"/>
                  </a:lnTo>
                  <a:lnTo>
                    <a:pt x="361" y="14"/>
                  </a:lnTo>
                  <a:lnTo>
                    <a:pt x="359" y="12"/>
                  </a:lnTo>
                  <a:lnTo>
                    <a:pt x="361" y="10"/>
                  </a:lnTo>
                  <a:lnTo>
                    <a:pt x="364" y="10"/>
                  </a:lnTo>
                  <a:lnTo>
                    <a:pt x="364" y="10"/>
                  </a:lnTo>
                  <a:lnTo>
                    <a:pt x="364" y="7"/>
                  </a:lnTo>
                  <a:lnTo>
                    <a:pt x="364" y="7"/>
                  </a:lnTo>
                  <a:lnTo>
                    <a:pt x="364" y="7"/>
                  </a:lnTo>
                  <a:lnTo>
                    <a:pt x="364" y="7"/>
                  </a:lnTo>
                  <a:lnTo>
                    <a:pt x="366" y="5"/>
                  </a:lnTo>
                  <a:lnTo>
                    <a:pt x="366" y="5"/>
                  </a:lnTo>
                  <a:lnTo>
                    <a:pt x="366" y="3"/>
                  </a:lnTo>
                  <a:lnTo>
                    <a:pt x="364" y="3"/>
                  </a:lnTo>
                  <a:lnTo>
                    <a:pt x="366" y="3"/>
                  </a:lnTo>
                  <a:lnTo>
                    <a:pt x="369" y="0"/>
                  </a:lnTo>
                  <a:lnTo>
                    <a:pt x="366" y="0"/>
                  </a:lnTo>
                  <a:lnTo>
                    <a:pt x="369" y="0"/>
                  </a:lnTo>
                  <a:lnTo>
                    <a:pt x="369" y="0"/>
                  </a:lnTo>
                  <a:lnTo>
                    <a:pt x="369" y="0"/>
                  </a:lnTo>
                  <a:lnTo>
                    <a:pt x="369" y="3"/>
                  </a:lnTo>
                  <a:lnTo>
                    <a:pt x="369" y="7"/>
                  </a:lnTo>
                  <a:lnTo>
                    <a:pt x="369" y="7"/>
                  </a:lnTo>
                  <a:lnTo>
                    <a:pt x="369" y="7"/>
                  </a:lnTo>
                  <a:lnTo>
                    <a:pt x="369" y="7"/>
                  </a:lnTo>
                  <a:lnTo>
                    <a:pt x="366" y="10"/>
                  </a:lnTo>
                  <a:lnTo>
                    <a:pt x="366" y="10"/>
                  </a:lnTo>
                  <a:lnTo>
                    <a:pt x="366" y="12"/>
                  </a:lnTo>
                  <a:lnTo>
                    <a:pt x="364" y="12"/>
                  </a:lnTo>
                  <a:lnTo>
                    <a:pt x="364" y="12"/>
                  </a:lnTo>
                  <a:lnTo>
                    <a:pt x="359" y="17"/>
                  </a:lnTo>
                  <a:lnTo>
                    <a:pt x="359" y="17"/>
                  </a:lnTo>
                  <a:lnTo>
                    <a:pt x="359" y="19"/>
                  </a:lnTo>
                  <a:lnTo>
                    <a:pt x="359" y="19"/>
                  </a:lnTo>
                  <a:lnTo>
                    <a:pt x="361" y="19"/>
                  </a:lnTo>
                  <a:lnTo>
                    <a:pt x="359" y="19"/>
                  </a:lnTo>
                  <a:lnTo>
                    <a:pt x="359" y="19"/>
                  </a:lnTo>
                  <a:lnTo>
                    <a:pt x="359" y="21"/>
                  </a:lnTo>
                  <a:lnTo>
                    <a:pt x="361" y="19"/>
                  </a:lnTo>
                  <a:lnTo>
                    <a:pt x="361" y="17"/>
                  </a:lnTo>
                  <a:lnTo>
                    <a:pt x="364" y="14"/>
                  </a:lnTo>
                  <a:lnTo>
                    <a:pt x="364" y="14"/>
                  </a:lnTo>
                  <a:lnTo>
                    <a:pt x="366" y="14"/>
                  </a:lnTo>
                  <a:lnTo>
                    <a:pt x="366" y="14"/>
                  </a:lnTo>
                  <a:lnTo>
                    <a:pt x="366" y="17"/>
                  </a:lnTo>
                  <a:lnTo>
                    <a:pt x="366" y="17"/>
                  </a:lnTo>
                  <a:lnTo>
                    <a:pt x="364" y="17"/>
                  </a:lnTo>
                  <a:lnTo>
                    <a:pt x="364" y="17"/>
                  </a:lnTo>
                  <a:lnTo>
                    <a:pt x="364" y="17"/>
                  </a:lnTo>
                  <a:lnTo>
                    <a:pt x="364" y="19"/>
                  </a:lnTo>
                  <a:lnTo>
                    <a:pt x="364" y="19"/>
                  </a:lnTo>
                  <a:lnTo>
                    <a:pt x="364" y="19"/>
                  </a:lnTo>
                  <a:lnTo>
                    <a:pt x="364" y="19"/>
                  </a:lnTo>
                  <a:lnTo>
                    <a:pt x="366" y="17"/>
                  </a:lnTo>
                  <a:lnTo>
                    <a:pt x="366" y="17"/>
                  </a:lnTo>
                  <a:lnTo>
                    <a:pt x="366" y="17"/>
                  </a:lnTo>
                  <a:lnTo>
                    <a:pt x="364" y="19"/>
                  </a:lnTo>
                  <a:lnTo>
                    <a:pt x="366" y="19"/>
                  </a:lnTo>
                  <a:lnTo>
                    <a:pt x="366" y="21"/>
                  </a:lnTo>
                  <a:lnTo>
                    <a:pt x="364" y="21"/>
                  </a:lnTo>
                  <a:lnTo>
                    <a:pt x="364" y="21"/>
                  </a:lnTo>
                  <a:lnTo>
                    <a:pt x="361" y="24"/>
                  </a:lnTo>
                  <a:lnTo>
                    <a:pt x="359" y="24"/>
                  </a:lnTo>
                  <a:lnTo>
                    <a:pt x="361" y="26"/>
                  </a:lnTo>
                  <a:lnTo>
                    <a:pt x="361" y="26"/>
                  </a:lnTo>
                  <a:lnTo>
                    <a:pt x="359" y="26"/>
                  </a:lnTo>
                  <a:lnTo>
                    <a:pt x="359" y="26"/>
                  </a:lnTo>
                  <a:lnTo>
                    <a:pt x="359" y="26"/>
                  </a:lnTo>
                  <a:lnTo>
                    <a:pt x="361" y="26"/>
                  </a:lnTo>
                  <a:lnTo>
                    <a:pt x="359" y="29"/>
                  </a:lnTo>
                  <a:lnTo>
                    <a:pt x="361" y="29"/>
                  </a:lnTo>
                  <a:lnTo>
                    <a:pt x="361" y="29"/>
                  </a:lnTo>
                  <a:lnTo>
                    <a:pt x="361" y="26"/>
                  </a:lnTo>
                  <a:lnTo>
                    <a:pt x="361" y="26"/>
                  </a:lnTo>
                  <a:lnTo>
                    <a:pt x="361" y="26"/>
                  </a:lnTo>
                  <a:lnTo>
                    <a:pt x="364" y="24"/>
                  </a:lnTo>
                  <a:lnTo>
                    <a:pt x="366" y="24"/>
                  </a:lnTo>
                  <a:lnTo>
                    <a:pt x="369" y="21"/>
                  </a:lnTo>
                  <a:lnTo>
                    <a:pt x="369" y="24"/>
                  </a:lnTo>
                  <a:lnTo>
                    <a:pt x="366" y="26"/>
                  </a:lnTo>
                  <a:lnTo>
                    <a:pt x="366" y="26"/>
                  </a:lnTo>
                  <a:lnTo>
                    <a:pt x="366" y="26"/>
                  </a:lnTo>
                  <a:lnTo>
                    <a:pt x="369" y="24"/>
                  </a:lnTo>
                  <a:lnTo>
                    <a:pt x="369" y="26"/>
                  </a:lnTo>
                  <a:lnTo>
                    <a:pt x="364" y="29"/>
                  </a:lnTo>
                  <a:lnTo>
                    <a:pt x="364" y="29"/>
                  </a:lnTo>
                  <a:lnTo>
                    <a:pt x="366" y="29"/>
                  </a:lnTo>
                  <a:lnTo>
                    <a:pt x="366" y="31"/>
                  </a:lnTo>
                  <a:lnTo>
                    <a:pt x="366" y="31"/>
                  </a:lnTo>
                  <a:lnTo>
                    <a:pt x="366" y="31"/>
                  </a:lnTo>
                  <a:lnTo>
                    <a:pt x="366" y="31"/>
                  </a:lnTo>
                  <a:lnTo>
                    <a:pt x="366" y="29"/>
                  </a:lnTo>
                  <a:lnTo>
                    <a:pt x="369" y="26"/>
                  </a:lnTo>
                  <a:lnTo>
                    <a:pt x="369" y="21"/>
                  </a:lnTo>
                  <a:lnTo>
                    <a:pt x="369" y="19"/>
                  </a:lnTo>
                  <a:lnTo>
                    <a:pt x="371" y="21"/>
                  </a:lnTo>
                  <a:lnTo>
                    <a:pt x="373" y="24"/>
                  </a:lnTo>
                  <a:lnTo>
                    <a:pt x="371" y="26"/>
                  </a:lnTo>
                  <a:lnTo>
                    <a:pt x="371" y="29"/>
                  </a:lnTo>
                  <a:lnTo>
                    <a:pt x="373" y="24"/>
                  </a:lnTo>
                  <a:lnTo>
                    <a:pt x="371" y="19"/>
                  </a:lnTo>
                  <a:lnTo>
                    <a:pt x="373" y="17"/>
                  </a:lnTo>
                  <a:lnTo>
                    <a:pt x="373" y="17"/>
                  </a:lnTo>
                  <a:lnTo>
                    <a:pt x="376" y="17"/>
                  </a:lnTo>
                  <a:lnTo>
                    <a:pt x="376" y="17"/>
                  </a:lnTo>
                  <a:lnTo>
                    <a:pt x="376" y="17"/>
                  </a:lnTo>
                  <a:lnTo>
                    <a:pt x="376" y="19"/>
                  </a:lnTo>
                  <a:lnTo>
                    <a:pt x="373" y="19"/>
                  </a:lnTo>
                  <a:lnTo>
                    <a:pt x="373" y="21"/>
                  </a:lnTo>
                  <a:lnTo>
                    <a:pt x="373" y="21"/>
                  </a:lnTo>
                  <a:lnTo>
                    <a:pt x="376" y="24"/>
                  </a:lnTo>
                  <a:lnTo>
                    <a:pt x="371" y="29"/>
                  </a:lnTo>
                  <a:lnTo>
                    <a:pt x="373" y="29"/>
                  </a:lnTo>
                  <a:lnTo>
                    <a:pt x="373" y="29"/>
                  </a:lnTo>
                  <a:lnTo>
                    <a:pt x="373" y="29"/>
                  </a:lnTo>
                  <a:lnTo>
                    <a:pt x="373" y="29"/>
                  </a:lnTo>
                  <a:lnTo>
                    <a:pt x="373" y="29"/>
                  </a:lnTo>
                  <a:lnTo>
                    <a:pt x="376" y="29"/>
                  </a:lnTo>
                  <a:lnTo>
                    <a:pt x="373" y="26"/>
                  </a:lnTo>
                  <a:lnTo>
                    <a:pt x="376" y="26"/>
                  </a:lnTo>
                  <a:lnTo>
                    <a:pt x="376" y="26"/>
                  </a:lnTo>
                  <a:lnTo>
                    <a:pt x="376" y="29"/>
                  </a:lnTo>
                  <a:lnTo>
                    <a:pt x="376" y="29"/>
                  </a:lnTo>
                  <a:lnTo>
                    <a:pt x="376" y="29"/>
                  </a:lnTo>
                  <a:lnTo>
                    <a:pt x="373" y="31"/>
                  </a:lnTo>
                  <a:lnTo>
                    <a:pt x="373" y="31"/>
                  </a:lnTo>
                  <a:lnTo>
                    <a:pt x="373" y="31"/>
                  </a:lnTo>
                  <a:lnTo>
                    <a:pt x="373" y="31"/>
                  </a:lnTo>
                  <a:lnTo>
                    <a:pt x="376" y="31"/>
                  </a:lnTo>
                  <a:lnTo>
                    <a:pt x="376" y="31"/>
                  </a:lnTo>
                  <a:lnTo>
                    <a:pt x="376" y="31"/>
                  </a:lnTo>
                  <a:lnTo>
                    <a:pt x="378" y="31"/>
                  </a:lnTo>
                  <a:lnTo>
                    <a:pt x="376" y="31"/>
                  </a:lnTo>
                  <a:lnTo>
                    <a:pt x="376" y="26"/>
                  </a:lnTo>
                  <a:lnTo>
                    <a:pt x="378" y="24"/>
                  </a:lnTo>
                  <a:lnTo>
                    <a:pt x="378" y="19"/>
                  </a:lnTo>
                  <a:lnTo>
                    <a:pt x="378" y="19"/>
                  </a:lnTo>
                  <a:lnTo>
                    <a:pt x="378" y="19"/>
                  </a:lnTo>
                  <a:lnTo>
                    <a:pt x="378" y="19"/>
                  </a:lnTo>
                  <a:lnTo>
                    <a:pt x="378" y="21"/>
                  </a:lnTo>
                  <a:lnTo>
                    <a:pt x="380" y="17"/>
                  </a:lnTo>
                  <a:lnTo>
                    <a:pt x="380" y="17"/>
                  </a:lnTo>
                  <a:lnTo>
                    <a:pt x="383" y="17"/>
                  </a:lnTo>
                  <a:lnTo>
                    <a:pt x="383" y="14"/>
                  </a:lnTo>
                  <a:lnTo>
                    <a:pt x="383" y="14"/>
                  </a:lnTo>
                  <a:lnTo>
                    <a:pt x="383" y="12"/>
                  </a:lnTo>
                  <a:lnTo>
                    <a:pt x="383" y="12"/>
                  </a:lnTo>
                  <a:lnTo>
                    <a:pt x="385" y="12"/>
                  </a:lnTo>
                  <a:lnTo>
                    <a:pt x="387" y="12"/>
                  </a:lnTo>
                  <a:lnTo>
                    <a:pt x="387" y="12"/>
                  </a:lnTo>
                  <a:lnTo>
                    <a:pt x="390" y="12"/>
                  </a:lnTo>
                  <a:lnTo>
                    <a:pt x="390" y="14"/>
                  </a:lnTo>
                  <a:lnTo>
                    <a:pt x="387" y="14"/>
                  </a:lnTo>
                  <a:lnTo>
                    <a:pt x="387" y="17"/>
                  </a:lnTo>
                  <a:lnTo>
                    <a:pt x="387" y="14"/>
                  </a:lnTo>
                  <a:lnTo>
                    <a:pt x="387" y="17"/>
                  </a:lnTo>
                  <a:lnTo>
                    <a:pt x="387" y="17"/>
                  </a:lnTo>
                  <a:lnTo>
                    <a:pt x="387" y="17"/>
                  </a:lnTo>
                  <a:lnTo>
                    <a:pt x="385" y="19"/>
                  </a:lnTo>
                  <a:lnTo>
                    <a:pt x="385" y="19"/>
                  </a:lnTo>
                  <a:lnTo>
                    <a:pt x="383" y="21"/>
                  </a:lnTo>
                  <a:lnTo>
                    <a:pt x="383" y="21"/>
                  </a:lnTo>
                  <a:lnTo>
                    <a:pt x="383" y="21"/>
                  </a:lnTo>
                  <a:lnTo>
                    <a:pt x="383" y="24"/>
                  </a:lnTo>
                  <a:lnTo>
                    <a:pt x="383" y="26"/>
                  </a:lnTo>
                  <a:lnTo>
                    <a:pt x="380" y="26"/>
                  </a:lnTo>
                  <a:lnTo>
                    <a:pt x="383" y="26"/>
                  </a:lnTo>
                  <a:lnTo>
                    <a:pt x="383" y="26"/>
                  </a:lnTo>
                  <a:lnTo>
                    <a:pt x="385" y="26"/>
                  </a:lnTo>
                  <a:lnTo>
                    <a:pt x="385" y="29"/>
                  </a:lnTo>
                  <a:lnTo>
                    <a:pt x="387" y="31"/>
                  </a:lnTo>
                  <a:lnTo>
                    <a:pt x="387" y="31"/>
                  </a:lnTo>
                  <a:lnTo>
                    <a:pt x="385" y="33"/>
                  </a:lnTo>
                  <a:lnTo>
                    <a:pt x="387" y="36"/>
                  </a:lnTo>
                  <a:lnTo>
                    <a:pt x="385" y="36"/>
                  </a:lnTo>
                  <a:lnTo>
                    <a:pt x="383" y="38"/>
                  </a:lnTo>
                  <a:lnTo>
                    <a:pt x="383" y="40"/>
                  </a:lnTo>
                  <a:lnTo>
                    <a:pt x="383" y="40"/>
                  </a:lnTo>
                  <a:lnTo>
                    <a:pt x="383" y="40"/>
                  </a:lnTo>
                  <a:lnTo>
                    <a:pt x="385" y="38"/>
                  </a:lnTo>
                  <a:lnTo>
                    <a:pt x="385" y="36"/>
                  </a:lnTo>
                  <a:lnTo>
                    <a:pt x="385" y="36"/>
                  </a:lnTo>
                  <a:lnTo>
                    <a:pt x="385" y="36"/>
                  </a:lnTo>
                  <a:lnTo>
                    <a:pt x="387" y="36"/>
                  </a:lnTo>
                  <a:lnTo>
                    <a:pt x="387" y="36"/>
                  </a:lnTo>
                  <a:lnTo>
                    <a:pt x="387" y="38"/>
                  </a:lnTo>
                  <a:lnTo>
                    <a:pt x="390" y="40"/>
                  </a:lnTo>
                  <a:lnTo>
                    <a:pt x="385" y="40"/>
                  </a:lnTo>
                  <a:lnTo>
                    <a:pt x="385" y="43"/>
                  </a:lnTo>
                  <a:lnTo>
                    <a:pt x="385" y="43"/>
                  </a:lnTo>
                  <a:lnTo>
                    <a:pt x="385" y="45"/>
                  </a:lnTo>
                  <a:lnTo>
                    <a:pt x="383" y="45"/>
                  </a:lnTo>
                  <a:lnTo>
                    <a:pt x="383" y="45"/>
                  </a:lnTo>
                  <a:lnTo>
                    <a:pt x="380" y="43"/>
                  </a:lnTo>
                  <a:lnTo>
                    <a:pt x="380" y="43"/>
                  </a:lnTo>
                  <a:lnTo>
                    <a:pt x="380" y="45"/>
                  </a:lnTo>
                  <a:lnTo>
                    <a:pt x="380" y="45"/>
                  </a:lnTo>
                  <a:lnTo>
                    <a:pt x="383" y="45"/>
                  </a:lnTo>
                  <a:lnTo>
                    <a:pt x="383" y="45"/>
                  </a:lnTo>
                  <a:lnTo>
                    <a:pt x="385" y="45"/>
                  </a:lnTo>
                  <a:lnTo>
                    <a:pt x="385" y="43"/>
                  </a:lnTo>
                  <a:lnTo>
                    <a:pt x="387" y="40"/>
                  </a:lnTo>
                  <a:lnTo>
                    <a:pt x="390" y="40"/>
                  </a:lnTo>
                  <a:lnTo>
                    <a:pt x="390" y="40"/>
                  </a:lnTo>
                  <a:lnTo>
                    <a:pt x="390" y="38"/>
                  </a:lnTo>
                  <a:lnTo>
                    <a:pt x="387" y="38"/>
                  </a:lnTo>
                  <a:lnTo>
                    <a:pt x="387" y="38"/>
                  </a:lnTo>
                  <a:lnTo>
                    <a:pt x="390" y="36"/>
                  </a:lnTo>
                  <a:lnTo>
                    <a:pt x="390" y="36"/>
                  </a:lnTo>
                  <a:lnTo>
                    <a:pt x="390" y="33"/>
                  </a:lnTo>
                  <a:lnTo>
                    <a:pt x="390" y="36"/>
                  </a:lnTo>
                  <a:lnTo>
                    <a:pt x="387" y="36"/>
                  </a:lnTo>
                  <a:lnTo>
                    <a:pt x="387" y="36"/>
                  </a:lnTo>
                  <a:lnTo>
                    <a:pt x="387" y="36"/>
                  </a:lnTo>
                  <a:lnTo>
                    <a:pt x="387" y="33"/>
                  </a:lnTo>
                  <a:lnTo>
                    <a:pt x="387" y="33"/>
                  </a:lnTo>
                  <a:lnTo>
                    <a:pt x="390" y="33"/>
                  </a:lnTo>
                  <a:lnTo>
                    <a:pt x="387" y="33"/>
                  </a:lnTo>
                  <a:lnTo>
                    <a:pt x="387" y="31"/>
                  </a:lnTo>
                  <a:lnTo>
                    <a:pt x="392" y="29"/>
                  </a:lnTo>
                  <a:lnTo>
                    <a:pt x="392" y="31"/>
                  </a:lnTo>
                  <a:lnTo>
                    <a:pt x="392" y="29"/>
                  </a:lnTo>
                  <a:lnTo>
                    <a:pt x="394" y="26"/>
                  </a:lnTo>
                  <a:lnTo>
                    <a:pt x="394" y="26"/>
                  </a:lnTo>
                  <a:lnTo>
                    <a:pt x="394" y="29"/>
                  </a:lnTo>
                  <a:lnTo>
                    <a:pt x="392" y="29"/>
                  </a:lnTo>
                  <a:lnTo>
                    <a:pt x="392" y="26"/>
                  </a:lnTo>
                  <a:lnTo>
                    <a:pt x="394" y="26"/>
                  </a:lnTo>
                  <a:lnTo>
                    <a:pt x="394" y="26"/>
                  </a:lnTo>
                  <a:lnTo>
                    <a:pt x="394" y="21"/>
                  </a:lnTo>
                  <a:lnTo>
                    <a:pt x="394" y="19"/>
                  </a:lnTo>
                  <a:lnTo>
                    <a:pt x="394" y="17"/>
                  </a:lnTo>
                  <a:lnTo>
                    <a:pt x="394" y="14"/>
                  </a:lnTo>
                  <a:lnTo>
                    <a:pt x="397" y="12"/>
                  </a:lnTo>
                  <a:lnTo>
                    <a:pt x="397" y="12"/>
                  </a:lnTo>
                  <a:lnTo>
                    <a:pt x="397" y="12"/>
                  </a:lnTo>
                  <a:lnTo>
                    <a:pt x="397" y="12"/>
                  </a:lnTo>
                  <a:lnTo>
                    <a:pt x="394" y="12"/>
                  </a:lnTo>
                  <a:lnTo>
                    <a:pt x="397" y="10"/>
                  </a:lnTo>
                  <a:lnTo>
                    <a:pt x="397" y="10"/>
                  </a:lnTo>
                  <a:lnTo>
                    <a:pt x="397" y="12"/>
                  </a:lnTo>
                  <a:lnTo>
                    <a:pt x="399" y="12"/>
                  </a:lnTo>
                  <a:lnTo>
                    <a:pt x="399" y="12"/>
                  </a:lnTo>
                  <a:lnTo>
                    <a:pt x="399" y="17"/>
                  </a:lnTo>
                  <a:lnTo>
                    <a:pt x="399" y="17"/>
                  </a:lnTo>
                  <a:lnTo>
                    <a:pt x="397" y="19"/>
                  </a:lnTo>
                  <a:lnTo>
                    <a:pt x="397" y="17"/>
                  </a:lnTo>
                  <a:lnTo>
                    <a:pt x="397" y="19"/>
                  </a:lnTo>
                  <a:lnTo>
                    <a:pt x="394" y="24"/>
                  </a:lnTo>
                  <a:lnTo>
                    <a:pt x="394" y="26"/>
                  </a:lnTo>
                  <a:lnTo>
                    <a:pt x="397" y="26"/>
                  </a:lnTo>
                  <a:lnTo>
                    <a:pt x="397" y="26"/>
                  </a:lnTo>
                  <a:lnTo>
                    <a:pt x="397" y="29"/>
                  </a:lnTo>
                  <a:lnTo>
                    <a:pt x="397" y="29"/>
                  </a:lnTo>
                  <a:lnTo>
                    <a:pt x="394" y="31"/>
                  </a:lnTo>
                  <a:lnTo>
                    <a:pt x="394" y="33"/>
                  </a:lnTo>
                  <a:lnTo>
                    <a:pt x="394" y="33"/>
                  </a:lnTo>
                  <a:lnTo>
                    <a:pt x="394" y="36"/>
                  </a:lnTo>
                  <a:lnTo>
                    <a:pt x="394" y="36"/>
                  </a:lnTo>
                  <a:lnTo>
                    <a:pt x="394" y="36"/>
                  </a:lnTo>
                  <a:lnTo>
                    <a:pt x="394" y="36"/>
                  </a:lnTo>
                  <a:lnTo>
                    <a:pt x="394" y="38"/>
                  </a:lnTo>
                  <a:lnTo>
                    <a:pt x="394" y="38"/>
                  </a:lnTo>
                  <a:lnTo>
                    <a:pt x="394" y="36"/>
                  </a:lnTo>
                  <a:lnTo>
                    <a:pt x="394" y="36"/>
                  </a:lnTo>
                  <a:lnTo>
                    <a:pt x="394" y="36"/>
                  </a:lnTo>
                  <a:lnTo>
                    <a:pt x="397" y="38"/>
                  </a:lnTo>
                  <a:lnTo>
                    <a:pt x="394" y="38"/>
                  </a:lnTo>
                  <a:lnTo>
                    <a:pt x="394" y="40"/>
                  </a:lnTo>
                  <a:lnTo>
                    <a:pt x="394" y="40"/>
                  </a:lnTo>
                  <a:lnTo>
                    <a:pt x="394" y="43"/>
                  </a:lnTo>
                  <a:lnTo>
                    <a:pt x="394" y="43"/>
                  </a:lnTo>
                  <a:lnTo>
                    <a:pt x="392" y="43"/>
                  </a:lnTo>
                  <a:lnTo>
                    <a:pt x="392" y="43"/>
                  </a:lnTo>
                  <a:lnTo>
                    <a:pt x="392" y="43"/>
                  </a:lnTo>
                  <a:lnTo>
                    <a:pt x="392" y="43"/>
                  </a:lnTo>
                  <a:lnTo>
                    <a:pt x="387" y="43"/>
                  </a:lnTo>
                  <a:lnTo>
                    <a:pt x="387" y="40"/>
                  </a:lnTo>
                  <a:lnTo>
                    <a:pt x="385" y="45"/>
                  </a:lnTo>
                  <a:lnTo>
                    <a:pt x="385" y="47"/>
                  </a:lnTo>
                  <a:lnTo>
                    <a:pt x="383" y="50"/>
                  </a:lnTo>
                  <a:lnTo>
                    <a:pt x="385" y="47"/>
                  </a:lnTo>
                  <a:lnTo>
                    <a:pt x="385" y="47"/>
                  </a:lnTo>
                  <a:lnTo>
                    <a:pt x="387" y="45"/>
                  </a:lnTo>
                  <a:lnTo>
                    <a:pt x="387" y="47"/>
                  </a:lnTo>
                  <a:lnTo>
                    <a:pt x="387" y="47"/>
                  </a:lnTo>
                  <a:lnTo>
                    <a:pt x="387" y="45"/>
                  </a:lnTo>
                  <a:lnTo>
                    <a:pt x="387" y="45"/>
                  </a:lnTo>
                  <a:lnTo>
                    <a:pt x="387" y="43"/>
                  </a:lnTo>
                  <a:lnTo>
                    <a:pt x="390" y="43"/>
                  </a:lnTo>
                  <a:lnTo>
                    <a:pt x="390" y="45"/>
                  </a:lnTo>
                  <a:lnTo>
                    <a:pt x="392" y="43"/>
                  </a:lnTo>
                  <a:lnTo>
                    <a:pt x="394" y="43"/>
                  </a:lnTo>
                  <a:lnTo>
                    <a:pt x="394" y="43"/>
                  </a:lnTo>
                  <a:lnTo>
                    <a:pt x="397" y="40"/>
                  </a:lnTo>
                  <a:lnTo>
                    <a:pt x="397" y="38"/>
                  </a:lnTo>
                  <a:lnTo>
                    <a:pt x="397" y="38"/>
                  </a:lnTo>
                  <a:lnTo>
                    <a:pt x="397" y="36"/>
                  </a:lnTo>
                  <a:lnTo>
                    <a:pt x="397" y="31"/>
                  </a:lnTo>
                  <a:lnTo>
                    <a:pt x="397" y="31"/>
                  </a:lnTo>
                  <a:lnTo>
                    <a:pt x="402" y="29"/>
                  </a:lnTo>
                  <a:lnTo>
                    <a:pt x="402" y="31"/>
                  </a:lnTo>
                  <a:lnTo>
                    <a:pt x="402" y="29"/>
                  </a:lnTo>
                  <a:lnTo>
                    <a:pt x="402" y="29"/>
                  </a:lnTo>
                  <a:lnTo>
                    <a:pt x="402" y="29"/>
                  </a:lnTo>
                  <a:lnTo>
                    <a:pt x="402" y="31"/>
                  </a:lnTo>
                  <a:lnTo>
                    <a:pt x="402" y="31"/>
                  </a:lnTo>
                  <a:lnTo>
                    <a:pt x="402" y="33"/>
                  </a:lnTo>
                  <a:lnTo>
                    <a:pt x="399" y="33"/>
                  </a:lnTo>
                  <a:lnTo>
                    <a:pt x="399" y="36"/>
                  </a:lnTo>
                  <a:lnTo>
                    <a:pt x="397" y="36"/>
                  </a:lnTo>
                  <a:lnTo>
                    <a:pt x="399" y="36"/>
                  </a:lnTo>
                  <a:lnTo>
                    <a:pt x="399" y="33"/>
                  </a:lnTo>
                  <a:lnTo>
                    <a:pt x="402" y="33"/>
                  </a:lnTo>
                  <a:lnTo>
                    <a:pt x="402" y="38"/>
                  </a:lnTo>
                  <a:lnTo>
                    <a:pt x="399" y="38"/>
                  </a:lnTo>
                  <a:lnTo>
                    <a:pt x="399" y="38"/>
                  </a:lnTo>
                  <a:lnTo>
                    <a:pt x="397" y="40"/>
                  </a:lnTo>
                  <a:lnTo>
                    <a:pt x="399" y="40"/>
                  </a:lnTo>
                  <a:lnTo>
                    <a:pt x="399" y="38"/>
                  </a:lnTo>
                  <a:lnTo>
                    <a:pt x="399" y="40"/>
                  </a:lnTo>
                  <a:lnTo>
                    <a:pt x="402" y="38"/>
                  </a:lnTo>
                  <a:lnTo>
                    <a:pt x="402" y="38"/>
                  </a:lnTo>
                  <a:lnTo>
                    <a:pt x="402" y="40"/>
                  </a:lnTo>
                  <a:lnTo>
                    <a:pt x="402" y="40"/>
                  </a:lnTo>
                  <a:lnTo>
                    <a:pt x="402" y="40"/>
                  </a:lnTo>
                  <a:lnTo>
                    <a:pt x="402" y="38"/>
                  </a:lnTo>
                  <a:lnTo>
                    <a:pt x="402" y="38"/>
                  </a:lnTo>
                  <a:lnTo>
                    <a:pt x="402" y="38"/>
                  </a:lnTo>
                  <a:lnTo>
                    <a:pt x="402" y="36"/>
                  </a:lnTo>
                  <a:lnTo>
                    <a:pt x="402" y="33"/>
                  </a:lnTo>
                  <a:lnTo>
                    <a:pt x="404" y="31"/>
                  </a:lnTo>
                  <a:lnTo>
                    <a:pt x="404" y="31"/>
                  </a:lnTo>
                  <a:lnTo>
                    <a:pt x="404" y="31"/>
                  </a:lnTo>
                  <a:lnTo>
                    <a:pt x="404" y="31"/>
                  </a:lnTo>
                  <a:lnTo>
                    <a:pt x="406" y="29"/>
                  </a:lnTo>
                  <a:lnTo>
                    <a:pt x="409" y="29"/>
                  </a:lnTo>
                  <a:lnTo>
                    <a:pt x="406" y="33"/>
                  </a:lnTo>
                  <a:lnTo>
                    <a:pt x="406" y="31"/>
                  </a:lnTo>
                  <a:lnTo>
                    <a:pt x="404" y="33"/>
                  </a:lnTo>
                  <a:lnTo>
                    <a:pt x="406" y="33"/>
                  </a:lnTo>
                  <a:lnTo>
                    <a:pt x="406" y="33"/>
                  </a:lnTo>
                  <a:lnTo>
                    <a:pt x="406" y="36"/>
                  </a:lnTo>
                  <a:lnTo>
                    <a:pt x="404" y="36"/>
                  </a:lnTo>
                  <a:lnTo>
                    <a:pt x="404" y="36"/>
                  </a:lnTo>
                  <a:lnTo>
                    <a:pt x="404" y="38"/>
                  </a:lnTo>
                  <a:lnTo>
                    <a:pt x="402" y="38"/>
                  </a:lnTo>
                  <a:lnTo>
                    <a:pt x="402" y="38"/>
                  </a:lnTo>
                  <a:lnTo>
                    <a:pt x="404" y="38"/>
                  </a:lnTo>
                  <a:lnTo>
                    <a:pt x="404" y="38"/>
                  </a:lnTo>
                  <a:lnTo>
                    <a:pt x="406" y="36"/>
                  </a:lnTo>
                  <a:lnTo>
                    <a:pt x="406" y="36"/>
                  </a:lnTo>
                  <a:lnTo>
                    <a:pt x="406" y="36"/>
                  </a:lnTo>
                  <a:lnTo>
                    <a:pt x="406" y="36"/>
                  </a:lnTo>
                  <a:lnTo>
                    <a:pt x="409" y="36"/>
                  </a:lnTo>
                  <a:lnTo>
                    <a:pt x="406" y="38"/>
                  </a:lnTo>
                  <a:lnTo>
                    <a:pt x="406" y="38"/>
                  </a:lnTo>
                  <a:lnTo>
                    <a:pt x="406" y="38"/>
                  </a:lnTo>
                  <a:lnTo>
                    <a:pt x="404" y="38"/>
                  </a:lnTo>
                  <a:lnTo>
                    <a:pt x="404" y="40"/>
                  </a:lnTo>
                  <a:lnTo>
                    <a:pt x="404" y="40"/>
                  </a:lnTo>
                  <a:lnTo>
                    <a:pt x="404" y="40"/>
                  </a:lnTo>
                  <a:lnTo>
                    <a:pt x="404" y="45"/>
                  </a:lnTo>
                  <a:lnTo>
                    <a:pt x="404" y="43"/>
                  </a:lnTo>
                  <a:lnTo>
                    <a:pt x="406" y="40"/>
                  </a:lnTo>
                  <a:lnTo>
                    <a:pt x="404" y="38"/>
                  </a:lnTo>
                  <a:lnTo>
                    <a:pt x="404" y="38"/>
                  </a:lnTo>
                  <a:lnTo>
                    <a:pt x="406" y="38"/>
                  </a:lnTo>
                  <a:lnTo>
                    <a:pt x="406" y="38"/>
                  </a:lnTo>
                  <a:lnTo>
                    <a:pt x="406" y="38"/>
                  </a:lnTo>
                  <a:lnTo>
                    <a:pt x="409" y="38"/>
                  </a:lnTo>
                  <a:lnTo>
                    <a:pt x="409" y="36"/>
                  </a:lnTo>
                  <a:lnTo>
                    <a:pt x="411" y="33"/>
                  </a:lnTo>
                  <a:lnTo>
                    <a:pt x="411" y="33"/>
                  </a:lnTo>
                  <a:lnTo>
                    <a:pt x="411" y="36"/>
                  </a:lnTo>
                  <a:lnTo>
                    <a:pt x="411" y="36"/>
                  </a:lnTo>
                  <a:lnTo>
                    <a:pt x="411" y="36"/>
                  </a:lnTo>
                  <a:lnTo>
                    <a:pt x="411" y="38"/>
                  </a:lnTo>
                  <a:lnTo>
                    <a:pt x="409" y="40"/>
                  </a:lnTo>
                  <a:lnTo>
                    <a:pt x="409" y="40"/>
                  </a:lnTo>
                  <a:lnTo>
                    <a:pt x="409" y="40"/>
                  </a:lnTo>
                  <a:lnTo>
                    <a:pt x="411" y="38"/>
                  </a:lnTo>
                  <a:lnTo>
                    <a:pt x="411" y="40"/>
                  </a:lnTo>
                  <a:lnTo>
                    <a:pt x="409" y="40"/>
                  </a:lnTo>
                  <a:lnTo>
                    <a:pt x="409" y="43"/>
                  </a:lnTo>
                  <a:lnTo>
                    <a:pt x="406" y="43"/>
                  </a:lnTo>
                  <a:lnTo>
                    <a:pt x="409" y="43"/>
                  </a:lnTo>
                  <a:lnTo>
                    <a:pt x="411" y="40"/>
                  </a:lnTo>
                  <a:lnTo>
                    <a:pt x="411" y="43"/>
                  </a:lnTo>
                  <a:lnTo>
                    <a:pt x="411" y="45"/>
                  </a:lnTo>
                  <a:lnTo>
                    <a:pt x="409" y="47"/>
                  </a:lnTo>
                  <a:lnTo>
                    <a:pt x="409" y="47"/>
                  </a:lnTo>
                  <a:lnTo>
                    <a:pt x="409" y="47"/>
                  </a:lnTo>
                  <a:lnTo>
                    <a:pt x="411" y="47"/>
                  </a:lnTo>
                  <a:lnTo>
                    <a:pt x="411" y="47"/>
                  </a:lnTo>
                  <a:lnTo>
                    <a:pt x="413" y="45"/>
                  </a:lnTo>
                  <a:lnTo>
                    <a:pt x="411" y="45"/>
                  </a:lnTo>
                  <a:lnTo>
                    <a:pt x="413" y="43"/>
                  </a:lnTo>
                  <a:lnTo>
                    <a:pt x="413" y="40"/>
                  </a:lnTo>
                  <a:lnTo>
                    <a:pt x="413" y="43"/>
                  </a:lnTo>
                  <a:lnTo>
                    <a:pt x="416" y="40"/>
                  </a:lnTo>
                  <a:lnTo>
                    <a:pt x="416" y="40"/>
                  </a:lnTo>
                  <a:lnTo>
                    <a:pt x="416" y="40"/>
                  </a:lnTo>
                  <a:lnTo>
                    <a:pt x="413" y="40"/>
                  </a:lnTo>
                  <a:lnTo>
                    <a:pt x="413" y="40"/>
                  </a:lnTo>
                  <a:lnTo>
                    <a:pt x="416" y="38"/>
                  </a:lnTo>
                  <a:lnTo>
                    <a:pt x="416" y="40"/>
                  </a:lnTo>
                  <a:lnTo>
                    <a:pt x="416" y="38"/>
                  </a:lnTo>
                  <a:lnTo>
                    <a:pt x="416" y="36"/>
                  </a:lnTo>
                  <a:lnTo>
                    <a:pt x="418" y="36"/>
                  </a:lnTo>
                  <a:lnTo>
                    <a:pt x="418" y="36"/>
                  </a:lnTo>
                  <a:lnTo>
                    <a:pt x="418" y="36"/>
                  </a:lnTo>
                  <a:lnTo>
                    <a:pt x="420" y="36"/>
                  </a:lnTo>
                  <a:lnTo>
                    <a:pt x="420" y="36"/>
                  </a:lnTo>
                  <a:lnTo>
                    <a:pt x="418" y="36"/>
                  </a:lnTo>
                  <a:lnTo>
                    <a:pt x="420" y="33"/>
                  </a:lnTo>
                  <a:lnTo>
                    <a:pt x="423" y="33"/>
                  </a:lnTo>
                  <a:lnTo>
                    <a:pt x="425" y="36"/>
                  </a:lnTo>
                  <a:lnTo>
                    <a:pt x="423" y="38"/>
                  </a:lnTo>
                  <a:lnTo>
                    <a:pt x="423" y="40"/>
                  </a:lnTo>
                  <a:lnTo>
                    <a:pt x="423" y="40"/>
                  </a:lnTo>
                  <a:lnTo>
                    <a:pt x="420" y="38"/>
                  </a:lnTo>
                  <a:lnTo>
                    <a:pt x="420" y="40"/>
                  </a:lnTo>
                  <a:lnTo>
                    <a:pt x="420" y="40"/>
                  </a:lnTo>
                  <a:lnTo>
                    <a:pt x="420" y="40"/>
                  </a:lnTo>
                  <a:lnTo>
                    <a:pt x="420" y="40"/>
                  </a:lnTo>
                  <a:lnTo>
                    <a:pt x="418" y="43"/>
                  </a:lnTo>
                  <a:lnTo>
                    <a:pt x="418" y="40"/>
                  </a:lnTo>
                  <a:lnTo>
                    <a:pt x="418" y="43"/>
                  </a:lnTo>
                  <a:lnTo>
                    <a:pt x="418" y="43"/>
                  </a:lnTo>
                  <a:lnTo>
                    <a:pt x="416" y="43"/>
                  </a:lnTo>
                  <a:lnTo>
                    <a:pt x="416" y="45"/>
                  </a:lnTo>
                  <a:lnTo>
                    <a:pt x="413" y="50"/>
                  </a:lnTo>
                  <a:lnTo>
                    <a:pt x="416" y="50"/>
                  </a:lnTo>
                  <a:lnTo>
                    <a:pt x="416" y="52"/>
                  </a:lnTo>
                  <a:lnTo>
                    <a:pt x="413" y="52"/>
                  </a:lnTo>
                  <a:lnTo>
                    <a:pt x="413" y="50"/>
                  </a:lnTo>
                  <a:lnTo>
                    <a:pt x="416" y="55"/>
                  </a:lnTo>
                  <a:lnTo>
                    <a:pt x="416" y="55"/>
                  </a:lnTo>
                  <a:lnTo>
                    <a:pt x="413" y="57"/>
                  </a:lnTo>
                  <a:lnTo>
                    <a:pt x="416" y="57"/>
                  </a:lnTo>
                  <a:lnTo>
                    <a:pt x="416" y="59"/>
                  </a:lnTo>
                  <a:lnTo>
                    <a:pt x="416" y="59"/>
                  </a:lnTo>
                  <a:lnTo>
                    <a:pt x="416" y="59"/>
                  </a:lnTo>
                  <a:lnTo>
                    <a:pt x="418" y="59"/>
                  </a:lnTo>
                  <a:lnTo>
                    <a:pt x="418" y="62"/>
                  </a:lnTo>
                  <a:lnTo>
                    <a:pt x="416" y="64"/>
                  </a:lnTo>
                  <a:lnTo>
                    <a:pt x="416" y="64"/>
                  </a:lnTo>
                  <a:lnTo>
                    <a:pt x="413" y="64"/>
                  </a:lnTo>
                  <a:lnTo>
                    <a:pt x="413" y="64"/>
                  </a:lnTo>
                  <a:lnTo>
                    <a:pt x="413" y="64"/>
                  </a:lnTo>
                  <a:lnTo>
                    <a:pt x="413" y="66"/>
                  </a:lnTo>
                  <a:lnTo>
                    <a:pt x="413" y="64"/>
                  </a:lnTo>
                  <a:lnTo>
                    <a:pt x="416" y="64"/>
                  </a:lnTo>
                  <a:lnTo>
                    <a:pt x="418" y="66"/>
                  </a:lnTo>
                  <a:lnTo>
                    <a:pt x="418" y="64"/>
                  </a:lnTo>
                  <a:lnTo>
                    <a:pt x="418" y="64"/>
                  </a:lnTo>
                  <a:lnTo>
                    <a:pt x="418" y="64"/>
                  </a:lnTo>
                  <a:lnTo>
                    <a:pt x="418" y="59"/>
                  </a:lnTo>
                  <a:lnTo>
                    <a:pt x="416" y="57"/>
                  </a:lnTo>
                  <a:lnTo>
                    <a:pt x="416" y="57"/>
                  </a:lnTo>
                  <a:lnTo>
                    <a:pt x="418" y="55"/>
                  </a:lnTo>
                  <a:lnTo>
                    <a:pt x="418" y="55"/>
                  </a:lnTo>
                  <a:lnTo>
                    <a:pt x="420" y="50"/>
                  </a:lnTo>
                  <a:lnTo>
                    <a:pt x="423" y="50"/>
                  </a:lnTo>
                  <a:lnTo>
                    <a:pt x="423" y="50"/>
                  </a:lnTo>
                  <a:lnTo>
                    <a:pt x="423" y="50"/>
                  </a:lnTo>
                  <a:lnTo>
                    <a:pt x="423" y="52"/>
                  </a:lnTo>
                  <a:lnTo>
                    <a:pt x="423" y="55"/>
                  </a:lnTo>
                  <a:lnTo>
                    <a:pt x="420" y="55"/>
                  </a:lnTo>
                  <a:lnTo>
                    <a:pt x="423" y="57"/>
                  </a:lnTo>
                  <a:lnTo>
                    <a:pt x="423" y="57"/>
                  </a:lnTo>
                  <a:lnTo>
                    <a:pt x="423" y="59"/>
                  </a:lnTo>
                  <a:lnTo>
                    <a:pt x="420" y="55"/>
                  </a:lnTo>
                  <a:lnTo>
                    <a:pt x="423" y="55"/>
                  </a:lnTo>
                  <a:lnTo>
                    <a:pt x="423" y="52"/>
                  </a:lnTo>
                  <a:lnTo>
                    <a:pt x="423" y="52"/>
                  </a:lnTo>
                  <a:lnTo>
                    <a:pt x="425" y="52"/>
                  </a:lnTo>
                  <a:lnTo>
                    <a:pt x="425" y="55"/>
                  </a:lnTo>
                  <a:lnTo>
                    <a:pt x="423" y="55"/>
                  </a:lnTo>
                  <a:lnTo>
                    <a:pt x="423" y="55"/>
                  </a:lnTo>
                  <a:lnTo>
                    <a:pt x="425" y="55"/>
                  </a:lnTo>
                  <a:lnTo>
                    <a:pt x="423" y="55"/>
                  </a:lnTo>
                  <a:lnTo>
                    <a:pt x="423" y="55"/>
                  </a:lnTo>
                  <a:lnTo>
                    <a:pt x="425" y="55"/>
                  </a:lnTo>
                  <a:lnTo>
                    <a:pt x="425" y="55"/>
                  </a:lnTo>
                  <a:lnTo>
                    <a:pt x="423" y="52"/>
                  </a:lnTo>
                  <a:lnTo>
                    <a:pt x="425" y="50"/>
                  </a:lnTo>
                  <a:lnTo>
                    <a:pt x="425" y="50"/>
                  </a:lnTo>
                  <a:lnTo>
                    <a:pt x="425" y="50"/>
                  </a:lnTo>
                  <a:lnTo>
                    <a:pt x="428" y="50"/>
                  </a:lnTo>
                  <a:lnTo>
                    <a:pt x="428" y="50"/>
                  </a:lnTo>
                  <a:lnTo>
                    <a:pt x="428" y="52"/>
                  </a:lnTo>
                  <a:lnTo>
                    <a:pt x="430" y="50"/>
                  </a:lnTo>
                  <a:lnTo>
                    <a:pt x="430" y="50"/>
                  </a:lnTo>
                  <a:lnTo>
                    <a:pt x="430" y="50"/>
                  </a:lnTo>
                  <a:lnTo>
                    <a:pt x="425" y="50"/>
                  </a:lnTo>
                  <a:lnTo>
                    <a:pt x="425" y="47"/>
                  </a:lnTo>
                  <a:lnTo>
                    <a:pt x="428" y="47"/>
                  </a:lnTo>
                  <a:lnTo>
                    <a:pt x="430" y="45"/>
                  </a:lnTo>
                  <a:lnTo>
                    <a:pt x="430" y="45"/>
                  </a:lnTo>
                  <a:lnTo>
                    <a:pt x="430" y="45"/>
                  </a:lnTo>
                  <a:lnTo>
                    <a:pt x="430" y="45"/>
                  </a:lnTo>
                  <a:lnTo>
                    <a:pt x="430" y="47"/>
                  </a:lnTo>
                  <a:lnTo>
                    <a:pt x="430" y="45"/>
                  </a:lnTo>
                  <a:lnTo>
                    <a:pt x="432" y="45"/>
                  </a:lnTo>
                  <a:lnTo>
                    <a:pt x="430" y="45"/>
                  </a:lnTo>
                  <a:lnTo>
                    <a:pt x="430" y="45"/>
                  </a:lnTo>
                  <a:lnTo>
                    <a:pt x="428" y="45"/>
                  </a:lnTo>
                  <a:lnTo>
                    <a:pt x="430" y="45"/>
                  </a:lnTo>
                  <a:lnTo>
                    <a:pt x="428" y="45"/>
                  </a:lnTo>
                  <a:lnTo>
                    <a:pt x="428" y="45"/>
                  </a:lnTo>
                  <a:lnTo>
                    <a:pt x="428" y="43"/>
                  </a:lnTo>
                  <a:lnTo>
                    <a:pt x="428" y="43"/>
                  </a:lnTo>
                  <a:lnTo>
                    <a:pt x="430" y="40"/>
                  </a:lnTo>
                  <a:lnTo>
                    <a:pt x="430" y="40"/>
                  </a:lnTo>
                  <a:lnTo>
                    <a:pt x="432" y="40"/>
                  </a:lnTo>
                  <a:lnTo>
                    <a:pt x="430" y="40"/>
                  </a:lnTo>
                  <a:lnTo>
                    <a:pt x="430" y="40"/>
                  </a:lnTo>
                  <a:lnTo>
                    <a:pt x="432" y="40"/>
                  </a:lnTo>
                  <a:lnTo>
                    <a:pt x="432" y="43"/>
                  </a:lnTo>
                  <a:lnTo>
                    <a:pt x="432" y="40"/>
                  </a:lnTo>
                  <a:lnTo>
                    <a:pt x="432" y="40"/>
                  </a:lnTo>
                  <a:lnTo>
                    <a:pt x="432" y="40"/>
                  </a:lnTo>
                  <a:lnTo>
                    <a:pt x="432" y="40"/>
                  </a:lnTo>
                  <a:lnTo>
                    <a:pt x="432" y="40"/>
                  </a:lnTo>
                  <a:lnTo>
                    <a:pt x="432" y="38"/>
                  </a:lnTo>
                  <a:lnTo>
                    <a:pt x="430" y="38"/>
                  </a:lnTo>
                  <a:lnTo>
                    <a:pt x="430" y="36"/>
                  </a:lnTo>
                  <a:lnTo>
                    <a:pt x="432" y="36"/>
                  </a:lnTo>
                  <a:lnTo>
                    <a:pt x="435" y="36"/>
                  </a:lnTo>
                  <a:lnTo>
                    <a:pt x="435" y="38"/>
                  </a:lnTo>
                  <a:lnTo>
                    <a:pt x="435" y="38"/>
                  </a:lnTo>
                  <a:lnTo>
                    <a:pt x="435" y="40"/>
                  </a:lnTo>
                  <a:lnTo>
                    <a:pt x="437" y="38"/>
                  </a:lnTo>
                  <a:lnTo>
                    <a:pt x="437" y="40"/>
                  </a:lnTo>
                  <a:lnTo>
                    <a:pt x="437" y="43"/>
                  </a:lnTo>
                  <a:lnTo>
                    <a:pt x="437" y="43"/>
                  </a:lnTo>
                  <a:lnTo>
                    <a:pt x="437" y="45"/>
                  </a:lnTo>
                  <a:lnTo>
                    <a:pt x="437" y="47"/>
                  </a:lnTo>
                  <a:lnTo>
                    <a:pt x="437" y="43"/>
                  </a:lnTo>
                  <a:lnTo>
                    <a:pt x="437" y="43"/>
                  </a:lnTo>
                  <a:lnTo>
                    <a:pt x="439" y="50"/>
                  </a:lnTo>
                  <a:lnTo>
                    <a:pt x="437" y="50"/>
                  </a:lnTo>
                  <a:lnTo>
                    <a:pt x="437" y="50"/>
                  </a:lnTo>
                  <a:lnTo>
                    <a:pt x="437" y="50"/>
                  </a:lnTo>
                  <a:lnTo>
                    <a:pt x="435" y="52"/>
                  </a:lnTo>
                  <a:lnTo>
                    <a:pt x="435" y="52"/>
                  </a:lnTo>
                  <a:lnTo>
                    <a:pt x="435" y="52"/>
                  </a:lnTo>
                  <a:lnTo>
                    <a:pt x="430" y="55"/>
                  </a:lnTo>
                  <a:lnTo>
                    <a:pt x="428" y="57"/>
                  </a:lnTo>
                  <a:lnTo>
                    <a:pt x="428" y="57"/>
                  </a:lnTo>
                  <a:lnTo>
                    <a:pt x="425" y="57"/>
                  </a:lnTo>
                  <a:lnTo>
                    <a:pt x="425" y="59"/>
                  </a:lnTo>
                  <a:lnTo>
                    <a:pt x="428" y="62"/>
                  </a:lnTo>
                  <a:lnTo>
                    <a:pt x="428" y="62"/>
                  </a:lnTo>
                  <a:lnTo>
                    <a:pt x="428" y="62"/>
                  </a:lnTo>
                  <a:lnTo>
                    <a:pt x="425" y="57"/>
                  </a:lnTo>
                  <a:lnTo>
                    <a:pt x="428" y="57"/>
                  </a:lnTo>
                  <a:lnTo>
                    <a:pt x="430" y="57"/>
                  </a:lnTo>
                  <a:lnTo>
                    <a:pt x="430" y="57"/>
                  </a:lnTo>
                  <a:lnTo>
                    <a:pt x="432" y="57"/>
                  </a:lnTo>
                  <a:lnTo>
                    <a:pt x="432" y="59"/>
                  </a:lnTo>
                  <a:lnTo>
                    <a:pt x="430" y="59"/>
                  </a:lnTo>
                  <a:lnTo>
                    <a:pt x="430" y="62"/>
                  </a:lnTo>
                  <a:lnTo>
                    <a:pt x="430" y="64"/>
                  </a:lnTo>
                  <a:lnTo>
                    <a:pt x="430" y="64"/>
                  </a:lnTo>
                  <a:lnTo>
                    <a:pt x="428" y="66"/>
                  </a:lnTo>
                  <a:lnTo>
                    <a:pt x="428" y="66"/>
                  </a:lnTo>
                  <a:lnTo>
                    <a:pt x="428" y="66"/>
                  </a:lnTo>
                  <a:lnTo>
                    <a:pt x="425" y="64"/>
                  </a:lnTo>
                  <a:lnTo>
                    <a:pt x="425" y="66"/>
                  </a:lnTo>
                  <a:lnTo>
                    <a:pt x="425" y="69"/>
                  </a:lnTo>
                  <a:lnTo>
                    <a:pt x="425" y="69"/>
                  </a:lnTo>
                  <a:lnTo>
                    <a:pt x="425" y="71"/>
                  </a:lnTo>
                  <a:lnTo>
                    <a:pt x="425" y="69"/>
                  </a:lnTo>
                  <a:lnTo>
                    <a:pt x="425" y="66"/>
                  </a:lnTo>
                  <a:lnTo>
                    <a:pt x="428" y="66"/>
                  </a:lnTo>
                  <a:lnTo>
                    <a:pt x="428" y="66"/>
                  </a:lnTo>
                  <a:lnTo>
                    <a:pt x="430" y="66"/>
                  </a:lnTo>
                  <a:lnTo>
                    <a:pt x="430" y="64"/>
                  </a:lnTo>
                  <a:lnTo>
                    <a:pt x="430" y="64"/>
                  </a:lnTo>
                  <a:lnTo>
                    <a:pt x="430" y="62"/>
                  </a:lnTo>
                  <a:lnTo>
                    <a:pt x="430" y="59"/>
                  </a:lnTo>
                  <a:lnTo>
                    <a:pt x="432" y="59"/>
                  </a:lnTo>
                  <a:lnTo>
                    <a:pt x="432" y="57"/>
                  </a:lnTo>
                  <a:lnTo>
                    <a:pt x="432" y="57"/>
                  </a:lnTo>
                  <a:lnTo>
                    <a:pt x="435" y="59"/>
                  </a:lnTo>
                  <a:lnTo>
                    <a:pt x="432" y="59"/>
                  </a:lnTo>
                  <a:lnTo>
                    <a:pt x="432" y="59"/>
                  </a:lnTo>
                  <a:lnTo>
                    <a:pt x="435" y="62"/>
                  </a:lnTo>
                  <a:lnTo>
                    <a:pt x="435" y="62"/>
                  </a:lnTo>
                  <a:lnTo>
                    <a:pt x="435" y="62"/>
                  </a:lnTo>
                  <a:lnTo>
                    <a:pt x="435" y="57"/>
                  </a:lnTo>
                  <a:lnTo>
                    <a:pt x="435" y="57"/>
                  </a:lnTo>
                  <a:lnTo>
                    <a:pt x="437" y="59"/>
                  </a:lnTo>
                  <a:lnTo>
                    <a:pt x="435" y="62"/>
                  </a:lnTo>
                  <a:lnTo>
                    <a:pt x="435" y="64"/>
                  </a:lnTo>
                  <a:lnTo>
                    <a:pt x="435" y="66"/>
                  </a:lnTo>
                  <a:lnTo>
                    <a:pt x="435" y="66"/>
                  </a:lnTo>
                  <a:lnTo>
                    <a:pt x="435" y="69"/>
                  </a:lnTo>
                  <a:lnTo>
                    <a:pt x="432" y="71"/>
                  </a:lnTo>
                  <a:lnTo>
                    <a:pt x="432" y="73"/>
                  </a:lnTo>
                  <a:lnTo>
                    <a:pt x="432" y="73"/>
                  </a:lnTo>
                  <a:lnTo>
                    <a:pt x="432" y="76"/>
                  </a:lnTo>
                  <a:lnTo>
                    <a:pt x="432" y="76"/>
                  </a:lnTo>
                  <a:lnTo>
                    <a:pt x="430" y="76"/>
                  </a:lnTo>
                  <a:lnTo>
                    <a:pt x="430" y="76"/>
                  </a:lnTo>
                  <a:lnTo>
                    <a:pt x="430" y="76"/>
                  </a:lnTo>
                  <a:lnTo>
                    <a:pt x="430" y="76"/>
                  </a:lnTo>
                  <a:lnTo>
                    <a:pt x="430" y="76"/>
                  </a:lnTo>
                  <a:lnTo>
                    <a:pt x="432" y="76"/>
                  </a:lnTo>
                  <a:lnTo>
                    <a:pt x="430" y="83"/>
                  </a:lnTo>
                  <a:lnTo>
                    <a:pt x="430" y="83"/>
                  </a:lnTo>
                  <a:lnTo>
                    <a:pt x="428" y="83"/>
                  </a:lnTo>
                  <a:lnTo>
                    <a:pt x="428" y="83"/>
                  </a:lnTo>
                  <a:lnTo>
                    <a:pt x="425" y="83"/>
                  </a:lnTo>
                  <a:lnTo>
                    <a:pt x="425" y="85"/>
                  </a:lnTo>
                  <a:lnTo>
                    <a:pt x="425" y="85"/>
                  </a:lnTo>
                  <a:lnTo>
                    <a:pt x="423" y="88"/>
                  </a:lnTo>
                  <a:lnTo>
                    <a:pt x="425" y="85"/>
                  </a:lnTo>
                  <a:lnTo>
                    <a:pt x="425" y="85"/>
                  </a:lnTo>
                  <a:lnTo>
                    <a:pt x="425" y="83"/>
                  </a:lnTo>
                  <a:lnTo>
                    <a:pt x="428" y="85"/>
                  </a:lnTo>
                  <a:lnTo>
                    <a:pt x="428" y="83"/>
                  </a:lnTo>
                  <a:lnTo>
                    <a:pt x="430" y="83"/>
                  </a:lnTo>
                  <a:lnTo>
                    <a:pt x="428" y="85"/>
                  </a:lnTo>
                  <a:lnTo>
                    <a:pt x="428" y="85"/>
                  </a:lnTo>
                  <a:lnTo>
                    <a:pt x="425" y="88"/>
                  </a:lnTo>
                  <a:lnTo>
                    <a:pt x="428" y="85"/>
                  </a:lnTo>
                  <a:lnTo>
                    <a:pt x="428" y="85"/>
                  </a:lnTo>
                  <a:lnTo>
                    <a:pt x="430" y="83"/>
                  </a:lnTo>
                  <a:lnTo>
                    <a:pt x="430" y="83"/>
                  </a:lnTo>
                  <a:lnTo>
                    <a:pt x="430" y="88"/>
                  </a:lnTo>
                  <a:lnTo>
                    <a:pt x="430" y="90"/>
                  </a:lnTo>
                  <a:lnTo>
                    <a:pt x="430" y="92"/>
                  </a:lnTo>
                  <a:lnTo>
                    <a:pt x="430" y="90"/>
                  </a:lnTo>
                  <a:lnTo>
                    <a:pt x="432" y="90"/>
                  </a:lnTo>
                  <a:lnTo>
                    <a:pt x="432" y="88"/>
                  </a:lnTo>
                  <a:lnTo>
                    <a:pt x="432" y="85"/>
                  </a:lnTo>
                  <a:lnTo>
                    <a:pt x="432" y="83"/>
                  </a:lnTo>
                  <a:lnTo>
                    <a:pt x="435" y="78"/>
                  </a:lnTo>
                  <a:lnTo>
                    <a:pt x="435" y="73"/>
                  </a:lnTo>
                  <a:lnTo>
                    <a:pt x="435" y="73"/>
                  </a:lnTo>
                  <a:lnTo>
                    <a:pt x="439" y="73"/>
                  </a:lnTo>
                  <a:lnTo>
                    <a:pt x="439" y="76"/>
                  </a:lnTo>
                  <a:lnTo>
                    <a:pt x="439" y="76"/>
                  </a:lnTo>
                  <a:lnTo>
                    <a:pt x="442" y="76"/>
                  </a:lnTo>
                  <a:lnTo>
                    <a:pt x="442" y="76"/>
                  </a:lnTo>
                  <a:lnTo>
                    <a:pt x="444" y="76"/>
                  </a:lnTo>
                  <a:lnTo>
                    <a:pt x="444" y="76"/>
                  </a:lnTo>
                  <a:lnTo>
                    <a:pt x="442" y="73"/>
                  </a:lnTo>
                  <a:lnTo>
                    <a:pt x="444" y="71"/>
                  </a:lnTo>
                  <a:lnTo>
                    <a:pt x="444" y="71"/>
                  </a:lnTo>
                  <a:lnTo>
                    <a:pt x="444" y="71"/>
                  </a:lnTo>
                  <a:lnTo>
                    <a:pt x="444" y="66"/>
                  </a:lnTo>
                  <a:lnTo>
                    <a:pt x="444" y="66"/>
                  </a:lnTo>
                  <a:lnTo>
                    <a:pt x="449" y="64"/>
                  </a:lnTo>
                  <a:lnTo>
                    <a:pt x="451" y="62"/>
                  </a:lnTo>
                  <a:lnTo>
                    <a:pt x="451" y="62"/>
                  </a:lnTo>
                  <a:lnTo>
                    <a:pt x="451" y="64"/>
                  </a:lnTo>
                  <a:lnTo>
                    <a:pt x="454" y="62"/>
                  </a:lnTo>
                  <a:lnTo>
                    <a:pt x="454" y="62"/>
                  </a:lnTo>
                  <a:lnTo>
                    <a:pt x="454" y="59"/>
                  </a:lnTo>
                  <a:lnTo>
                    <a:pt x="454" y="59"/>
                  </a:lnTo>
                  <a:lnTo>
                    <a:pt x="456" y="59"/>
                  </a:lnTo>
                  <a:lnTo>
                    <a:pt x="456" y="57"/>
                  </a:lnTo>
                  <a:lnTo>
                    <a:pt x="456" y="57"/>
                  </a:lnTo>
                  <a:lnTo>
                    <a:pt x="456" y="55"/>
                  </a:lnTo>
                  <a:lnTo>
                    <a:pt x="456" y="55"/>
                  </a:lnTo>
                  <a:lnTo>
                    <a:pt x="456" y="57"/>
                  </a:lnTo>
                  <a:lnTo>
                    <a:pt x="458" y="55"/>
                  </a:lnTo>
                  <a:lnTo>
                    <a:pt x="458" y="55"/>
                  </a:lnTo>
                  <a:lnTo>
                    <a:pt x="458" y="57"/>
                  </a:lnTo>
                  <a:lnTo>
                    <a:pt x="458" y="57"/>
                  </a:lnTo>
                  <a:lnTo>
                    <a:pt x="458" y="57"/>
                  </a:lnTo>
                  <a:lnTo>
                    <a:pt x="458" y="57"/>
                  </a:lnTo>
                  <a:lnTo>
                    <a:pt x="458" y="59"/>
                  </a:lnTo>
                  <a:lnTo>
                    <a:pt x="458" y="59"/>
                  </a:lnTo>
                  <a:lnTo>
                    <a:pt x="458" y="59"/>
                  </a:lnTo>
                  <a:lnTo>
                    <a:pt x="458" y="57"/>
                  </a:lnTo>
                  <a:lnTo>
                    <a:pt x="458" y="59"/>
                  </a:lnTo>
                  <a:lnTo>
                    <a:pt x="458" y="59"/>
                  </a:lnTo>
                  <a:lnTo>
                    <a:pt x="458" y="62"/>
                  </a:lnTo>
                  <a:lnTo>
                    <a:pt x="456" y="64"/>
                  </a:lnTo>
                  <a:lnTo>
                    <a:pt x="458" y="64"/>
                  </a:lnTo>
                  <a:lnTo>
                    <a:pt x="458" y="62"/>
                  </a:lnTo>
                  <a:lnTo>
                    <a:pt x="458" y="64"/>
                  </a:lnTo>
                  <a:lnTo>
                    <a:pt x="458" y="66"/>
                  </a:lnTo>
                  <a:lnTo>
                    <a:pt x="461" y="66"/>
                  </a:lnTo>
                  <a:lnTo>
                    <a:pt x="461" y="66"/>
                  </a:lnTo>
                  <a:lnTo>
                    <a:pt x="461" y="66"/>
                  </a:lnTo>
                  <a:lnTo>
                    <a:pt x="461" y="66"/>
                  </a:lnTo>
                  <a:lnTo>
                    <a:pt x="461" y="66"/>
                  </a:lnTo>
                  <a:lnTo>
                    <a:pt x="458" y="66"/>
                  </a:lnTo>
                  <a:lnTo>
                    <a:pt x="458" y="64"/>
                  </a:lnTo>
                  <a:lnTo>
                    <a:pt x="461" y="62"/>
                  </a:lnTo>
                  <a:lnTo>
                    <a:pt x="458" y="59"/>
                  </a:lnTo>
                  <a:lnTo>
                    <a:pt x="458" y="57"/>
                  </a:lnTo>
                  <a:lnTo>
                    <a:pt x="458" y="55"/>
                  </a:lnTo>
                  <a:lnTo>
                    <a:pt x="461" y="55"/>
                  </a:lnTo>
                  <a:lnTo>
                    <a:pt x="461" y="52"/>
                  </a:lnTo>
                  <a:lnTo>
                    <a:pt x="461" y="52"/>
                  </a:lnTo>
                  <a:lnTo>
                    <a:pt x="461" y="50"/>
                  </a:lnTo>
                  <a:lnTo>
                    <a:pt x="463" y="47"/>
                  </a:lnTo>
                  <a:lnTo>
                    <a:pt x="461" y="47"/>
                  </a:lnTo>
                  <a:lnTo>
                    <a:pt x="461" y="47"/>
                  </a:lnTo>
                  <a:lnTo>
                    <a:pt x="461" y="47"/>
                  </a:lnTo>
                  <a:lnTo>
                    <a:pt x="461" y="47"/>
                  </a:lnTo>
                  <a:lnTo>
                    <a:pt x="461" y="45"/>
                  </a:lnTo>
                  <a:lnTo>
                    <a:pt x="461" y="45"/>
                  </a:lnTo>
                  <a:lnTo>
                    <a:pt x="461" y="45"/>
                  </a:lnTo>
                  <a:lnTo>
                    <a:pt x="461" y="43"/>
                  </a:lnTo>
                  <a:lnTo>
                    <a:pt x="461" y="43"/>
                  </a:lnTo>
                  <a:lnTo>
                    <a:pt x="463" y="43"/>
                  </a:lnTo>
                  <a:lnTo>
                    <a:pt x="463" y="43"/>
                  </a:lnTo>
                  <a:lnTo>
                    <a:pt x="463" y="45"/>
                  </a:lnTo>
                  <a:lnTo>
                    <a:pt x="463" y="45"/>
                  </a:lnTo>
                  <a:lnTo>
                    <a:pt x="463" y="47"/>
                  </a:lnTo>
                  <a:lnTo>
                    <a:pt x="461" y="50"/>
                  </a:lnTo>
                  <a:lnTo>
                    <a:pt x="463" y="55"/>
                  </a:lnTo>
                  <a:lnTo>
                    <a:pt x="463" y="57"/>
                  </a:lnTo>
                  <a:lnTo>
                    <a:pt x="461" y="57"/>
                  </a:lnTo>
                  <a:lnTo>
                    <a:pt x="461" y="59"/>
                  </a:lnTo>
                  <a:lnTo>
                    <a:pt x="461" y="59"/>
                  </a:lnTo>
                  <a:lnTo>
                    <a:pt x="463" y="59"/>
                  </a:lnTo>
                  <a:lnTo>
                    <a:pt x="463" y="59"/>
                  </a:lnTo>
                  <a:lnTo>
                    <a:pt x="463" y="59"/>
                  </a:lnTo>
                  <a:lnTo>
                    <a:pt x="463" y="62"/>
                  </a:lnTo>
                  <a:lnTo>
                    <a:pt x="463" y="62"/>
                  </a:lnTo>
                  <a:lnTo>
                    <a:pt x="463" y="59"/>
                  </a:lnTo>
                  <a:lnTo>
                    <a:pt x="465" y="59"/>
                  </a:lnTo>
                  <a:lnTo>
                    <a:pt x="463" y="59"/>
                  </a:lnTo>
                  <a:lnTo>
                    <a:pt x="463" y="59"/>
                  </a:lnTo>
                  <a:lnTo>
                    <a:pt x="463" y="59"/>
                  </a:lnTo>
                  <a:lnTo>
                    <a:pt x="463" y="57"/>
                  </a:lnTo>
                  <a:lnTo>
                    <a:pt x="463" y="57"/>
                  </a:lnTo>
                  <a:lnTo>
                    <a:pt x="465" y="57"/>
                  </a:lnTo>
                  <a:lnTo>
                    <a:pt x="465" y="57"/>
                  </a:lnTo>
                  <a:lnTo>
                    <a:pt x="463" y="57"/>
                  </a:lnTo>
                  <a:lnTo>
                    <a:pt x="465" y="55"/>
                  </a:lnTo>
                  <a:lnTo>
                    <a:pt x="465" y="55"/>
                  </a:lnTo>
                  <a:lnTo>
                    <a:pt x="465" y="57"/>
                  </a:lnTo>
                  <a:lnTo>
                    <a:pt x="465" y="57"/>
                  </a:lnTo>
                  <a:lnTo>
                    <a:pt x="465" y="57"/>
                  </a:lnTo>
                  <a:lnTo>
                    <a:pt x="463" y="59"/>
                  </a:lnTo>
                  <a:lnTo>
                    <a:pt x="465" y="57"/>
                  </a:lnTo>
                  <a:lnTo>
                    <a:pt x="465" y="59"/>
                  </a:lnTo>
                  <a:lnTo>
                    <a:pt x="468" y="57"/>
                  </a:lnTo>
                  <a:lnTo>
                    <a:pt x="468" y="55"/>
                  </a:lnTo>
                  <a:lnTo>
                    <a:pt x="465" y="52"/>
                  </a:lnTo>
                  <a:lnTo>
                    <a:pt x="465" y="52"/>
                  </a:lnTo>
                  <a:lnTo>
                    <a:pt x="465" y="50"/>
                  </a:lnTo>
                  <a:lnTo>
                    <a:pt x="465" y="50"/>
                  </a:lnTo>
                  <a:lnTo>
                    <a:pt x="465" y="50"/>
                  </a:lnTo>
                  <a:lnTo>
                    <a:pt x="465" y="52"/>
                  </a:lnTo>
                  <a:lnTo>
                    <a:pt x="465" y="50"/>
                  </a:lnTo>
                  <a:lnTo>
                    <a:pt x="468" y="50"/>
                  </a:lnTo>
                  <a:lnTo>
                    <a:pt x="468" y="52"/>
                  </a:lnTo>
                  <a:lnTo>
                    <a:pt x="468" y="52"/>
                  </a:lnTo>
                  <a:lnTo>
                    <a:pt x="465" y="52"/>
                  </a:lnTo>
                  <a:lnTo>
                    <a:pt x="468" y="52"/>
                  </a:lnTo>
                  <a:lnTo>
                    <a:pt x="465" y="55"/>
                  </a:lnTo>
                  <a:lnTo>
                    <a:pt x="465" y="55"/>
                  </a:lnTo>
                  <a:lnTo>
                    <a:pt x="468" y="55"/>
                  </a:lnTo>
                  <a:lnTo>
                    <a:pt x="468" y="55"/>
                  </a:lnTo>
                  <a:lnTo>
                    <a:pt x="468" y="59"/>
                  </a:lnTo>
                  <a:lnTo>
                    <a:pt x="468" y="59"/>
                  </a:lnTo>
                  <a:lnTo>
                    <a:pt x="465" y="64"/>
                  </a:lnTo>
                  <a:lnTo>
                    <a:pt x="468" y="62"/>
                  </a:lnTo>
                  <a:lnTo>
                    <a:pt x="468" y="59"/>
                  </a:lnTo>
                  <a:lnTo>
                    <a:pt x="468" y="57"/>
                  </a:lnTo>
                  <a:lnTo>
                    <a:pt x="468" y="57"/>
                  </a:lnTo>
                  <a:lnTo>
                    <a:pt x="470" y="59"/>
                  </a:lnTo>
                  <a:lnTo>
                    <a:pt x="470" y="59"/>
                  </a:lnTo>
                  <a:lnTo>
                    <a:pt x="470" y="59"/>
                  </a:lnTo>
                  <a:lnTo>
                    <a:pt x="472" y="59"/>
                  </a:lnTo>
                  <a:lnTo>
                    <a:pt x="475" y="57"/>
                  </a:lnTo>
                  <a:lnTo>
                    <a:pt x="475" y="57"/>
                  </a:lnTo>
                  <a:lnTo>
                    <a:pt x="475" y="59"/>
                  </a:lnTo>
                  <a:lnTo>
                    <a:pt x="477" y="59"/>
                  </a:lnTo>
                  <a:lnTo>
                    <a:pt x="480" y="59"/>
                  </a:lnTo>
                  <a:lnTo>
                    <a:pt x="480" y="62"/>
                  </a:lnTo>
                  <a:lnTo>
                    <a:pt x="480" y="62"/>
                  </a:lnTo>
                  <a:lnTo>
                    <a:pt x="480" y="59"/>
                  </a:lnTo>
                  <a:lnTo>
                    <a:pt x="480" y="59"/>
                  </a:lnTo>
                  <a:lnTo>
                    <a:pt x="480" y="57"/>
                  </a:lnTo>
                  <a:lnTo>
                    <a:pt x="482" y="57"/>
                  </a:lnTo>
                  <a:lnTo>
                    <a:pt x="484" y="59"/>
                  </a:lnTo>
                  <a:lnTo>
                    <a:pt x="482" y="59"/>
                  </a:lnTo>
                  <a:lnTo>
                    <a:pt x="482" y="59"/>
                  </a:lnTo>
                  <a:lnTo>
                    <a:pt x="482" y="62"/>
                  </a:lnTo>
                  <a:lnTo>
                    <a:pt x="482" y="62"/>
                  </a:lnTo>
                  <a:lnTo>
                    <a:pt x="482" y="59"/>
                  </a:lnTo>
                  <a:lnTo>
                    <a:pt x="482" y="59"/>
                  </a:lnTo>
                  <a:lnTo>
                    <a:pt x="484" y="62"/>
                  </a:lnTo>
                  <a:lnTo>
                    <a:pt x="484" y="62"/>
                  </a:lnTo>
                  <a:lnTo>
                    <a:pt x="484" y="62"/>
                  </a:lnTo>
                  <a:lnTo>
                    <a:pt x="482" y="59"/>
                  </a:lnTo>
                  <a:lnTo>
                    <a:pt x="487" y="59"/>
                  </a:lnTo>
                  <a:lnTo>
                    <a:pt x="487" y="59"/>
                  </a:lnTo>
                  <a:lnTo>
                    <a:pt x="484" y="59"/>
                  </a:lnTo>
                  <a:lnTo>
                    <a:pt x="484" y="57"/>
                  </a:lnTo>
                  <a:lnTo>
                    <a:pt x="487" y="57"/>
                  </a:lnTo>
                  <a:lnTo>
                    <a:pt x="489" y="55"/>
                  </a:lnTo>
                  <a:lnTo>
                    <a:pt x="489" y="52"/>
                  </a:lnTo>
                  <a:lnTo>
                    <a:pt x="491" y="55"/>
                  </a:lnTo>
                  <a:lnTo>
                    <a:pt x="491" y="52"/>
                  </a:lnTo>
                  <a:lnTo>
                    <a:pt x="494" y="55"/>
                  </a:lnTo>
                  <a:lnTo>
                    <a:pt x="491" y="52"/>
                  </a:lnTo>
                  <a:lnTo>
                    <a:pt x="491" y="50"/>
                  </a:lnTo>
                  <a:lnTo>
                    <a:pt x="494" y="50"/>
                  </a:lnTo>
                  <a:lnTo>
                    <a:pt x="494" y="50"/>
                  </a:lnTo>
                  <a:lnTo>
                    <a:pt x="491" y="50"/>
                  </a:lnTo>
                  <a:lnTo>
                    <a:pt x="494" y="50"/>
                  </a:lnTo>
                  <a:lnTo>
                    <a:pt x="496" y="50"/>
                  </a:lnTo>
                  <a:lnTo>
                    <a:pt x="496" y="50"/>
                  </a:lnTo>
                  <a:lnTo>
                    <a:pt x="494" y="50"/>
                  </a:lnTo>
                  <a:lnTo>
                    <a:pt x="496" y="50"/>
                  </a:lnTo>
                  <a:lnTo>
                    <a:pt x="496" y="50"/>
                  </a:lnTo>
                  <a:lnTo>
                    <a:pt x="498" y="50"/>
                  </a:lnTo>
                  <a:lnTo>
                    <a:pt x="498" y="50"/>
                  </a:lnTo>
                  <a:lnTo>
                    <a:pt x="498" y="50"/>
                  </a:lnTo>
                  <a:lnTo>
                    <a:pt x="498" y="52"/>
                  </a:lnTo>
                  <a:lnTo>
                    <a:pt x="498" y="50"/>
                  </a:lnTo>
                  <a:lnTo>
                    <a:pt x="496" y="55"/>
                  </a:lnTo>
                  <a:lnTo>
                    <a:pt x="496" y="59"/>
                  </a:lnTo>
                  <a:lnTo>
                    <a:pt x="496" y="57"/>
                  </a:lnTo>
                  <a:lnTo>
                    <a:pt x="496" y="55"/>
                  </a:lnTo>
                  <a:lnTo>
                    <a:pt x="494" y="57"/>
                  </a:lnTo>
                  <a:lnTo>
                    <a:pt x="494" y="59"/>
                  </a:lnTo>
                  <a:lnTo>
                    <a:pt x="491" y="57"/>
                  </a:lnTo>
                  <a:lnTo>
                    <a:pt x="489" y="57"/>
                  </a:lnTo>
                  <a:lnTo>
                    <a:pt x="491" y="57"/>
                  </a:lnTo>
                  <a:lnTo>
                    <a:pt x="494" y="59"/>
                  </a:lnTo>
                  <a:lnTo>
                    <a:pt x="494" y="59"/>
                  </a:lnTo>
                  <a:lnTo>
                    <a:pt x="494" y="59"/>
                  </a:lnTo>
                  <a:lnTo>
                    <a:pt x="491" y="59"/>
                  </a:lnTo>
                  <a:lnTo>
                    <a:pt x="491" y="59"/>
                  </a:lnTo>
                  <a:lnTo>
                    <a:pt x="494" y="59"/>
                  </a:lnTo>
                  <a:lnTo>
                    <a:pt x="491" y="62"/>
                  </a:lnTo>
                  <a:lnTo>
                    <a:pt x="491" y="62"/>
                  </a:lnTo>
                  <a:lnTo>
                    <a:pt x="489" y="64"/>
                  </a:lnTo>
                  <a:lnTo>
                    <a:pt x="491" y="64"/>
                  </a:lnTo>
                  <a:lnTo>
                    <a:pt x="489" y="64"/>
                  </a:lnTo>
                  <a:lnTo>
                    <a:pt x="489" y="66"/>
                  </a:lnTo>
                  <a:lnTo>
                    <a:pt x="489" y="66"/>
                  </a:lnTo>
                  <a:lnTo>
                    <a:pt x="487" y="66"/>
                  </a:lnTo>
                  <a:lnTo>
                    <a:pt x="487" y="69"/>
                  </a:lnTo>
                  <a:lnTo>
                    <a:pt x="487" y="71"/>
                  </a:lnTo>
                  <a:lnTo>
                    <a:pt x="487" y="71"/>
                  </a:lnTo>
                  <a:lnTo>
                    <a:pt x="487" y="73"/>
                  </a:lnTo>
                  <a:lnTo>
                    <a:pt x="489" y="76"/>
                  </a:lnTo>
                  <a:lnTo>
                    <a:pt x="489" y="73"/>
                  </a:lnTo>
                  <a:lnTo>
                    <a:pt x="489" y="73"/>
                  </a:lnTo>
                  <a:lnTo>
                    <a:pt x="491" y="73"/>
                  </a:lnTo>
                  <a:lnTo>
                    <a:pt x="494" y="76"/>
                  </a:lnTo>
                  <a:lnTo>
                    <a:pt x="494" y="76"/>
                  </a:lnTo>
                  <a:lnTo>
                    <a:pt x="494" y="76"/>
                  </a:lnTo>
                  <a:lnTo>
                    <a:pt x="496" y="73"/>
                  </a:lnTo>
                  <a:lnTo>
                    <a:pt x="496" y="71"/>
                  </a:lnTo>
                  <a:lnTo>
                    <a:pt x="498" y="71"/>
                  </a:lnTo>
                  <a:lnTo>
                    <a:pt x="501" y="73"/>
                  </a:lnTo>
                  <a:lnTo>
                    <a:pt x="501" y="73"/>
                  </a:lnTo>
                  <a:lnTo>
                    <a:pt x="501" y="76"/>
                  </a:lnTo>
                  <a:lnTo>
                    <a:pt x="501" y="76"/>
                  </a:lnTo>
                  <a:lnTo>
                    <a:pt x="501" y="76"/>
                  </a:lnTo>
                  <a:lnTo>
                    <a:pt x="503" y="76"/>
                  </a:lnTo>
                  <a:lnTo>
                    <a:pt x="501" y="73"/>
                  </a:lnTo>
                  <a:lnTo>
                    <a:pt x="501" y="73"/>
                  </a:lnTo>
                  <a:lnTo>
                    <a:pt x="503" y="76"/>
                  </a:lnTo>
                  <a:lnTo>
                    <a:pt x="503" y="78"/>
                  </a:lnTo>
                  <a:lnTo>
                    <a:pt x="501" y="81"/>
                  </a:lnTo>
                  <a:lnTo>
                    <a:pt x="503" y="81"/>
                  </a:lnTo>
                  <a:lnTo>
                    <a:pt x="503" y="78"/>
                  </a:lnTo>
                  <a:lnTo>
                    <a:pt x="503" y="76"/>
                  </a:lnTo>
                  <a:lnTo>
                    <a:pt x="503" y="76"/>
                  </a:lnTo>
                  <a:lnTo>
                    <a:pt x="503" y="71"/>
                  </a:lnTo>
                  <a:lnTo>
                    <a:pt x="503" y="71"/>
                  </a:lnTo>
                  <a:lnTo>
                    <a:pt x="503" y="71"/>
                  </a:lnTo>
                  <a:lnTo>
                    <a:pt x="503" y="71"/>
                  </a:lnTo>
                  <a:lnTo>
                    <a:pt x="503" y="71"/>
                  </a:lnTo>
                  <a:lnTo>
                    <a:pt x="503" y="71"/>
                  </a:lnTo>
                  <a:lnTo>
                    <a:pt x="506" y="71"/>
                  </a:lnTo>
                  <a:lnTo>
                    <a:pt x="506" y="69"/>
                  </a:lnTo>
                  <a:lnTo>
                    <a:pt x="506" y="71"/>
                  </a:lnTo>
                  <a:lnTo>
                    <a:pt x="506" y="76"/>
                  </a:lnTo>
                  <a:lnTo>
                    <a:pt x="506" y="76"/>
                  </a:lnTo>
                  <a:lnTo>
                    <a:pt x="506" y="76"/>
                  </a:lnTo>
                  <a:lnTo>
                    <a:pt x="506" y="76"/>
                  </a:lnTo>
                  <a:lnTo>
                    <a:pt x="508" y="76"/>
                  </a:lnTo>
                  <a:lnTo>
                    <a:pt x="506" y="73"/>
                  </a:lnTo>
                  <a:lnTo>
                    <a:pt x="506" y="73"/>
                  </a:lnTo>
                  <a:lnTo>
                    <a:pt x="508" y="76"/>
                  </a:lnTo>
                  <a:lnTo>
                    <a:pt x="508" y="73"/>
                  </a:lnTo>
                  <a:lnTo>
                    <a:pt x="508" y="71"/>
                  </a:lnTo>
                  <a:lnTo>
                    <a:pt x="510" y="69"/>
                  </a:lnTo>
                  <a:lnTo>
                    <a:pt x="513" y="69"/>
                  </a:lnTo>
                  <a:lnTo>
                    <a:pt x="513" y="69"/>
                  </a:lnTo>
                  <a:lnTo>
                    <a:pt x="513" y="69"/>
                  </a:lnTo>
                  <a:lnTo>
                    <a:pt x="513" y="69"/>
                  </a:lnTo>
                  <a:lnTo>
                    <a:pt x="513" y="66"/>
                  </a:lnTo>
                  <a:lnTo>
                    <a:pt x="513" y="71"/>
                  </a:lnTo>
                  <a:lnTo>
                    <a:pt x="510" y="73"/>
                  </a:lnTo>
                  <a:lnTo>
                    <a:pt x="510" y="76"/>
                  </a:lnTo>
                  <a:lnTo>
                    <a:pt x="510" y="76"/>
                  </a:lnTo>
                  <a:lnTo>
                    <a:pt x="508" y="76"/>
                  </a:lnTo>
                  <a:lnTo>
                    <a:pt x="510" y="76"/>
                  </a:lnTo>
                  <a:lnTo>
                    <a:pt x="513" y="73"/>
                  </a:lnTo>
                  <a:lnTo>
                    <a:pt x="513" y="73"/>
                  </a:lnTo>
                  <a:lnTo>
                    <a:pt x="513" y="71"/>
                  </a:lnTo>
                  <a:lnTo>
                    <a:pt x="515" y="71"/>
                  </a:lnTo>
                  <a:lnTo>
                    <a:pt x="515" y="71"/>
                  </a:lnTo>
                  <a:lnTo>
                    <a:pt x="515" y="71"/>
                  </a:lnTo>
                  <a:lnTo>
                    <a:pt x="515" y="73"/>
                  </a:lnTo>
                  <a:lnTo>
                    <a:pt x="513" y="73"/>
                  </a:lnTo>
                  <a:lnTo>
                    <a:pt x="515" y="73"/>
                  </a:lnTo>
                  <a:lnTo>
                    <a:pt x="515" y="71"/>
                  </a:lnTo>
                  <a:lnTo>
                    <a:pt x="515" y="69"/>
                  </a:lnTo>
                  <a:lnTo>
                    <a:pt x="517" y="69"/>
                  </a:lnTo>
                  <a:lnTo>
                    <a:pt x="517" y="71"/>
                  </a:lnTo>
                  <a:lnTo>
                    <a:pt x="517" y="71"/>
                  </a:lnTo>
                  <a:lnTo>
                    <a:pt x="517" y="73"/>
                  </a:lnTo>
                  <a:lnTo>
                    <a:pt x="520" y="76"/>
                  </a:lnTo>
                  <a:lnTo>
                    <a:pt x="520" y="76"/>
                  </a:lnTo>
                  <a:lnTo>
                    <a:pt x="520" y="81"/>
                  </a:lnTo>
                  <a:lnTo>
                    <a:pt x="517" y="83"/>
                  </a:lnTo>
                  <a:lnTo>
                    <a:pt x="517" y="81"/>
                  </a:lnTo>
                  <a:lnTo>
                    <a:pt x="517" y="81"/>
                  </a:lnTo>
                  <a:lnTo>
                    <a:pt x="515" y="81"/>
                  </a:lnTo>
                  <a:lnTo>
                    <a:pt x="515" y="81"/>
                  </a:lnTo>
                  <a:lnTo>
                    <a:pt x="515" y="81"/>
                  </a:lnTo>
                  <a:lnTo>
                    <a:pt x="513" y="81"/>
                  </a:lnTo>
                  <a:lnTo>
                    <a:pt x="513" y="78"/>
                  </a:lnTo>
                  <a:lnTo>
                    <a:pt x="513" y="81"/>
                  </a:lnTo>
                  <a:lnTo>
                    <a:pt x="508" y="81"/>
                  </a:lnTo>
                  <a:lnTo>
                    <a:pt x="508" y="81"/>
                  </a:lnTo>
                  <a:lnTo>
                    <a:pt x="506" y="81"/>
                  </a:lnTo>
                  <a:lnTo>
                    <a:pt x="508" y="81"/>
                  </a:lnTo>
                  <a:lnTo>
                    <a:pt x="508" y="81"/>
                  </a:lnTo>
                  <a:lnTo>
                    <a:pt x="506" y="83"/>
                  </a:lnTo>
                  <a:lnTo>
                    <a:pt x="506" y="83"/>
                  </a:lnTo>
                  <a:lnTo>
                    <a:pt x="506" y="85"/>
                  </a:lnTo>
                  <a:lnTo>
                    <a:pt x="503" y="83"/>
                  </a:lnTo>
                  <a:lnTo>
                    <a:pt x="501" y="85"/>
                  </a:lnTo>
                  <a:lnTo>
                    <a:pt x="503" y="83"/>
                  </a:lnTo>
                  <a:lnTo>
                    <a:pt x="503" y="85"/>
                  </a:lnTo>
                  <a:lnTo>
                    <a:pt x="503" y="85"/>
                  </a:lnTo>
                  <a:lnTo>
                    <a:pt x="503" y="85"/>
                  </a:lnTo>
                  <a:lnTo>
                    <a:pt x="503" y="85"/>
                  </a:lnTo>
                  <a:lnTo>
                    <a:pt x="501" y="88"/>
                  </a:lnTo>
                  <a:lnTo>
                    <a:pt x="501" y="88"/>
                  </a:lnTo>
                  <a:lnTo>
                    <a:pt x="501" y="88"/>
                  </a:lnTo>
                  <a:lnTo>
                    <a:pt x="503" y="88"/>
                  </a:lnTo>
                  <a:lnTo>
                    <a:pt x="503" y="90"/>
                  </a:lnTo>
                  <a:lnTo>
                    <a:pt x="503" y="90"/>
                  </a:lnTo>
                  <a:lnTo>
                    <a:pt x="503" y="90"/>
                  </a:lnTo>
                  <a:lnTo>
                    <a:pt x="503" y="90"/>
                  </a:lnTo>
                  <a:lnTo>
                    <a:pt x="506" y="90"/>
                  </a:lnTo>
                  <a:lnTo>
                    <a:pt x="506" y="92"/>
                  </a:lnTo>
                  <a:lnTo>
                    <a:pt x="503" y="92"/>
                  </a:lnTo>
                  <a:lnTo>
                    <a:pt x="503" y="92"/>
                  </a:lnTo>
                  <a:lnTo>
                    <a:pt x="503" y="92"/>
                  </a:lnTo>
                  <a:lnTo>
                    <a:pt x="506" y="92"/>
                  </a:lnTo>
                  <a:lnTo>
                    <a:pt x="506" y="92"/>
                  </a:lnTo>
                  <a:lnTo>
                    <a:pt x="506" y="90"/>
                  </a:lnTo>
                  <a:lnTo>
                    <a:pt x="506" y="90"/>
                  </a:lnTo>
                  <a:lnTo>
                    <a:pt x="506" y="90"/>
                  </a:lnTo>
                  <a:lnTo>
                    <a:pt x="503" y="90"/>
                  </a:lnTo>
                  <a:lnTo>
                    <a:pt x="503" y="88"/>
                  </a:lnTo>
                  <a:lnTo>
                    <a:pt x="506" y="88"/>
                  </a:lnTo>
                  <a:lnTo>
                    <a:pt x="508" y="90"/>
                  </a:lnTo>
                  <a:lnTo>
                    <a:pt x="508" y="90"/>
                  </a:lnTo>
                  <a:lnTo>
                    <a:pt x="513" y="90"/>
                  </a:lnTo>
                  <a:lnTo>
                    <a:pt x="513" y="90"/>
                  </a:lnTo>
                  <a:lnTo>
                    <a:pt x="513" y="90"/>
                  </a:lnTo>
                  <a:lnTo>
                    <a:pt x="513" y="92"/>
                  </a:lnTo>
                  <a:lnTo>
                    <a:pt x="513" y="92"/>
                  </a:lnTo>
                  <a:lnTo>
                    <a:pt x="513" y="92"/>
                  </a:lnTo>
                  <a:lnTo>
                    <a:pt x="510" y="92"/>
                  </a:lnTo>
                  <a:lnTo>
                    <a:pt x="510" y="92"/>
                  </a:lnTo>
                  <a:lnTo>
                    <a:pt x="508" y="92"/>
                  </a:lnTo>
                  <a:lnTo>
                    <a:pt x="510" y="92"/>
                  </a:lnTo>
                  <a:lnTo>
                    <a:pt x="510" y="95"/>
                  </a:lnTo>
                  <a:lnTo>
                    <a:pt x="508" y="97"/>
                  </a:lnTo>
                  <a:lnTo>
                    <a:pt x="506" y="97"/>
                  </a:lnTo>
                  <a:lnTo>
                    <a:pt x="503" y="99"/>
                  </a:lnTo>
                  <a:lnTo>
                    <a:pt x="503" y="99"/>
                  </a:lnTo>
                  <a:lnTo>
                    <a:pt x="501" y="99"/>
                  </a:lnTo>
                  <a:lnTo>
                    <a:pt x="501" y="99"/>
                  </a:lnTo>
                  <a:lnTo>
                    <a:pt x="498" y="99"/>
                  </a:lnTo>
                  <a:lnTo>
                    <a:pt x="498" y="99"/>
                  </a:lnTo>
                  <a:lnTo>
                    <a:pt x="498" y="102"/>
                  </a:lnTo>
                  <a:lnTo>
                    <a:pt x="501" y="99"/>
                  </a:lnTo>
                  <a:lnTo>
                    <a:pt x="501" y="102"/>
                  </a:lnTo>
                  <a:lnTo>
                    <a:pt x="498" y="102"/>
                  </a:lnTo>
                  <a:lnTo>
                    <a:pt x="498" y="102"/>
                  </a:lnTo>
                  <a:lnTo>
                    <a:pt x="496" y="102"/>
                  </a:lnTo>
                  <a:lnTo>
                    <a:pt x="494" y="104"/>
                  </a:lnTo>
                  <a:lnTo>
                    <a:pt x="498" y="102"/>
                  </a:lnTo>
                  <a:lnTo>
                    <a:pt x="498" y="102"/>
                  </a:lnTo>
                  <a:lnTo>
                    <a:pt x="501" y="102"/>
                  </a:lnTo>
                  <a:lnTo>
                    <a:pt x="503" y="99"/>
                  </a:lnTo>
                  <a:lnTo>
                    <a:pt x="506" y="99"/>
                  </a:lnTo>
                  <a:lnTo>
                    <a:pt x="510" y="97"/>
                  </a:lnTo>
                  <a:lnTo>
                    <a:pt x="510" y="99"/>
                  </a:lnTo>
                  <a:lnTo>
                    <a:pt x="510" y="99"/>
                  </a:lnTo>
                  <a:lnTo>
                    <a:pt x="508" y="102"/>
                  </a:lnTo>
                  <a:lnTo>
                    <a:pt x="506" y="102"/>
                  </a:lnTo>
                  <a:lnTo>
                    <a:pt x="506" y="102"/>
                  </a:lnTo>
                  <a:lnTo>
                    <a:pt x="508" y="102"/>
                  </a:lnTo>
                  <a:lnTo>
                    <a:pt x="508" y="102"/>
                  </a:lnTo>
                  <a:lnTo>
                    <a:pt x="513" y="99"/>
                  </a:lnTo>
                  <a:lnTo>
                    <a:pt x="513" y="99"/>
                  </a:lnTo>
                  <a:lnTo>
                    <a:pt x="513" y="99"/>
                  </a:lnTo>
                  <a:lnTo>
                    <a:pt x="513" y="99"/>
                  </a:lnTo>
                  <a:lnTo>
                    <a:pt x="513" y="99"/>
                  </a:lnTo>
                  <a:lnTo>
                    <a:pt x="513" y="95"/>
                  </a:lnTo>
                  <a:lnTo>
                    <a:pt x="515" y="95"/>
                  </a:lnTo>
                  <a:lnTo>
                    <a:pt x="517" y="95"/>
                  </a:lnTo>
                  <a:lnTo>
                    <a:pt x="517" y="92"/>
                  </a:lnTo>
                  <a:lnTo>
                    <a:pt x="520" y="92"/>
                  </a:lnTo>
                  <a:lnTo>
                    <a:pt x="520" y="95"/>
                  </a:lnTo>
                  <a:lnTo>
                    <a:pt x="517" y="95"/>
                  </a:lnTo>
                  <a:lnTo>
                    <a:pt x="517" y="99"/>
                  </a:lnTo>
                  <a:lnTo>
                    <a:pt x="517" y="99"/>
                  </a:lnTo>
                  <a:lnTo>
                    <a:pt x="515" y="99"/>
                  </a:lnTo>
                  <a:lnTo>
                    <a:pt x="515" y="99"/>
                  </a:lnTo>
                  <a:lnTo>
                    <a:pt x="515" y="99"/>
                  </a:lnTo>
                  <a:lnTo>
                    <a:pt x="515" y="102"/>
                  </a:lnTo>
                  <a:lnTo>
                    <a:pt x="515" y="99"/>
                  </a:lnTo>
                  <a:lnTo>
                    <a:pt x="517" y="99"/>
                  </a:lnTo>
                  <a:lnTo>
                    <a:pt x="517" y="99"/>
                  </a:lnTo>
                  <a:lnTo>
                    <a:pt x="517" y="97"/>
                  </a:lnTo>
                  <a:lnTo>
                    <a:pt x="520" y="95"/>
                  </a:lnTo>
                  <a:lnTo>
                    <a:pt x="520" y="95"/>
                  </a:lnTo>
                  <a:lnTo>
                    <a:pt x="520" y="97"/>
                  </a:lnTo>
                  <a:lnTo>
                    <a:pt x="520" y="99"/>
                  </a:lnTo>
                  <a:lnTo>
                    <a:pt x="520" y="97"/>
                  </a:lnTo>
                  <a:lnTo>
                    <a:pt x="520" y="95"/>
                  </a:lnTo>
                  <a:lnTo>
                    <a:pt x="520" y="92"/>
                  </a:lnTo>
                  <a:lnTo>
                    <a:pt x="520" y="92"/>
                  </a:lnTo>
                  <a:lnTo>
                    <a:pt x="520" y="92"/>
                  </a:lnTo>
                  <a:lnTo>
                    <a:pt x="520" y="92"/>
                  </a:lnTo>
                  <a:lnTo>
                    <a:pt x="522" y="92"/>
                  </a:lnTo>
                  <a:lnTo>
                    <a:pt x="520" y="90"/>
                  </a:lnTo>
                  <a:lnTo>
                    <a:pt x="520" y="90"/>
                  </a:lnTo>
                  <a:lnTo>
                    <a:pt x="522" y="90"/>
                  </a:lnTo>
                  <a:lnTo>
                    <a:pt x="524" y="90"/>
                  </a:lnTo>
                  <a:lnTo>
                    <a:pt x="527" y="92"/>
                  </a:lnTo>
                  <a:lnTo>
                    <a:pt x="527" y="92"/>
                  </a:lnTo>
                  <a:lnTo>
                    <a:pt x="524" y="92"/>
                  </a:lnTo>
                  <a:lnTo>
                    <a:pt x="522" y="97"/>
                  </a:lnTo>
                  <a:lnTo>
                    <a:pt x="522" y="99"/>
                  </a:lnTo>
                  <a:lnTo>
                    <a:pt x="522" y="102"/>
                  </a:lnTo>
                  <a:lnTo>
                    <a:pt x="522" y="104"/>
                  </a:lnTo>
                  <a:lnTo>
                    <a:pt x="524" y="102"/>
                  </a:lnTo>
                  <a:lnTo>
                    <a:pt x="524" y="102"/>
                  </a:lnTo>
                  <a:lnTo>
                    <a:pt x="524" y="102"/>
                  </a:lnTo>
                  <a:lnTo>
                    <a:pt x="524" y="99"/>
                  </a:lnTo>
                  <a:lnTo>
                    <a:pt x="524" y="99"/>
                  </a:lnTo>
                  <a:lnTo>
                    <a:pt x="527" y="95"/>
                  </a:lnTo>
                  <a:lnTo>
                    <a:pt x="529" y="97"/>
                  </a:lnTo>
                  <a:lnTo>
                    <a:pt x="529" y="97"/>
                  </a:lnTo>
                  <a:lnTo>
                    <a:pt x="524" y="99"/>
                  </a:lnTo>
                  <a:lnTo>
                    <a:pt x="527" y="102"/>
                  </a:lnTo>
                  <a:lnTo>
                    <a:pt x="524" y="102"/>
                  </a:lnTo>
                  <a:lnTo>
                    <a:pt x="524" y="102"/>
                  </a:lnTo>
                  <a:lnTo>
                    <a:pt x="527" y="104"/>
                  </a:lnTo>
                  <a:lnTo>
                    <a:pt x="527" y="104"/>
                  </a:lnTo>
                  <a:lnTo>
                    <a:pt x="527" y="106"/>
                  </a:lnTo>
                  <a:lnTo>
                    <a:pt x="527" y="109"/>
                  </a:lnTo>
                  <a:lnTo>
                    <a:pt x="529" y="106"/>
                  </a:lnTo>
                  <a:lnTo>
                    <a:pt x="532" y="104"/>
                  </a:lnTo>
                  <a:lnTo>
                    <a:pt x="532" y="104"/>
                  </a:lnTo>
                  <a:lnTo>
                    <a:pt x="534" y="102"/>
                  </a:lnTo>
                  <a:lnTo>
                    <a:pt x="534" y="104"/>
                  </a:lnTo>
                  <a:lnTo>
                    <a:pt x="534" y="106"/>
                  </a:lnTo>
                  <a:lnTo>
                    <a:pt x="532" y="109"/>
                  </a:lnTo>
                  <a:lnTo>
                    <a:pt x="529" y="111"/>
                  </a:lnTo>
                  <a:lnTo>
                    <a:pt x="529" y="111"/>
                  </a:lnTo>
                  <a:lnTo>
                    <a:pt x="527" y="111"/>
                  </a:lnTo>
                  <a:lnTo>
                    <a:pt x="527" y="111"/>
                  </a:lnTo>
                  <a:lnTo>
                    <a:pt x="524" y="114"/>
                  </a:lnTo>
                  <a:lnTo>
                    <a:pt x="527" y="111"/>
                  </a:lnTo>
                  <a:lnTo>
                    <a:pt x="527" y="114"/>
                  </a:lnTo>
                  <a:lnTo>
                    <a:pt x="527" y="111"/>
                  </a:lnTo>
                  <a:lnTo>
                    <a:pt x="529" y="111"/>
                  </a:lnTo>
                  <a:lnTo>
                    <a:pt x="529" y="111"/>
                  </a:lnTo>
                  <a:lnTo>
                    <a:pt x="529" y="114"/>
                  </a:lnTo>
                  <a:lnTo>
                    <a:pt x="529" y="114"/>
                  </a:lnTo>
                  <a:lnTo>
                    <a:pt x="529" y="114"/>
                  </a:lnTo>
                  <a:lnTo>
                    <a:pt x="532" y="116"/>
                  </a:lnTo>
                  <a:lnTo>
                    <a:pt x="532" y="114"/>
                  </a:lnTo>
                  <a:lnTo>
                    <a:pt x="529" y="114"/>
                  </a:lnTo>
                  <a:lnTo>
                    <a:pt x="534" y="111"/>
                  </a:lnTo>
                  <a:lnTo>
                    <a:pt x="534" y="114"/>
                  </a:lnTo>
                  <a:lnTo>
                    <a:pt x="534" y="111"/>
                  </a:lnTo>
                  <a:lnTo>
                    <a:pt x="534" y="114"/>
                  </a:lnTo>
                  <a:lnTo>
                    <a:pt x="534" y="114"/>
                  </a:lnTo>
                  <a:lnTo>
                    <a:pt x="534" y="114"/>
                  </a:lnTo>
                  <a:lnTo>
                    <a:pt x="534" y="111"/>
                  </a:lnTo>
                  <a:lnTo>
                    <a:pt x="536" y="111"/>
                  </a:lnTo>
                  <a:lnTo>
                    <a:pt x="536" y="111"/>
                  </a:lnTo>
                  <a:lnTo>
                    <a:pt x="539" y="116"/>
                  </a:lnTo>
                  <a:lnTo>
                    <a:pt x="539" y="118"/>
                  </a:lnTo>
                  <a:lnTo>
                    <a:pt x="541" y="118"/>
                  </a:lnTo>
                  <a:lnTo>
                    <a:pt x="541" y="121"/>
                  </a:lnTo>
                  <a:lnTo>
                    <a:pt x="539" y="121"/>
                  </a:lnTo>
                  <a:lnTo>
                    <a:pt x="539" y="118"/>
                  </a:lnTo>
                  <a:lnTo>
                    <a:pt x="539" y="121"/>
                  </a:lnTo>
                  <a:lnTo>
                    <a:pt x="536" y="118"/>
                  </a:lnTo>
                  <a:lnTo>
                    <a:pt x="536" y="121"/>
                  </a:lnTo>
                  <a:lnTo>
                    <a:pt x="536" y="121"/>
                  </a:lnTo>
                  <a:lnTo>
                    <a:pt x="536" y="121"/>
                  </a:lnTo>
                  <a:lnTo>
                    <a:pt x="539" y="121"/>
                  </a:lnTo>
                  <a:lnTo>
                    <a:pt x="541" y="123"/>
                  </a:lnTo>
                  <a:lnTo>
                    <a:pt x="539" y="123"/>
                  </a:lnTo>
                  <a:lnTo>
                    <a:pt x="541" y="123"/>
                  </a:lnTo>
                  <a:lnTo>
                    <a:pt x="541" y="123"/>
                  </a:lnTo>
                  <a:lnTo>
                    <a:pt x="541" y="125"/>
                  </a:lnTo>
                  <a:lnTo>
                    <a:pt x="539" y="128"/>
                  </a:lnTo>
                  <a:lnTo>
                    <a:pt x="541" y="128"/>
                  </a:lnTo>
                  <a:lnTo>
                    <a:pt x="541" y="128"/>
                  </a:lnTo>
                  <a:lnTo>
                    <a:pt x="543" y="128"/>
                  </a:lnTo>
                  <a:lnTo>
                    <a:pt x="543" y="128"/>
                  </a:lnTo>
                  <a:lnTo>
                    <a:pt x="541" y="130"/>
                  </a:lnTo>
                  <a:lnTo>
                    <a:pt x="539" y="132"/>
                  </a:lnTo>
                  <a:lnTo>
                    <a:pt x="539" y="132"/>
                  </a:lnTo>
                  <a:lnTo>
                    <a:pt x="539" y="140"/>
                  </a:lnTo>
                  <a:lnTo>
                    <a:pt x="539" y="144"/>
                  </a:lnTo>
                  <a:lnTo>
                    <a:pt x="541" y="142"/>
                  </a:lnTo>
                  <a:lnTo>
                    <a:pt x="543" y="144"/>
                  </a:lnTo>
                  <a:lnTo>
                    <a:pt x="543" y="144"/>
                  </a:lnTo>
                  <a:lnTo>
                    <a:pt x="548" y="147"/>
                  </a:lnTo>
                  <a:lnTo>
                    <a:pt x="548" y="149"/>
                  </a:lnTo>
                  <a:lnTo>
                    <a:pt x="548" y="149"/>
                  </a:lnTo>
                  <a:lnTo>
                    <a:pt x="546" y="151"/>
                  </a:lnTo>
                  <a:lnTo>
                    <a:pt x="548" y="149"/>
                  </a:lnTo>
                  <a:lnTo>
                    <a:pt x="548" y="149"/>
                  </a:lnTo>
                  <a:lnTo>
                    <a:pt x="548" y="149"/>
                  </a:lnTo>
                  <a:lnTo>
                    <a:pt x="550" y="151"/>
                  </a:lnTo>
                  <a:lnTo>
                    <a:pt x="553" y="154"/>
                  </a:lnTo>
                  <a:lnTo>
                    <a:pt x="550" y="154"/>
                  </a:lnTo>
                  <a:lnTo>
                    <a:pt x="550" y="156"/>
                  </a:lnTo>
                  <a:lnTo>
                    <a:pt x="550" y="156"/>
                  </a:lnTo>
                  <a:lnTo>
                    <a:pt x="550" y="154"/>
                  </a:lnTo>
                  <a:lnTo>
                    <a:pt x="550" y="156"/>
                  </a:lnTo>
                  <a:lnTo>
                    <a:pt x="550" y="156"/>
                  </a:lnTo>
                  <a:lnTo>
                    <a:pt x="550" y="156"/>
                  </a:lnTo>
                  <a:lnTo>
                    <a:pt x="550" y="154"/>
                  </a:lnTo>
                  <a:lnTo>
                    <a:pt x="553" y="156"/>
                  </a:lnTo>
                  <a:lnTo>
                    <a:pt x="553" y="158"/>
                  </a:lnTo>
                  <a:lnTo>
                    <a:pt x="553" y="163"/>
                  </a:lnTo>
                  <a:lnTo>
                    <a:pt x="553" y="161"/>
                  </a:lnTo>
                  <a:lnTo>
                    <a:pt x="553" y="163"/>
                  </a:lnTo>
                  <a:lnTo>
                    <a:pt x="553" y="163"/>
                  </a:lnTo>
                  <a:lnTo>
                    <a:pt x="555" y="163"/>
                  </a:lnTo>
                  <a:lnTo>
                    <a:pt x="557" y="168"/>
                  </a:lnTo>
                  <a:lnTo>
                    <a:pt x="557" y="168"/>
                  </a:lnTo>
                  <a:lnTo>
                    <a:pt x="557" y="170"/>
                  </a:lnTo>
                  <a:lnTo>
                    <a:pt x="557" y="170"/>
                  </a:lnTo>
                  <a:lnTo>
                    <a:pt x="555" y="173"/>
                  </a:lnTo>
                  <a:lnTo>
                    <a:pt x="555" y="173"/>
                  </a:lnTo>
                  <a:lnTo>
                    <a:pt x="553" y="173"/>
                  </a:lnTo>
                  <a:lnTo>
                    <a:pt x="550" y="173"/>
                  </a:lnTo>
                  <a:lnTo>
                    <a:pt x="553" y="173"/>
                  </a:lnTo>
                  <a:lnTo>
                    <a:pt x="555" y="175"/>
                  </a:lnTo>
                  <a:lnTo>
                    <a:pt x="555" y="175"/>
                  </a:lnTo>
                  <a:lnTo>
                    <a:pt x="555" y="177"/>
                  </a:lnTo>
                  <a:lnTo>
                    <a:pt x="553" y="180"/>
                  </a:lnTo>
                  <a:lnTo>
                    <a:pt x="550" y="180"/>
                  </a:lnTo>
                  <a:lnTo>
                    <a:pt x="550" y="180"/>
                  </a:lnTo>
                  <a:lnTo>
                    <a:pt x="550" y="180"/>
                  </a:lnTo>
                  <a:lnTo>
                    <a:pt x="550" y="180"/>
                  </a:lnTo>
                  <a:lnTo>
                    <a:pt x="555" y="184"/>
                  </a:lnTo>
                  <a:lnTo>
                    <a:pt x="555" y="184"/>
                  </a:lnTo>
                  <a:lnTo>
                    <a:pt x="560" y="192"/>
                  </a:lnTo>
                  <a:lnTo>
                    <a:pt x="562" y="192"/>
                  </a:lnTo>
                  <a:lnTo>
                    <a:pt x="562" y="189"/>
                  </a:lnTo>
                  <a:lnTo>
                    <a:pt x="565" y="189"/>
                  </a:lnTo>
                  <a:lnTo>
                    <a:pt x="569" y="189"/>
                  </a:lnTo>
                  <a:lnTo>
                    <a:pt x="569" y="189"/>
                  </a:lnTo>
                  <a:lnTo>
                    <a:pt x="574" y="187"/>
                  </a:lnTo>
                  <a:lnTo>
                    <a:pt x="574" y="187"/>
                  </a:lnTo>
                  <a:lnTo>
                    <a:pt x="579" y="187"/>
                  </a:lnTo>
                  <a:lnTo>
                    <a:pt x="579" y="184"/>
                  </a:lnTo>
                  <a:lnTo>
                    <a:pt x="581" y="184"/>
                  </a:lnTo>
                  <a:lnTo>
                    <a:pt x="583" y="184"/>
                  </a:lnTo>
                  <a:lnTo>
                    <a:pt x="586" y="182"/>
                  </a:lnTo>
                  <a:lnTo>
                    <a:pt x="583" y="182"/>
                  </a:lnTo>
                  <a:lnTo>
                    <a:pt x="586" y="182"/>
                  </a:lnTo>
                  <a:lnTo>
                    <a:pt x="586" y="182"/>
                  </a:lnTo>
                  <a:lnTo>
                    <a:pt x="588" y="180"/>
                  </a:lnTo>
                  <a:lnTo>
                    <a:pt x="588" y="182"/>
                  </a:lnTo>
                  <a:lnTo>
                    <a:pt x="588" y="180"/>
                  </a:lnTo>
                  <a:lnTo>
                    <a:pt x="588" y="180"/>
                  </a:lnTo>
                  <a:lnTo>
                    <a:pt x="591" y="180"/>
                  </a:lnTo>
                  <a:lnTo>
                    <a:pt x="591" y="180"/>
                  </a:lnTo>
                  <a:lnTo>
                    <a:pt x="591" y="180"/>
                  </a:lnTo>
                  <a:lnTo>
                    <a:pt x="591" y="180"/>
                  </a:lnTo>
                  <a:lnTo>
                    <a:pt x="591" y="182"/>
                  </a:lnTo>
                  <a:lnTo>
                    <a:pt x="591" y="180"/>
                  </a:lnTo>
                  <a:lnTo>
                    <a:pt x="591" y="182"/>
                  </a:lnTo>
                  <a:lnTo>
                    <a:pt x="593" y="180"/>
                  </a:lnTo>
                  <a:lnTo>
                    <a:pt x="591" y="180"/>
                  </a:lnTo>
                  <a:lnTo>
                    <a:pt x="591" y="180"/>
                  </a:lnTo>
                  <a:lnTo>
                    <a:pt x="591" y="177"/>
                  </a:lnTo>
                  <a:lnTo>
                    <a:pt x="593" y="177"/>
                  </a:lnTo>
                  <a:lnTo>
                    <a:pt x="598" y="180"/>
                  </a:lnTo>
                  <a:lnTo>
                    <a:pt x="598" y="177"/>
                  </a:lnTo>
                  <a:lnTo>
                    <a:pt x="600" y="177"/>
                  </a:lnTo>
                  <a:lnTo>
                    <a:pt x="600" y="177"/>
                  </a:lnTo>
                  <a:lnTo>
                    <a:pt x="598" y="180"/>
                  </a:lnTo>
                  <a:lnTo>
                    <a:pt x="600" y="184"/>
                  </a:lnTo>
                  <a:lnTo>
                    <a:pt x="600" y="184"/>
                  </a:lnTo>
                  <a:lnTo>
                    <a:pt x="598" y="184"/>
                  </a:lnTo>
                  <a:lnTo>
                    <a:pt x="598" y="184"/>
                  </a:lnTo>
                  <a:lnTo>
                    <a:pt x="598" y="184"/>
                  </a:lnTo>
                  <a:lnTo>
                    <a:pt x="598" y="184"/>
                  </a:lnTo>
                  <a:lnTo>
                    <a:pt x="595" y="182"/>
                  </a:lnTo>
                  <a:lnTo>
                    <a:pt x="595" y="182"/>
                  </a:lnTo>
                  <a:lnTo>
                    <a:pt x="595" y="182"/>
                  </a:lnTo>
                  <a:lnTo>
                    <a:pt x="595" y="184"/>
                  </a:lnTo>
                  <a:lnTo>
                    <a:pt x="595" y="184"/>
                  </a:lnTo>
                  <a:lnTo>
                    <a:pt x="595" y="182"/>
                  </a:lnTo>
                  <a:lnTo>
                    <a:pt x="593" y="184"/>
                  </a:lnTo>
                  <a:lnTo>
                    <a:pt x="593" y="182"/>
                  </a:lnTo>
                  <a:lnTo>
                    <a:pt x="593" y="184"/>
                  </a:lnTo>
                  <a:lnTo>
                    <a:pt x="595" y="184"/>
                  </a:lnTo>
                  <a:lnTo>
                    <a:pt x="593" y="184"/>
                  </a:lnTo>
                  <a:lnTo>
                    <a:pt x="591" y="184"/>
                  </a:lnTo>
                  <a:lnTo>
                    <a:pt x="588" y="187"/>
                  </a:lnTo>
                  <a:lnTo>
                    <a:pt x="588" y="187"/>
                  </a:lnTo>
                  <a:lnTo>
                    <a:pt x="588" y="187"/>
                  </a:lnTo>
                  <a:lnTo>
                    <a:pt x="591" y="187"/>
                  </a:lnTo>
                  <a:lnTo>
                    <a:pt x="591" y="184"/>
                  </a:lnTo>
                  <a:lnTo>
                    <a:pt x="591" y="187"/>
                  </a:lnTo>
                  <a:lnTo>
                    <a:pt x="595" y="187"/>
                  </a:lnTo>
                  <a:lnTo>
                    <a:pt x="593" y="187"/>
                  </a:lnTo>
                  <a:lnTo>
                    <a:pt x="593" y="187"/>
                  </a:lnTo>
                  <a:lnTo>
                    <a:pt x="595" y="189"/>
                  </a:lnTo>
                  <a:lnTo>
                    <a:pt x="595" y="187"/>
                  </a:lnTo>
                  <a:lnTo>
                    <a:pt x="598" y="187"/>
                  </a:lnTo>
                  <a:lnTo>
                    <a:pt x="605" y="187"/>
                  </a:lnTo>
                  <a:lnTo>
                    <a:pt x="607" y="189"/>
                  </a:lnTo>
                  <a:lnTo>
                    <a:pt x="605" y="196"/>
                  </a:lnTo>
                  <a:lnTo>
                    <a:pt x="602" y="201"/>
                  </a:lnTo>
                  <a:lnTo>
                    <a:pt x="605" y="201"/>
                  </a:lnTo>
                  <a:lnTo>
                    <a:pt x="607" y="196"/>
                  </a:lnTo>
                  <a:lnTo>
                    <a:pt x="612" y="192"/>
                  </a:lnTo>
                  <a:lnTo>
                    <a:pt x="614" y="187"/>
                  </a:lnTo>
                  <a:lnTo>
                    <a:pt x="617" y="182"/>
                  </a:lnTo>
                  <a:lnTo>
                    <a:pt x="619" y="177"/>
                  </a:lnTo>
                  <a:lnTo>
                    <a:pt x="621" y="177"/>
                  </a:lnTo>
                  <a:lnTo>
                    <a:pt x="624" y="173"/>
                  </a:lnTo>
                  <a:lnTo>
                    <a:pt x="628" y="170"/>
                  </a:lnTo>
                  <a:lnTo>
                    <a:pt x="631" y="170"/>
                  </a:lnTo>
                  <a:lnTo>
                    <a:pt x="631" y="173"/>
                  </a:lnTo>
                  <a:lnTo>
                    <a:pt x="631" y="173"/>
                  </a:lnTo>
                  <a:lnTo>
                    <a:pt x="631" y="173"/>
                  </a:lnTo>
                  <a:lnTo>
                    <a:pt x="633" y="173"/>
                  </a:lnTo>
                  <a:lnTo>
                    <a:pt x="633" y="175"/>
                  </a:lnTo>
                  <a:lnTo>
                    <a:pt x="633" y="173"/>
                  </a:lnTo>
                  <a:lnTo>
                    <a:pt x="635" y="163"/>
                  </a:lnTo>
                  <a:lnTo>
                    <a:pt x="638" y="163"/>
                  </a:lnTo>
                  <a:lnTo>
                    <a:pt x="645" y="158"/>
                  </a:lnTo>
                  <a:lnTo>
                    <a:pt x="650" y="156"/>
                  </a:lnTo>
                  <a:lnTo>
                    <a:pt x="652" y="154"/>
                  </a:lnTo>
                  <a:lnTo>
                    <a:pt x="654" y="156"/>
                  </a:lnTo>
                  <a:lnTo>
                    <a:pt x="657" y="158"/>
                  </a:lnTo>
                  <a:lnTo>
                    <a:pt x="664" y="170"/>
                  </a:lnTo>
                  <a:lnTo>
                    <a:pt x="664" y="173"/>
                  </a:lnTo>
                  <a:lnTo>
                    <a:pt x="666" y="175"/>
                  </a:lnTo>
                  <a:lnTo>
                    <a:pt x="669" y="173"/>
                  </a:lnTo>
                  <a:lnTo>
                    <a:pt x="671" y="170"/>
                  </a:lnTo>
                  <a:lnTo>
                    <a:pt x="673" y="168"/>
                  </a:lnTo>
                  <a:lnTo>
                    <a:pt x="678" y="168"/>
                  </a:lnTo>
                  <a:lnTo>
                    <a:pt x="680" y="168"/>
                  </a:lnTo>
                  <a:lnTo>
                    <a:pt x="680" y="168"/>
                  </a:lnTo>
                  <a:lnTo>
                    <a:pt x="680" y="168"/>
                  </a:lnTo>
                  <a:lnTo>
                    <a:pt x="683" y="168"/>
                  </a:lnTo>
                  <a:lnTo>
                    <a:pt x="685" y="170"/>
                  </a:lnTo>
                  <a:lnTo>
                    <a:pt x="687" y="170"/>
                  </a:lnTo>
                  <a:lnTo>
                    <a:pt x="690" y="170"/>
                  </a:lnTo>
                  <a:lnTo>
                    <a:pt x="706" y="175"/>
                  </a:lnTo>
                  <a:lnTo>
                    <a:pt x="709" y="175"/>
                  </a:lnTo>
                  <a:lnTo>
                    <a:pt x="716" y="180"/>
                  </a:lnTo>
                  <a:lnTo>
                    <a:pt x="728" y="184"/>
                  </a:lnTo>
                  <a:lnTo>
                    <a:pt x="730" y="187"/>
                  </a:lnTo>
                  <a:lnTo>
                    <a:pt x="735" y="189"/>
                  </a:lnTo>
                  <a:lnTo>
                    <a:pt x="749" y="196"/>
                  </a:lnTo>
                  <a:lnTo>
                    <a:pt x="756" y="199"/>
                  </a:lnTo>
                  <a:lnTo>
                    <a:pt x="761" y="199"/>
                  </a:lnTo>
                  <a:lnTo>
                    <a:pt x="758" y="201"/>
                  </a:lnTo>
                  <a:lnTo>
                    <a:pt x="758" y="201"/>
                  </a:lnTo>
                  <a:lnTo>
                    <a:pt x="761" y="201"/>
                  </a:lnTo>
                  <a:lnTo>
                    <a:pt x="761" y="199"/>
                  </a:lnTo>
                  <a:lnTo>
                    <a:pt x="761" y="196"/>
                  </a:lnTo>
                  <a:lnTo>
                    <a:pt x="761" y="199"/>
                  </a:lnTo>
                  <a:lnTo>
                    <a:pt x="761" y="196"/>
                  </a:lnTo>
                  <a:lnTo>
                    <a:pt x="761" y="196"/>
                  </a:lnTo>
                  <a:lnTo>
                    <a:pt x="763" y="201"/>
                  </a:lnTo>
                  <a:lnTo>
                    <a:pt x="763" y="201"/>
                  </a:lnTo>
                  <a:lnTo>
                    <a:pt x="763" y="201"/>
                  </a:lnTo>
                  <a:lnTo>
                    <a:pt x="763" y="203"/>
                  </a:lnTo>
                  <a:lnTo>
                    <a:pt x="768" y="203"/>
                  </a:lnTo>
                  <a:lnTo>
                    <a:pt x="768" y="206"/>
                  </a:lnTo>
                  <a:lnTo>
                    <a:pt x="768" y="206"/>
                  </a:lnTo>
                  <a:lnTo>
                    <a:pt x="765" y="210"/>
                  </a:lnTo>
                  <a:lnTo>
                    <a:pt x="768" y="210"/>
                  </a:lnTo>
                  <a:lnTo>
                    <a:pt x="768" y="210"/>
                  </a:lnTo>
                  <a:lnTo>
                    <a:pt x="770" y="206"/>
                  </a:lnTo>
                  <a:lnTo>
                    <a:pt x="768" y="203"/>
                  </a:lnTo>
                  <a:lnTo>
                    <a:pt x="765" y="201"/>
                  </a:lnTo>
                  <a:lnTo>
                    <a:pt x="765" y="201"/>
                  </a:lnTo>
                  <a:lnTo>
                    <a:pt x="763" y="201"/>
                  </a:lnTo>
                  <a:lnTo>
                    <a:pt x="763" y="201"/>
                  </a:lnTo>
                  <a:lnTo>
                    <a:pt x="765" y="201"/>
                  </a:lnTo>
                  <a:lnTo>
                    <a:pt x="765" y="199"/>
                  </a:lnTo>
                  <a:lnTo>
                    <a:pt x="765" y="199"/>
                  </a:lnTo>
                  <a:lnTo>
                    <a:pt x="763" y="199"/>
                  </a:lnTo>
                  <a:lnTo>
                    <a:pt x="763" y="199"/>
                  </a:lnTo>
                  <a:lnTo>
                    <a:pt x="761" y="199"/>
                  </a:lnTo>
                  <a:lnTo>
                    <a:pt x="763" y="196"/>
                  </a:lnTo>
                  <a:lnTo>
                    <a:pt x="763" y="196"/>
                  </a:lnTo>
                  <a:lnTo>
                    <a:pt x="765" y="199"/>
                  </a:lnTo>
                  <a:lnTo>
                    <a:pt x="775" y="208"/>
                  </a:lnTo>
                  <a:lnTo>
                    <a:pt x="780" y="213"/>
                  </a:lnTo>
                  <a:lnTo>
                    <a:pt x="784" y="215"/>
                  </a:lnTo>
                  <a:lnTo>
                    <a:pt x="787" y="215"/>
                  </a:lnTo>
                  <a:lnTo>
                    <a:pt x="787" y="215"/>
                  </a:lnTo>
                  <a:lnTo>
                    <a:pt x="791" y="215"/>
                  </a:lnTo>
                  <a:lnTo>
                    <a:pt x="794" y="218"/>
                  </a:lnTo>
                  <a:lnTo>
                    <a:pt x="796" y="220"/>
                  </a:lnTo>
                  <a:lnTo>
                    <a:pt x="794" y="215"/>
                  </a:lnTo>
                  <a:lnTo>
                    <a:pt x="796" y="215"/>
                  </a:lnTo>
                  <a:lnTo>
                    <a:pt x="801" y="218"/>
                  </a:lnTo>
                  <a:lnTo>
                    <a:pt x="808" y="220"/>
                  </a:lnTo>
                  <a:lnTo>
                    <a:pt x="815" y="215"/>
                  </a:lnTo>
                  <a:lnTo>
                    <a:pt x="815" y="215"/>
                  </a:lnTo>
                  <a:lnTo>
                    <a:pt x="815" y="215"/>
                  </a:lnTo>
                  <a:lnTo>
                    <a:pt x="817" y="215"/>
                  </a:lnTo>
                  <a:lnTo>
                    <a:pt x="820" y="215"/>
                  </a:lnTo>
                  <a:lnTo>
                    <a:pt x="822" y="215"/>
                  </a:lnTo>
                  <a:lnTo>
                    <a:pt x="827" y="213"/>
                  </a:lnTo>
                  <a:lnTo>
                    <a:pt x="827" y="213"/>
                  </a:lnTo>
                  <a:lnTo>
                    <a:pt x="827" y="213"/>
                  </a:lnTo>
                  <a:lnTo>
                    <a:pt x="827" y="215"/>
                  </a:lnTo>
                  <a:lnTo>
                    <a:pt x="829" y="218"/>
                  </a:lnTo>
                  <a:lnTo>
                    <a:pt x="829" y="215"/>
                  </a:lnTo>
                  <a:lnTo>
                    <a:pt x="827" y="215"/>
                  </a:lnTo>
                  <a:lnTo>
                    <a:pt x="829" y="215"/>
                  </a:lnTo>
                  <a:lnTo>
                    <a:pt x="836" y="215"/>
                  </a:lnTo>
                  <a:lnTo>
                    <a:pt x="841" y="215"/>
                  </a:lnTo>
                  <a:lnTo>
                    <a:pt x="846" y="215"/>
                  </a:lnTo>
                  <a:lnTo>
                    <a:pt x="848" y="215"/>
                  </a:lnTo>
                  <a:lnTo>
                    <a:pt x="848" y="215"/>
                  </a:lnTo>
                  <a:lnTo>
                    <a:pt x="848" y="215"/>
                  </a:lnTo>
                  <a:lnTo>
                    <a:pt x="848" y="215"/>
                  </a:lnTo>
                  <a:lnTo>
                    <a:pt x="848" y="218"/>
                  </a:lnTo>
                  <a:lnTo>
                    <a:pt x="853" y="222"/>
                  </a:lnTo>
                  <a:lnTo>
                    <a:pt x="853" y="225"/>
                  </a:lnTo>
                  <a:lnTo>
                    <a:pt x="853" y="222"/>
                  </a:lnTo>
                  <a:lnTo>
                    <a:pt x="855" y="222"/>
                  </a:lnTo>
                  <a:lnTo>
                    <a:pt x="853" y="220"/>
                  </a:lnTo>
                  <a:lnTo>
                    <a:pt x="855" y="220"/>
                  </a:lnTo>
                  <a:lnTo>
                    <a:pt x="857" y="220"/>
                  </a:lnTo>
                  <a:lnTo>
                    <a:pt x="860" y="220"/>
                  </a:lnTo>
                  <a:lnTo>
                    <a:pt x="862" y="220"/>
                  </a:lnTo>
                  <a:lnTo>
                    <a:pt x="867" y="220"/>
                  </a:lnTo>
                  <a:lnTo>
                    <a:pt x="867" y="220"/>
                  </a:lnTo>
                  <a:lnTo>
                    <a:pt x="869" y="220"/>
                  </a:lnTo>
                  <a:lnTo>
                    <a:pt x="874" y="220"/>
                  </a:lnTo>
                  <a:lnTo>
                    <a:pt x="879" y="220"/>
                  </a:lnTo>
                  <a:lnTo>
                    <a:pt x="879" y="220"/>
                  </a:lnTo>
                  <a:lnTo>
                    <a:pt x="879" y="220"/>
                  </a:lnTo>
                  <a:lnTo>
                    <a:pt x="879" y="222"/>
                  </a:lnTo>
                  <a:lnTo>
                    <a:pt x="879" y="225"/>
                  </a:lnTo>
                  <a:lnTo>
                    <a:pt x="874" y="227"/>
                  </a:lnTo>
                  <a:lnTo>
                    <a:pt x="874" y="232"/>
                  </a:lnTo>
                  <a:lnTo>
                    <a:pt x="876" y="232"/>
                  </a:lnTo>
                  <a:lnTo>
                    <a:pt x="876" y="234"/>
                  </a:lnTo>
                  <a:lnTo>
                    <a:pt x="874" y="234"/>
                  </a:lnTo>
                  <a:lnTo>
                    <a:pt x="874" y="236"/>
                  </a:lnTo>
                  <a:lnTo>
                    <a:pt x="872" y="241"/>
                  </a:lnTo>
                  <a:lnTo>
                    <a:pt x="874" y="241"/>
                  </a:lnTo>
                  <a:lnTo>
                    <a:pt x="876" y="246"/>
                  </a:lnTo>
                  <a:lnTo>
                    <a:pt x="876" y="246"/>
                  </a:lnTo>
                  <a:lnTo>
                    <a:pt x="881" y="248"/>
                  </a:lnTo>
                  <a:lnTo>
                    <a:pt x="881" y="248"/>
                  </a:lnTo>
                  <a:lnTo>
                    <a:pt x="881" y="251"/>
                  </a:lnTo>
                  <a:lnTo>
                    <a:pt x="879" y="255"/>
                  </a:lnTo>
                  <a:lnTo>
                    <a:pt x="879" y="255"/>
                  </a:lnTo>
                  <a:lnTo>
                    <a:pt x="879" y="260"/>
                  </a:lnTo>
                  <a:lnTo>
                    <a:pt x="876" y="260"/>
                  </a:lnTo>
                  <a:lnTo>
                    <a:pt x="874" y="262"/>
                  </a:lnTo>
                  <a:lnTo>
                    <a:pt x="872" y="265"/>
                  </a:lnTo>
                  <a:lnTo>
                    <a:pt x="869" y="267"/>
                  </a:lnTo>
                  <a:lnTo>
                    <a:pt x="869" y="269"/>
                  </a:lnTo>
                  <a:lnTo>
                    <a:pt x="867" y="269"/>
                  </a:lnTo>
                  <a:lnTo>
                    <a:pt x="865" y="269"/>
                  </a:lnTo>
                  <a:lnTo>
                    <a:pt x="865" y="272"/>
                  </a:lnTo>
                  <a:lnTo>
                    <a:pt x="865" y="274"/>
                  </a:lnTo>
                  <a:lnTo>
                    <a:pt x="865" y="277"/>
                  </a:lnTo>
                  <a:lnTo>
                    <a:pt x="865" y="277"/>
                  </a:lnTo>
                  <a:lnTo>
                    <a:pt x="865" y="281"/>
                  </a:lnTo>
                  <a:lnTo>
                    <a:pt x="862" y="281"/>
                  </a:lnTo>
                  <a:lnTo>
                    <a:pt x="862" y="279"/>
                  </a:lnTo>
                  <a:lnTo>
                    <a:pt x="860" y="279"/>
                  </a:lnTo>
                  <a:lnTo>
                    <a:pt x="860" y="281"/>
                  </a:lnTo>
                  <a:lnTo>
                    <a:pt x="857" y="284"/>
                  </a:lnTo>
                  <a:lnTo>
                    <a:pt x="857" y="286"/>
                  </a:lnTo>
                  <a:lnTo>
                    <a:pt x="857" y="286"/>
                  </a:lnTo>
                  <a:lnTo>
                    <a:pt x="855" y="288"/>
                  </a:lnTo>
                  <a:lnTo>
                    <a:pt x="855" y="288"/>
                  </a:lnTo>
                  <a:lnTo>
                    <a:pt x="853" y="288"/>
                  </a:lnTo>
                  <a:lnTo>
                    <a:pt x="848" y="288"/>
                  </a:lnTo>
                  <a:lnTo>
                    <a:pt x="846" y="291"/>
                  </a:lnTo>
                  <a:lnTo>
                    <a:pt x="841" y="291"/>
                  </a:lnTo>
                  <a:lnTo>
                    <a:pt x="839" y="293"/>
                  </a:lnTo>
                  <a:lnTo>
                    <a:pt x="839" y="293"/>
                  </a:lnTo>
                  <a:lnTo>
                    <a:pt x="839" y="295"/>
                  </a:lnTo>
                  <a:lnTo>
                    <a:pt x="843" y="295"/>
                  </a:lnTo>
                  <a:lnTo>
                    <a:pt x="843" y="295"/>
                  </a:lnTo>
                  <a:lnTo>
                    <a:pt x="843" y="295"/>
                  </a:lnTo>
                  <a:lnTo>
                    <a:pt x="843" y="295"/>
                  </a:lnTo>
                  <a:lnTo>
                    <a:pt x="843" y="298"/>
                  </a:lnTo>
                  <a:lnTo>
                    <a:pt x="841" y="298"/>
                  </a:lnTo>
                  <a:lnTo>
                    <a:pt x="841" y="298"/>
                  </a:lnTo>
                  <a:lnTo>
                    <a:pt x="839" y="300"/>
                  </a:lnTo>
                  <a:lnTo>
                    <a:pt x="839" y="303"/>
                  </a:lnTo>
                  <a:lnTo>
                    <a:pt x="839" y="303"/>
                  </a:lnTo>
                  <a:lnTo>
                    <a:pt x="839" y="303"/>
                  </a:lnTo>
                  <a:lnTo>
                    <a:pt x="836" y="307"/>
                  </a:lnTo>
                  <a:lnTo>
                    <a:pt x="832" y="307"/>
                  </a:lnTo>
                  <a:lnTo>
                    <a:pt x="832" y="307"/>
                  </a:lnTo>
                  <a:lnTo>
                    <a:pt x="829" y="310"/>
                  </a:lnTo>
                  <a:lnTo>
                    <a:pt x="832" y="312"/>
                  </a:lnTo>
                  <a:lnTo>
                    <a:pt x="829" y="314"/>
                  </a:lnTo>
                  <a:lnTo>
                    <a:pt x="829" y="312"/>
                  </a:lnTo>
                  <a:lnTo>
                    <a:pt x="829" y="314"/>
                  </a:lnTo>
                  <a:lnTo>
                    <a:pt x="824" y="312"/>
                  </a:lnTo>
                  <a:lnTo>
                    <a:pt x="820" y="314"/>
                  </a:lnTo>
                  <a:lnTo>
                    <a:pt x="820" y="314"/>
                  </a:lnTo>
                  <a:lnTo>
                    <a:pt x="817" y="314"/>
                  </a:lnTo>
                  <a:lnTo>
                    <a:pt x="815" y="314"/>
                  </a:lnTo>
                  <a:lnTo>
                    <a:pt x="815" y="312"/>
                  </a:lnTo>
                  <a:lnTo>
                    <a:pt x="810" y="314"/>
                  </a:lnTo>
                  <a:lnTo>
                    <a:pt x="808" y="314"/>
                  </a:lnTo>
                  <a:lnTo>
                    <a:pt x="806" y="314"/>
                  </a:lnTo>
                  <a:lnTo>
                    <a:pt x="806" y="317"/>
                  </a:lnTo>
                  <a:lnTo>
                    <a:pt x="806" y="317"/>
                  </a:lnTo>
                  <a:lnTo>
                    <a:pt x="803" y="319"/>
                  </a:lnTo>
                  <a:lnTo>
                    <a:pt x="803" y="317"/>
                  </a:lnTo>
                  <a:lnTo>
                    <a:pt x="803" y="317"/>
                  </a:lnTo>
                  <a:lnTo>
                    <a:pt x="801" y="317"/>
                  </a:lnTo>
                  <a:lnTo>
                    <a:pt x="801" y="317"/>
                  </a:lnTo>
                  <a:lnTo>
                    <a:pt x="798" y="319"/>
                  </a:lnTo>
                  <a:lnTo>
                    <a:pt x="798" y="319"/>
                  </a:lnTo>
                  <a:lnTo>
                    <a:pt x="796" y="319"/>
                  </a:lnTo>
                  <a:lnTo>
                    <a:pt x="796" y="319"/>
                  </a:lnTo>
                  <a:lnTo>
                    <a:pt x="794" y="317"/>
                  </a:lnTo>
                  <a:lnTo>
                    <a:pt x="794" y="314"/>
                  </a:lnTo>
                  <a:lnTo>
                    <a:pt x="794" y="314"/>
                  </a:lnTo>
                  <a:lnTo>
                    <a:pt x="791" y="314"/>
                  </a:lnTo>
                  <a:lnTo>
                    <a:pt x="791" y="317"/>
                  </a:lnTo>
                  <a:lnTo>
                    <a:pt x="791" y="319"/>
                  </a:lnTo>
                  <a:lnTo>
                    <a:pt x="789" y="321"/>
                  </a:lnTo>
                  <a:lnTo>
                    <a:pt x="789" y="321"/>
                  </a:lnTo>
                  <a:lnTo>
                    <a:pt x="789" y="324"/>
                  </a:lnTo>
                  <a:lnTo>
                    <a:pt x="789" y="324"/>
                  </a:lnTo>
                  <a:lnTo>
                    <a:pt x="789" y="324"/>
                  </a:lnTo>
                  <a:lnTo>
                    <a:pt x="784" y="329"/>
                  </a:lnTo>
                  <a:lnTo>
                    <a:pt x="782" y="331"/>
                  </a:lnTo>
                  <a:lnTo>
                    <a:pt x="782" y="331"/>
                  </a:lnTo>
                  <a:lnTo>
                    <a:pt x="780" y="333"/>
                  </a:lnTo>
                  <a:lnTo>
                    <a:pt x="777" y="336"/>
                  </a:lnTo>
                  <a:lnTo>
                    <a:pt x="777" y="338"/>
                  </a:lnTo>
                  <a:lnTo>
                    <a:pt x="777" y="338"/>
                  </a:lnTo>
                  <a:lnTo>
                    <a:pt x="775" y="338"/>
                  </a:lnTo>
                  <a:lnTo>
                    <a:pt x="772" y="343"/>
                  </a:lnTo>
                  <a:lnTo>
                    <a:pt x="770" y="345"/>
                  </a:lnTo>
                  <a:lnTo>
                    <a:pt x="770" y="347"/>
                  </a:lnTo>
                  <a:lnTo>
                    <a:pt x="770" y="347"/>
                  </a:lnTo>
                  <a:lnTo>
                    <a:pt x="770" y="347"/>
                  </a:lnTo>
                  <a:lnTo>
                    <a:pt x="770" y="352"/>
                  </a:lnTo>
                  <a:lnTo>
                    <a:pt x="770" y="352"/>
                  </a:lnTo>
                  <a:lnTo>
                    <a:pt x="770" y="355"/>
                  </a:lnTo>
                  <a:lnTo>
                    <a:pt x="770" y="357"/>
                  </a:lnTo>
                  <a:lnTo>
                    <a:pt x="770" y="359"/>
                  </a:lnTo>
                  <a:lnTo>
                    <a:pt x="770" y="359"/>
                  </a:lnTo>
                  <a:lnTo>
                    <a:pt x="770" y="362"/>
                  </a:lnTo>
                  <a:lnTo>
                    <a:pt x="770" y="362"/>
                  </a:lnTo>
                  <a:lnTo>
                    <a:pt x="763" y="371"/>
                  </a:lnTo>
                  <a:lnTo>
                    <a:pt x="763" y="371"/>
                  </a:lnTo>
                  <a:lnTo>
                    <a:pt x="763" y="373"/>
                  </a:lnTo>
                  <a:lnTo>
                    <a:pt x="763" y="376"/>
                  </a:lnTo>
                  <a:lnTo>
                    <a:pt x="763" y="378"/>
                  </a:lnTo>
                  <a:lnTo>
                    <a:pt x="756" y="380"/>
                  </a:lnTo>
                  <a:lnTo>
                    <a:pt x="756" y="385"/>
                  </a:lnTo>
                  <a:lnTo>
                    <a:pt x="754" y="388"/>
                  </a:lnTo>
                  <a:lnTo>
                    <a:pt x="754" y="388"/>
                  </a:lnTo>
                  <a:lnTo>
                    <a:pt x="754" y="385"/>
                  </a:lnTo>
                  <a:lnTo>
                    <a:pt x="751" y="385"/>
                  </a:lnTo>
                  <a:lnTo>
                    <a:pt x="749" y="390"/>
                  </a:lnTo>
                  <a:lnTo>
                    <a:pt x="749" y="392"/>
                  </a:lnTo>
                  <a:lnTo>
                    <a:pt x="746" y="397"/>
                  </a:lnTo>
                  <a:lnTo>
                    <a:pt x="746" y="399"/>
                  </a:lnTo>
                  <a:lnTo>
                    <a:pt x="744" y="402"/>
                  </a:lnTo>
                  <a:lnTo>
                    <a:pt x="742" y="402"/>
                  </a:lnTo>
                  <a:lnTo>
                    <a:pt x="742" y="404"/>
                  </a:lnTo>
                  <a:lnTo>
                    <a:pt x="742" y="404"/>
                  </a:lnTo>
                  <a:lnTo>
                    <a:pt x="744" y="406"/>
                  </a:lnTo>
                  <a:lnTo>
                    <a:pt x="744" y="406"/>
                  </a:lnTo>
                  <a:lnTo>
                    <a:pt x="737" y="406"/>
                  </a:lnTo>
                  <a:lnTo>
                    <a:pt x="737" y="409"/>
                  </a:lnTo>
                  <a:lnTo>
                    <a:pt x="737" y="409"/>
                  </a:lnTo>
                  <a:lnTo>
                    <a:pt x="732" y="416"/>
                  </a:lnTo>
                  <a:lnTo>
                    <a:pt x="730" y="418"/>
                  </a:lnTo>
                  <a:lnTo>
                    <a:pt x="730" y="421"/>
                  </a:lnTo>
                  <a:lnTo>
                    <a:pt x="732" y="425"/>
                  </a:lnTo>
                  <a:lnTo>
                    <a:pt x="732" y="425"/>
                  </a:lnTo>
                  <a:lnTo>
                    <a:pt x="735" y="430"/>
                  </a:lnTo>
                  <a:lnTo>
                    <a:pt x="735" y="432"/>
                  </a:lnTo>
                  <a:lnTo>
                    <a:pt x="735" y="437"/>
                  </a:lnTo>
                  <a:lnTo>
                    <a:pt x="735" y="437"/>
                  </a:lnTo>
                  <a:lnTo>
                    <a:pt x="735" y="437"/>
                  </a:lnTo>
                  <a:lnTo>
                    <a:pt x="737" y="437"/>
                  </a:lnTo>
                  <a:lnTo>
                    <a:pt x="737" y="437"/>
                  </a:lnTo>
                  <a:lnTo>
                    <a:pt x="737" y="437"/>
                  </a:lnTo>
                  <a:lnTo>
                    <a:pt x="744" y="442"/>
                  </a:lnTo>
                  <a:lnTo>
                    <a:pt x="744" y="442"/>
                  </a:lnTo>
                  <a:lnTo>
                    <a:pt x="744" y="447"/>
                  </a:lnTo>
                  <a:lnTo>
                    <a:pt x="744" y="449"/>
                  </a:lnTo>
                  <a:lnTo>
                    <a:pt x="746" y="449"/>
                  </a:lnTo>
                  <a:lnTo>
                    <a:pt x="746" y="451"/>
                  </a:lnTo>
                  <a:lnTo>
                    <a:pt x="746" y="451"/>
                  </a:lnTo>
                  <a:lnTo>
                    <a:pt x="746" y="451"/>
                  </a:lnTo>
                  <a:lnTo>
                    <a:pt x="746" y="451"/>
                  </a:lnTo>
                  <a:lnTo>
                    <a:pt x="746" y="454"/>
                  </a:lnTo>
                  <a:lnTo>
                    <a:pt x="744" y="458"/>
                  </a:lnTo>
                  <a:lnTo>
                    <a:pt x="746" y="461"/>
                  </a:lnTo>
                  <a:lnTo>
                    <a:pt x="746" y="461"/>
                  </a:lnTo>
                  <a:lnTo>
                    <a:pt x="744" y="463"/>
                  </a:lnTo>
                  <a:lnTo>
                    <a:pt x="744" y="466"/>
                  </a:lnTo>
                  <a:lnTo>
                    <a:pt x="739" y="470"/>
                  </a:lnTo>
                  <a:lnTo>
                    <a:pt x="739" y="473"/>
                  </a:lnTo>
                  <a:lnTo>
                    <a:pt x="739" y="473"/>
                  </a:lnTo>
                  <a:lnTo>
                    <a:pt x="737" y="473"/>
                  </a:lnTo>
                  <a:lnTo>
                    <a:pt x="735" y="475"/>
                  </a:lnTo>
                  <a:lnTo>
                    <a:pt x="735" y="477"/>
                  </a:lnTo>
                  <a:lnTo>
                    <a:pt x="735" y="480"/>
                  </a:lnTo>
                  <a:lnTo>
                    <a:pt x="737" y="480"/>
                  </a:lnTo>
                  <a:lnTo>
                    <a:pt x="739" y="482"/>
                  </a:lnTo>
                  <a:lnTo>
                    <a:pt x="739" y="482"/>
                  </a:lnTo>
                  <a:lnTo>
                    <a:pt x="737" y="484"/>
                  </a:lnTo>
                  <a:lnTo>
                    <a:pt x="735" y="487"/>
                  </a:lnTo>
                  <a:lnTo>
                    <a:pt x="735" y="489"/>
                  </a:lnTo>
                  <a:lnTo>
                    <a:pt x="737" y="494"/>
                  </a:lnTo>
                  <a:lnTo>
                    <a:pt x="737" y="494"/>
                  </a:lnTo>
                  <a:lnTo>
                    <a:pt x="742" y="496"/>
                  </a:lnTo>
                  <a:lnTo>
                    <a:pt x="742" y="499"/>
                  </a:lnTo>
                  <a:lnTo>
                    <a:pt x="742" y="503"/>
                  </a:lnTo>
                  <a:lnTo>
                    <a:pt x="742" y="503"/>
                  </a:lnTo>
                  <a:lnTo>
                    <a:pt x="746" y="508"/>
                  </a:lnTo>
                  <a:lnTo>
                    <a:pt x="746" y="508"/>
                  </a:lnTo>
                  <a:lnTo>
                    <a:pt x="746" y="510"/>
                  </a:lnTo>
                  <a:lnTo>
                    <a:pt x="746" y="515"/>
                  </a:lnTo>
                  <a:lnTo>
                    <a:pt x="746" y="515"/>
                  </a:lnTo>
                  <a:lnTo>
                    <a:pt x="749" y="522"/>
                  </a:lnTo>
                  <a:lnTo>
                    <a:pt x="749" y="525"/>
                  </a:lnTo>
                  <a:lnTo>
                    <a:pt x="749" y="527"/>
                  </a:lnTo>
                  <a:lnTo>
                    <a:pt x="751" y="527"/>
                  </a:lnTo>
                  <a:lnTo>
                    <a:pt x="751" y="529"/>
                  </a:lnTo>
                  <a:lnTo>
                    <a:pt x="754" y="534"/>
                  </a:lnTo>
                  <a:lnTo>
                    <a:pt x="754" y="536"/>
                  </a:lnTo>
                  <a:lnTo>
                    <a:pt x="754" y="541"/>
                  </a:lnTo>
                  <a:lnTo>
                    <a:pt x="754" y="543"/>
                  </a:lnTo>
                  <a:lnTo>
                    <a:pt x="751" y="548"/>
                  </a:lnTo>
                  <a:lnTo>
                    <a:pt x="751" y="551"/>
                  </a:lnTo>
                  <a:lnTo>
                    <a:pt x="754" y="555"/>
                  </a:lnTo>
                  <a:lnTo>
                    <a:pt x="754" y="555"/>
                  </a:lnTo>
                  <a:lnTo>
                    <a:pt x="754" y="558"/>
                  </a:lnTo>
                  <a:lnTo>
                    <a:pt x="751" y="562"/>
                  </a:lnTo>
                  <a:lnTo>
                    <a:pt x="751" y="562"/>
                  </a:lnTo>
                  <a:lnTo>
                    <a:pt x="749" y="565"/>
                  </a:lnTo>
                  <a:lnTo>
                    <a:pt x="746" y="565"/>
                  </a:lnTo>
                  <a:lnTo>
                    <a:pt x="746" y="567"/>
                  </a:lnTo>
                  <a:lnTo>
                    <a:pt x="744" y="569"/>
                  </a:lnTo>
                  <a:lnTo>
                    <a:pt x="742" y="569"/>
                  </a:lnTo>
                  <a:lnTo>
                    <a:pt x="739" y="569"/>
                  </a:lnTo>
                  <a:lnTo>
                    <a:pt x="739" y="574"/>
                  </a:lnTo>
                  <a:lnTo>
                    <a:pt x="737" y="577"/>
                  </a:lnTo>
                  <a:lnTo>
                    <a:pt x="735" y="577"/>
                  </a:lnTo>
                  <a:lnTo>
                    <a:pt x="732" y="577"/>
                  </a:lnTo>
                  <a:lnTo>
                    <a:pt x="732" y="581"/>
                  </a:lnTo>
                  <a:lnTo>
                    <a:pt x="732" y="581"/>
                  </a:lnTo>
                  <a:lnTo>
                    <a:pt x="730" y="584"/>
                  </a:lnTo>
                  <a:lnTo>
                    <a:pt x="728" y="588"/>
                  </a:lnTo>
                  <a:lnTo>
                    <a:pt x="725" y="591"/>
                  </a:lnTo>
                  <a:lnTo>
                    <a:pt x="725" y="593"/>
                  </a:lnTo>
                  <a:lnTo>
                    <a:pt x="725" y="595"/>
                  </a:lnTo>
                  <a:lnTo>
                    <a:pt x="723" y="595"/>
                  </a:lnTo>
                  <a:lnTo>
                    <a:pt x="718" y="595"/>
                  </a:lnTo>
                  <a:lnTo>
                    <a:pt x="718" y="598"/>
                  </a:lnTo>
                  <a:lnTo>
                    <a:pt x="716" y="598"/>
                  </a:lnTo>
                  <a:lnTo>
                    <a:pt x="716" y="600"/>
                  </a:lnTo>
                  <a:lnTo>
                    <a:pt x="718" y="600"/>
                  </a:lnTo>
                  <a:lnTo>
                    <a:pt x="718" y="603"/>
                  </a:lnTo>
                  <a:lnTo>
                    <a:pt x="718" y="603"/>
                  </a:lnTo>
                  <a:lnTo>
                    <a:pt x="718" y="607"/>
                  </a:lnTo>
                  <a:lnTo>
                    <a:pt x="718" y="614"/>
                  </a:lnTo>
                  <a:lnTo>
                    <a:pt x="718" y="614"/>
                  </a:lnTo>
                  <a:lnTo>
                    <a:pt x="716" y="614"/>
                  </a:lnTo>
                  <a:lnTo>
                    <a:pt x="716" y="617"/>
                  </a:lnTo>
                  <a:lnTo>
                    <a:pt x="716" y="617"/>
                  </a:lnTo>
                  <a:lnTo>
                    <a:pt x="716" y="621"/>
                  </a:lnTo>
                  <a:lnTo>
                    <a:pt x="718" y="624"/>
                  </a:lnTo>
                  <a:lnTo>
                    <a:pt x="716" y="626"/>
                  </a:lnTo>
                  <a:lnTo>
                    <a:pt x="718" y="631"/>
                  </a:lnTo>
                  <a:lnTo>
                    <a:pt x="716" y="636"/>
                  </a:lnTo>
                  <a:lnTo>
                    <a:pt x="716" y="638"/>
                  </a:lnTo>
                  <a:lnTo>
                    <a:pt x="718" y="638"/>
                  </a:lnTo>
                  <a:lnTo>
                    <a:pt x="718" y="643"/>
                  </a:lnTo>
                  <a:lnTo>
                    <a:pt x="718" y="643"/>
                  </a:lnTo>
                  <a:lnTo>
                    <a:pt x="720" y="645"/>
                  </a:lnTo>
                  <a:lnTo>
                    <a:pt x="723" y="647"/>
                  </a:lnTo>
                  <a:lnTo>
                    <a:pt x="723" y="647"/>
                  </a:lnTo>
                  <a:lnTo>
                    <a:pt x="723" y="650"/>
                  </a:lnTo>
                  <a:lnTo>
                    <a:pt x="723" y="652"/>
                  </a:lnTo>
                  <a:lnTo>
                    <a:pt x="723" y="652"/>
                  </a:lnTo>
                  <a:lnTo>
                    <a:pt x="723" y="652"/>
                  </a:lnTo>
                  <a:lnTo>
                    <a:pt x="720" y="655"/>
                  </a:lnTo>
                  <a:lnTo>
                    <a:pt x="718" y="655"/>
                  </a:lnTo>
                  <a:lnTo>
                    <a:pt x="718" y="655"/>
                  </a:lnTo>
                  <a:lnTo>
                    <a:pt x="723" y="657"/>
                  </a:lnTo>
                  <a:lnTo>
                    <a:pt x="723" y="662"/>
                  </a:lnTo>
                  <a:lnTo>
                    <a:pt x="725" y="664"/>
                  </a:lnTo>
                  <a:lnTo>
                    <a:pt x="728" y="664"/>
                  </a:lnTo>
                  <a:lnTo>
                    <a:pt x="730" y="664"/>
                  </a:lnTo>
                  <a:lnTo>
                    <a:pt x="732" y="664"/>
                  </a:lnTo>
                  <a:lnTo>
                    <a:pt x="732" y="666"/>
                  </a:lnTo>
                  <a:lnTo>
                    <a:pt x="732" y="671"/>
                  </a:lnTo>
                  <a:lnTo>
                    <a:pt x="732" y="671"/>
                  </a:lnTo>
                  <a:lnTo>
                    <a:pt x="735" y="673"/>
                  </a:lnTo>
                  <a:lnTo>
                    <a:pt x="737" y="673"/>
                  </a:lnTo>
                  <a:lnTo>
                    <a:pt x="739" y="678"/>
                  </a:lnTo>
                  <a:lnTo>
                    <a:pt x="742" y="678"/>
                  </a:lnTo>
                  <a:lnTo>
                    <a:pt x="744" y="678"/>
                  </a:lnTo>
                  <a:lnTo>
                    <a:pt x="746" y="678"/>
                  </a:lnTo>
                  <a:lnTo>
                    <a:pt x="746" y="680"/>
                  </a:lnTo>
                  <a:lnTo>
                    <a:pt x="746" y="680"/>
                  </a:lnTo>
                  <a:lnTo>
                    <a:pt x="746" y="683"/>
                  </a:lnTo>
                  <a:lnTo>
                    <a:pt x="746" y="683"/>
                  </a:lnTo>
                  <a:lnTo>
                    <a:pt x="749" y="685"/>
                  </a:lnTo>
                  <a:lnTo>
                    <a:pt x="746" y="690"/>
                  </a:lnTo>
                  <a:lnTo>
                    <a:pt x="746" y="692"/>
                  </a:lnTo>
                  <a:lnTo>
                    <a:pt x="746" y="692"/>
                  </a:lnTo>
                  <a:lnTo>
                    <a:pt x="749" y="692"/>
                  </a:lnTo>
                  <a:lnTo>
                    <a:pt x="751" y="692"/>
                  </a:lnTo>
                  <a:lnTo>
                    <a:pt x="751" y="692"/>
                  </a:lnTo>
                  <a:lnTo>
                    <a:pt x="746" y="697"/>
                  </a:lnTo>
                  <a:lnTo>
                    <a:pt x="746" y="697"/>
                  </a:lnTo>
                  <a:lnTo>
                    <a:pt x="746" y="699"/>
                  </a:lnTo>
                  <a:lnTo>
                    <a:pt x="744" y="704"/>
                  </a:lnTo>
                  <a:lnTo>
                    <a:pt x="744" y="704"/>
                  </a:lnTo>
                  <a:lnTo>
                    <a:pt x="746" y="706"/>
                  </a:lnTo>
                  <a:lnTo>
                    <a:pt x="744" y="709"/>
                  </a:lnTo>
                  <a:lnTo>
                    <a:pt x="746" y="711"/>
                  </a:lnTo>
                  <a:lnTo>
                    <a:pt x="744" y="714"/>
                  </a:lnTo>
                  <a:lnTo>
                    <a:pt x="744" y="714"/>
                  </a:lnTo>
                  <a:lnTo>
                    <a:pt x="744" y="716"/>
                  </a:lnTo>
                  <a:lnTo>
                    <a:pt x="744" y="716"/>
                  </a:lnTo>
                  <a:lnTo>
                    <a:pt x="744" y="718"/>
                  </a:lnTo>
                  <a:lnTo>
                    <a:pt x="744" y="721"/>
                  </a:lnTo>
                  <a:lnTo>
                    <a:pt x="744" y="723"/>
                  </a:lnTo>
                  <a:lnTo>
                    <a:pt x="742" y="728"/>
                  </a:lnTo>
                  <a:lnTo>
                    <a:pt x="739" y="732"/>
                  </a:lnTo>
                  <a:lnTo>
                    <a:pt x="739" y="732"/>
                  </a:lnTo>
                  <a:lnTo>
                    <a:pt x="739" y="735"/>
                  </a:lnTo>
                  <a:lnTo>
                    <a:pt x="739" y="737"/>
                  </a:lnTo>
                  <a:lnTo>
                    <a:pt x="735" y="740"/>
                  </a:lnTo>
                  <a:lnTo>
                    <a:pt x="732" y="742"/>
                  </a:lnTo>
                  <a:lnTo>
                    <a:pt x="730" y="747"/>
                  </a:lnTo>
                  <a:lnTo>
                    <a:pt x="728" y="747"/>
                  </a:lnTo>
                  <a:lnTo>
                    <a:pt x="728" y="747"/>
                  </a:lnTo>
                  <a:lnTo>
                    <a:pt x="725" y="749"/>
                  </a:lnTo>
                  <a:lnTo>
                    <a:pt x="723" y="749"/>
                  </a:lnTo>
                  <a:lnTo>
                    <a:pt x="720" y="747"/>
                  </a:lnTo>
                  <a:lnTo>
                    <a:pt x="718" y="747"/>
                  </a:lnTo>
                  <a:lnTo>
                    <a:pt x="716" y="749"/>
                  </a:lnTo>
                  <a:lnTo>
                    <a:pt x="713" y="751"/>
                  </a:lnTo>
                  <a:lnTo>
                    <a:pt x="711" y="751"/>
                  </a:lnTo>
                  <a:lnTo>
                    <a:pt x="709" y="751"/>
                  </a:lnTo>
                  <a:lnTo>
                    <a:pt x="706" y="749"/>
                  </a:lnTo>
                  <a:lnTo>
                    <a:pt x="704" y="749"/>
                  </a:lnTo>
                  <a:lnTo>
                    <a:pt x="697" y="749"/>
                  </a:lnTo>
                  <a:lnTo>
                    <a:pt x="697" y="749"/>
                  </a:lnTo>
                  <a:lnTo>
                    <a:pt x="697" y="751"/>
                  </a:lnTo>
                  <a:lnTo>
                    <a:pt x="692" y="754"/>
                  </a:lnTo>
                  <a:lnTo>
                    <a:pt x="690" y="754"/>
                  </a:lnTo>
                  <a:lnTo>
                    <a:pt x="685" y="754"/>
                  </a:lnTo>
                  <a:lnTo>
                    <a:pt x="683" y="756"/>
                  </a:lnTo>
                  <a:lnTo>
                    <a:pt x="680" y="756"/>
                  </a:lnTo>
                  <a:lnTo>
                    <a:pt x="680" y="758"/>
                  </a:lnTo>
                  <a:lnTo>
                    <a:pt x="678" y="758"/>
                  </a:lnTo>
                  <a:lnTo>
                    <a:pt x="678" y="758"/>
                  </a:lnTo>
                  <a:lnTo>
                    <a:pt x="676" y="758"/>
                  </a:lnTo>
                  <a:lnTo>
                    <a:pt x="673" y="758"/>
                  </a:lnTo>
                  <a:lnTo>
                    <a:pt x="671" y="758"/>
                  </a:lnTo>
                  <a:lnTo>
                    <a:pt x="671" y="761"/>
                  </a:lnTo>
                  <a:lnTo>
                    <a:pt x="669" y="758"/>
                  </a:lnTo>
                  <a:lnTo>
                    <a:pt x="666" y="756"/>
                  </a:lnTo>
                  <a:lnTo>
                    <a:pt x="666" y="754"/>
                  </a:lnTo>
                  <a:lnTo>
                    <a:pt x="664" y="754"/>
                  </a:lnTo>
                  <a:lnTo>
                    <a:pt x="661" y="751"/>
                  </a:lnTo>
                  <a:lnTo>
                    <a:pt x="659" y="751"/>
                  </a:lnTo>
                  <a:lnTo>
                    <a:pt x="659" y="749"/>
                  </a:lnTo>
                  <a:lnTo>
                    <a:pt x="659" y="747"/>
                  </a:lnTo>
                  <a:lnTo>
                    <a:pt x="659" y="747"/>
                  </a:lnTo>
                  <a:lnTo>
                    <a:pt x="657" y="747"/>
                  </a:lnTo>
                  <a:lnTo>
                    <a:pt x="657" y="747"/>
                  </a:lnTo>
                  <a:lnTo>
                    <a:pt x="657" y="747"/>
                  </a:lnTo>
                  <a:lnTo>
                    <a:pt x="654" y="747"/>
                  </a:lnTo>
                  <a:lnTo>
                    <a:pt x="654" y="747"/>
                  </a:lnTo>
                  <a:lnTo>
                    <a:pt x="652" y="747"/>
                  </a:lnTo>
                  <a:lnTo>
                    <a:pt x="650" y="744"/>
                  </a:lnTo>
                  <a:lnTo>
                    <a:pt x="647" y="742"/>
                  </a:lnTo>
                  <a:lnTo>
                    <a:pt x="645" y="742"/>
                  </a:lnTo>
                  <a:lnTo>
                    <a:pt x="643" y="740"/>
                  </a:lnTo>
                  <a:lnTo>
                    <a:pt x="640" y="742"/>
                  </a:lnTo>
                  <a:lnTo>
                    <a:pt x="640" y="740"/>
                  </a:lnTo>
                  <a:lnTo>
                    <a:pt x="640" y="740"/>
                  </a:lnTo>
                  <a:lnTo>
                    <a:pt x="638" y="740"/>
                  </a:lnTo>
                  <a:lnTo>
                    <a:pt x="635" y="740"/>
                  </a:lnTo>
                  <a:lnTo>
                    <a:pt x="633" y="740"/>
                  </a:lnTo>
                  <a:lnTo>
                    <a:pt x="633" y="740"/>
                  </a:lnTo>
                  <a:lnTo>
                    <a:pt x="631" y="742"/>
                  </a:lnTo>
                  <a:lnTo>
                    <a:pt x="628" y="740"/>
                  </a:lnTo>
                  <a:lnTo>
                    <a:pt x="626" y="742"/>
                  </a:lnTo>
                  <a:lnTo>
                    <a:pt x="626" y="742"/>
                  </a:lnTo>
                  <a:lnTo>
                    <a:pt x="626" y="744"/>
                  </a:lnTo>
                  <a:lnTo>
                    <a:pt x="621" y="744"/>
                  </a:lnTo>
                  <a:lnTo>
                    <a:pt x="617" y="747"/>
                  </a:lnTo>
                  <a:lnTo>
                    <a:pt x="614" y="747"/>
                  </a:lnTo>
                  <a:lnTo>
                    <a:pt x="612" y="747"/>
                  </a:lnTo>
                  <a:lnTo>
                    <a:pt x="612" y="749"/>
                  </a:lnTo>
                  <a:lnTo>
                    <a:pt x="609" y="749"/>
                  </a:lnTo>
                  <a:lnTo>
                    <a:pt x="609" y="749"/>
                  </a:lnTo>
                  <a:lnTo>
                    <a:pt x="609" y="747"/>
                  </a:lnTo>
                  <a:lnTo>
                    <a:pt x="607" y="747"/>
                  </a:lnTo>
                  <a:lnTo>
                    <a:pt x="605" y="747"/>
                  </a:lnTo>
                  <a:lnTo>
                    <a:pt x="605" y="747"/>
                  </a:lnTo>
                  <a:lnTo>
                    <a:pt x="598" y="749"/>
                  </a:lnTo>
                  <a:lnTo>
                    <a:pt x="598" y="749"/>
                  </a:lnTo>
                  <a:lnTo>
                    <a:pt x="595" y="749"/>
                  </a:lnTo>
                  <a:lnTo>
                    <a:pt x="595" y="751"/>
                  </a:lnTo>
                  <a:lnTo>
                    <a:pt x="595" y="754"/>
                  </a:lnTo>
                  <a:lnTo>
                    <a:pt x="593" y="756"/>
                  </a:lnTo>
                  <a:lnTo>
                    <a:pt x="593" y="756"/>
                  </a:lnTo>
                  <a:lnTo>
                    <a:pt x="591" y="754"/>
                  </a:lnTo>
                  <a:lnTo>
                    <a:pt x="588" y="754"/>
                  </a:lnTo>
                  <a:lnTo>
                    <a:pt x="588" y="754"/>
                  </a:lnTo>
                  <a:lnTo>
                    <a:pt x="588" y="754"/>
                  </a:lnTo>
                  <a:lnTo>
                    <a:pt x="588" y="756"/>
                  </a:lnTo>
                  <a:lnTo>
                    <a:pt x="591" y="758"/>
                  </a:lnTo>
                  <a:lnTo>
                    <a:pt x="588" y="761"/>
                  </a:lnTo>
                  <a:lnTo>
                    <a:pt x="588" y="761"/>
                  </a:lnTo>
                  <a:lnTo>
                    <a:pt x="588" y="761"/>
                  </a:lnTo>
                  <a:lnTo>
                    <a:pt x="588" y="758"/>
                  </a:lnTo>
                  <a:lnTo>
                    <a:pt x="586" y="758"/>
                  </a:lnTo>
                  <a:lnTo>
                    <a:pt x="586" y="758"/>
                  </a:lnTo>
                  <a:lnTo>
                    <a:pt x="586" y="761"/>
                  </a:lnTo>
                  <a:lnTo>
                    <a:pt x="581" y="763"/>
                  </a:lnTo>
                  <a:lnTo>
                    <a:pt x="579" y="766"/>
                  </a:lnTo>
                  <a:lnTo>
                    <a:pt x="579" y="766"/>
                  </a:lnTo>
                  <a:lnTo>
                    <a:pt x="579" y="770"/>
                  </a:lnTo>
                  <a:lnTo>
                    <a:pt x="579" y="770"/>
                  </a:lnTo>
                  <a:lnTo>
                    <a:pt x="579" y="770"/>
                  </a:lnTo>
                  <a:lnTo>
                    <a:pt x="576" y="770"/>
                  </a:lnTo>
                  <a:lnTo>
                    <a:pt x="576" y="775"/>
                  </a:lnTo>
                  <a:lnTo>
                    <a:pt x="572" y="780"/>
                  </a:lnTo>
                  <a:lnTo>
                    <a:pt x="569" y="780"/>
                  </a:lnTo>
                  <a:lnTo>
                    <a:pt x="569" y="780"/>
                  </a:lnTo>
                  <a:lnTo>
                    <a:pt x="569" y="782"/>
                  </a:lnTo>
                  <a:lnTo>
                    <a:pt x="567" y="784"/>
                  </a:lnTo>
                  <a:lnTo>
                    <a:pt x="567" y="784"/>
                  </a:lnTo>
                  <a:lnTo>
                    <a:pt x="567" y="789"/>
                  </a:lnTo>
                  <a:lnTo>
                    <a:pt x="567" y="789"/>
                  </a:lnTo>
                  <a:lnTo>
                    <a:pt x="567" y="792"/>
                  </a:lnTo>
                  <a:lnTo>
                    <a:pt x="562" y="794"/>
                  </a:lnTo>
                  <a:lnTo>
                    <a:pt x="562" y="794"/>
                  </a:lnTo>
                  <a:lnTo>
                    <a:pt x="560" y="794"/>
                  </a:lnTo>
                  <a:lnTo>
                    <a:pt x="555" y="794"/>
                  </a:lnTo>
                  <a:lnTo>
                    <a:pt x="553" y="794"/>
                  </a:lnTo>
                  <a:lnTo>
                    <a:pt x="550" y="796"/>
                  </a:lnTo>
                  <a:lnTo>
                    <a:pt x="550" y="799"/>
                  </a:lnTo>
                  <a:lnTo>
                    <a:pt x="548" y="801"/>
                  </a:lnTo>
                  <a:lnTo>
                    <a:pt x="543" y="801"/>
                  </a:lnTo>
                  <a:lnTo>
                    <a:pt x="541" y="803"/>
                  </a:lnTo>
                  <a:lnTo>
                    <a:pt x="541" y="803"/>
                  </a:lnTo>
                  <a:lnTo>
                    <a:pt x="539" y="803"/>
                  </a:lnTo>
                  <a:lnTo>
                    <a:pt x="536" y="806"/>
                  </a:lnTo>
                  <a:lnTo>
                    <a:pt x="536" y="808"/>
                  </a:lnTo>
                  <a:lnTo>
                    <a:pt x="534" y="808"/>
                  </a:lnTo>
                  <a:lnTo>
                    <a:pt x="532" y="810"/>
                  </a:lnTo>
                  <a:lnTo>
                    <a:pt x="529" y="813"/>
                  </a:lnTo>
                  <a:lnTo>
                    <a:pt x="529" y="813"/>
                  </a:lnTo>
                  <a:lnTo>
                    <a:pt x="527" y="815"/>
                  </a:lnTo>
                  <a:lnTo>
                    <a:pt x="527" y="815"/>
                  </a:lnTo>
                  <a:lnTo>
                    <a:pt x="524" y="820"/>
                  </a:lnTo>
                  <a:lnTo>
                    <a:pt x="522" y="820"/>
                  </a:lnTo>
                  <a:lnTo>
                    <a:pt x="520" y="822"/>
                  </a:lnTo>
                  <a:lnTo>
                    <a:pt x="517" y="822"/>
                  </a:lnTo>
                  <a:lnTo>
                    <a:pt x="517" y="822"/>
                  </a:lnTo>
                  <a:lnTo>
                    <a:pt x="517" y="827"/>
                  </a:lnTo>
                  <a:lnTo>
                    <a:pt x="515" y="827"/>
                  </a:lnTo>
                  <a:lnTo>
                    <a:pt x="515" y="832"/>
                  </a:lnTo>
                  <a:lnTo>
                    <a:pt x="513" y="832"/>
                  </a:lnTo>
                  <a:lnTo>
                    <a:pt x="513" y="832"/>
                  </a:lnTo>
                  <a:lnTo>
                    <a:pt x="513" y="832"/>
                  </a:lnTo>
                  <a:lnTo>
                    <a:pt x="510" y="829"/>
                  </a:lnTo>
                  <a:lnTo>
                    <a:pt x="508" y="827"/>
                  </a:lnTo>
                  <a:lnTo>
                    <a:pt x="503" y="829"/>
                  </a:lnTo>
                  <a:lnTo>
                    <a:pt x="503" y="827"/>
                  </a:lnTo>
                  <a:lnTo>
                    <a:pt x="498" y="827"/>
                  </a:lnTo>
                  <a:lnTo>
                    <a:pt x="498" y="829"/>
                  </a:lnTo>
                  <a:lnTo>
                    <a:pt x="494" y="829"/>
                  </a:lnTo>
                  <a:lnTo>
                    <a:pt x="494" y="832"/>
                  </a:lnTo>
                  <a:lnTo>
                    <a:pt x="494" y="832"/>
                  </a:lnTo>
                  <a:lnTo>
                    <a:pt x="494" y="834"/>
                  </a:lnTo>
                  <a:lnTo>
                    <a:pt x="491" y="834"/>
                  </a:lnTo>
                  <a:lnTo>
                    <a:pt x="489" y="836"/>
                  </a:lnTo>
                  <a:lnTo>
                    <a:pt x="489" y="834"/>
                  </a:lnTo>
                  <a:lnTo>
                    <a:pt x="487" y="836"/>
                  </a:lnTo>
                  <a:lnTo>
                    <a:pt x="487" y="836"/>
                  </a:lnTo>
                  <a:lnTo>
                    <a:pt x="487" y="839"/>
                  </a:lnTo>
                  <a:lnTo>
                    <a:pt x="484" y="841"/>
                  </a:lnTo>
                  <a:lnTo>
                    <a:pt x="484" y="841"/>
                  </a:lnTo>
                  <a:lnTo>
                    <a:pt x="484" y="841"/>
                  </a:lnTo>
                  <a:lnTo>
                    <a:pt x="480" y="841"/>
                  </a:lnTo>
                  <a:lnTo>
                    <a:pt x="480" y="843"/>
                  </a:lnTo>
                  <a:lnTo>
                    <a:pt x="477" y="843"/>
                  </a:lnTo>
                  <a:lnTo>
                    <a:pt x="477" y="843"/>
                  </a:lnTo>
                  <a:lnTo>
                    <a:pt x="475" y="843"/>
                  </a:lnTo>
                  <a:lnTo>
                    <a:pt x="472" y="843"/>
                  </a:lnTo>
                  <a:lnTo>
                    <a:pt x="470" y="846"/>
                  </a:lnTo>
                  <a:lnTo>
                    <a:pt x="468" y="846"/>
                  </a:lnTo>
                  <a:lnTo>
                    <a:pt x="468" y="846"/>
                  </a:lnTo>
                  <a:lnTo>
                    <a:pt x="465" y="846"/>
                  </a:lnTo>
                  <a:lnTo>
                    <a:pt x="458" y="846"/>
                  </a:lnTo>
                  <a:lnTo>
                    <a:pt x="458" y="848"/>
                  </a:lnTo>
                  <a:lnTo>
                    <a:pt x="456" y="848"/>
                  </a:lnTo>
                  <a:lnTo>
                    <a:pt x="456" y="846"/>
                  </a:lnTo>
                  <a:lnTo>
                    <a:pt x="454" y="848"/>
                  </a:lnTo>
                  <a:lnTo>
                    <a:pt x="451" y="851"/>
                  </a:lnTo>
                  <a:lnTo>
                    <a:pt x="449" y="853"/>
                  </a:lnTo>
                  <a:lnTo>
                    <a:pt x="449" y="853"/>
                  </a:lnTo>
                  <a:lnTo>
                    <a:pt x="446" y="853"/>
                  </a:lnTo>
                  <a:lnTo>
                    <a:pt x="446" y="853"/>
                  </a:lnTo>
                  <a:lnTo>
                    <a:pt x="444" y="853"/>
                  </a:lnTo>
                  <a:lnTo>
                    <a:pt x="444" y="853"/>
                  </a:lnTo>
                  <a:lnTo>
                    <a:pt x="444" y="853"/>
                  </a:lnTo>
                  <a:lnTo>
                    <a:pt x="442" y="855"/>
                  </a:lnTo>
                  <a:lnTo>
                    <a:pt x="439" y="853"/>
                  </a:lnTo>
                  <a:lnTo>
                    <a:pt x="437" y="855"/>
                  </a:lnTo>
                  <a:lnTo>
                    <a:pt x="437" y="855"/>
                  </a:lnTo>
                  <a:lnTo>
                    <a:pt x="435" y="855"/>
                  </a:lnTo>
                  <a:lnTo>
                    <a:pt x="432" y="855"/>
                  </a:lnTo>
                  <a:lnTo>
                    <a:pt x="432" y="858"/>
                  </a:lnTo>
                  <a:lnTo>
                    <a:pt x="428" y="860"/>
                  </a:lnTo>
                  <a:lnTo>
                    <a:pt x="425" y="860"/>
                  </a:lnTo>
                  <a:lnTo>
                    <a:pt x="425" y="860"/>
                  </a:lnTo>
                  <a:lnTo>
                    <a:pt x="425" y="862"/>
                  </a:lnTo>
                  <a:lnTo>
                    <a:pt x="425" y="862"/>
                  </a:lnTo>
                  <a:lnTo>
                    <a:pt x="423" y="865"/>
                  </a:lnTo>
                  <a:lnTo>
                    <a:pt x="423" y="865"/>
                  </a:lnTo>
                  <a:lnTo>
                    <a:pt x="423" y="865"/>
                  </a:lnTo>
                  <a:lnTo>
                    <a:pt x="423" y="865"/>
                  </a:lnTo>
                  <a:lnTo>
                    <a:pt x="420" y="865"/>
                  </a:lnTo>
                  <a:lnTo>
                    <a:pt x="420" y="867"/>
                  </a:lnTo>
                  <a:lnTo>
                    <a:pt x="420" y="867"/>
                  </a:lnTo>
                  <a:lnTo>
                    <a:pt x="420" y="867"/>
                  </a:lnTo>
                  <a:lnTo>
                    <a:pt x="418" y="867"/>
                  </a:lnTo>
                  <a:lnTo>
                    <a:pt x="416" y="867"/>
                  </a:lnTo>
                  <a:lnTo>
                    <a:pt x="416" y="867"/>
                  </a:lnTo>
                  <a:lnTo>
                    <a:pt x="418" y="869"/>
                  </a:lnTo>
                  <a:lnTo>
                    <a:pt x="416" y="869"/>
                  </a:lnTo>
                  <a:lnTo>
                    <a:pt x="416" y="869"/>
                  </a:lnTo>
                  <a:lnTo>
                    <a:pt x="416" y="872"/>
                  </a:lnTo>
                  <a:lnTo>
                    <a:pt x="416" y="872"/>
                  </a:lnTo>
                  <a:lnTo>
                    <a:pt x="413" y="874"/>
                  </a:lnTo>
                  <a:lnTo>
                    <a:pt x="413" y="874"/>
                  </a:lnTo>
                  <a:lnTo>
                    <a:pt x="413" y="877"/>
                  </a:lnTo>
                  <a:lnTo>
                    <a:pt x="413" y="877"/>
                  </a:lnTo>
                  <a:lnTo>
                    <a:pt x="413" y="877"/>
                  </a:lnTo>
                  <a:lnTo>
                    <a:pt x="413" y="877"/>
                  </a:lnTo>
                  <a:lnTo>
                    <a:pt x="413" y="877"/>
                  </a:lnTo>
                  <a:lnTo>
                    <a:pt x="413" y="879"/>
                  </a:lnTo>
                  <a:lnTo>
                    <a:pt x="413" y="881"/>
                  </a:lnTo>
                  <a:lnTo>
                    <a:pt x="413" y="881"/>
                  </a:lnTo>
                  <a:lnTo>
                    <a:pt x="413" y="884"/>
                  </a:lnTo>
                  <a:lnTo>
                    <a:pt x="411" y="881"/>
                  </a:lnTo>
                  <a:lnTo>
                    <a:pt x="411" y="884"/>
                  </a:lnTo>
                  <a:lnTo>
                    <a:pt x="411" y="884"/>
                  </a:lnTo>
                  <a:lnTo>
                    <a:pt x="411" y="886"/>
                  </a:lnTo>
                  <a:lnTo>
                    <a:pt x="411" y="888"/>
                  </a:lnTo>
                  <a:lnTo>
                    <a:pt x="409" y="891"/>
                  </a:lnTo>
                  <a:lnTo>
                    <a:pt x="409" y="891"/>
                  </a:lnTo>
                  <a:lnTo>
                    <a:pt x="406" y="893"/>
                  </a:lnTo>
                  <a:lnTo>
                    <a:pt x="406" y="893"/>
                  </a:lnTo>
                  <a:lnTo>
                    <a:pt x="406" y="893"/>
                  </a:lnTo>
                  <a:lnTo>
                    <a:pt x="409" y="895"/>
                  </a:lnTo>
                  <a:lnTo>
                    <a:pt x="409" y="895"/>
                  </a:lnTo>
                  <a:lnTo>
                    <a:pt x="406" y="895"/>
                  </a:lnTo>
                  <a:lnTo>
                    <a:pt x="409" y="898"/>
                  </a:lnTo>
                  <a:lnTo>
                    <a:pt x="409" y="900"/>
                  </a:lnTo>
                  <a:lnTo>
                    <a:pt x="406" y="900"/>
                  </a:lnTo>
                  <a:lnTo>
                    <a:pt x="406" y="900"/>
                  </a:lnTo>
                  <a:lnTo>
                    <a:pt x="406" y="900"/>
                  </a:lnTo>
                  <a:lnTo>
                    <a:pt x="406" y="903"/>
                  </a:lnTo>
                  <a:lnTo>
                    <a:pt x="406" y="903"/>
                  </a:lnTo>
                  <a:lnTo>
                    <a:pt x="404" y="905"/>
                  </a:lnTo>
                  <a:lnTo>
                    <a:pt x="406" y="905"/>
                  </a:lnTo>
                  <a:lnTo>
                    <a:pt x="406" y="905"/>
                  </a:lnTo>
                  <a:lnTo>
                    <a:pt x="404" y="907"/>
                  </a:lnTo>
                  <a:lnTo>
                    <a:pt x="404" y="910"/>
                  </a:lnTo>
                  <a:lnTo>
                    <a:pt x="406" y="912"/>
                  </a:lnTo>
                  <a:lnTo>
                    <a:pt x="406" y="912"/>
                  </a:lnTo>
                  <a:lnTo>
                    <a:pt x="404" y="912"/>
                  </a:lnTo>
                  <a:lnTo>
                    <a:pt x="404" y="912"/>
                  </a:lnTo>
                  <a:lnTo>
                    <a:pt x="402" y="914"/>
                  </a:lnTo>
                  <a:lnTo>
                    <a:pt x="404" y="917"/>
                  </a:lnTo>
                  <a:lnTo>
                    <a:pt x="404" y="917"/>
                  </a:lnTo>
                  <a:lnTo>
                    <a:pt x="404" y="919"/>
                  </a:lnTo>
                  <a:lnTo>
                    <a:pt x="402" y="924"/>
                  </a:lnTo>
                  <a:lnTo>
                    <a:pt x="402" y="926"/>
                  </a:lnTo>
                  <a:lnTo>
                    <a:pt x="402" y="926"/>
                  </a:lnTo>
                  <a:lnTo>
                    <a:pt x="402" y="929"/>
                  </a:lnTo>
                  <a:lnTo>
                    <a:pt x="402" y="931"/>
                  </a:lnTo>
                  <a:lnTo>
                    <a:pt x="402" y="933"/>
                  </a:lnTo>
                  <a:lnTo>
                    <a:pt x="399" y="933"/>
                  </a:lnTo>
                  <a:lnTo>
                    <a:pt x="397" y="936"/>
                  </a:lnTo>
                  <a:lnTo>
                    <a:pt x="397" y="936"/>
                  </a:lnTo>
                  <a:lnTo>
                    <a:pt x="397" y="938"/>
                  </a:lnTo>
                  <a:lnTo>
                    <a:pt x="392" y="943"/>
                  </a:lnTo>
                  <a:lnTo>
                    <a:pt x="392" y="947"/>
                  </a:lnTo>
                  <a:lnTo>
                    <a:pt x="390" y="950"/>
                  </a:lnTo>
                  <a:lnTo>
                    <a:pt x="390" y="952"/>
                  </a:lnTo>
                  <a:lnTo>
                    <a:pt x="387" y="955"/>
                  </a:lnTo>
                  <a:lnTo>
                    <a:pt x="387" y="957"/>
                  </a:lnTo>
                  <a:lnTo>
                    <a:pt x="387" y="957"/>
                  </a:lnTo>
                  <a:lnTo>
                    <a:pt x="385" y="959"/>
                  </a:lnTo>
                  <a:lnTo>
                    <a:pt x="387" y="959"/>
                  </a:lnTo>
                  <a:lnTo>
                    <a:pt x="385" y="962"/>
                  </a:lnTo>
                  <a:lnTo>
                    <a:pt x="385" y="962"/>
                  </a:lnTo>
                  <a:lnTo>
                    <a:pt x="383" y="962"/>
                  </a:lnTo>
                  <a:lnTo>
                    <a:pt x="385" y="964"/>
                  </a:lnTo>
                  <a:lnTo>
                    <a:pt x="383" y="964"/>
                  </a:lnTo>
                  <a:lnTo>
                    <a:pt x="383" y="964"/>
                  </a:lnTo>
                  <a:lnTo>
                    <a:pt x="383" y="966"/>
                  </a:lnTo>
                  <a:lnTo>
                    <a:pt x="383" y="966"/>
                  </a:lnTo>
                  <a:lnTo>
                    <a:pt x="383" y="969"/>
                  </a:lnTo>
                  <a:lnTo>
                    <a:pt x="380" y="969"/>
                  </a:lnTo>
                  <a:lnTo>
                    <a:pt x="383" y="973"/>
                  </a:lnTo>
                  <a:lnTo>
                    <a:pt x="380" y="976"/>
                  </a:lnTo>
                  <a:lnTo>
                    <a:pt x="383" y="976"/>
                  </a:lnTo>
                  <a:lnTo>
                    <a:pt x="380" y="978"/>
                  </a:lnTo>
                  <a:lnTo>
                    <a:pt x="378" y="978"/>
                  </a:lnTo>
                  <a:lnTo>
                    <a:pt x="380" y="980"/>
                  </a:lnTo>
                  <a:lnTo>
                    <a:pt x="378" y="983"/>
                  </a:lnTo>
                  <a:lnTo>
                    <a:pt x="378" y="983"/>
                  </a:lnTo>
                  <a:lnTo>
                    <a:pt x="378" y="985"/>
                  </a:lnTo>
                  <a:lnTo>
                    <a:pt x="376" y="988"/>
                  </a:lnTo>
                  <a:lnTo>
                    <a:pt x="376" y="988"/>
                  </a:lnTo>
                  <a:lnTo>
                    <a:pt x="378" y="990"/>
                  </a:lnTo>
                  <a:lnTo>
                    <a:pt x="376" y="992"/>
                  </a:lnTo>
                  <a:lnTo>
                    <a:pt x="373" y="990"/>
                  </a:lnTo>
                  <a:lnTo>
                    <a:pt x="373" y="992"/>
                  </a:lnTo>
                  <a:lnTo>
                    <a:pt x="373" y="992"/>
                  </a:lnTo>
                  <a:lnTo>
                    <a:pt x="373" y="992"/>
                  </a:lnTo>
                  <a:lnTo>
                    <a:pt x="371" y="995"/>
                  </a:lnTo>
                  <a:lnTo>
                    <a:pt x="373" y="997"/>
                  </a:lnTo>
                  <a:lnTo>
                    <a:pt x="371" y="997"/>
                  </a:lnTo>
                  <a:lnTo>
                    <a:pt x="369" y="1004"/>
                  </a:lnTo>
                  <a:lnTo>
                    <a:pt x="366" y="1004"/>
                  </a:lnTo>
                  <a:lnTo>
                    <a:pt x="366" y="1004"/>
                  </a:lnTo>
                  <a:lnTo>
                    <a:pt x="366" y="1006"/>
                  </a:lnTo>
                  <a:lnTo>
                    <a:pt x="364" y="1006"/>
                  </a:lnTo>
                  <a:lnTo>
                    <a:pt x="364" y="1006"/>
                  </a:lnTo>
                  <a:lnTo>
                    <a:pt x="361" y="1011"/>
                  </a:lnTo>
                  <a:lnTo>
                    <a:pt x="359" y="1009"/>
                  </a:lnTo>
                  <a:lnTo>
                    <a:pt x="357" y="1011"/>
                  </a:lnTo>
                  <a:lnTo>
                    <a:pt x="357" y="1011"/>
                  </a:lnTo>
                  <a:lnTo>
                    <a:pt x="357" y="1014"/>
                  </a:lnTo>
                  <a:lnTo>
                    <a:pt x="357" y="1014"/>
                  </a:lnTo>
                  <a:lnTo>
                    <a:pt x="354" y="1016"/>
                  </a:lnTo>
                  <a:lnTo>
                    <a:pt x="352" y="1018"/>
                  </a:lnTo>
                  <a:lnTo>
                    <a:pt x="354" y="1018"/>
                  </a:lnTo>
                  <a:lnTo>
                    <a:pt x="357" y="1018"/>
                  </a:lnTo>
                  <a:lnTo>
                    <a:pt x="357" y="1021"/>
                  </a:lnTo>
                  <a:lnTo>
                    <a:pt x="354" y="1021"/>
                  </a:lnTo>
                  <a:lnTo>
                    <a:pt x="354" y="1021"/>
                  </a:lnTo>
                  <a:lnTo>
                    <a:pt x="352" y="1021"/>
                  </a:lnTo>
                  <a:lnTo>
                    <a:pt x="352" y="1023"/>
                  </a:lnTo>
                  <a:lnTo>
                    <a:pt x="352" y="1023"/>
                  </a:lnTo>
                  <a:lnTo>
                    <a:pt x="352" y="1025"/>
                  </a:lnTo>
                  <a:lnTo>
                    <a:pt x="350" y="1025"/>
                  </a:lnTo>
                  <a:lnTo>
                    <a:pt x="350" y="1028"/>
                  </a:lnTo>
                  <a:lnTo>
                    <a:pt x="350" y="1028"/>
                  </a:lnTo>
                  <a:lnTo>
                    <a:pt x="350" y="1030"/>
                  </a:lnTo>
                  <a:lnTo>
                    <a:pt x="350" y="1030"/>
                  </a:lnTo>
                  <a:lnTo>
                    <a:pt x="350" y="1032"/>
                  </a:lnTo>
                  <a:lnTo>
                    <a:pt x="350" y="1032"/>
                  </a:lnTo>
                  <a:lnTo>
                    <a:pt x="350" y="1037"/>
                  </a:lnTo>
                  <a:lnTo>
                    <a:pt x="350" y="1037"/>
                  </a:lnTo>
                  <a:lnTo>
                    <a:pt x="352" y="1040"/>
                  </a:lnTo>
                  <a:lnTo>
                    <a:pt x="352" y="1042"/>
                  </a:lnTo>
                  <a:lnTo>
                    <a:pt x="357" y="1042"/>
                  </a:lnTo>
                  <a:lnTo>
                    <a:pt x="357" y="1044"/>
                  </a:lnTo>
                  <a:lnTo>
                    <a:pt x="357" y="1047"/>
                  </a:lnTo>
                  <a:lnTo>
                    <a:pt x="357" y="1049"/>
                  </a:lnTo>
                  <a:lnTo>
                    <a:pt x="357" y="1049"/>
                  </a:lnTo>
                  <a:lnTo>
                    <a:pt x="357" y="1049"/>
                  </a:lnTo>
                  <a:lnTo>
                    <a:pt x="357" y="1051"/>
                  </a:lnTo>
                  <a:lnTo>
                    <a:pt x="357" y="1051"/>
                  </a:lnTo>
                  <a:lnTo>
                    <a:pt x="359" y="1051"/>
                  </a:lnTo>
                  <a:lnTo>
                    <a:pt x="359" y="1054"/>
                  </a:lnTo>
                  <a:lnTo>
                    <a:pt x="357" y="1054"/>
                  </a:lnTo>
                  <a:lnTo>
                    <a:pt x="357" y="1056"/>
                  </a:lnTo>
                  <a:lnTo>
                    <a:pt x="357" y="1058"/>
                  </a:lnTo>
                  <a:lnTo>
                    <a:pt x="359" y="1061"/>
                  </a:lnTo>
                  <a:lnTo>
                    <a:pt x="359" y="1063"/>
                  </a:lnTo>
                  <a:lnTo>
                    <a:pt x="359" y="1063"/>
                  </a:lnTo>
                  <a:lnTo>
                    <a:pt x="361" y="1066"/>
                  </a:lnTo>
                  <a:lnTo>
                    <a:pt x="361" y="1066"/>
                  </a:lnTo>
                  <a:lnTo>
                    <a:pt x="359" y="1066"/>
                  </a:lnTo>
                  <a:lnTo>
                    <a:pt x="361" y="1068"/>
                  </a:lnTo>
                  <a:lnTo>
                    <a:pt x="361" y="1070"/>
                  </a:lnTo>
                  <a:lnTo>
                    <a:pt x="361" y="1070"/>
                  </a:lnTo>
                  <a:lnTo>
                    <a:pt x="361" y="1075"/>
                  </a:lnTo>
                  <a:lnTo>
                    <a:pt x="361" y="1075"/>
                  </a:lnTo>
                  <a:lnTo>
                    <a:pt x="361" y="1077"/>
                  </a:lnTo>
                  <a:lnTo>
                    <a:pt x="361" y="1080"/>
                  </a:lnTo>
                  <a:lnTo>
                    <a:pt x="359" y="1080"/>
                  </a:lnTo>
                  <a:lnTo>
                    <a:pt x="359" y="1080"/>
                  </a:lnTo>
                  <a:lnTo>
                    <a:pt x="361" y="1082"/>
                  </a:lnTo>
                  <a:lnTo>
                    <a:pt x="361" y="1082"/>
                  </a:lnTo>
                  <a:lnTo>
                    <a:pt x="361" y="1082"/>
                  </a:lnTo>
                  <a:lnTo>
                    <a:pt x="361" y="1084"/>
                  </a:lnTo>
                  <a:lnTo>
                    <a:pt x="364" y="1084"/>
                  </a:lnTo>
                  <a:lnTo>
                    <a:pt x="361" y="1087"/>
                  </a:lnTo>
                  <a:lnTo>
                    <a:pt x="364" y="1087"/>
                  </a:lnTo>
                  <a:lnTo>
                    <a:pt x="364" y="1087"/>
                  </a:lnTo>
                  <a:lnTo>
                    <a:pt x="364" y="1087"/>
                  </a:lnTo>
                  <a:lnTo>
                    <a:pt x="366" y="1087"/>
                  </a:lnTo>
                  <a:lnTo>
                    <a:pt x="369" y="1087"/>
                  </a:lnTo>
                  <a:lnTo>
                    <a:pt x="369" y="1089"/>
                  </a:lnTo>
                  <a:lnTo>
                    <a:pt x="371" y="1089"/>
                  </a:lnTo>
                  <a:lnTo>
                    <a:pt x="371" y="1092"/>
                  </a:lnTo>
                  <a:lnTo>
                    <a:pt x="373" y="1096"/>
                  </a:lnTo>
                  <a:lnTo>
                    <a:pt x="373" y="1096"/>
                  </a:lnTo>
                  <a:lnTo>
                    <a:pt x="373" y="1099"/>
                  </a:lnTo>
                  <a:lnTo>
                    <a:pt x="376" y="1099"/>
                  </a:lnTo>
                  <a:lnTo>
                    <a:pt x="373" y="1099"/>
                  </a:lnTo>
                  <a:lnTo>
                    <a:pt x="376" y="1099"/>
                  </a:lnTo>
                  <a:lnTo>
                    <a:pt x="376" y="1101"/>
                  </a:lnTo>
                  <a:lnTo>
                    <a:pt x="376" y="1101"/>
                  </a:lnTo>
                  <a:lnTo>
                    <a:pt x="376" y="1101"/>
                  </a:lnTo>
                  <a:lnTo>
                    <a:pt x="376" y="1101"/>
                  </a:lnTo>
                  <a:lnTo>
                    <a:pt x="376" y="1103"/>
                  </a:lnTo>
                  <a:lnTo>
                    <a:pt x="376" y="1103"/>
                  </a:lnTo>
                  <a:lnTo>
                    <a:pt x="373" y="1106"/>
                  </a:lnTo>
                  <a:lnTo>
                    <a:pt x="373" y="1106"/>
                  </a:lnTo>
                  <a:lnTo>
                    <a:pt x="373" y="1106"/>
                  </a:lnTo>
                  <a:lnTo>
                    <a:pt x="371" y="1110"/>
                  </a:lnTo>
                  <a:lnTo>
                    <a:pt x="371" y="1110"/>
                  </a:lnTo>
                  <a:lnTo>
                    <a:pt x="369" y="1110"/>
                  </a:lnTo>
                  <a:lnTo>
                    <a:pt x="371" y="1113"/>
                  </a:lnTo>
                  <a:lnTo>
                    <a:pt x="369" y="1115"/>
                  </a:lnTo>
                  <a:lnTo>
                    <a:pt x="369" y="1115"/>
                  </a:lnTo>
                  <a:lnTo>
                    <a:pt x="369" y="1117"/>
                  </a:lnTo>
                  <a:lnTo>
                    <a:pt x="369" y="1120"/>
                  </a:lnTo>
                  <a:lnTo>
                    <a:pt x="369" y="1120"/>
                  </a:lnTo>
                  <a:lnTo>
                    <a:pt x="371" y="1120"/>
                  </a:lnTo>
                  <a:lnTo>
                    <a:pt x="371" y="1122"/>
                  </a:lnTo>
                  <a:lnTo>
                    <a:pt x="371" y="1122"/>
                  </a:lnTo>
                  <a:lnTo>
                    <a:pt x="371" y="1122"/>
                  </a:lnTo>
                  <a:lnTo>
                    <a:pt x="371" y="1125"/>
                  </a:lnTo>
                  <a:lnTo>
                    <a:pt x="369" y="1127"/>
                  </a:lnTo>
                  <a:lnTo>
                    <a:pt x="371" y="1129"/>
                  </a:lnTo>
                  <a:lnTo>
                    <a:pt x="369" y="1132"/>
                  </a:lnTo>
                  <a:lnTo>
                    <a:pt x="371" y="1134"/>
                  </a:lnTo>
                  <a:lnTo>
                    <a:pt x="369" y="1134"/>
                  </a:lnTo>
                  <a:lnTo>
                    <a:pt x="371" y="1134"/>
                  </a:lnTo>
                  <a:lnTo>
                    <a:pt x="371" y="1136"/>
                  </a:lnTo>
                  <a:lnTo>
                    <a:pt x="371" y="1139"/>
                  </a:lnTo>
                  <a:lnTo>
                    <a:pt x="371" y="1139"/>
                  </a:lnTo>
                  <a:lnTo>
                    <a:pt x="371" y="1141"/>
                  </a:lnTo>
                  <a:lnTo>
                    <a:pt x="371" y="1141"/>
                  </a:lnTo>
                  <a:lnTo>
                    <a:pt x="371" y="1141"/>
                  </a:lnTo>
                  <a:lnTo>
                    <a:pt x="371" y="1143"/>
                  </a:lnTo>
                  <a:lnTo>
                    <a:pt x="369" y="1146"/>
                  </a:lnTo>
                  <a:lnTo>
                    <a:pt x="369" y="1146"/>
                  </a:lnTo>
                  <a:lnTo>
                    <a:pt x="369" y="1148"/>
                  </a:lnTo>
                  <a:lnTo>
                    <a:pt x="366" y="1151"/>
                  </a:lnTo>
                  <a:lnTo>
                    <a:pt x="366" y="1151"/>
                  </a:lnTo>
                  <a:lnTo>
                    <a:pt x="366" y="1153"/>
                  </a:lnTo>
                  <a:lnTo>
                    <a:pt x="366" y="1155"/>
                  </a:lnTo>
                  <a:lnTo>
                    <a:pt x="366" y="1155"/>
                  </a:lnTo>
                  <a:lnTo>
                    <a:pt x="366" y="1158"/>
                  </a:lnTo>
                  <a:lnTo>
                    <a:pt x="366" y="1160"/>
                  </a:lnTo>
                  <a:lnTo>
                    <a:pt x="366" y="1160"/>
                  </a:lnTo>
                  <a:lnTo>
                    <a:pt x="369" y="1162"/>
                  </a:lnTo>
                  <a:lnTo>
                    <a:pt x="369" y="1165"/>
                  </a:lnTo>
                  <a:lnTo>
                    <a:pt x="369" y="1167"/>
                  </a:lnTo>
                  <a:lnTo>
                    <a:pt x="369" y="1167"/>
                  </a:lnTo>
                  <a:lnTo>
                    <a:pt x="366" y="1169"/>
                  </a:lnTo>
                  <a:lnTo>
                    <a:pt x="366" y="1172"/>
                  </a:lnTo>
                  <a:lnTo>
                    <a:pt x="366" y="1172"/>
                  </a:lnTo>
                  <a:lnTo>
                    <a:pt x="366" y="1174"/>
                  </a:lnTo>
                  <a:lnTo>
                    <a:pt x="364" y="1177"/>
                  </a:lnTo>
                  <a:lnTo>
                    <a:pt x="364" y="1179"/>
                  </a:lnTo>
                  <a:lnTo>
                    <a:pt x="364" y="1179"/>
                  </a:lnTo>
                  <a:lnTo>
                    <a:pt x="366" y="1181"/>
                  </a:lnTo>
                  <a:lnTo>
                    <a:pt x="364" y="1186"/>
                  </a:lnTo>
                  <a:lnTo>
                    <a:pt x="364" y="1186"/>
                  </a:lnTo>
                  <a:lnTo>
                    <a:pt x="361" y="1188"/>
                  </a:lnTo>
                  <a:lnTo>
                    <a:pt x="361" y="1193"/>
                  </a:lnTo>
                  <a:lnTo>
                    <a:pt x="359" y="1193"/>
                  </a:lnTo>
                  <a:lnTo>
                    <a:pt x="359" y="1193"/>
                  </a:lnTo>
                  <a:lnTo>
                    <a:pt x="359" y="1195"/>
                  </a:lnTo>
                  <a:lnTo>
                    <a:pt x="357" y="1198"/>
                  </a:lnTo>
                  <a:lnTo>
                    <a:pt x="357" y="1198"/>
                  </a:lnTo>
                  <a:lnTo>
                    <a:pt x="354" y="1198"/>
                  </a:lnTo>
                  <a:lnTo>
                    <a:pt x="354" y="1198"/>
                  </a:lnTo>
                  <a:lnTo>
                    <a:pt x="354" y="1200"/>
                  </a:lnTo>
                  <a:lnTo>
                    <a:pt x="354" y="1205"/>
                  </a:lnTo>
                  <a:lnTo>
                    <a:pt x="352" y="1205"/>
                  </a:lnTo>
                  <a:lnTo>
                    <a:pt x="350" y="1205"/>
                  </a:lnTo>
                  <a:lnTo>
                    <a:pt x="347" y="1205"/>
                  </a:lnTo>
                  <a:lnTo>
                    <a:pt x="347" y="1203"/>
                  </a:lnTo>
                  <a:lnTo>
                    <a:pt x="345" y="1195"/>
                  </a:lnTo>
                  <a:lnTo>
                    <a:pt x="345" y="1195"/>
                  </a:lnTo>
                  <a:lnTo>
                    <a:pt x="343" y="1195"/>
                  </a:lnTo>
                  <a:lnTo>
                    <a:pt x="343" y="1195"/>
                  </a:lnTo>
                  <a:lnTo>
                    <a:pt x="335" y="1200"/>
                  </a:lnTo>
                  <a:lnTo>
                    <a:pt x="331" y="1198"/>
                  </a:lnTo>
                  <a:lnTo>
                    <a:pt x="328" y="1200"/>
                  </a:lnTo>
                  <a:lnTo>
                    <a:pt x="324" y="1195"/>
                  </a:lnTo>
                  <a:lnTo>
                    <a:pt x="324" y="1195"/>
                  </a:lnTo>
                  <a:lnTo>
                    <a:pt x="324" y="1195"/>
                  </a:lnTo>
                  <a:lnTo>
                    <a:pt x="321" y="1193"/>
                  </a:lnTo>
                  <a:lnTo>
                    <a:pt x="319" y="1195"/>
                  </a:lnTo>
                  <a:lnTo>
                    <a:pt x="314" y="1195"/>
                  </a:lnTo>
                  <a:lnTo>
                    <a:pt x="309" y="1195"/>
                  </a:lnTo>
                  <a:lnTo>
                    <a:pt x="309" y="1195"/>
                  </a:lnTo>
                  <a:lnTo>
                    <a:pt x="307" y="1195"/>
                  </a:lnTo>
                  <a:lnTo>
                    <a:pt x="305" y="1195"/>
                  </a:lnTo>
                  <a:lnTo>
                    <a:pt x="302" y="1193"/>
                  </a:lnTo>
                  <a:lnTo>
                    <a:pt x="300" y="1188"/>
                  </a:lnTo>
                  <a:lnTo>
                    <a:pt x="295" y="1184"/>
                  </a:lnTo>
                  <a:lnTo>
                    <a:pt x="295" y="1184"/>
                  </a:lnTo>
                  <a:lnTo>
                    <a:pt x="293" y="1181"/>
                  </a:lnTo>
                  <a:lnTo>
                    <a:pt x="291" y="1179"/>
                  </a:lnTo>
                  <a:lnTo>
                    <a:pt x="291" y="1179"/>
                  </a:lnTo>
                  <a:lnTo>
                    <a:pt x="291" y="1174"/>
                  </a:lnTo>
                  <a:lnTo>
                    <a:pt x="288" y="1169"/>
                  </a:lnTo>
                  <a:lnTo>
                    <a:pt x="288" y="1169"/>
                  </a:lnTo>
                  <a:lnTo>
                    <a:pt x="288" y="1165"/>
                  </a:lnTo>
                  <a:lnTo>
                    <a:pt x="291" y="1162"/>
                  </a:lnTo>
                  <a:lnTo>
                    <a:pt x="288" y="1162"/>
                  </a:lnTo>
                  <a:lnTo>
                    <a:pt x="288" y="1160"/>
                  </a:lnTo>
                  <a:lnTo>
                    <a:pt x="288" y="1158"/>
                  </a:lnTo>
                  <a:lnTo>
                    <a:pt x="288" y="1155"/>
                  </a:lnTo>
                  <a:lnTo>
                    <a:pt x="286" y="1155"/>
                  </a:lnTo>
                  <a:lnTo>
                    <a:pt x="286" y="1153"/>
                  </a:lnTo>
                  <a:lnTo>
                    <a:pt x="288" y="1153"/>
                  </a:lnTo>
                  <a:lnTo>
                    <a:pt x="286" y="1151"/>
                  </a:lnTo>
                  <a:lnTo>
                    <a:pt x="286" y="1151"/>
                  </a:lnTo>
                  <a:lnTo>
                    <a:pt x="286" y="1148"/>
                  </a:lnTo>
                  <a:lnTo>
                    <a:pt x="283" y="1148"/>
                  </a:lnTo>
                  <a:lnTo>
                    <a:pt x="283" y="1146"/>
                  </a:lnTo>
                  <a:lnTo>
                    <a:pt x="281" y="1148"/>
                  </a:lnTo>
                  <a:lnTo>
                    <a:pt x="276" y="1148"/>
                  </a:lnTo>
                  <a:lnTo>
                    <a:pt x="274" y="1146"/>
                  </a:lnTo>
                  <a:lnTo>
                    <a:pt x="274" y="1146"/>
                  </a:lnTo>
                  <a:lnTo>
                    <a:pt x="276" y="1143"/>
                  </a:lnTo>
                  <a:lnTo>
                    <a:pt x="276" y="1141"/>
                  </a:lnTo>
                  <a:lnTo>
                    <a:pt x="276" y="1141"/>
                  </a:lnTo>
                  <a:lnTo>
                    <a:pt x="274" y="1139"/>
                  </a:lnTo>
                  <a:lnTo>
                    <a:pt x="269" y="1139"/>
                  </a:lnTo>
                  <a:lnTo>
                    <a:pt x="267" y="1139"/>
                  </a:lnTo>
                  <a:lnTo>
                    <a:pt x="267" y="1139"/>
                  </a:lnTo>
                  <a:lnTo>
                    <a:pt x="267" y="1136"/>
                  </a:lnTo>
                  <a:lnTo>
                    <a:pt x="267" y="1134"/>
                  </a:lnTo>
                  <a:lnTo>
                    <a:pt x="265" y="1132"/>
                  </a:lnTo>
                  <a:lnTo>
                    <a:pt x="269" y="1129"/>
                  </a:lnTo>
                  <a:lnTo>
                    <a:pt x="272" y="1127"/>
                  </a:lnTo>
                  <a:lnTo>
                    <a:pt x="272" y="1122"/>
                  </a:lnTo>
                  <a:lnTo>
                    <a:pt x="274" y="1120"/>
                  </a:lnTo>
                  <a:lnTo>
                    <a:pt x="274" y="1117"/>
                  </a:lnTo>
                  <a:lnTo>
                    <a:pt x="274" y="1117"/>
                  </a:lnTo>
                  <a:lnTo>
                    <a:pt x="281" y="1113"/>
                  </a:lnTo>
                  <a:lnTo>
                    <a:pt x="281" y="1113"/>
                  </a:lnTo>
                  <a:lnTo>
                    <a:pt x="276" y="1113"/>
                  </a:lnTo>
                  <a:lnTo>
                    <a:pt x="276" y="1110"/>
                  </a:lnTo>
                  <a:lnTo>
                    <a:pt x="276" y="1108"/>
                  </a:lnTo>
                  <a:lnTo>
                    <a:pt x="276" y="1108"/>
                  </a:lnTo>
                  <a:lnTo>
                    <a:pt x="276" y="1106"/>
                  </a:lnTo>
                  <a:lnTo>
                    <a:pt x="276" y="1103"/>
                  </a:lnTo>
                  <a:lnTo>
                    <a:pt x="276" y="1103"/>
                  </a:lnTo>
                  <a:lnTo>
                    <a:pt x="274" y="1103"/>
                  </a:lnTo>
                  <a:lnTo>
                    <a:pt x="272" y="1103"/>
                  </a:lnTo>
                  <a:lnTo>
                    <a:pt x="269" y="1101"/>
                  </a:lnTo>
                  <a:lnTo>
                    <a:pt x="269" y="1101"/>
                  </a:lnTo>
                  <a:lnTo>
                    <a:pt x="267" y="1101"/>
                  </a:lnTo>
                  <a:lnTo>
                    <a:pt x="267" y="1099"/>
                  </a:lnTo>
                  <a:lnTo>
                    <a:pt x="267" y="1096"/>
                  </a:lnTo>
                  <a:lnTo>
                    <a:pt x="267" y="1096"/>
                  </a:lnTo>
                  <a:lnTo>
                    <a:pt x="267" y="1094"/>
                  </a:lnTo>
                  <a:lnTo>
                    <a:pt x="265" y="1094"/>
                  </a:lnTo>
                  <a:lnTo>
                    <a:pt x="265" y="1092"/>
                  </a:lnTo>
                  <a:lnTo>
                    <a:pt x="262" y="1092"/>
                  </a:lnTo>
                  <a:lnTo>
                    <a:pt x="260" y="1094"/>
                  </a:lnTo>
                  <a:lnTo>
                    <a:pt x="257" y="1094"/>
                  </a:lnTo>
                  <a:lnTo>
                    <a:pt x="255" y="1094"/>
                  </a:lnTo>
                  <a:lnTo>
                    <a:pt x="255" y="1094"/>
                  </a:lnTo>
                  <a:lnTo>
                    <a:pt x="255" y="1096"/>
                  </a:lnTo>
                  <a:lnTo>
                    <a:pt x="250" y="1094"/>
                  </a:lnTo>
                  <a:lnTo>
                    <a:pt x="250" y="1094"/>
                  </a:lnTo>
                  <a:lnTo>
                    <a:pt x="253" y="1092"/>
                  </a:lnTo>
                  <a:lnTo>
                    <a:pt x="250" y="1089"/>
                  </a:lnTo>
                  <a:lnTo>
                    <a:pt x="250" y="1087"/>
                  </a:lnTo>
                  <a:lnTo>
                    <a:pt x="248" y="1087"/>
                  </a:lnTo>
                  <a:lnTo>
                    <a:pt x="248" y="1084"/>
                  </a:lnTo>
                  <a:lnTo>
                    <a:pt x="246" y="1082"/>
                  </a:lnTo>
                  <a:lnTo>
                    <a:pt x="246" y="1080"/>
                  </a:lnTo>
                  <a:lnTo>
                    <a:pt x="246" y="1080"/>
                  </a:lnTo>
                  <a:lnTo>
                    <a:pt x="241" y="1082"/>
                  </a:lnTo>
                  <a:lnTo>
                    <a:pt x="241" y="1080"/>
                  </a:lnTo>
                  <a:lnTo>
                    <a:pt x="241" y="1080"/>
                  </a:lnTo>
                  <a:lnTo>
                    <a:pt x="241" y="1077"/>
                  </a:lnTo>
                  <a:lnTo>
                    <a:pt x="243" y="1077"/>
                  </a:lnTo>
                  <a:lnTo>
                    <a:pt x="243" y="1077"/>
                  </a:lnTo>
                  <a:lnTo>
                    <a:pt x="243" y="1075"/>
                  </a:lnTo>
                  <a:lnTo>
                    <a:pt x="246" y="1075"/>
                  </a:lnTo>
                  <a:lnTo>
                    <a:pt x="243" y="1073"/>
                  </a:lnTo>
                  <a:lnTo>
                    <a:pt x="243" y="1070"/>
                  </a:lnTo>
                  <a:lnTo>
                    <a:pt x="246" y="1068"/>
                  </a:lnTo>
                  <a:lnTo>
                    <a:pt x="243" y="1068"/>
                  </a:lnTo>
                  <a:lnTo>
                    <a:pt x="243" y="1066"/>
                  </a:lnTo>
                  <a:lnTo>
                    <a:pt x="241" y="1068"/>
                  </a:lnTo>
                  <a:lnTo>
                    <a:pt x="241" y="1066"/>
                  </a:lnTo>
                  <a:lnTo>
                    <a:pt x="241" y="1066"/>
                  </a:lnTo>
                  <a:lnTo>
                    <a:pt x="241" y="1063"/>
                  </a:lnTo>
                  <a:lnTo>
                    <a:pt x="241" y="1061"/>
                  </a:lnTo>
                  <a:lnTo>
                    <a:pt x="239" y="1061"/>
                  </a:lnTo>
                  <a:lnTo>
                    <a:pt x="236" y="1058"/>
                  </a:lnTo>
                  <a:lnTo>
                    <a:pt x="236" y="1058"/>
                  </a:lnTo>
                  <a:lnTo>
                    <a:pt x="236" y="1058"/>
                  </a:lnTo>
                  <a:lnTo>
                    <a:pt x="236" y="1056"/>
                  </a:lnTo>
                  <a:lnTo>
                    <a:pt x="234" y="1058"/>
                  </a:lnTo>
                  <a:lnTo>
                    <a:pt x="234" y="1058"/>
                  </a:lnTo>
                  <a:lnTo>
                    <a:pt x="231" y="1058"/>
                  </a:lnTo>
                  <a:lnTo>
                    <a:pt x="231" y="1058"/>
                  </a:lnTo>
                  <a:lnTo>
                    <a:pt x="229" y="1056"/>
                  </a:lnTo>
                  <a:lnTo>
                    <a:pt x="231" y="1056"/>
                  </a:lnTo>
                  <a:lnTo>
                    <a:pt x="229" y="1056"/>
                  </a:lnTo>
                  <a:lnTo>
                    <a:pt x="231" y="1054"/>
                  </a:lnTo>
                  <a:lnTo>
                    <a:pt x="229" y="1054"/>
                  </a:lnTo>
                  <a:lnTo>
                    <a:pt x="231" y="1054"/>
                  </a:lnTo>
                  <a:lnTo>
                    <a:pt x="229" y="1051"/>
                  </a:lnTo>
                  <a:lnTo>
                    <a:pt x="231" y="1051"/>
                  </a:lnTo>
                  <a:lnTo>
                    <a:pt x="231" y="1051"/>
                  </a:lnTo>
                  <a:lnTo>
                    <a:pt x="231" y="1051"/>
                  </a:lnTo>
                  <a:lnTo>
                    <a:pt x="231" y="1049"/>
                  </a:lnTo>
                  <a:lnTo>
                    <a:pt x="229" y="1049"/>
                  </a:lnTo>
                  <a:lnTo>
                    <a:pt x="224" y="1051"/>
                  </a:lnTo>
                  <a:lnTo>
                    <a:pt x="222" y="1051"/>
                  </a:lnTo>
                  <a:lnTo>
                    <a:pt x="222" y="1051"/>
                  </a:lnTo>
                  <a:lnTo>
                    <a:pt x="222" y="1051"/>
                  </a:lnTo>
                  <a:lnTo>
                    <a:pt x="220" y="1051"/>
                  </a:lnTo>
                  <a:lnTo>
                    <a:pt x="220" y="1051"/>
                  </a:lnTo>
                  <a:lnTo>
                    <a:pt x="220" y="1049"/>
                  </a:lnTo>
                  <a:lnTo>
                    <a:pt x="220" y="1051"/>
                  </a:lnTo>
                  <a:lnTo>
                    <a:pt x="217" y="1049"/>
                  </a:lnTo>
                  <a:lnTo>
                    <a:pt x="215" y="1049"/>
                  </a:lnTo>
                  <a:lnTo>
                    <a:pt x="215" y="1051"/>
                  </a:lnTo>
                  <a:lnTo>
                    <a:pt x="213" y="1049"/>
                  </a:lnTo>
                  <a:lnTo>
                    <a:pt x="213" y="1049"/>
                  </a:lnTo>
                  <a:lnTo>
                    <a:pt x="215" y="1049"/>
                  </a:lnTo>
                  <a:lnTo>
                    <a:pt x="213" y="1047"/>
                  </a:lnTo>
                  <a:lnTo>
                    <a:pt x="215" y="1047"/>
                  </a:lnTo>
                  <a:lnTo>
                    <a:pt x="215" y="1047"/>
                  </a:lnTo>
                  <a:lnTo>
                    <a:pt x="215" y="1047"/>
                  </a:lnTo>
                  <a:lnTo>
                    <a:pt x="217" y="1044"/>
                  </a:lnTo>
                  <a:lnTo>
                    <a:pt x="217" y="1044"/>
                  </a:lnTo>
                  <a:lnTo>
                    <a:pt x="215" y="1044"/>
                  </a:lnTo>
                  <a:lnTo>
                    <a:pt x="215" y="1042"/>
                  </a:lnTo>
                  <a:lnTo>
                    <a:pt x="215" y="1044"/>
                  </a:lnTo>
                  <a:lnTo>
                    <a:pt x="213" y="1042"/>
                  </a:lnTo>
                  <a:lnTo>
                    <a:pt x="213" y="1042"/>
                  </a:lnTo>
                  <a:lnTo>
                    <a:pt x="217" y="1042"/>
                  </a:lnTo>
                  <a:lnTo>
                    <a:pt x="217" y="1042"/>
                  </a:lnTo>
                  <a:lnTo>
                    <a:pt x="217" y="1040"/>
                  </a:lnTo>
                  <a:lnTo>
                    <a:pt x="217" y="1040"/>
                  </a:lnTo>
                  <a:lnTo>
                    <a:pt x="217" y="1040"/>
                  </a:lnTo>
                  <a:lnTo>
                    <a:pt x="220" y="1040"/>
                  </a:lnTo>
                  <a:lnTo>
                    <a:pt x="220" y="1040"/>
                  </a:lnTo>
                  <a:lnTo>
                    <a:pt x="220" y="1037"/>
                  </a:lnTo>
                  <a:lnTo>
                    <a:pt x="220" y="1037"/>
                  </a:lnTo>
                  <a:lnTo>
                    <a:pt x="220" y="1035"/>
                  </a:lnTo>
                  <a:lnTo>
                    <a:pt x="220" y="1035"/>
                  </a:lnTo>
                  <a:lnTo>
                    <a:pt x="220" y="1035"/>
                  </a:lnTo>
                  <a:lnTo>
                    <a:pt x="222" y="1032"/>
                  </a:lnTo>
                  <a:lnTo>
                    <a:pt x="222" y="1032"/>
                  </a:lnTo>
                  <a:lnTo>
                    <a:pt x="224" y="1032"/>
                  </a:lnTo>
                  <a:lnTo>
                    <a:pt x="224" y="1030"/>
                  </a:lnTo>
                  <a:lnTo>
                    <a:pt x="227" y="1030"/>
                  </a:lnTo>
                  <a:lnTo>
                    <a:pt x="224" y="1028"/>
                  </a:lnTo>
                  <a:lnTo>
                    <a:pt x="224" y="1028"/>
                  </a:lnTo>
                  <a:lnTo>
                    <a:pt x="222" y="1028"/>
                  </a:lnTo>
                  <a:lnTo>
                    <a:pt x="222" y="1028"/>
                  </a:lnTo>
                  <a:lnTo>
                    <a:pt x="222" y="1025"/>
                  </a:lnTo>
                  <a:lnTo>
                    <a:pt x="224" y="1023"/>
                  </a:lnTo>
                  <a:lnTo>
                    <a:pt x="224" y="1023"/>
                  </a:lnTo>
                  <a:lnTo>
                    <a:pt x="227" y="1023"/>
                  </a:lnTo>
                  <a:lnTo>
                    <a:pt x="227" y="1025"/>
                  </a:lnTo>
                  <a:lnTo>
                    <a:pt x="227" y="1023"/>
                  </a:lnTo>
                  <a:lnTo>
                    <a:pt x="229" y="1023"/>
                  </a:lnTo>
                  <a:lnTo>
                    <a:pt x="231" y="1023"/>
                  </a:lnTo>
                  <a:lnTo>
                    <a:pt x="231" y="1021"/>
                  </a:lnTo>
                  <a:lnTo>
                    <a:pt x="231" y="1021"/>
                  </a:lnTo>
                  <a:lnTo>
                    <a:pt x="231" y="1021"/>
                  </a:lnTo>
                  <a:lnTo>
                    <a:pt x="231" y="1021"/>
                  </a:lnTo>
                  <a:lnTo>
                    <a:pt x="234" y="1018"/>
                  </a:lnTo>
                  <a:lnTo>
                    <a:pt x="231" y="1018"/>
                  </a:lnTo>
                  <a:lnTo>
                    <a:pt x="234" y="1018"/>
                  </a:lnTo>
                  <a:lnTo>
                    <a:pt x="234" y="1014"/>
                  </a:lnTo>
                  <a:lnTo>
                    <a:pt x="234" y="1014"/>
                  </a:lnTo>
                  <a:lnTo>
                    <a:pt x="234" y="1011"/>
                  </a:lnTo>
                  <a:lnTo>
                    <a:pt x="231" y="1011"/>
                  </a:lnTo>
                  <a:lnTo>
                    <a:pt x="231" y="1011"/>
                  </a:lnTo>
                  <a:lnTo>
                    <a:pt x="231" y="1011"/>
                  </a:lnTo>
                  <a:lnTo>
                    <a:pt x="231" y="1009"/>
                  </a:lnTo>
                  <a:lnTo>
                    <a:pt x="231" y="1009"/>
                  </a:lnTo>
                  <a:lnTo>
                    <a:pt x="229" y="1004"/>
                  </a:lnTo>
                  <a:lnTo>
                    <a:pt x="231" y="1004"/>
                  </a:lnTo>
                  <a:lnTo>
                    <a:pt x="231" y="1004"/>
                  </a:lnTo>
                  <a:lnTo>
                    <a:pt x="231" y="1004"/>
                  </a:lnTo>
                  <a:lnTo>
                    <a:pt x="231" y="1002"/>
                  </a:lnTo>
                  <a:lnTo>
                    <a:pt x="234" y="1002"/>
                  </a:lnTo>
                  <a:lnTo>
                    <a:pt x="236" y="1002"/>
                  </a:lnTo>
                  <a:lnTo>
                    <a:pt x="236" y="999"/>
                  </a:lnTo>
                  <a:lnTo>
                    <a:pt x="236" y="997"/>
                  </a:lnTo>
                  <a:lnTo>
                    <a:pt x="234" y="997"/>
                  </a:lnTo>
                  <a:lnTo>
                    <a:pt x="236" y="997"/>
                  </a:lnTo>
                  <a:lnTo>
                    <a:pt x="234" y="997"/>
                  </a:lnTo>
                  <a:lnTo>
                    <a:pt x="234" y="995"/>
                  </a:lnTo>
                  <a:lnTo>
                    <a:pt x="234" y="995"/>
                  </a:lnTo>
                  <a:lnTo>
                    <a:pt x="231" y="995"/>
                  </a:lnTo>
                  <a:lnTo>
                    <a:pt x="231" y="995"/>
                  </a:lnTo>
                  <a:lnTo>
                    <a:pt x="231" y="992"/>
                  </a:lnTo>
                  <a:lnTo>
                    <a:pt x="231" y="992"/>
                  </a:lnTo>
                  <a:lnTo>
                    <a:pt x="231" y="992"/>
                  </a:lnTo>
                  <a:lnTo>
                    <a:pt x="234" y="992"/>
                  </a:lnTo>
                  <a:lnTo>
                    <a:pt x="234" y="990"/>
                  </a:lnTo>
                  <a:lnTo>
                    <a:pt x="234" y="990"/>
                  </a:lnTo>
                  <a:lnTo>
                    <a:pt x="234" y="990"/>
                  </a:lnTo>
                  <a:lnTo>
                    <a:pt x="234" y="990"/>
                  </a:lnTo>
                  <a:lnTo>
                    <a:pt x="234" y="988"/>
                  </a:lnTo>
                  <a:lnTo>
                    <a:pt x="234" y="988"/>
                  </a:lnTo>
                  <a:lnTo>
                    <a:pt x="231" y="988"/>
                  </a:lnTo>
                  <a:lnTo>
                    <a:pt x="231" y="988"/>
                  </a:lnTo>
                  <a:lnTo>
                    <a:pt x="231" y="988"/>
                  </a:lnTo>
                  <a:lnTo>
                    <a:pt x="231" y="988"/>
                  </a:lnTo>
                  <a:lnTo>
                    <a:pt x="231" y="988"/>
                  </a:lnTo>
                  <a:lnTo>
                    <a:pt x="234" y="988"/>
                  </a:lnTo>
                  <a:lnTo>
                    <a:pt x="234" y="988"/>
                  </a:lnTo>
                  <a:lnTo>
                    <a:pt x="234" y="988"/>
                  </a:lnTo>
                  <a:lnTo>
                    <a:pt x="234" y="985"/>
                  </a:lnTo>
                  <a:lnTo>
                    <a:pt x="234" y="985"/>
                  </a:lnTo>
                  <a:lnTo>
                    <a:pt x="236" y="985"/>
                  </a:lnTo>
                  <a:lnTo>
                    <a:pt x="236" y="985"/>
                  </a:lnTo>
                  <a:lnTo>
                    <a:pt x="236" y="985"/>
                  </a:lnTo>
                  <a:lnTo>
                    <a:pt x="236" y="985"/>
                  </a:lnTo>
                  <a:lnTo>
                    <a:pt x="236" y="985"/>
                  </a:lnTo>
                  <a:lnTo>
                    <a:pt x="236" y="985"/>
                  </a:lnTo>
                  <a:lnTo>
                    <a:pt x="236" y="985"/>
                  </a:lnTo>
                  <a:lnTo>
                    <a:pt x="239" y="985"/>
                  </a:lnTo>
                  <a:lnTo>
                    <a:pt x="236" y="983"/>
                  </a:lnTo>
                  <a:lnTo>
                    <a:pt x="239" y="983"/>
                  </a:lnTo>
                  <a:lnTo>
                    <a:pt x="239" y="983"/>
                  </a:lnTo>
                  <a:lnTo>
                    <a:pt x="239" y="983"/>
                  </a:lnTo>
                  <a:lnTo>
                    <a:pt x="239" y="983"/>
                  </a:lnTo>
                  <a:lnTo>
                    <a:pt x="239" y="983"/>
                  </a:lnTo>
                  <a:lnTo>
                    <a:pt x="241" y="980"/>
                  </a:lnTo>
                  <a:lnTo>
                    <a:pt x="241" y="980"/>
                  </a:lnTo>
                  <a:lnTo>
                    <a:pt x="241" y="980"/>
                  </a:lnTo>
                  <a:lnTo>
                    <a:pt x="241" y="978"/>
                  </a:lnTo>
                  <a:lnTo>
                    <a:pt x="241" y="978"/>
                  </a:lnTo>
                  <a:lnTo>
                    <a:pt x="241" y="978"/>
                  </a:lnTo>
                  <a:lnTo>
                    <a:pt x="241" y="976"/>
                  </a:lnTo>
                  <a:lnTo>
                    <a:pt x="241" y="976"/>
                  </a:lnTo>
                  <a:lnTo>
                    <a:pt x="241" y="976"/>
                  </a:lnTo>
                  <a:lnTo>
                    <a:pt x="241" y="973"/>
                  </a:lnTo>
                  <a:lnTo>
                    <a:pt x="241" y="973"/>
                  </a:lnTo>
                  <a:lnTo>
                    <a:pt x="241" y="973"/>
                  </a:lnTo>
                  <a:lnTo>
                    <a:pt x="241" y="971"/>
                  </a:lnTo>
                  <a:lnTo>
                    <a:pt x="243" y="971"/>
                  </a:lnTo>
                  <a:lnTo>
                    <a:pt x="243" y="973"/>
                  </a:lnTo>
                  <a:lnTo>
                    <a:pt x="246" y="971"/>
                  </a:lnTo>
                  <a:lnTo>
                    <a:pt x="248" y="969"/>
                  </a:lnTo>
                  <a:lnTo>
                    <a:pt x="246" y="969"/>
                  </a:lnTo>
                  <a:lnTo>
                    <a:pt x="248" y="966"/>
                  </a:lnTo>
                  <a:lnTo>
                    <a:pt x="248" y="966"/>
                  </a:lnTo>
                  <a:lnTo>
                    <a:pt x="248" y="964"/>
                  </a:lnTo>
                  <a:lnTo>
                    <a:pt x="246" y="962"/>
                  </a:lnTo>
                  <a:lnTo>
                    <a:pt x="248" y="964"/>
                  </a:lnTo>
                  <a:lnTo>
                    <a:pt x="248" y="962"/>
                  </a:lnTo>
                  <a:lnTo>
                    <a:pt x="248" y="959"/>
                  </a:lnTo>
                  <a:lnTo>
                    <a:pt x="248" y="959"/>
                  </a:lnTo>
                  <a:lnTo>
                    <a:pt x="248" y="959"/>
                  </a:lnTo>
                  <a:lnTo>
                    <a:pt x="248" y="959"/>
                  </a:lnTo>
                  <a:lnTo>
                    <a:pt x="250" y="959"/>
                  </a:lnTo>
                  <a:lnTo>
                    <a:pt x="253" y="959"/>
                  </a:lnTo>
                  <a:lnTo>
                    <a:pt x="255" y="959"/>
                  </a:lnTo>
                  <a:lnTo>
                    <a:pt x="255" y="959"/>
                  </a:lnTo>
                  <a:lnTo>
                    <a:pt x="255" y="959"/>
                  </a:lnTo>
                  <a:lnTo>
                    <a:pt x="257" y="959"/>
                  </a:lnTo>
                  <a:lnTo>
                    <a:pt x="257" y="957"/>
                  </a:lnTo>
                  <a:lnTo>
                    <a:pt x="257" y="957"/>
                  </a:lnTo>
                  <a:lnTo>
                    <a:pt x="260" y="955"/>
                  </a:lnTo>
                  <a:lnTo>
                    <a:pt x="262" y="955"/>
                  </a:lnTo>
                  <a:lnTo>
                    <a:pt x="265" y="955"/>
                  </a:lnTo>
                  <a:lnTo>
                    <a:pt x="267" y="952"/>
                  </a:lnTo>
                  <a:lnTo>
                    <a:pt x="272" y="955"/>
                  </a:lnTo>
                  <a:lnTo>
                    <a:pt x="274" y="955"/>
                  </a:lnTo>
                  <a:lnTo>
                    <a:pt x="274" y="952"/>
                  </a:lnTo>
                  <a:lnTo>
                    <a:pt x="276" y="952"/>
                  </a:lnTo>
                  <a:lnTo>
                    <a:pt x="279" y="952"/>
                  </a:lnTo>
                  <a:lnTo>
                    <a:pt x="281" y="950"/>
                  </a:lnTo>
                  <a:lnTo>
                    <a:pt x="283" y="947"/>
                  </a:lnTo>
                  <a:lnTo>
                    <a:pt x="283" y="945"/>
                  </a:lnTo>
                  <a:lnTo>
                    <a:pt x="283" y="940"/>
                  </a:lnTo>
                  <a:lnTo>
                    <a:pt x="283" y="938"/>
                  </a:lnTo>
                  <a:lnTo>
                    <a:pt x="286" y="938"/>
                  </a:lnTo>
                  <a:lnTo>
                    <a:pt x="286" y="936"/>
                  </a:lnTo>
                  <a:lnTo>
                    <a:pt x="286" y="936"/>
                  </a:lnTo>
                  <a:lnTo>
                    <a:pt x="283" y="933"/>
                  </a:lnTo>
                  <a:lnTo>
                    <a:pt x="283" y="933"/>
                  </a:lnTo>
                  <a:lnTo>
                    <a:pt x="283" y="931"/>
                  </a:lnTo>
                  <a:lnTo>
                    <a:pt x="286" y="926"/>
                  </a:lnTo>
                  <a:lnTo>
                    <a:pt x="286" y="924"/>
                  </a:lnTo>
                  <a:lnTo>
                    <a:pt x="286" y="921"/>
                  </a:lnTo>
                  <a:lnTo>
                    <a:pt x="288" y="921"/>
                  </a:lnTo>
                  <a:lnTo>
                    <a:pt x="291" y="921"/>
                  </a:lnTo>
                  <a:lnTo>
                    <a:pt x="291" y="919"/>
                  </a:lnTo>
                  <a:lnTo>
                    <a:pt x="288" y="917"/>
                  </a:lnTo>
                  <a:lnTo>
                    <a:pt x="288" y="914"/>
                  </a:lnTo>
                  <a:lnTo>
                    <a:pt x="288" y="912"/>
                  </a:lnTo>
                  <a:lnTo>
                    <a:pt x="288" y="912"/>
                  </a:lnTo>
                  <a:lnTo>
                    <a:pt x="286" y="910"/>
                  </a:lnTo>
                  <a:lnTo>
                    <a:pt x="286" y="910"/>
                  </a:lnTo>
                  <a:lnTo>
                    <a:pt x="286" y="907"/>
                  </a:lnTo>
                  <a:lnTo>
                    <a:pt x="283" y="905"/>
                  </a:lnTo>
                  <a:lnTo>
                    <a:pt x="279" y="903"/>
                  </a:lnTo>
                  <a:lnTo>
                    <a:pt x="276" y="903"/>
                  </a:lnTo>
                  <a:lnTo>
                    <a:pt x="276" y="900"/>
                  </a:lnTo>
                  <a:lnTo>
                    <a:pt x="276" y="900"/>
                  </a:lnTo>
                  <a:lnTo>
                    <a:pt x="276" y="900"/>
                  </a:lnTo>
                  <a:lnTo>
                    <a:pt x="274" y="898"/>
                  </a:lnTo>
                  <a:lnTo>
                    <a:pt x="274" y="898"/>
                  </a:lnTo>
                  <a:lnTo>
                    <a:pt x="274" y="898"/>
                  </a:lnTo>
                  <a:lnTo>
                    <a:pt x="272" y="895"/>
                  </a:lnTo>
                  <a:lnTo>
                    <a:pt x="269" y="895"/>
                  </a:lnTo>
                  <a:lnTo>
                    <a:pt x="267" y="898"/>
                  </a:lnTo>
                  <a:lnTo>
                    <a:pt x="267" y="898"/>
                  </a:lnTo>
                  <a:lnTo>
                    <a:pt x="265" y="898"/>
                  </a:lnTo>
                  <a:lnTo>
                    <a:pt x="265" y="898"/>
                  </a:lnTo>
                  <a:lnTo>
                    <a:pt x="262" y="900"/>
                  </a:lnTo>
                  <a:lnTo>
                    <a:pt x="260" y="900"/>
                  </a:lnTo>
                  <a:lnTo>
                    <a:pt x="260" y="900"/>
                  </a:lnTo>
                  <a:lnTo>
                    <a:pt x="257" y="898"/>
                  </a:lnTo>
                  <a:lnTo>
                    <a:pt x="257" y="900"/>
                  </a:lnTo>
                  <a:lnTo>
                    <a:pt x="257" y="900"/>
                  </a:lnTo>
                  <a:lnTo>
                    <a:pt x="255" y="900"/>
                  </a:lnTo>
                  <a:lnTo>
                    <a:pt x="255" y="900"/>
                  </a:lnTo>
                  <a:lnTo>
                    <a:pt x="255" y="900"/>
                  </a:lnTo>
                  <a:lnTo>
                    <a:pt x="253" y="900"/>
                  </a:lnTo>
                  <a:lnTo>
                    <a:pt x="253" y="900"/>
                  </a:lnTo>
                  <a:lnTo>
                    <a:pt x="250" y="903"/>
                  </a:lnTo>
                  <a:lnTo>
                    <a:pt x="250" y="903"/>
                  </a:lnTo>
                  <a:lnTo>
                    <a:pt x="250" y="903"/>
                  </a:lnTo>
                  <a:lnTo>
                    <a:pt x="250" y="903"/>
                  </a:lnTo>
                  <a:lnTo>
                    <a:pt x="248" y="903"/>
                  </a:lnTo>
                  <a:lnTo>
                    <a:pt x="248" y="905"/>
                  </a:lnTo>
                  <a:lnTo>
                    <a:pt x="248" y="903"/>
                  </a:lnTo>
                  <a:lnTo>
                    <a:pt x="248" y="905"/>
                  </a:lnTo>
                  <a:lnTo>
                    <a:pt x="248" y="905"/>
                  </a:lnTo>
                  <a:lnTo>
                    <a:pt x="246" y="903"/>
                  </a:lnTo>
                  <a:lnTo>
                    <a:pt x="246" y="905"/>
                  </a:lnTo>
                  <a:lnTo>
                    <a:pt x="243" y="905"/>
                  </a:lnTo>
                  <a:lnTo>
                    <a:pt x="241" y="905"/>
                  </a:lnTo>
                  <a:lnTo>
                    <a:pt x="241" y="905"/>
                  </a:lnTo>
                  <a:lnTo>
                    <a:pt x="241" y="905"/>
                  </a:lnTo>
                  <a:lnTo>
                    <a:pt x="241" y="905"/>
                  </a:lnTo>
                  <a:lnTo>
                    <a:pt x="239" y="905"/>
                  </a:lnTo>
                  <a:lnTo>
                    <a:pt x="239" y="905"/>
                  </a:lnTo>
                  <a:lnTo>
                    <a:pt x="239" y="905"/>
                  </a:lnTo>
                  <a:lnTo>
                    <a:pt x="239" y="905"/>
                  </a:lnTo>
                  <a:lnTo>
                    <a:pt x="236" y="905"/>
                  </a:lnTo>
                  <a:lnTo>
                    <a:pt x="236" y="907"/>
                  </a:lnTo>
                  <a:lnTo>
                    <a:pt x="236" y="907"/>
                  </a:lnTo>
                  <a:lnTo>
                    <a:pt x="234" y="910"/>
                  </a:lnTo>
                  <a:lnTo>
                    <a:pt x="234" y="910"/>
                  </a:lnTo>
                  <a:lnTo>
                    <a:pt x="231" y="907"/>
                  </a:lnTo>
                  <a:lnTo>
                    <a:pt x="231" y="907"/>
                  </a:lnTo>
                  <a:lnTo>
                    <a:pt x="231" y="910"/>
                  </a:lnTo>
                  <a:lnTo>
                    <a:pt x="231" y="910"/>
                  </a:lnTo>
                  <a:lnTo>
                    <a:pt x="231" y="910"/>
                  </a:lnTo>
                  <a:lnTo>
                    <a:pt x="229" y="910"/>
                  </a:lnTo>
                  <a:lnTo>
                    <a:pt x="229" y="912"/>
                  </a:lnTo>
                  <a:lnTo>
                    <a:pt x="227" y="912"/>
                  </a:lnTo>
                  <a:lnTo>
                    <a:pt x="227" y="912"/>
                  </a:lnTo>
                  <a:lnTo>
                    <a:pt x="227" y="914"/>
                  </a:lnTo>
                  <a:lnTo>
                    <a:pt x="227" y="914"/>
                  </a:lnTo>
                  <a:lnTo>
                    <a:pt x="227" y="914"/>
                  </a:lnTo>
                  <a:lnTo>
                    <a:pt x="224" y="917"/>
                  </a:lnTo>
                  <a:lnTo>
                    <a:pt x="224" y="917"/>
                  </a:lnTo>
                  <a:lnTo>
                    <a:pt x="222" y="917"/>
                  </a:lnTo>
                  <a:lnTo>
                    <a:pt x="222" y="919"/>
                  </a:lnTo>
                  <a:lnTo>
                    <a:pt x="222" y="919"/>
                  </a:lnTo>
                  <a:lnTo>
                    <a:pt x="222" y="919"/>
                  </a:lnTo>
                  <a:lnTo>
                    <a:pt x="220" y="919"/>
                  </a:lnTo>
                  <a:lnTo>
                    <a:pt x="220" y="919"/>
                  </a:lnTo>
                  <a:lnTo>
                    <a:pt x="220" y="919"/>
                  </a:lnTo>
                  <a:lnTo>
                    <a:pt x="220" y="917"/>
                  </a:lnTo>
                  <a:lnTo>
                    <a:pt x="217" y="917"/>
                  </a:lnTo>
                  <a:lnTo>
                    <a:pt x="217" y="917"/>
                  </a:lnTo>
                  <a:lnTo>
                    <a:pt x="215" y="914"/>
                  </a:lnTo>
                  <a:lnTo>
                    <a:pt x="215" y="914"/>
                  </a:lnTo>
                  <a:lnTo>
                    <a:pt x="213" y="914"/>
                  </a:lnTo>
                  <a:lnTo>
                    <a:pt x="213" y="912"/>
                  </a:lnTo>
                  <a:lnTo>
                    <a:pt x="210" y="910"/>
                  </a:lnTo>
                  <a:lnTo>
                    <a:pt x="208" y="910"/>
                  </a:lnTo>
                  <a:lnTo>
                    <a:pt x="210" y="907"/>
                  </a:lnTo>
                  <a:lnTo>
                    <a:pt x="208" y="905"/>
                  </a:lnTo>
                  <a:lnTo>
                    <a:pt x="208" y="905"/>
                  </a:lnTo>
                  <a:lnTo>
                    <a:pt x="208" y="905"/>
                  </a:lnTo>
                  <a:lnTo>
                    <a:pt x="208" y="905"/>
                  </a:lnTo>
                  <a:lnTo>
                    <a:pt x="208" y="905"/>
                  </a:lnTo>
                  <a:lnTo>
                    <a:pt x="208" y="905"/>
                  </a:lnTo>
                  <a:lnTo>
                    <a:pt x="208" y="903"/>
                  </a:lnTo>
                  <a:lnTo>
                    <a:pt x="208" y="903"/>
                  </a:lnTo>
                  <a:lnTo>
                    <a:pt x="206" y="900"/>
                  </a:lnTo>
                  <a:lnTo>
                    <a:pt x="206" y="900"/>
                  </a:lnTo>
                  <a:lnTo>
                    <a:pt x="203" y="900"/>
                  </a:lnTo>
                  <a:lnTo>
                    <a:pt x="203" y="900"/>
                  </a:lnTo>
                  <a:lnTo>
                    <a:pt x="203" y="895"/>
                  </a:lnTo>
                  <a:lnTo>
                    <a:pt x="201" y="895"/>
                  </a:lnTo>
                  <a:lnTo>
                    <a:pt x="201" y="895"/>
                  </a:lnTo>
                  <a:lnTo>
                    <a:pt x="201" y="895"/>
                  </a:lnTo>
                  <a:lnTo>
                    <a:pt x="198" y="893"/>
                  </a:lnTo>
                  <a:lnTo>
                    <a:pt x="198" y="893"/>
                  </a:lnTo>
                  <a:lnTo>
                    <a:pt x="198" y="891"/>
                  </a:lnTo>
                  <a:lnTo>
                    <a:pt x="198" y="891"/>
                  </a:lnTo>
                  <a:lnTo>
                    <a:pt x="198" y="891"/>
                  </a:lnTo>
                  <a:lnTo>
                    <a:pt x="196" y="891"/>
                  </a:lnTo>
                  <a:lnTo>
                    <a:pt x="196" y="891"/>
                  </a:lnTo>
                  <a:lnTo>
                    <a:pt x="196" y="891"/>
                  </a:lnTo>
                  <a:lnTo>
                    <a:pt x="196" y="888"/>
                  </a:lnTo>
                  <a:lnTo>
                    <a:pt x="194" y="888"/>
                  </a:lnTo>
                  <a:lnTo>
                    <a:pt x="194" y="888"/>
                  </a:lnTo>
                  <a:lnTo>
                    <a:pt x="191" y="886"/>
                  </a:lnTo>
                  <a:lnTo>
                    <a:pt x="191" y="886"/>
                  </a:lnTo>
                  <a:lnTo>
                    <a:pt x="191" y="886"/>
                  </a:lnTo>
                  <a:lnTo>
                    <a:pt x="191" y="886"/>
                  </a:lnTo>
                  <a:lnTo>
                    <a:pt x="191" y="886"/>
                  </a:lnTo>
                  <a:lnTo>
                    <a:pt x="191" y="884"/>
                  </a:lnTo>
                  <a:lnTo>
                    <a:pt x="191" y="884"/>
                  </a:lnTo>
                  <a:lnTo>
                    <a:pt x="191" y="884"/>
                  </a:lnTo>
                  <a:lnTo>
                    <a:pt x="191" y="881"/>
                  </a:lnTo>
                  <a:lnTo>
                    <a:pt x="189" y="879"/>
                  </a:lnTo>
                  <a:lnTo>
                    <a:pt x="191" y="879"/>
                  </a:lnTo>
                  <a:lnTo>
                    <a:pt x="189" y="879"/>
                  </a:lnTo>
                  <a:lnTo>
                    <a:pt x="189" y="879"/>
                  </a:lnTo>
                  <a:lnTo>
                    <a:pt x="187" y="879"/>
                  </a:lnTo>
                  <a:lnTo>
                    <a:pt x="189" y="877"/>
                  </a:lnTo>
                  <a:lnTo>
                    <a:pt x="189" y="877"/>
                  </a:lnTo>
                  <a:lnTo>
                    <a:pt x="187" y="877"/>
                  </a:lnTo>
                  <a:lnTo>
                    <a:pt x="187" y="877"/>
                  </a:lnTo>
                  <a:lnTo>
                    <a:pt x="187" y="874"/>
                  </a:lnTo>
                  <a:lnTo>
                    <a:pt x="187" y="877"/>
                  </a:lnTo>
                  <a:lnTo>
                    <a:pt x="184" y="874"/>
                  </a:lnTo>
                  <a:lnTo>
                    <a:pt x="184" y="877"/>
                  </a:lnTo>
                  <a:lnTo>
                    <a:pt x="182" y="874"/>
                  </a:lnTo>
                  <a:lnTo>
                    <a:pt x="182" y="874"/>
                  </a:lnTo>
                  <a:lnTo>
                    <a:pt x="182" y="874"/>
                  </a:lnTo>
                  <a:lnTo>
                    <a:pt x="182" y="872"/>
                  </a:lnTo>
                  <a:lnTo>
                    <a:pt x="182" y="872"/>
                  </a:lnTo>
                  <a:lnTo>
                    <a:pt x="182" y="872"/>
                  </a:lnTo>
                  <a:lnTo>
                    <a:pt x="182" y="872"/>
                  </a:lnTo>
                  <a:lnTo>
                    <a:pt x="184" y="872"/>
                  </a:lnTo>
                  <a:lnTo>
                    <a:pt x="184" y="869"/>
                  </a:lnTo>
                  <a:lnTo>
                    <a:pt x="180" y="869"/>
                  </a:lnTo>
                  <a:lnTo>
                    <a:pt x="180" y="867"/>
                  </a:lnTo>
                  <a:lnTo>
                    <a:pt x="180" y="867"/>
                  </a:lnTo>
                  <a:lnTo>
                    <a:pt x="177" y="867"/>
                  </a:lnTo>
                  <a:lnTo>
                    <a:pt x="180" y="867"/>
                  </a:lnTo>
                  <a:lnTo>
                    <a:pt x="182" y="867"/>
                  </a:lnTo>
                  <a:lnTo>
                    <a:pt x="182" y="865"/>
                  </a:lnTo>
                  <a:lnTo>
                    <a:pt x="182" y="865"/>
                  </a:lnTo>
                  <a:lnTo>
                    <a:pt x="180" y="862"/>
                  </a:lnTo>
                  <a:lnTo>
                    <a:pt x="177" y="862"/>
                  </a:lnTo>
                  <a:lnTo>
                    <a:pt x="177" y="860"/>
                  </a:lnTo>
                  <a:lnTo>
                    <a:pt x="175" y="860"/>
                  </a:lnTo>
                  <a:lnTo>
                    <a:pt x="175" y="860"/>
                  </a:lnTo>
                  <a:lnTo>
                    <a:pt x="175" y="862"/>
                  </a:lnTo>
                  <a:lnTo>
                    <a:pt x="175" y="862"/>
                  </a:lnTo>
                  <a:lnTo>
                    <a:pt x="177" y="862"/>
                  </a:lnTo>
                  <a:lnTo>
                    <a:pt x="177" y="865"/>
                  </a:lnTo>
                  <a:lnTo>
                    <a:pt x="175" y="865"/>
                  </a:lnTo>
                  <a:lnTo>
                    <a:pt x="172" y="865"/>
                  </a:lnTo>
                  <a:lnTo>
                    <a:pt x="172" y="862"/>
                  </a:lnTo>
                  <a:lnTo>
                    <a:pt x="172" y="862"/>
                  </a:lnTo>
                  <a:lnTo>
                    <a:pt x="172" y="860"/>
                  </a:lnTo>
                  <a:lnTo>
                    <a:pt x="172" y="858"/>
                  </a:lnTo>
                  <a:lnTo>
                    <a:pt x="170" y="855"/>
                  </a:lnTo>
                  <a:lnTo>
                    <a:pt x="172" y="855"/>
                  </a:lnTo>
                  <a:lnTo>
                    <a:pt x="170" y="853"/>
                  </a:lnTo>
                  <a:lnTo>
                    <a:pt x="170" y="853"/>
                  </a:lnTo>
                  <a:lnTo>
                    <a:pt x="168" y="853"/>
                  </a:lnTo>
                  <a:lnTo>
                    <a:pt x="168" y="853"/>
                  </a:lnTo>
                  <a:lnTo>
                    <a:pt x="165" y="853"/>
                  </a:lnTo>
                  <a:lnTo>
                    <a:pt x="165" y="853"/>
                  </a:lnTo>
                  <a:lnTo>
                    <a:pt x="168" y="851"/>
                  </a:lnTo>
                  <a:lnTo>
                    <a:pt x="168" y="851"/>
                  </a:lnTo>
                  <a:lnTo>
                    <a:pt x="168" y="848"/>
                  </a:lnTo>
                  <a:lnTo>
                    <a:pt x="168" y="848"/>
                  </a:lnTo>
                  <a:lnTo>
                    <a:pt x="165" y="848"/>
                  </a:lnTo>
                  <a:lnTo>
                    <a:pt x="163" y="848"/>
                  </a:lnTo>
                  <a:lnTo>
                    <a:pt x="163" y="848"/>
                  </a:lnTo>
                  <a:lnTo>
                    <a:pt x="161" y="848"/>
                  </a:lnTo>
                  <a:lnTo>
                    <a:pt x="161" y="848"/>
                  </a:lnTo>
                  <a:lnTo>
                    <a:pt x="161" y="843"/>
                  </a:lnTo>
                  <a:lnTo>
                    <a:pt x="158" y="843"/>
                  </a:lnTo>
                  <a:lnTo>
                    <a:pt x="158" y="839"/>
                  </a:lnTo>
                  <a:lnTo>
                    <a:pt x="158" y="836"/>
                  </a:lnTo>
                  <a:lnTo>
                    <a:pt x="156" y="836"/>
                  </a:lnTo>
                  <a:lnTo>
                    <a:pt x="154" y="836"/>
                  </a:lnTo>
                  <a:lnTo>
                    <a:pt x="151" y="836"/>
                  </a:lnTo>
                  <a:lnTo>
                    <a:pt x="149" y="839"/>
                  </a:lnTo>
                  <a:lnTo>
                    <a:pt x="146" y="836"/>
                  </a:lnTo>
                  <a:lnTo>
                    <a:pt x="149" y="834"/>
                  </a:lnTo>
                  <a:lnTo>
                    <a:pt x="149" y="834"/>
                  </a:lnTo>
                  <a:lnTo>
                    <a:pt x="156" y="829"/>
                  </a:lnTo>
                  <a:lnTo>
                    <a:pt x="156" y="829"/>
                  </a:lnTo>
                  <a:lnTo>
                    <a:pt x="161" y="827"/>
                  </a:lnTo>
                  <a:lnTo>
                    <a:pt x="161" y="822"/>
                  </a:lnTo>
                  <a:lnTo>
                    <a:pt x="161" y="822"/>
                  </a:lnTo>
                  <a:lnTo>
                    <a:pt x="158" y="817"/>
                  </a:lnTo>
                  <a:lnTo>
                    <a:pt x="154" y="815"/>
                  </a:lnTo>
                  <a:lnTo>
                    <a:pt x="154" y="813"/>
                  </a:lnTo>
                  <a:lnTo>
                    <a:pt x="146" y="813"/>
                  </a:lnTo>
                  <a:lnTo>
                    <a:pt x="144" y="815"/>
                  </a:lnTo>
                  <a:lnTo>
                    <a:pt x="142" y="820"/>
                  </a:lnTo>
                  <a:lnTo>
                    <a:pt x="139" y="820"/>
                  </a:lnTo>
                  <a:lnTo>
                    <a:pt x="139" y="820"/>
                  </a:lnTo>
                  <a:lnTo>
                    <a:pt x="139" y="820"/>
                  </a:lnTo>
                  <a:lnTo>
                    <a:pt x="137" y="813"/>
                  </a:lnTo>
                  <a:lnTo>
                    <a:pt x="135" y="810"/>
                  </a:lnTo>
                  <a:lnTo>
                    <a:pt x="128" y="808"/>
                  </a:lnTo>
                  <a:lnTo>
                    <a:pt x="128" y="806"/>
                  </a:lnTo>
                  <a:lnTo>
                    <a:pt x="128" y="803"/>
                  </a:lnTo>
                  <a:lnTo>
                    <a:pt x="128" y="801"/>
                  </a:lnTo>
                  <a:lnTo>
                    <a:pt x="128" y="801"/>
                  </a:lnTo>
                  <a:lnTo>
                    <a:pt x="130" y="799"/>
                  </a:lnTo>
                  <a:lnTo>
                    <a:pt x="132" y="799"/>
                  </a:lnTo>
                  <a:lnTo>
                    <a:pt x="135" y="799"/>
                  </a:lnTo>
                  <a:lnTo>
                    <a:pt x="137" y="799"/>
                  </a:lnTo>
                  <a:lnTo>
                    <a:pt x="137" y="799"/>
                  </a:lnTo>
                  <a:lnTo>
                    <a:pt x="139" y="799"/>
                  </a:lnTo>
                  <a:lnTo>
                    <a:pt x="142" y="794"/>
                  </a:lnTo>
                  <a:lnTo>
                    <a:pt x="144" y="792"/>
                  </a:lnTo>
                  <a:lnTo>
                    <a:pt x="146" y="787"/>
                  </a:lnTo>
                  <a:lnTo>
                    <a:pt x="149" y="787"/>
                  </a:lnTo>
                  <a:lnTo>
                    <a:pt x="151" y="782"/>
                  </a:lnTo>
                  <a:lnTo>
                    <a:pt x="154" y="782"/>
                  </a:lnTo>
                  <a:lnTo>
                    <a:pt x="154" y="780"/>
                  </a:lnTo>
                  <a:lnTo>
                    <a:pt x="154" y="777"/>
                  </a:lnTo>
                  <a:lnTo>
                    <a:pt x="154" y="775"/>
                  </a:lnTo>
                  <a:lnTo>
                    <a:pt x="154" y="773"/>
                  </a:lnTo>
                  <a:lnTo>
                    <a:pt x="156" y="768"/>
                  </a:lnTo>
                  <a:lnTo>
                    <a:pt x="158" y="766"/>
                  </a:lnTo>
                  <a:lnTo>
                    <a:pt x="156" y="763"/>
                  </a:lnTo>
                  <a:lnTo>
                    <a:pt x="156" y="758"/>
                  </a:lnTo>
                  <a:lnTo>
                    <a:pt x="156" y="758"/>
                  </a:lnTo>
                  <a:lnTo>
                    <a:pt x="154" y="758"/>
                  </a:lnTo>
                  <a:lnTo>
                    <a:pt x="154" y="756"/>
                  </a:lnTo>
                  <a:lnTo>
                    <a:pt x="156" y="751"/>
                  </a:lnTo>
                  <a:lnTo>
                    <a:pt x="158" y="747"/>
                  </a:lnTo>
                  <a:lnTo>
                    <a:pt x="158" y="742"/>
                  </a:lnTo>
                  <a:lnTo>
                    <a:pt x="158" y="740"/>
                  </a:lnTo>
                  <a:lnTo>
                    <a:pt x="158" y="740"/>
                  </a:lnTo>
                  <a:lnTo>
                    <a:pt x="158" y="737"/>
                  </a:lnTo>
                  <a:lnTo>
                    <a:pt x="161" y="730"/>
                  </a:lnTo>
                  <a:lnTo>
                    <a:pt x="163" y="728"/>
                  </a:lnTo>
                  <a:lnTo>
                    <a:pt x="163" y="728"/>
                  </a:lnTo>
                  <a:lnTo>
                    <a:pt x="163" y="725"/>
                  </a:lnTo>
                  <a:lnTo>
                    <a:pt x="163" y="721"/>
                  </a:lnTo>
                  <a:lnTo>
                    <a:pt x="163" y="721"/>
                  </a:lnTo>
                  <a:lnTo>
                    <a:pt x="163" y="718"/>
                  </a:lnTo>
                  <a:lnTo>
                    <a:pt x="168" y="714"/>
                  </a:lnTo>
                  <a:lnTo>
                    <a:pt x="168" y="714"/>
                  </a:lnTo>
                  <a:lnTo>
                    <a:pt x="168" y="711"/>
                  </a:lnTo>
                  <a:lnTo>
                    <a:pt x="165" y="706"/>
                  </a:lnTo>
                  <a:lnTo>
                    <a:pt x="168" y="704"/>
                  </a:lnTo>
                  <a:lnTo>
                    <a:pt x="168" y="702"/>
                  </a:lnTo>
                  <a:lnTo>
                    <a:pt x="168" y="697"/>
                  </a:lnTo>
                  <a:lnTo>
                    <a:pt x="170" y="692"/>
                  </a:lnTo>
                  <a:lnTo>
                    <a:pt x="170" y="692"/>
                  </a:lnTo>
                  <a:lnTo>
                    <a:pt x="172" y="685"/>
                  </a:lnTo>
                  <a:lnTo>
                    <a:pt x="172" y="683"/>
                  </a:lnTo>
                  <a:lnTo>
                    <a:pt x="172" y="680"/>
                  </a:lnTo>
                  <a:lnTo>
                    <a:pt x="172" y="678"/>
                  </a:lnTo>
                  <a:lnTo>
                    <a:pt x="170" y="676"/>
                  </a:lnTo>
                  <a:lnTo>
                    <a:pt x="168" y="671"/>
                  </a:lnTo>
                  <a:lnTo>
                    <a:pt x="168" y="664"/>
                  </a:lnTo>
                  <a:lnTo>
                    <a:pt x="165" y="662"/>
                  </a:lnTo>
                  <a:lnTo>
                    <a:pt x="168" y="657"/>
                  </a:lnTo>
                  <a:lnTo>
                    <a:pt x="168" y="655"/>
                  </a:lnTo>
                  <a:lnTo>
                    <a:pt x="168" y="655"/>
                  </a:lnTo>
                  <a:lnTo>
                    <a:pt x="165" y="650"/>
                  </a:lnTo>
                  <a:lnTo>
                    <a:pt x="165" y="647"/>
                  </a:lnTo>
                  <a:lnTo>
                    <a:pt x="168" y="640"/>
                  </a:lnTo>
                  <a:lnTo>
                    <a:pt x="168" y="631"/>
                  </a:lnTo>
                  <a:lnTo>
                    <a:pt x="165" y="631"/>
                  </a:lnTo>
                  <a:lnTo>
                    <a:pt x="165" y="626"/>
                  </a:lnTo>
                  <a:lnTo>
                    <a:pt x="163" y="619"/>
                  </a:lnTo>
                  <a:lnTo>
                    <a:pt x="161" y="617"/>
                  </a:lnTo>
                  <a:lnTo>
                    <a:pt x="158" y="614"/>
                  </a:lnTo>
                  <a:lnTo>
                    <a:pt x="158" y="610"/>
                  </a:lnTo>
                  <a:lnTo>
                    <a:pt x="161" y="605"/>
                  </a:lnTo>
                  <a:lnTo>
                    <a:pt x="161" y="600"/>
                  </a:lnTo>
                  <a:lnTo>
                    <a:pt x="161" y="600"/>
                  </a:lnTo>
                  <a:lnTo>
                    <a:pt x="161" y="595"/>
                  </a:lnTo>
                  <a:lnTo>
                    <a:pt x="161" y="591"/>
                  </a:lnTo>
                  <a:lnTo>
                    <a:pt x="158" y="586"/>
                  </a:lnTo>
                  <a:lnTo>
                    <a:pt x="151" y="579"/>
                  </a:lnTo>
                  <a:lnTo>
                    <a:pt x="149" y="579"/>
                  </a:lnTo>
                  <a:lnTo>
                    <a:pt x="149" y="579"/>
                  </a:lnTo>
                  <a:lnTo>
                    <a:pt x="144" y="579"/>
                  </a:lnTo>
                  <a:lnTo>
                    <a:pt x="137" y="572"/>
                  </a:lnTo>
                  <a:lnTo>
                    <a:pt x="135" y="572"/>
                  </a:lnTo>
                  <a:lnTo>
                    <a:pt x="128" y="567"/>
                  </a:lnTo>
                  <a:lnTo>
                    <a:pt x="125" y="567"/>
                  </a:lnTo>
                  <a:lnTo>
                    <a:pt x="120" y="569"/>
                  </a:lnTo>
                  <a:lnTo>
                    <a:pt x="116" y="569"/>
                  </a:lnTo>
                  <a:lnTo>
                    <a:pt x="116" y="567"/>
                  </a:lnTo>
                  <a:lnTo>
                    <a:pt x="111" y="562"/>
                  </a:lnTo>
                  <a:lnTo>
                    <a:pt x="111" y="558"/>
                  </a:lnTo>
                  <a:lnTo>
                    <a:pt x="111" y="558"/>
                  </a:lnTo>
                  <a:lnTo>
                    <a:pt x="111" y="555"/>
                  </a:lnTo>
                  <a:lnTo>
                    <a:pt x="111" y="553"/>
                  </a:lnTo>
                  <a:lnTo>
                    <a:pt x="109" y="553"/>
                  </a:lnTo>
                  <a:lnTo>
                    <a:pt x="104" y="551"/>
                  </a:lnTo>
                  <a:lnTo>
                    <a:pt x="102" y="551"/>
                  </a:lnTo>
                  <a:lnTo>
                    <a:pt x="99" y="551"/>
                  </a:lnTo>
                  <a:lnTo>
                    <a:pt x="94" y="548"/>
                  </a:lnTo>
                  <a:lnTo>
                    <a:pt x="94" y="548"/>
                  </a:lnTo>
                  <a:lnTo>
                    <a:pt x="92" y="548"/>
                  </a:lnTo>
                  <a:lnTo>
                    <a:pt x="90" y="553"/>
                  </a:lnTo>
                  <a:lnTo>
                    <a:pt x="85" y="553"/>
                  </a:lnTo>
                  <a:lnTo>
                    <a:pt x="80" y="553"/>
                  </a:lnTo>
                  <a:lnTo>
                    <a:pt x="73" y="553"/>
                  </a:lnTo>
                  <a:lnTo>
                    <a:pt x="71" y="551"/>
                  </a:lnTo>
                  <a:lnTo>
                    <a:pt x="68" y="551"/>
                  </a:lnTo>
                  <a:lnTo>
                    <a:pt x="66" y="548"/>
                  </a:lnTo>
                  <a:lnTo>
                    <a:pt x="66" y="548"/>
                  </a:lnTo>
                  <a:lnTo>
                    <a:pt x="64" y="548"/>
                  </a:lnTo>
                  <a:lnTo>
                    <a:pt x="61" y="546"/>
                  </a:lnTo>
                  <a:lnTo>
                    <a:pt x="57" y="543"/>
                  </a:lnTo>
                  <a:lnTo>
                    <a:pt x="54" y="543"/>
                  </a:lnTo>
                  <a:lnTo>
                    <a:pt x="50" y="541"/>
                  </a:lnTo>
                  <a:lnTo>
                    <a:pt x="47" y="541"/>
                  </a:lnTo>
                  <a:lnTo>
                    <a:pt x="35" y="541"/>
                  </a:lnTo>
                  <a:lnTo>
                    <a:pt x="33" y="543"/>
                  </a:lnTo>
                  <a:lnTo>
                    <a:pt x="28" y="543"/>
                  </a:lnTo>
                  <a:lnTo>
                    <a:pt x="26" y="543"/>
                  </a:lnTo>
                  <a:lnTo>
                    <a:pt x="24" y="548"/>
                  </a:lnTo>
                  <a:lnTo>
                    <a:pt x="24" y="551"/>
                  </a:lnTo>
                  <a:lnTo>
                    <a:pt x="24" y="553"/>
                  </a:lnTo>
                  <a:lnTo>
                    <a:pt x="24" y="555"/>
                  </a:lnTo>
                  <a:lnTo>
                    <a:pt x="21" y="560"/>
                  </a:lnTo>
                  <a:lnTo>
                    <a:pt x="19" y="562"/>
                  </a:lnTo>
                  <a:lnTo>
                    <a:pt x="17" y="562"/>
                  </a:lnTo>
                  <a:lnTo>
                    <a:pt x="14" y="562"/>
                  </a:lnTo>
                  <a:lnTo>
                    <a:pt x="14" y="560"/>
                  </a:lnTo>
                  <a:lnTo>
                    <a:pt x="12" y="560"/>
                  </a:lnTo>
                  <a:lnTo>
                    <a:pt x="9" y="558"/>
                  </a:lnTo>
                  <a:lnTo>
                    <a:pt x="7" y="560"/>
                  </a:lnTo>
                  <a:lnTo>
                    <a:pt x="7" y="560"/>
                  </a:lnTo>
                  <a:lnTo>
                    <a:pt x="5" y="562"/>
                  </a:lnTo>
                  <a:lnTo>
                    <a:pt x="5" y="565"/>
                  </a:lnTo>
                  <a:lnTo>
                    <a:pt x="2" y="562"/>
                  </a:lnTo>
                  <a:lnTo>
                    <a:pt x="0" y="565"/>
                  </a:lnTo>
                  <a:lnTo>
                    <a:pt x="0" y="562"/>
                  </a:lnTo>
                  <a:close/>
                  <a:moveTo>
                    <a:pt x="371" y="17"/>
                  </a:moveTo>
                  <a:lnTo>
                    <a:pt x="371" y="14"/>
                  </a:lnTo>
                  <a:lnTo>
                    <a:pt x="371" y="17"/>
                  </a:lnTo>
                  <a:close/>
                  <a:moveTo>
                    <a:pt x="437" y="50"/>
                  </a:moveTo>
                  <a:lnTo>
                    <a:pt x="437" y="50"/>
                  </a:lnTo>
                  <a:lnTo>
                    <a:pt x="437" y="47"/>
                  </a:lnTo>
                  <a:lnTo>
                    <a:pt x="435" y="50"/>
                  </a:lnTo>
                  <a:lnTo>
                    <a:pt x="435" y="47"/>
                  </a:lnTo>
                  <a:lnTo>
                    <a:pt x="435" y="50"/>
                  </a:lnTo>
                  <a:lnTo>
                    <a:pt x="437" y="47"/>
                  </a:lnTo>
                  <a:lnTo>
                    <a:pt x="437" y="50"/>
                  </a:lnTo>
                  <a:lnTo>
                    <a:pt x="437" y="50"/>
                  </a:lnTo>
                  <a:close/>
                  <a:moveTo>
                    <a:pt x="468" y="40"/>
                  </a:moveTo>
                  <a:lnTo>
                    <a:pt x="468" y="40"/>
                  </a:lnTo>
                  <a:lnTo>
                    <a:pt x="468" y="38"/>
                  </a:lnTo>
                  <a:lnTo>
                    <a:pt x="470" y="38"/>
                  </a:lnTo>
                  <a:lnTo>
                    <a:pt x="470" y="38"/>
                  </a:lnTo>
                  <a:lnTo>
                    <a:pt x="470" y="38"/>
                  </a:lnTo>
                  <a:lnTo>
                    <a:pt x="468" y="40"/>
                  </a:lnTo>
                  <a:lnTo>
                    <a:pt x="470" y="40"/>
                  </a:lnTo>
                  <a:lnTo>
                    <a:pt x="470" y="45"/>
                  </a:lnTo>
                  <a:lnTo>
                    <a:pt x="470" y="47"/>
                  </a:lnTo>
                  <a:lnTo>
                    <a:pt x="470" y="45"/>
                  </a:lnTo>
                  <a:lnTo>
                    <a:pt x="470" y="43"/>
                  </a:lnTo>
                  <a:lnTo>
                    <a:pt x="470" y="40"/>
                  </a:lnTo>
                  <a:lnTo>
                    <a:pt x="468" y="40"/>
                  </a:lnTo>
                  <a:close/>
                  <a:moveTo>
                    <a:pt x="470" y="40"/>
                  </a:moveTo>
                  <a:lnTo>
                    <a:pt x="468" y="40"/>
                  </a:lnTo>
                  <a:lnTo>
                    <a:pt x="468" y="40"/>
                  </a:lnTo>
                  <a:lnTo>
                    <a:pt x="470" y="40"/>
                  </a:lnTo>
                  <a:close/>
                  <a:moveTo>
                    <a:pt x="392" y="31"/>
                  </a:moveTo>
                  <a:lnTo>
                    <a:pt x="394" y="31"/>
                  </a:lnTo>
                  <a:lnTo>
                    <a:pt x="392" y="29"/>
                  </a:lnTo>
                  <a:lnTo>
                    <a:pt x="392" y="31"/>
                  </a:lnTo>
                  <a:close/>
                  <a:moveTo>
                    <a:pt x="394" y="31"/>
                  </a:moveTo>
                  <a:lnTo>
                    <a:pt x="392" y="31"/>
                  </a:lnTo>
                  <a:lnTo>
                    <a:pt x="392" y="33"/>
                  </a:lnTo>
                  <a:lnTo>
                    <a:pt x="392" y="33"/>
                  </a:lnTo>
                  <a:lnTo>
                    <a:pt x="392" y="36"/>
                  </a:lnTo>
                  <a:lnTo>
                    <a:pt x="392" y="36"/>
                  </a:lnTo>
                  <a:lnTo>
                    <a:pt x="392" y="33"/>
                  </a:lnTo>
                  <a:lnTo>
                    <a:pt x="394" y="31"/>
                  </a:lnTo>
                  <a:lnTo>
                    <a:pt x="394" y="31"/>
                  </a:lnTo>
                  <a:lnTo>
                    <a:pt x="394" y="31"/>
                  </a:lnTo>
                  <a:close/>
                  <a:moveTo>
                    <a:pt x="508" y="83"/>
                  </a:moveTo>
                  <a:lnTo>
                    <a:pt x="508" y="83"/>
                  </a:lnTo>
                  <a:lnTo>
                    <a:pt x="508" y="85"/>
                  </a:lnTo>
                  <a:lnTo>
                    <a:pt x="508" y="83"/>
                  </a:lnTo>
                  <a:lnTo>
                    <a:pt x="510" y="85"/>
                  </a:lnTo>
                  <a:lnTo>
                    <a:pt x="508" y="85"/>
                  </a:lnTo>
                  <a:lnTo>
                    <a:pt x="506" y="85"/>
                  </a:lnTo>
                  <a:lnTo>
                    <a:pt x="508" y="85"/>
                  </a:lnTo>
                  <a:lnTo>
                    <a:pt x="508" y="85"/>
                  </a:lnTo>
                  <a:lnTo>
                    <a:pt x="508" y="83"/>
                  </a:lnTo>
                  <a:close/>
                  <a:moveTo>
                    <a:pt x="506" y="73"/>
                  </a:moveTo>
                  <a:lnTo>
                    <a:pt x="506" y="73"/>
                  </a:lnTo>
                  <a:lnTo>
                    <a:pt x="506" y="71"/>
                  </a:lnTo>
                  <a:lnTo>
                    <a:pt x="506" y="73"/>
                  </a:lnTo>
                  <a:close/>
                  <a:moveTo>
                    <a:pt x="371" y="29"/>
                  </a:moveTo>
                  <a:lnTo>
                    <a:pt x="369" y="31"/>
                  </a:lnTo>
                  <a:lnTo>
                    <a:pt x="369" y="31"/>
                  </a:lnTo>
                  <a:lnTo>
                    <a:pt x="369" y="33"/>
                  </a:lnTo>
                  <a:lnTo>
                    <a:pt x="371" y="33"/>
                  </a:lnTo>
                  <a:lnTo>
                    <a:pt x="371" y="36"/>
                  </a:lnTo>
                  <a:lnTo>
                    <a:pt x="373" y="36"/>
                  </a:lnTo>
                  <a:lnTo>
                    <a:pt x="373" y="36"/>
                  </a:lnTo>
                  <a:lnTo>
                    <a:pt x="373" y="38"/>
                  </a:lnTo>
                  <a:lnTo>
                    <a:pt x="373" y="38"/>
                  </a:lnTo>
                  <a:lnTo>
                    <a:pt x="373" y="40"/>
                  </a:lnTo>
                  <a:lnTo>
                    <a:pt x="373" y="38"/>
                  </a:lnTo>
                  <a:lnTo>
                    <a:pt x="376" y="38"/>
                  </a:lnTo>
                  <a:lnTo>
                    <a:pt x="373" y="36"/>
                  </a:lnTo>
                  <a:lnTo>
                    <a:pt x="373" y="36"/>
                  </a:lnTo>
                  <a:lnTo>
                    <a:pt x="371" y="36"/>
                  </a:lnTo>
                  <a:lnTo>
                    <a:pt x="371" y="33"/>
                  </a:lnTo>
                  <a:lnTo>
                    <a:pt x="371" y="33"/>
                  </a:lnTo>
                  <a:lnTo>
                    <a:pt x="369" y="31"/>
                  </a:lnTo>
                  <a:lnTo>
                    <a:pt x="369" y="31"/>
                  </a:lnTo>
                  <a:lnTo>
                    <a:pt x="371" y="29"/>
                  </a:lnTo>
                  <a:lnTo>
                    <a:pt x="371" y="29"/>
                  </a:lnTo>
                  <a:close/>
                  <a:moveTo>
                    <a:pt x="543" y="142"/>
                  </a:moveTo>
                  <a:lnTo>
                    <a:pt x="543" y="142"/>
                  </a:lnTo>
                  <a:lnTo>
                    <a:pt x="543" y="142"/>
                  </a:lnTo>
                  <a:lnTo>
                    <a:pt x="546" y="142"/>
                  </a:lnTo>
                  <a:lnTo>
                    <a:pt x="546" y="142"/>
                  </a:lnTo>
                  <a:lnTo>
                    <a:pt x="546" y="142"/>
                  </a:lnTo>
                  <a:lnTo>
                    <a:pt x="543" y="142"/>
                  </a:lnTo>
                  <a:close/>
                  <a:moveTo>
                    <a:pt x="489" y="40"/>
                  </a:moveTo>
                  <a:lnTo>
                    <a:pt x="489" y="38"/>
                  </a:lnTo>
                  <a:lnTo>
                    <a:pt x="489" y="38"/>
                  </a:lnTo>
                  <a:lnTo>
                    <a:pt x="487" y="38"/>
                  </a:lnTo>
                  <a:lnTo>
                    <a:pt x="487" y="38"/>
                  </a:lnTo>
                  <a:lnTo>
                    <a:pt x="487" y="38"/>
                  </a:lnTo>
                  <a:lnTo>
                    <a:pt x="489" y="38"/>
                  </a:lnTo>
                  <a:lnTo>
                    <a:pt x="487" y="40"/>
                  </a:lnTo>
                  <a:lnTo>
                    <a:pt x="484" y="40"/>
                  </a:lnTo>
                  <a:lnTo>
                    <a:pt x="484" y="40"/>
                  </a:lnTo>
                  <a:lnTo>
                    <a:pt x="484" y="38"/>
                  </a:lnTo>
                  <a:lnTo>
                    <a:pt x="484" y="40"/>
                  </a:lnTo>
                  <a:lnTo>
                    <a:pt x="487" y="40"/>
                  </a:lnTo>
                  <a:lnTo>
                    <a:pt x="489" y="40"/>
                  </a:lnTo>
                  <a:lnTo>
                    <a:pt x="489" y="40"/>
                  </a:lnTo>
                  <a:lnTo>
                    <a:pt x="489" y="40"/>
                  </a:lnTo>
                  <a:lnTo>
                    <a:pt x="484" y="43"/>
                  </a:lnTo>
                  <a:lnTo>
                    <a:pt x="484" y="45"/>
                  </a:lnTo>
                  <a:lnTo>
                    <a:pt x="484" y="45"/>
                  </a:lnTo>
                  <a:lnTo>
                    <a:pt x="482" y="45"/>
                  </a:lnTo>
                  <a:lnTo>
                    <a:pt x="482" y="43"/>
                  </a:lnTo>
                  <a:lnTo>
                    <a:pt x="482" y="45"/>
                  </a:lnTo>
                  <a:lnTo>
                    <a:pt x="480" y="47"/>
                  </a:lnTo>
                  <a:lnTo>
                    <a:pt x="480" y="47"/>
                  </a:lnTo>
                  <a:lnTo>
                    <a:pt x="480" y="47"/>
                  </a:lnTo>
                  <a:lnTo>
                    <a:pt x="480" y="47"/>
                  </a:lnTo>
                  <a:lnTo>
                    <a:pt x="477" y="47"/>
                  </a:lnTo>
                  <a:lnTo>
                    <a:pt x="475" y="45"/>
                  </a:lnTo>
                  <a:lnTo>
                    <a:pt x="472" y="40"/>
                  </a:lnTo>
                  <a:lnTo>
                    <a:pt x="472" y="43"/>
                  </a:lnTo>
                  <a:lnTo>
                    <a:pt x="472" y="40"/>
                  </a:lnTo>
                  <a:lnTo>
                    <a:pt x="475" y="40"/>
                  </a:lnTo>
                  <a:lnTo>
                    <a:pt x="472" y="40"/>
                  </a:lnTo>
                  <a:lnTo>
                    <a:pt x="472" y="38"/>
                  </a:lnTo>
                  <a:lnTo>
                    <a:pt x="472" y="38"/>
                  </a:lnTo>
                  <a:lnTo>
                    <a:pt x="475" y="36"/>
                  </a:lnTo>
                  <a:lnTo>
                    <a:pt x="475" y="38"/>
                  </a:lnTo>
                  <a:lnTo>
                    <a:pt x="477" y="38"/>
                  </a:lnTo>
                  <a:lnTo>
                    <a:pt x="480" y="38"/>
                  </a:lnTo>
                  <a:lnTo>
                    <a:pt x="480" y="38"/>
                  </a:lnTo>
                  <a:lnTo>
                    <a:pt x="480" y="38"/>
                  </a:lnTo>
                  <a:lnTo>
                    <a:pt x="482" y="40"/>
                  </a:lnTo>
                  <a:lnTo>
                    <a:pt x="482" y="38"/>
                  </a:lnTo>
                  <a:lnTo>
                    <a:pt x="480" y="38"/>
                  </a:lnTo>
                  <a:lnTo>
                    <a:pt x="480" y="36"/>
                  </a:lnTo>
                  <a:lnTo>
                    <a:pt x="480" y="36"/>
                  </a:lnTo>
                  <a:lnTo>
                    <a:pt x="480" y="36"/>
                  </a:lnTo>
                  <a:lnTo>
                    <a:pt x="480" y="36"/>
                  </a:lnTo>
                  <a:lnTo>
                    <a:pt x="480" y="36"/>
                  </a:lnTo>
                  <a:lnTo>
                    <a:pt x="477" y="36"/>
                  </a:lnTo>
                  <a:lnTo>
                    <a:pt x="477" y="36"/>
                  </a:lnTo>
                  <a:lnTo>
                    <a:pt x="480" y="31"/>
                  </a:lnTo>
                  <a:lnTo>
                    <a:pt x="480" y="31"/>
                  </a:lnTo>
                  <a:lnTo>
                    <a:pt x="482" y="31"/>
                  </a:lnTo>
                  <a:lnTo>
                    <a:pt x="482" y="31"/>
                  </a:lnTo>
                  <a:lnTo>
                    <a:pt x="484" y="31"/>
                  </a:lnTo>
                  <a:lnTo>
                    <a:pt x="484" y="33"/>
                  </a:lnTo>
                  <a:lnTo>
                    <a:pt x="484" y="36"/>
                  </a:lnTo>
                  <a:lnTo>
                    <a:pt x="487" y="36"/>
                  </a:lnTo>
                  <a:lnTo>
                    <a:pt x="484" y="33"/>
                  </a:lnTo>
                  <a:lnTo>
                    <a:pt x="484" y="31"/>
                  </a:lnTo>
                  <a:lnTo>
                    <a:pt x="487" y="31"/>
                  </a:lnTo>
                  <a:lnTo>
                    <a:pt x="489" y="31"/>
                  </a:lnTo>
                  <a:lnTo>
                    <a:pt x="494" y="33"/>
                  </a:lnTo>
                  <a:lnTo>
                    <a:pt x="494" y="36"/>
                  </a:lnTo>
                  <a:lnTo>
                    <a:pt x="494" y="38"/>
                  </a:lnTo>
                  <a:lnTo>
                    <a:pt x="494" y="38"/>
                  </a:lnTo>
                  <a:lnTo>
                    <a:pt x="496" y="38"/>
                  </a:lnTo>
                  <a:lnTo>
                    <a:pt x="494" y="40"/>
                  </a:lnTo>
                  <a:lnTo>
                    <a:pt x="491" y="40"/>
                  </a:lnTo>
                  <a:lnTo>
                    <a:pt x="491" y="38"/>
                  </a:lnTo>
                  <a:lnTo>
                    <a:pt x="491" y="38"/>
                  </a:lnTo>
                  <a:lnTo>
                    <a:pt x="491" y="40"/>
                  </a:lnTo>
                  <a:lnTo>
                    <a:pt x="489" y="40"/>
                  </a:lnTo>
                  <a:close/>
                  <a:moveTo>
                    <a:pt x="503" y="69"/>
                  </a:moveTo>
                  <a:lnTo>
                    <a:pt x="503" y="69"/>
                  </a:lnTo>
                  <a:lnTo>
                    <a:pt x="503" y="69"/>
                  </a:lnTo>
                  <a:lnTo>
                    <a:pt x="503" y="69"/>
                  </a:lnTo>
                  <a:close/>
                  <a:moveTo>
                    <a:pt x="366" y="29"/>
                  </a:moveTo>
                  <a:lnTo>
                    <a:pt x="366" y="29"/>
                  </a:lnTo>
                  <a:lnTo>
                    <a:pt x="366" y="29"/>
                  </a:lnTo>
                  <a:lnTo>
                    <a:pt x="366" y="29"/>
                  </a:lnTo>
                  <a:lnTo>
                    <a:pt x="366" y="29"/>
                  </a:lnTo>
                  <a:close/>
                  <a:moveTo>
                    <a:pt x="524" y="97"/>
                  </a:moveTo>
                  <a:lnTo>
                    <a:pt x="524" y="97"/>
                  </a:lnTo>
                  <a:lnTo>
                    <a:pt x="524" y="97"/>
                  </a:lnTo>
                  <a:lnTo>
                    <a:pt x="524" y="95"/>
                  </a:lnTo>
                  <a:lnTo>
                    <a:pt x="524" y="97"/>
                  </a:lnTo>
                  <a:lnTo>
                    <a:pt x="524" y="97"/>
                  </a:lnTo>
                  <a:lnTo>
                    <a:pt x="524" y="97"/>
                  </a:lnTo>
                  <a:lnTo>
                    <a:pt x="524" y="97"/>
                  </a:lnTo>
                  <a:close/>
                  <a:moveTo>
                    <a:pt x="394" y="33"/>
                  </a:moveTo>
                  <a:lnTo>
                    <a:pt x="394" y="36"/>
                  </a:lnTo>
                  <a:lnTo>
                    <a:pt x="394" y="36"/>
                  </a:lnTo>
                  <a:lnTo>
                    <a:pt x="394" y="36"/>
                  </a:lnTo>
                  <a:lnTo>
                    <a:pt x="394" y="33"/>
                  </a:lnTo>
                  <a:close/>
                  <a:moveTo>
                    <a:pt x="404" y="31"/>
                  </a:moveTo>
                  <a:lnTo>
                    <a:pt x="404" y="29"/>
                  </a:lnTo>
                  <a:lnTo>
                    <a:pt x="404" y="29"/>
                  </a:lnTo>
                  <a:lnTo>
                    <a:pt x="404" y="29"/>
                  </a:lnTo>
                  <a:lnTo>
                    <a:pt x="404" y="29"/>
                  </a:lnTo>
                  <a:lnTo>
                    <a:pt x="404" y="31"/>
                  </a:lnTo>
                  <a:lnTo>
                    <a:pt x="404" y="31"/>
                  </a:lnTo>
                  <a:close/>
                  <a:moveTo>
                    <a:pt x="496" y="69"/>
                  </a:moveTo>
                  <a:lnTo>
                    <a:pt x="498" y="69"/>
                  </a:lnTo>
                  <a:lnTo>
                    <a:pt x="496" y="66"/>
                  </a:lnTo>
                  <a:lnTo>
                    <a:pt x="498" y="64"/>
                  </a:lnTo>
                  <a:lnTo>
                    <a:pt x="501" y="64"/>
                  </a:lnTo>
                  <a:lnTo>
                    <a:pt x="501" y="59"/>
                  </a:lnTo>
                  <a:lnTo>
                    <a:pt x="501" y="59"/>
                  </a:lnTo>
                  <a:lnTo>
                    <a:pt x="503" y="57"/>
                  </a:lnTo>
                  <a:lnTo>
                    <a:pt x="506" y="57"/>
                  </a:lnTo>
                  <a:lnTo>
                    <a:pt x="503" y="57"/>
                  </a:lnTo>
                  <a:lnTo>
                    <a:pt x="503" y="55"/>
                  </a:lnTo>
                  <a:lnTo>
                    <a:pt x="506" y="55"/>
                  </a:lnTo>
                  <a:lnTo>
                    <a:pt x="508" y="57"/>
                  </a:lnTo>
                  <a:lnTo>
                    <a:pt x="508" y="62"/>
                  </a:lnTo>
                  <a:lnTo>
                    <a:pt x="508" y="64"/>
                  </a:lnTo>
                  <a:lnTo>
                    <a:pt x="506" y="64"/>
                  </a:lnTo>
                  <a:lnTo>
                    <a:pt x="503" y="64"/>
                  </a:lnTo>
                  <a:lnTo>
                    <a:pt x="503" y="64"/>
                  </a:lnTo>
                  <a:lnTo>
                    <a:pt x="503" y="64"/>
                  </a:lnTo>
                  <a:lnTo>
                    <a:pt x="503" y="64"/>
                  </a:lnTo>
                  <a:lnTo>
                    <a:pt x="503" y="66"/>
                  </a:lnTo>
                  <a:lnTo>
                    <a:pt x="503" y="66"/>
                  </a:lnTo>
                  <a:lnTo>
                    <a:pt x="501" y="69"/>
                  </a:lnTo>
                  <a:lnTo>
                    <a:pt x="501" y="69"/>
                  </a:lnTo>
                  <a:lnTo>
                    <a:pt x="498" y="69"/>
                  </a:lnTo>
                  <a:lnTo>
                    <a:pt x="498" y="69"/>
                  </a:lnTo>
                  <a:lnTo>
                    <a:pt x="498" y="71"/>
                  </a:lnTo>
                  <a:lnTo>
                    <a:pt x="498" y="69"/>
                  </a:lnTo>
                  <a:lnTo>
                    <a:pt x="496" y="69"/>
                  </a:lnTo>
                  <a:close/>
                  <a:moveTo>
                    <a:pt x="600" y="180"/>
                  </a:moveTo>
                  <a:lnTo>
                    <a:pt x="600" y="177"/>
                  </a:lnTo>
                  <a:lnTo>
                    <a:pt x="600" y="177"/>
                  </a:lnTo>
                  <a:lnTo>
                    <a:pt x="602" y="177"/>
                  </a:lnTo>
                  <a:lnTo>
                    <a:pt x="602" y="177"/>
                  </a:lnTo>
                  <a:lnTo>
                    <a:pt x="600" y="177"/>
                  </a:lnTo>
                  <a:lnTo>
                    <a:pt x="600" y="180"/>
                  </a:lnTo>
                  <a:close/>
                  <a:moveTo>
                    <a:pt x="472" y="47"/>
                  </a:moveTo>
                  <a:lnTo>
                    <a:pt x="475" y="47"/>
                  </a:lnTo>
                  <a:lnTo>
                    <a:pt x="475" y="47"/>
                  </a:lnTo>
                  <a:lnTo>
                    <a:pt x="475" y="47"/>
                  </a:lnTo>
                  <a:lnTo>
                    <a:pt x="475" y="47"/>
                  </a:lnTo>
                  <a:lnTo>
                    <a:pt x="472" y="47"/>
                  </a:lnTo>
                  <a:close/>
                  <a:moveTo>
                    <a:pt x="413" y="45"/>
                  </a:moveTo>
                  <a:lnTo>
                    <a:pt x="413" y="45"/>
                  </a:lnTo>
                  <a:lnTo>
                    <a:pt x="413" y="43"/>
                  </a:lnTo>
                  <a:lnTo>
                    <a:pt x="413" y="45"/>
                  </a:lnTo>
                  <a:lnTo>
                    <a:pt x="413" y="45"/>
                  </a:lnTo>
                  <a:close/>
                  <a:moveTo>
                    <a:pt x="522" y="99"/>
                  </a:moveTo>
                  <a:lnTo>
                    <a:pt x="522" y="99"/>
                  </a:lnTo>
                  <a:lnTo>
                    <a:pt x="522" y="99"/>
                  </a:lnTo>
                  <a:lnTo>
                    <a:pt x="522" y="102"/>
                  </a:lnTo>
                  <a:lnTo>
                    <a:pt x="522" y="99"/>
                  </a:lnTo>
                  <a:close/>
                  <a:moveTo>
                    <a:pt x="543" y="130"/>
                  </a:moveTo>
                  <a:lnTo>
                    <a:pt x="546" y="128"/>
                  </a:lnTo>
                  <a:lnTo>
                    <a:pt x="546" y="128"/>
                  </a:lnTo>
                  <a:lnTo>
                    <a:pt x="546" y="130"/>
                  </a:lnTo>
                  <a:lnTo>
                    <a:pt x="543" y="130"/>
                  </a:lnTo>
                  <a:close/>
                  <a:moveTo>
                    <a:pt x="508" y="83"/>
                  </a:moveTo>
                  <a:lnTo>
                    <a:pt x="508" y="83"/>
                  </a:lnTo>
                  <a:lnTo>
                    <a:pt x="510" y="81"/>
                  </a:lnTo>
                  <a:lnTo>
                    <a:pt x="510" y="83"/>
                  </a:lnTo>
                  <a:lnTo>
                    <a:pt x="510" y="83"/>
                  </a:lnTo>
                  <a:lnTo>
                    <a:pt x="508" y="83"/>
                  </a:lnTo>
                  <a:close/>
                  <a:moveTo>
                    <a:pt x="423" y="47"/>
                  </a:moveTo>
                  <a:lnTo>
                    <a:pt x="423" y="47"/>
                  </a:lnTo>
                  <a:lnTo>
                    <a:pt x="425" y="47"/>
                  </a:lnTo>
                  <a:lnTo>
                    <a:pt x="425" y="47"/>
                  </a:lnTo>
                  <a:lnTo>
                    <a:pt x="423" y="50"/>
                  </a:lnTo>
                  <a:lnTo>
                    <a:pt x="423" y="47"/>
                  </a:lnTo>
                  <a:close/>
                  <a:moveTo>
                    <a:pt x="541" y="135"/>
                  </a:moveTo>
                  <a:lnTo>
                    <a:pt x="546" y="132"/>
                  </a:lnTo>
                  <a:lnTo>
                    <a:pt x="546" y="135"/>
                  </a:lnTo>
                  <a:lnTo>
                    <a:pt x="543" y="135"/>
                  </a:lnTo>
                  <a:lnTo>
                    <a:pt x="541" y="135"/>
                  </a:lnTo>
                  <a:close/>
                  <a:moveTo>
                    <a:pt x="541" y="140"/>
                  </a:moveTo>
                  <a:lnTo>
                    <a:pt x="541" y="140"/>
                  </a:lnTo>
                  <a:lnTo>
                    <a:pt x="541" y="140"/>
                  </a:lnTo>
                  <a:lnTo>
                    <a:pt x="541" y="140"/>
                  </a:lnTo>
                  <a:lnTo>
                    <a:pt x="541" y="137"/>
                  </a:lnTo>
                  <a:lnTo>
                    <a:pt x="543" y="140"/>
                  </a:lnTo>
                  <a:lnTo>
                    <a:pt x="543" y="140"/>
                  </a:lnTo>
                  <a:lnTo>
                    <a:pt x="543" y="140"/>
                  </a:lnTo>
                  <a:lnTo>
                    <a:pt x="543" y="142"/>
                  </a:lnTo>
                  <a:lnTo>
                    <a:pt x="543" y="142"/>
                  </a:lnTo>
                  <a:lnTo>
                    <a:pt x="541" y="142"/>
                  </a:lnTo>
                  <a:lnTo>
                    <a:pt x="543" y="142"/>
                  </a:lnTo>
                  <a:lnTo>
                    <a:pt x="541" y="140"/>
                  </a:lnTo>
                  <a:close/>
                  <a:moveTo>
                    <a:pt x="463" y="50"/>
                  </a:moveTo>
                  <a:lnTo>
                    <a:pt x="465" y="47"/>
                  </a:lnTo>
                  <a:lnTo>
                    <a:pt x="465" y="45"/>
                  </a:lnTo>
                  <a:lnTo>
                    <a:pt x="465" y="43"/>
                  </a:lnTo>
                  <a:lnTo>
                    <a:pt x="468" y="43"/>
                  </a:lnTo>
                  <a:lnTo>
                    <a:pt x="468" y="45"/>
                  </a:lnTo>
                  <a:lnTo>
                    <a:pt x="468" y="45"/>
                  </a:lnTo>
                  <a:lnTo>
                    <a:pt x="465" y="45"/>
                  </a:lnTo>
                  <a:lnTo>
                    <a:pt x="465" y="47"/>
                  </a:lnTo>
                  <a:lnTo>
                    <a:pt x="463" y="50"/>
                  </a:lnTo>
                  <a:lnTo>
                    <a:pt x="463" y="50"/>
                  </a:lnTo>
                  <a:lnTo>
                    <a:pt x="463" y="50"/>
                  </a:lnTo>
                  <a:close/>
                  <a:moveTo>
                    <a:pt x="373" y="21"/>
                  </a:moveTo>
                  <a:lnTo>
                    <a:pt x="376" y="19"/>
                  </a:lnTo>
                  <a:lnTo>
                    <a:pt x="376" y="19"/>
                  </a:lnTo>
                  <a:lnTo>
                    <a:pt x="376" y="19"/>
                  </a:lnTo>
                  <a:lnTo>
                    <a:pt x="376" y="21"/>
                  </a:lnTo>
                  <a:lnTo>
                    <a:pt x="376" y="21"/>
                  </a:lnTo>
                  <a:lnTo>
                    <a:pt x="376" y="24"/>
                  </a:lnTo>
                  <a:lnTo>
                    <a:pt x="373" y="21"/>
                  </a:lnTo>
                  <a:lnTo>
                    <a:pt x="373" y="21"/>
                  </a:lnTo>
                  <a:close/>
                  <a:moveTo>
                    <a:pt x="371" y="12"/>
                  </a:moveTo>
                  <a:lnTo>
                    <a:pt x="371" y="10"/>
                  </a:lnTo>
                  <a:lnTo>
                    <a:pt x="373" y="10"/>
                  </a:lnTo>
                  <a:lnTo>
                    <a:pt x="376" y="10"/>
                  </a:lnTo>
                  <a:lnTo>
                    <a:pt x="376" y="12"/>
                  </a:lnTo>
                  <a:lnTo>
                    <a:pt x="373" y="12"/>
                  </a:lnTo>
                  <a:lnTo>
                    <a:pt x="376" y="12"/>
                  </a:lnTo>
                  <a:lnTo>
                    <a:pt x="373" y="14"/>
                  </a:lnTo>
                  <a:lnTo>
                    <a:pt x="373" y="14"/>
                  </a:lnTo>
                  <a:lnTo>
                    <a:pt x="373" y="14"/>
                  </a:lnTo>
                  <a:lnTo>
                    <a:pt x="371" y="14"/>
                  </a:lnTo>
                  <a:lnTo>
                    <a:pt x="371" y="12"/>
                  </a:lnTo>
                  <a:close/>
                  <a:moveTo>
                    <a:pt x="524" y="104"/>
                  </a:moveTo>
                  <a:lnTo>
                    <a:pt x="524" y="104"/>
                  </a:lnTo>
                  <a:lnTo>
                    <a:pt x="527" y="104"/>
                  </a:lnTo>
                  <a:lnTo>
                    <a:pt x="524" y="104"/>
                  </a:lnTo>
                  <a:lnTo>
                    <a:pt x="524" y="104"/>
                  </a:lnTo>
                  <a:close/>
                  <a:moveTo>
                    <a:pt x="522" y="106"/>
                  </a:moveTo>
                  <a:lnTo>
                    <a:pt x="522" y="106"/>
                  </a:lnTo>
                  <a:lnTo>
                    <a:pt x="524" y="109"/>
                  </a:lnTo>
                  <a:lnTo>
                    <a:pt x="524" y="109"/>
                  </a:lnTo>
                  <a:lnTo>
                    <a:pt x="527" y="106"/>
                  </a:lnTo>
                  <a:lnTo>
                    <a:pt x="524" y="106"/>
                  </a:lnTo>
                  <a:lnTo>
                    <a:pt x="524" y="109"/>
                  </a:lnTo>
                  <a:lnTo>
                    <a:pt x="522" y="106"/>
                  </a:lnTo>
                  <a:lnTo>
                    <a:pt x="522" y="106"/>
                  </a:lnTo>
                  <a:close/>
                  <a:moveTo>
                    <a:pt x="506" y="71"/>
                  </a:moveTo>
                  <a:lnTo>
                    <a:pt x="506" y="66"/>
                  </a:lnTo>
                  <a:lnTo>
                    <a:pt x="508" y="66"/>
                  </a:lnTo>
                  <a:lnTo>
                    <a:pt x="508" y="64"/>
                  </a:lnTo>
                  <a:lnTo>
                    <a:pt x="508" y="64"/>
                  </a:lnTo>
                  <a:lnTo>
                    <a:pt x="510" y="66"/>
                  </a:lnTo>
                  <a:lnTo>
                    <a:pt x="510" y="66"/>
                  </a:lnTo>
                  <a:lnTo>
                    <a:pt x="510" y="69"/>
                  </a:lnTo>
                  <a:lnTo>
                    <a:pt x="506" y="71"/>
                  </a:lnTo>
                  <a:lnTo>
                    <a:pt x="506" y="71"/>
                  </a:lnTo>
                  <a:close/>
                  <a:moveTo>
                    <a:pt x="480" y="38"/>
                  </a:moveTo>
                  <a:lnTo>
                    <a:pt x="477" y="40"/>
                  </a:lnTo>
                  <a:lnTo>
                    <a:pt x="480" y="40"/>
                  </a:lnTo>
                  <a:lnTo>
                    <a:pt x="480" y="38"/>
                  </a:lnTo>
                  <a:close/>
                  <a:moveTo>
                    <a:pt x="477" y="40"/>
                  </a:moveTo>
                  <a:lnTo>
                    <a:pt x="475" y="40"/>
                  </a:lnTo>
                  <a:lnTo>
                    <a:pt x="475" y="40"/>
                  </a:lnTo>
                  <a:lnTo>
                    <a:pt x="477" y="40"/>
                  </a:lnTo>
                  <a:lnTo>
                    <a:pt x="480" y="45"/>
                  </a:lnTo>
                  <a:lnTo>
                    <a:pt x="480" y="45"/>
                  </a:lnTo>
                  <a:lnTo>
                    <a:pt x="480" y="45"/>
                  </a:lnTo>
                  <a:lnTo>
                    <a:pt x="477" y="40"/>
                  </a:lnTo>
                  <a:close/>
                  <a:moveTo>
                    <a:pt x="527" y="106"/>
                  </a:moveTo>
                  <a:lnTo>
                    <a:pt x="527" y="104"/>
                  </a:lnTo>
                  <a:lnTo>
                    <a:pt x="527" y="102"/>
                  </a:lnTo>
                  <a:lnTo>
                    <a:pt x="527" y="102"/>
                  </a:lnTo>
                  <a:lnTo>
                    <a:pt x="529" y="102"/>
                  </a:lnTo>
                  <a:lnTo>
                    <a:pt x="529" y="99"/>
                  </a:lnTo>
                  <a:lnTo>
                    <a:pt x="529" y="99"/>
                  </a:lnTo>
                  <a:lnTo>
                    <a:pt x="532" y="99"/>
                  </a:lnTo>
                  <a:lnTo>
                    <a:pt x="529" y="102"/>
                  </a:lnTo>
                  <a:lnTo>
                    <a:pt x="532" y="104"/>
                  </a:lnTo>
                  <a:lnTo>
                    <a:pt x="529" y="104"/>
                  </a:lnTo>
                  <a:lnTo>
                    <a:pt x="532" y="104"/>
                  </a:lnTo>
                  <a:lnTo>
                    <a:pt x="529" y="106"/>
                  </a:lnTo>
                  <a:lnTo>
                    <a:pt x="529" y="106"/>
                  </a:lnTo>
                  <a:lnTo>
                    <a:pt x="527" y="106"/>
                  </a:lnTo>
                  <a:lnTo>
                    <a:pt x="527" y="106"/>
                  </a:lnTo>
                  <a:close/>
                  <a:moveTo>
                    <a:pt x="409" y="26"/>
                  </a:moveTo>
                  <a:lnTo>
                    <a:pt x="406" y="26"/>
                  </a:lnTo>
                  <a:lnTo>
                    <a:pt x="406" y="24"/>
                  </a:lnTo>
                  <a:lnTo>
                    <a:pt x="404" y="24"/>
                  </a:lnTo>
                  <a:lnTo>
                    <a:pt x="402" y="26"/>
                  </a:lnTo>
                  <a:lnTo>
                    <a:pt x="402" y="26"/>
                  </a:lnTo>
                  <a:lnTo>
                    <a:pt x="399" y="26"/>
                  </a:lnTo>
                  <a:lnTo>
                    <a:pt x="402" y="24"/>
                  </a:lnTo>
                  <a:lnTo>
                    <a:pt x="404" y="21"/>
                  </a:lnTo>
                  <a:lnTo>
                    <a:pt x="404" y="21"/>
                  </a:lnTo>
                  <a:lnTo>
                    <a:pt x="404" y="21"/>
                  </a:lnTo>
                  <a:lnTo>
                    <a:pt x="404" y="21"/>
                  </a:lnTo>
                  <a:lnTo>
                    <a:pt x="404" y="19"/>
                  </a:lnTo>
                  <a:lnTo>
                    <a:pt x="404" y="19"/>
                  </a:lnTo>
                  <a:lnTo>
                    <a:pt x="406" y="19"/>
                  </a:lnTo>
                  <a:lnTo>
                    <a:pt x="406" y="21"/>
                  </a:lnTo>
                  <a:lnTo>
                    <a:pt x="409" y="21"/>
                  </a:lnTo>
                  <a:lnTo>
                    <a:pt x="409" y="24"/>
                  </a:lnTo>
                  <a:lnTo>
                    <a:pt x="409" y="24"/>
                  </a:lnTo>
                  <a:lnTo>
                    <a:pt x="409" y="24"/>
                  </a:lnTo>
                  <a:lnTo>
                    <a:pt x="409" y="26"/>
                  </a:lnTo>
                  <a:close/>
                  <a:moveTo>
                    <a:pt x="392" y="29"/>
                  </a:moveTo>
                  <a:lnTo>
                    <a:pt x="387" y="29"/>
                  </a:lnTo>
                  <a:lnTo>
                    <a:pt x="387" y="26"/>
                  </a:lnTo>
                  <a:lnTo>
                    <a:pt x="387" y="26"/>
                  </a:lnTo>
                  <a:lnTo>
                    <a:pt x="387" y="26"/>
                  </a:lnTo>
                  <a:lnTo>
                    <a:pt x="387" y="24"/>
                  </a:lnTo>
                  <a:lnTo>
                    <a:pt x="387" y="24"/>
                  </a:lnTo>
                  <a:lnTo>
                    <a:pt x="387" y="21"/>
                  </a:lnTo>
                  <a:lnTo>
                    <a:pt x="387" y="21"/>
                  </a:lnTo>
                  <a:lnTo>
                    <a:pt x="387" y="24"/>
                  </a:lnTo>
                  <a:lnTo>
                    <a:pt x="390" y="24"/>
                  </a:lnTo>
                  <a:lnTo>
                    <a:pt x="390" y="26"/>
                  </a:lnTo>
                  <a:lnTo>
                    <a:pt x="390" y="24"/>
                  </a:lnTo>
                  <a:lnTo>
                    <a:pt x="387" y="21"/>
                  </a:lnTo>
                  <a:lnTo>
                    <a:pt x="387" y="21"/>
                  </a:lnTo>
                  <a:lnTo>
                    <a:pt x="390" y="19"/>
                  </a:lnTo>
                  <a:lnTo>
                    <a:pt x="392" y="21"/>
                  </a:lnTo>
                  <a:lnTo>
                    <a:pt x="392" y="24"/>
                  </a:lnTo>
                  <a:lnTo>
                    <a:pt x="392" y="26"/>
                  </a:lnTo>
                  <a:lnTo>
                    <a:pt x="392" y="26"/>
                  </a:lnTo>
                  <a:lnTo>
                    <a:pt x="392" y="29"/>
                  </a:lnTo>
                  <a:close/>
                  <a:moveTo>
                    <a:pt x="503" y="64"/>
                  </a:moveTo>
                  <a:lnTo>
                    <a:pt x="503" y="62"/>
                  </a:lnTo>
                  <a:lnTo>
                    <a:pt x="506" y="59"/>
                  </a:lnTo>
                  <a:lnTo>
                    <a:pt x="506" y="57"/>
                  </a:lnTo>
                  <a:lnTo>
                    <a:pt x="501" y="64"/>
                  </a:lnTo>
                  <a:lnTo>
                    <a:pt x="498" y="64"/>
                  </a:lnTo>
                  <a:lnTo>
                    <a:pt x="503" y="64"/>
                  </a:lnTo>
                  <a:close/>
                  <a:moveTo>
                    <a:pt x="487" y="38"/>
                  </a:moveTo>
                  <a:lnTo>
                    <a:pt x="489" y="36"/>
                  </a:lnTo>
                  <a:lnTo>
                    <a:pt x="489" y="36"/>
                  </a:lnTo>
                  <a:lnTo>
                    <a:pt x="487" y="36"/>
                  </a:lnTo>
                  <a:lnTo>
                    <a:pt x="487" y="38"/>
                  </a:lnTo>
                  <a:close/>
                  <a:moveTo>
                    <a:pt x="487" y="36"/>
                  </a:moveTo>
                  <a:lnTo>
                    <a:pt x="487" y="36"/>
                  </a:lnTo>
                  <a:lnTo>
                    <a:pt x="487" y="36"/>
                  </a:lnTo>
                  <a:lnTo>
                    <a:pt x="487" y="36"/>
                  </a:lnTo>
                  <a:close/>
                  <a:moveTo>
                    <a:pt x="487" y="36"/>
                  </a:moveTo>
                  <a:lnTo>
                    <a:pt x="487" y="36"/>
                  </a:lnTo>
                  <a:lnTo>
                    <a:pt x="487" y="36"/>
                  </a:lnTo>
                  <a:lnTo>
                    <a:pt x="487" y="36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 cap="flat">
              <a:solidFill>
                <a:schemeClr val="bg2">
                  <a:lumMod val="7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>
                <a:solidFill>
                  <a:srgbClr val="000000"/>
                </a:solidFill>
              </a:endParaRPr>
            </a:p>
          </p:txBody>
        </p:sp>
        <p:sp>
          <p:nvSpPr>
            <p:cNvPr id="26" name="Freeform 26"/>
            <p:cNvSpPr>
              <a:spLocks/>
            </p:cNvSpPr>
            <p:nvPr/>
          </p:nvSpPr>
          <p:spPr bwMode="gray">
            <a:xfrm>
              <a:off x="3796202" y="3531820"/>
              <a:ext cx="406447" cy="260864"/>
            </a:xfrm>
            <a:custGeom>
              <a:avLst/>
              <a:gdLst/>
              <a:ahLst/>
              <a:cxnLst>
                <a:cxn ang="0">
                  <a:pos x="17" y="102"/>
                </a:cxn>
                <a:cxn ang="0">
                  <a:pos x="14" y="83"/>
                </a:cxn>
                <a:cxn ang="0">
                  <a:pos x="26" y="54"/>
                </a:cxn>
                <a:cxn ang="0">
                  <a:pos x="24" y="45"/>
                </a:cxn>
                <a:cxn ang="0">
                  <a:pos x="40" y="50"/>
                </a:cxn>
                <a:cxn ang="0">
                  <a:pos x="64" y="59"/>
                </a:cxn>
                <a:cxn ang="0">
                  <a:pos x="90" y="54"/>
                </a:cxn>
                <a:cxn ang="0">
                  <a:pos x="106" y="50"/>
                </a:cxn>
                <a:cxn ang="0">
                  <a:pos x="128" y="36"/>
                </a:cxn>
                <a:cxn ang="0">
                  <a:pos x="149" y="19"/>
                </a:cxn>
                <a:cxn ang="0">
                  <a:pos x="180" y="7"/>
                </a:cxn>
                <a:cxn ang="0">
                  <a:pos x="201" y="17"/>
                </a:cxn>
                <a:cxn ang="0">
                  <a:pos x="177" y="38"/>
                </a:cxn>
                <a:cxn ang="0">
                  <a:pos x="163" y="69"/>
                </a:cxn>
                <a:cxn ang="0">
                  <a:pos x="189" y="95"/>
                </a:cxn>
                <a:cxn ang="0">
                  <a:pos x="227" y="95"/>
                </a:cxn>
                <a:cxn ang="0">
                  <a:pos x="260" y="125"/>
                </a:cxn>
                <a:cxn ang="0">
                  <a:pos x="286" y="95"/>
                </a:cxn>
                <a:cxn ang="0">
                  <a:pos x="293" y="69"/>
                </a:cxn>
                <a:cxn ang="0">
                  <a:pos x="307" y="36"/>
                </a:cxn>
                <a:cxn ang="0">
                  <a:pos x="336" y="52"/>
                </a:cxn>
                <a:cxn ang="0">
                  <a:pos x="369" y="59"/>
                </a:cxn>
                <a:cxn ang="0">
                  <a:pos x="406" y="59"/>
                </a:cxn>
                <a:cxn ang="0">
                  <a:pos x="423" y="59"/>
                </a:cxn>
                <a:cxn ang="0">
                  <a:pos x="458" y="69"/>
                </a:cxn>
                <a:cxn ang="0">
                  <a:pos x="484" y="85"/>
                </a:cxn>
                <a:cxn ang="0">
                  <a:pos x="494" y="114"/>
                </a:cxn>
                <a:cxn ang="0">
                  <a:pos x="496" y="130"/>
                </a:cxn>
                <a:cxn ang="0">
                  <a:pos x="501" y="144"/>
                </a:cxn>
                <a:cxn ang="0">
                  <a:pos x="503" y="189"/>
                </a:cxn>
                <a:cxn ang="0">
                  <a:pos x="482" y="199"/>
                </a:cxn>
                <a:cxn ang="0">
                  <a:pos x="456" y="177"/>
                </a:cxn>
                <a:cxn ang="0">
                  <a:pos x="430" y="184"/>
                </a:cxn>
                <a:cxn ang="0">
                  <a:pos x="409" y="203"/>
                </a:cxn>
                <a:cxn ang="0">
                  <a:pos x="395" y="220"/>
                </a:cxn>
                <a:cxn ang="0">
                  <a:pos x="371" y="225"/>
                </a:cxn>
                <a:cxn ang="0">
                  <a:pos x="343" y="229"/>
                </a:cxn>
                <a:cxn ang="0">
                  <a:pos x="312" y="234"/>
                </a:cxn>
                <a:cxn ang="0">
                  <a:pos x="288" y="248"/>
                </a:cxn>
                <a:cxn ang="0">
                  <a:pos x="267" y="269"/>
                </a:cxn>
                <a:cxn ang="0">
                  <a:pos x="255" y="284"/>
                </a:cxn>
                <a:cxn ang="0">
                  <a:pos x="218" y="293"/>
                </a:cxn>
                <a:cxn ang="0">
                  <a:pos x="203" y="265"/>
                </a:cxn>
                <a:cxn ang="0">
                  <a:pos x="189" y="255"/>
                </a:cxn>
                <a:cxn ang="0">
                  <a:pos x="184" y="246"/>
                </a:cxn>
                <a:cxn ang="0">
                  <a:pos x="203" y="232"/>
                </a:cxn>
                <a:cxn ang="0">
                  <a:pos x="201" y="206"/>
                </a:cxn>
                <a:cxn ang="0">
                  <a:pos x="222" y="187"/>
                </a:cxn>
                <a:cxn ang="0">
                  <a:pos x="203" y="170"/>
                </a:cxn>
                <a:cxn ang="0">
                  <a:pos x="170" y="175"/>
                </a:cxn>
                <a:cxn ang="0">
                  <a:pos x="151" y="191"/>
                </a:cxn>
                <a:cxn ang="0">
                  <a:pos x="128" y="208"/>
                </a:cxn>
                <a:cxn ang="0">
                  <a:pos x="111" y="217"/>
                </a:cxn>
                <a:cxn ang="0">
                  <a:pos x="95" y="227"/>
                </a:cxn>
                <a:cxn ang="0">
                  <a:pos x="71" y="234"/>
                </a:cxn>
                <a:cxn ang="0">
                  <a:pos x="57" y="222"/>
                </a:cxn>
                <a:cxn ang="0">
                  <a:pos x="38" y="222"/>
                </a:cxn>
                <a:cxn ang="0">
                  <a:pos x="14" y="217"/>
                </a:cxn>
                <a:cxn ang="0">
                  <a:pos x="14" y="199"/>
                </a:cxn>
                <a:cxn ang="0">
                  <a:pos x="24" y="180"/>
                </a:cxn>
                <a:cxn ang="0">
                  <a:pos x="19" y="156"/>
                </a:cxn>
                <a:cxn ang="0">
                  <a:pos x="12" y="137"/>
                </a:cxn>
                <a:cxn ang="0">
                  <a:pos x="3" y="121"/>
                </a:cxn>
              </a:cxnLst>
              <a:rect l="0" t="0" r="r" b="b"/>
              <a:pathLst>
                <a:path w="503" h="298">
                  <a:moveTo>
                    <a:pt x="0" y="116"/>
                  </a:moveTo>
                  <a:lnTo>
                    <a:pt x="0" y="114"/>
                  </a:lnTo>
                  <a:lnTo>
                    <a:pt x="5" y="114"/>
                  </a:lnTo>
                  <a:lnTo>
                    <a:pt x="5" y="114"/>
                  </a:lnTo>
                  <a:lnTo>
                    <a:pt x="5" y="114"/>
                  </a:lnTo>
                  <a:lnTo>
                    <a:pt x="7" y="114"/>
                  </a:lnTo>
                  <a:lnTo>
                    <a:pt x="7" y="111"/>
                  </a:lnTo>
                  <a:lnTo>
                    <a:pt x="10" y="111"/>
                  </a:lnTo>
                  <a:lnTo>
                    <a:pt x="10" y="111"/>
                  </a:lnTo>
                  <a:lnTo>
                    <a:pt x="12" y="109"/>
                  </a:lnTo>
                  <a:lnTo>
                    <a:pt x="12" y="109"/>
                  </a:lnTo>
                  <a:lnTo>
                    <a:pt x="12" y="109"/>
                  </a:lnTo>
                  <a:lnTo>
                    <a:pt x="12" y="106"/>
                  </a:lnTo>
                  <a:lnTo>
                    <a:pt x="12" y="106"/>
                  </a:lnTo>
                  <a:lnTo>
                    <a:pt x="12" y="104"/>
                  </a:lnTo>
                  <a:lnTo>
                    <a:pt x="14" y="104"/>
                  </a:lnTo>
                  <a:lnTo>
                    <a:pt x="14" y="102"/>
                  </a:lnTo>
                  <a:lnTo>
                    <a:pt x="17" y="102"/>
                  </a:lnTo>
                  <a:lnTo>
                    <a:pt x="17" y="102"/>
                  </a:lnTo>
                  <a:lnTo>
                    <a:pt x="14" y="99"/>
                  </a:lnTo>
                  <a:lnTo>
                    <a:pt x="17" y="99"/>
                  </a:lnTo>
                  <a:lnTo>
                    <a:pt x="19" y="102"/>
                  </a:lnTo>
                  <a:lnTo>
                    <a:pt x="19" y="99"/>
                  </a:lnTo>
                  <a:lnTo>
                    <a:pt x="17" y="99"/>
                  </a:lnTo>
                  <a:lnTo>
                    <a:pt x="17" y="97"/>
                  </a:lnTo>
                  <a:lnTo>
                    <a:pt x="14" y="97"/>
                  </a:lnTo>
                  <a:lnTo>
                    <a:pt x="14" y="95"/>
                  </a:lnTo>
                  <a:lnTo>
                    <a:pt x="14" y="95"/>
                  </a:lnTo>
                  <a:lnTo>
                    <a:pt x="14" y="95"/>
                  </a:lnTo>
                  <a:lnTo>
                    <a:pt x="14" y="92"/>
                  </a:lnTo>
                  <a:lnTo>
                    <a:pt x="12" y="92"/>
                  </a:lnTo>
                  <a:lnTo>
                    <a:pt x="12" y="88"/>
                  </a:lnTo>
                  <a:lnTo>
                    <a:pt x="12" y="88"/>
                  </a:lnTo>
                  <a:lnTo>
                    <a:pt x="12" y="85"/>
                  </a:lnTo>
                  <a:lnTo>
                    <a:pt x="14" y="85"/>
                  </a:lnTo>
                  <a:lnTo>
                    <a:pt x="12" y="85"/>
                  </a:lnTo>
                  <a:lnTo>
                    <a:pt x="14" y="85"/>
                  </a:lnTo>
                  <a:lnTo>
                    <a:pt x="14" y="83"/>
                  </a:lnTo>
                  <a:lnTo>
                    <a:pt x="14" y="83"/>
                  </a:lnTo>
                  <a:lnTo>
                    <a:pt x="14" y="80"/>
                  </a:lnTo>
                  <a:lnTo>
                    <a:pt x="14" y="78"/>
                  </a:lnTo>
                  <a:lnTo>
                    <a:pt x="14" y="78"/>
                  </a:lnTo>
                  <a:lnTo>
                    <a:pt x="14" y="78"/>
                  </a:lnTo>
                  <a:lnTo>
                    <a:pt x="17" y="76"/>
                  </a:lnTo>
                  <a:lnTo>
                    <a:pt x="17" y="73"/>
                  </a:lnTo>
                  <a:lnTo>
                    <a:pt x="14" y="73"/>
                  </a:lnTo>
                  <a:lnTo>
                    <a:pt x="17" y="71"/>
                  </a:lnTo>
                  <a:lnTo>
                    <a:pt x="17" y="71"/>
                  </a:lnTo>
                  <a:lnTo>
                    <a:pt x="19" y="69"/>
                  </a:lnTo>
                  <a:lnTo>
                    <a:pt x="19" y="69"/>
                  </a:lnTo>
                  <a:lnTo>
                    <a:pt x="19" y="66"/>
                  </a:lnTo>
                  <a:lnTo>
                    <a:pt x="19" y="66"/>
                  </a:lnTo>
                  <a:lnTo>
                    <a:pt x="19" y="64"/>
                  </a:lnTo>
                  <a:lnTo>
                    <a:pt x="21" y="62"/>
                  </a:lnTo>
                  <a:lnTo>
                    <a:pt x="24" y="59"/>
                  </a:lnTo>
                  <a:lnTo>
                    <a:pt x="24" y="57"/>
                  </a:lnTo>
                  <a:lnTo>
                    <a:pt x="26" y="54"/>
                  </a:lnTo>
                  <a:lnTo>
                    <a:pt x="26" y="54"/>
                  </a:lnTo>
                  <a:lnTo>
                    <a:pt x="26" y="54"/>
                  </a:lnTo>
                  <a:lnTo>
                    <a:pt x="31" y="50"/>
                  </a:lnTo>
                  <a:lnTo>
                    <a:pt x="31" y="50"/>
                  </a:lnTo>
                  <a:lnTo>
                    <a:pt x="31" y="47"/>
                  </a:lnTo>
                  <a:lnTo>
                    <a:pt x="29" y="50"/>
                  </a:lnTo>
                  <a:lnTo>
                    <a:pt x="29" y="50"/>
                  </a:lnTo>
                  <a:lnTo>
                    <a:pt x="24" y="50"/>
                  </a:lnTo>
                  <a:lnTo>
                    <a:pt x="24" y="50"/>
                  </a:lnTo>
                  <a:lnTo>
                    <a:pt x="24" y="47"/>
                  </a:lnTo>
                  <a:lnTo>
                    <a:pt x="21" y="47"/>
                  </a:lnTo>
                  <a:lnTo>
                    <a:pt x="21" y="47"/>
                  </a:lnTo>
                  <a:lnTo>
                    <a:pt x="21" y="47"/>
                  </a:lnTo>
                  <a:lnTo>
                    <a:pt x="21" y="47"/>
                  </a:lnTo>
                  <a:lnTo>
                    <a:pt x="21" y="47"/>
                  </a:lnTo>
                  <a:lnTo>
                    <a:pt x="21" y="45"/>
                  </a:lnTo>
                  <a:lnTo>
                    <a:pt x="24" y="45"/>
                  </a:lnTo>
                  <a:lnTo>
                    <a:pt x="24" y="45"/>
                  </a:lnTo>
                  <a:lnTo>
                    <a:pt x="24" y="45"/>
                  </a:lnTo>
                  <a:lnTo>
                    <a:pt x="26" y="43"/>
                  </a:lnTo>
                  <a:lnTo>
                    <a:pt x="29" y="43"/>
                  </a:lnTo>
                  <a:lnTo>
                    <a:pt x="29" y="43"/>
                  </a:lnTo>
                  <a:lnTo>
                    <a:pt x="29" y="40"/>
                  </a:lnTo>
                  <a:lnTo>
                    <a:pt x="29" y="40"/>
                  </a:lnTo>
                  <a:lnTo>
                    <a:pt x="31" y="43"/>
                  </a:lnTo>
                  <a:lnTo>
                    <a:pt x="31" y="43"/>
                  </a:lnTo>
                  <a:lnTo>
                    <a:pt x="33" y="43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8" y="40"/>
                  </a:lnTo>
                  <a:lnTo>
                    <a:pt x="38" y="40"/>
                  </a:lnTo>
                  <a:lnTo>
                    <a:pt x="38" y="43"/>
                  </a:lnTo>
                  <a:lnTo>
                    <a:pt x="36" y="45"/>
                  </a:lnTo>
                  <a:lnTo>
                    <a:pt x="36" y="47"/>
                  </a:lnTo>
                  <a:lnTo>
                    <a:pt x="36" y="50"/>
                  </a:lnTo>
                  <a:lnTo>
                    <a:pt x="38" y="47"/>
                  </a:lnTo>
                  <a:lnTo>
                    <a:pt x="40" y="47"/>
                  </a:lnTo>
                  <a:lnTo>
                    <a:pt x="40" y="50"/>
                  </a:lnTo>
                  <a:lnTo>
                    <a:pt x="43" y="50"/>
                  </a:lnTo>
                  <a:lnTo>
                    <a:pt x="45" y="50"/>
                  </a:lnTo>
                  <a:lnTo>
                    <a:pt x="47" y="50"/>
                  </a:lnTo>
                  <a:lnTo>
                    <a:pt x="47" y="50"/>
                  </a:lnTo>
                  <a:lnTo>
                    <a:pt x="47" y="52"/>
                  </a:lnTo>
                  <a:lnTo>
                    <a:pt x="50" y="54"/>
                  </a:lnTo>
                  <a:lnTo>
                    <a:pt x="50" y="54"/>
                  </a:lnTo>
                  <a:lnTo>
                    <a:pt x="50" y="57"/>
                  </a:lnTo>
                  <a:lnTo>
                    <a:pt x="50" y="57"/>
                  </a:lnTo>
                  <a:lnTo>
                    <a:pt x="52" y="57"/>
                  </a:lnTo>
                  <a:lnTo>
                    <a:pt x="52" y="57"/>
                  </a:lnTo>
                  <a:lnTo>
                    <a:pt x="55" y="57"/>
                  </a:lnTo>
                  <a:lnTo>
                    <a:pt x="55" y="57"/>
                  </a:lnTo>
                  <a:lnTo>
                    <a:pt x="55" y="57"/>
                  </a:lnTo>
                  <a:lnTo>
                    <a:pt x="57" y="59"/>
                  </a:lnTo>
                  <a:lnTo>
                    <a:pt x="57" y="59"/>
                  </a:lnTo>
                  <a:lnTo>
                    <a:pt x="59" y="59"/>
                  </a:lnTo>
                  <a:lnTo>
                    <a:pt x="59" y="64"/>
                  </a:lnTo>
                  <a:lnTo>
                    <a:pt x="64" y="59"/>
                  </a:lnTo>
                  <a:lnTo>
                    <a:pt x="66" y="59"/>
                  </a:lnTo>
                  <a:lnTo>
                    <a:pt x="66" y="59"/>
                  </a:lnTo>
                  <a:lnTo>
                    <a:pt x="69" y="59"/>
                  </a:lnTo>
                  <a:lnTo>
                    <a:pt x="71" y="59"/>
                  </a:lnTo>
                  <a:lnTo>
                    <a:pt x="73" y="62"/>
                  </a:lnTo>
                  <a:lnTo>
                    <a:pt x="76" y="62"/>
                  </a:lnTo>
                  <a:lnTo>
                    <a:pt x="78" y="62"/>
                  </a:lnTo>
                  <a:lnTo>
                    <a:pt x="80" y="64"/>
                  </a:lnTo>
                  <a:lnTo>
                    <a:pt x="83" y="64"/>
                  </a:lnTo>
                  <a:lnTo>
                    <a:pt x="83" y="64"/>
                  </a:lnTo>
                  <a:lnTo>
                    <a:pt x="85" y="64"/>
                  </a:lnTo>
                  <a:lnTo>
                    <a:pt x="85" y="62"/>
                  </a:lnTo>
                  <a:lnTo>
                    <a:pt x="88" y="59"/>
                  </a:lnTo>
                  <a:lnTo>
                    <a:pt x="88" y="57"/>
                  </a:lnTo>
                  <a:lnTo>
                    <a:pt x="88" y="57"/>
                  </a:lnTo>
                  <a:lnTo>
                    <a:pt x="90" y="57"/>
                  </a:lnTo>
                  <a:lnTo>
                    <a:pt x="90" y="57"/>
                  </a:lnTo>
                  <a:lnTo>
                    <a:pt x="90" y="57"/>
                  </a:lnTo>
                  <a:lnTo>
                    <a:pt x="90" y="54"/>
                  </a:lnTo>
                  <a:lnTo>
                    <a:pt x="92" y="54"/>
                  </a:lnTo>
                  <a:lnTo>
                    <a:pt x="92" y="57"/>
                  </a:lnTo>
                  <a:lnTo>
                    <a:pt x="92" y="57"/>
                  </a:lnTo>
                  <a:lnTo>
                    <a:pt x="92" y="59"/>
                  </a:lnTo>
                  <a:lnTo>
                    <a:pt x="92" y="59"/>
                  </a:lnTo>
                  <a:lnTo>
                    <a:pt x="95" y="59"/>
                  </a:lnTo>
                  <a:lnTo>
                    <a:pt x="95" y="57"/>
                  </a:lnTo>
                  <a:lnTo>
                    <a:pt x="95" y="57"/>
                  </a:lnTo>
                  <a:lnTo>
                    <a:pt x="95" y="54"/>
                  </a:lnTo>
                  <a:lnTo>
                    <a:pt x="97" y="54"/>
                  </a:lnTo>
                  <a:lnTo>
                    <a:pt x="95" y="52"/>
                  </a:lnTo>
                  <a:lnTo>
                    <a:pt x="99" y="52"/>
                  </a:lnTo>
                  <a:lnTo>
                    <a:pt x="102" y="52"/>
                  </a:lnTo>
                  <a:lnTo>
                    <a:pt x="102" y="50"/>
                  </a:lnTo>
                  <a:lnTo>
                    <a:pt x="102" y="50"/>
                  </a:lnTo>
                  <a:lnTo>
                    <a:pt x="102" y="50"/>
                  </a:lnTo>
                  <a:lnTo>
                    <a:pt x="104" y="52"/>
                  </a:lnTo>
                  <a:lnTo>
                    <a:pt x="106" y="52"/>
                  </a:lnTo>
                  <a:lnTo>
                    <a:pt x="106" y="50"/>
                  </a:lnTo>
                  <a:lnTo>
                    <a:pt x="109" y="50"/>
                  </a:lnTo>
                  <a:lnTo>
                    <a:pt x="111" y="50"/>
                  </a:lnTo>
                  <a:lnTo>
                    <a:pt x="111" y="47"/>
                  </a:lnTo>
                  <a:lnTo>
                    <a:pt x="111" y="47"/>
                  </a:lnTo>
                  <a:lnTo>
                    <a:pt x="111" y="45"/>
                  </a:lnTo>
                  <a:lnTo>
                    <a:pt x="114" y="45"/>
                  </a:lnTo>
                  <a:lnTo>
                    <a:pt x="116" y="45"/>
                  </a:lnTo>
                  <a:lnTo>
                    <a:pt x="116" y="45"/>
                  </a:lnTo>
                  <a:lnTo>
                    <a:pt x="116" y="43"/>
                  </a:lnTo>
                  <a:lnTo>
                    <a:pt x="118" y="40"/>
                  </a:lnTo>
                  <a:lnTo>
                    <a:pt x="116" y="40"/>
                  </a:lnTo>
                  <a:lnTo>
                    <a:pt x="118" y="38"/>
                  </a:lnTo>
                  <a:lnTo>
                    <a:pt x="121" y="38"/>
                  </a:lnTo>
                  <a:lnTo>
                    <a:pt x="121" y="38"/>
                  </a:lnTo>
                  <a:lnTo>
                    <a:pt x="121" y="38"/>
                  </a:lnTo>
                  <a:lnTo>
                    <a:pt x="121" y="36"/>
                  </a:lnTo>
                  <a:lnTo>
                    <a:pt x="123" y="36"/>
                  </a:lnTo>
                  <a:lnTo>
                    <a:pt x="125" y="36"/>
                  </a:lnTo>
                  <a:lnTo>
                    <a:pt x="128" y="36"/>
                  </a:lnTo>
                  <a:lnTo>
                    <a:pt x="128" y="36"/>
                  </a:lnTo>
                  <a:lnTo>
                    <a:pt x="128" y="33"/>
                  </a:lnTo>
                  <a:lnTo>
                    <a:pt x="128" y="31"/>
                  </a:lnTo>
                  <a:lnTo>
                    <a:pt x="128" y="31"/>
                  </a:lnTo>
                  <a:lnTo>
                    <a:pt x="125" y="28"/>
                  </a:lnTo>
                  <a:lnTo>
                    <a:pt x="128" y="28"/>
                  </a:lnTo>
                  <a:lnTo>
                    <a:pt x="125" y="26"/>
                  </a:lnTo>
                  <a:lnTo>
                    <a:pt x="128" y="26"/>
                  </a:lnTo>
                  <a:lnTo>
                    <a:pt x="128" y="26"/>
                  </a:lnTo>
                  <a:lnTo>
                    <a:pt x="128" y="24"/>
                  </a:lnTo>
                  <a:lnTo>
                    <a:pt x="130" y="21"/>
                  </a:lnTo>
                  <a:lnTo>
                    <a:pt x="132" y="19"/>
                  </a:lnTo>
                  <a:lnTo>
                    <a:pt x="135" y="19"/>
                  </a:lnTo>
                  <a:lnTo>
                    <a:pt x="135" y="21"/>
                  </a:lnTo>
                  <a:lnTo>
                    <a:pt x="137" y="21"/>
                  </a:lnTo>
                  <a:lnTo>
                    <a:pt x="142" y="21"/>
                  </a:lnTo>
                  <a:lnTo>
                    <a:pt x="142" y="19"/>
                  </a:lnTo>
                  <a:lnTo>
                    <a:pt x="147" y="19"/>
                  </a:lnTo>
                  <a:lnTo>
                    <a:pt x="149" y="19"/>
                  </a:lnTo>
                  <a:lnTo>
                    <a:pt x="149" y="19"/>
                  </a:lnTo>
                  <a:lnTo>
                    <a:pt x="151" y="17"/>
                  </a:lnTo>
                  <a:lnTo>
                    <a:pt x="154" y="19"/>
                  </a:lnTo>
                  <a:lnTo>
                    <a:pt x="156" y="19"/>
                  </a:lnTo>
                  <a:lnTo>
                    <a:pt x="156" y="17"/>
                  </a:lnTo>
                  <a:lnTo>
                    <a:pt x="158" y="17"/>
                  </a:lnTo>
                  <a:lnTo>
                    <a:pt x="161" y="17"/>
                  </a:lnTo>
                  <a:lnTo>
                    <a:pt x="161" y="17"/>
                  </a:lnTo>
                  <a:lnTo>
                    <a:pt x="161" y="17"/>
                  </a:lnTo>
                  <a:lnTo>
                    <a:pt x="163" y="17"/>
                  </a:lnTo>
                  <a:lnTo>
                    <a:pt x="166" y="17"/>
                  </a:lnTo>
                  <a:lnTo>
                    <a:pt x="166" y="12"/>
                  </a:lnTo>
                  <a:lnTo>
                    <a:pt x="168" y="12"/>
                  </a:lnTo>
                  <a:lnTo>
                    <a:pt x="170" y="12"/>
                  </a:lnTo>
                  <a:lnTo>
                    <a:pt x="173" y="12"/>
                  </a:lnTo>
                  <a:lnTo>
                    <a:pt x="175" y="12"/>
                  </a:lnTo>
                  <a:lnTo>
                    <a:pt x="175" y="7"/>
                  </a:lnTo>
                  <a:lnTo>
                    <a:pt x="177" y="7"/>
                  </a:lnTo>
                  <a:lnTo>
                    <a:pt x="180" y="7"/>
                  </a:lnTo>
                  <a:lnTo>
                    <a:pt x="182" y="5"/>
                  </a:lnTo>
                  <a:lnTo>
                    <a:pt x="184" y="5"/>
                  </a:lnTo>
                  <a:lnTo>
                    <a:pt x="187" y="3"/>
                  </a:lnTo>
                  <a:lnTo>
                    <a:pt x="187" y="5"/>
                  </a:lnTo>
                  <a:lnTo>
                    <a:pt x="189" y="5"/>
                  </a:lnTo>
                  <a:lnTo>
                    <a:pt x="189" y="3"/>
                  </a:lnTo>
                  <a:lnTo>
                    <a:pt x="192" y="0"/>
                  </a:lnTo>
                  <a:lnTo>
                    <a:pt x="192" y="0"/>
                  </a:lnTo>
                  <a:lnTo>
                    <a:pt x="194" y="0"/>
                  </a:lnTo>
                  <a:lnTo>
                    <a:pt x="194" y="0"/>
                  </a:lnTo>
                  <a:lnTo>
                    <a:pt x="196" y="3"/>
                  </a:lnTo>
                  <a:lnTo>
                    <a:pt x="199" y="3"/>
                  </a:lnTo>
                  <a:lnTo>
                    <a:pt x="199" y="3"/>
                  </a:lnTo>
                  <a:lnTo>
                    <a:pt x="203" y="3"/>
                  </a:lnTo>
                  <a:lnTo>
                    <a:pt x="201" y="3"/>
                  </a:lnTo>
                  <a:lnTo>
                    <a:pt x="203" y="7"/>
                  </a:lnTo>
                  <a:lnTo>
                    <a:pt x="203" y="10"/>
                  </a:lnTo>
                  <a:lnTo>
                    <a:pt x="203" y="12"/>
                  </a:lnTo>
                  <a:lnTo>
                    <a:pt x="201" y="17"/>
                  </a:lnTo>
                  <a:lnTo>
                    <a:pt x="203" y="17"/>
                  </a:lnTo>
                  <a:lnTo>
                    <a:pt x="203" y="17"/>
                  </a:lnTo>
                  <a:lnTo>
                    <a:pt x="203" y="19"/>
                  </a:lnTo>
                  <a:lnTo>
                    <a:pt x="203" y="19"/>
                  </a:lnTo>
                  <a:lnTo>
                    <a:pt x="199" y="21"/>
                  </a:lnTo>
                  <a:lnTo>
                    <a:pt x="199" y="21"/>
                  </a:lnTo>
                  <a:lnTo>
                    <a:pt x="199" y="24"/>
                  </a:lnTo>
                  <a:lnTo>
                    <a:pt x="196" y="24"/>
                  </a:lnTo>
                  <a:lnTo>
                    <a:pt x="194" y="26"/>
                  </a:lnTo>
                  <a:lnTo>
                    <a:pt x="194" y="26"/>
                  </a:lnTo>
                  <a:lnTo>
                    <a:pt x="192" y="26"/>
                  </a:lnTo>
                  <a:lnTo>
                    <a:pt x="189" y="28"/>
                  </a:lnTo>
                  <a:lnTo>
                    <a:pt x="189" y="33"/>
                  </a:lnTo>
                  <a:lnTo>
                    <a:pt x="187" y="33"/>
                  </a:lnTo>
                  <a:lnTo>
                    <a:pt x="184" y="33"/>
                  </a:lnTo>
                  <a:lnTo>
                    <a:pt x="184" y="33"/>
                  </a:lnTo>
                  <a:lnTo>
                    <a:pt x="182" y="36"/>
                  </a:lnTo>
                  <a:lnTo>
                    <a:pt x="182" y="38"/>
                  </a:lnTo>
                  <a:lnTo>
                    <a:pt x="177" y="38"/>
                  </a:lnTo>
                  <a:lnTo>
                    <a:pt x="177" y="38"/>
                  </a:lnTo>
                  <a:lnTo>
                    <a:pt x="177" y="40"/>
                  </a:lnTo>
                  <a:lnTo>
                    <a:pt x="177" y="45"/>
                  </a:lnTo>
                  <a:lnTo>
                    <a:pt x="175" y="47"/>
                  </a:lnTo>
                  <a:lnTo>
                    <a:pt x="175" y="47"/>
                  </a:lnTo>
                  <a:lnTo>
                    <a:pt x="175" y="47"/>
                  </a:lnTo>
                  <a:lnTo>
                    <a:pt x="175" y="50"/>
                  </a:lnTo>
                  <a:lnTo>
                    <a:pt x="175" y="50"/>
                  </a:lnTo>
                  <a:lnTo>
                    <a:pt x="175" y="52"/>
                  </a:lnTo>
                  <a:lnTo>
                    <a:pt x="175" y="54"/>
                  </a:lnTo>
                  <a:lnTo>
                    <a:pt x="175" y="57"/>
                  </a:lnTo>
                  <a:lnTo>
                    <a:pt x="175" y="64"/>
                  </a:lnTo>
                  <a:lnTo>
                    <a:pt x="170" y="66"/>
                  </a:lnTo>
                  <a:lnTo>
                    <a:pt x="168" y="66"/>
                  </a:lnTo>
                  <a:lnTo>
                    <a:pt x="168" y="66"/>
                  </a:lnTo>
                  <a:lnTo>
                    <a:pt x="166" y="66"/>
                  </a:lnTo>
                  <a:lnTo>
                    <a:pt x="166" y="66"/>
                  </a:lnTo>
                  <a:lnTo>
                    <a:pt x="163" y="69"/>
                  </a:lnTo>
                  <a:lnTo>
                    <a:pt x="163" y="69"/>
                  </a:lnTo>
                  <a:lnTo>
                    <a:pt x="163" y="71"/>
                  </a:lnTo>
                  <a:lnTo>
                    <a:pt x="163" y="73"/>
                  </a:lnTo>
                  <a:lnTo>
                    <a:pt x="163" y="76"/>
                  </a:lnTo>
                  <a:lnTo>
                    <a:pt x="163" y="76"/>
                  </a:lnTo>
                  <a:lnTo>
                    <a:pt x="163" y="78"/>
                  </a:lnTo>
                  <a:lnTo>
                    <a:pt x="163" y="80"/>
                  </a:lnTo>
                  <a:lnTo>
                    <a:pt x="166" y="83"/>
                  </a:lnTo>
                  <a:lnTo>
                    <a:pt x="163" y="85"/>
                  </a:lnTo>
                  <a:lnTo>
                    <a:pt x="166" y="85"/>
                  </a:lnTo>
                  <a:lnTo>
                    <a:pt x="163" y="90"/>
                  </a:lnTo>
                  <a:lnTo>
                    <a:pt x="173" y="88"/>
                  </a:lnTo>
                  <a:lnTo>
                    <a:pt x="175" y="88"/>
                  </a:lnTo>
                  <a:lnTo>
                    <a:pt x="180" y="88"/>
                  </a:lnTo>
                  <a:lnTo>
                    <a:pt x="184" y="88"/>
                  </a:lnTo>
                  <a:lnTo>
                    <a:pt x="187" y="88"/>
                  </a:lnTo>
                  <a:lnTo>
                    <a:pt x="187" y="90"/>
                  </a:lnTo>
                  <a:lnTo>
                    <a:pt x="189" y="92"/>
                  </a:lnTo>
                  <a:lnTo>
                    <a:pt x="189" y="92"/>
                  </a:lnTo>
                  <a:lnTo>
                    <a:pt x="189" y="95"/>
                  </a:lnTo>
                  <a:lnTo>
                    <a:pt x="189" y="97"/>
                  </a:lnTo>
                  <a:lnTo>
                    <a:pt x="192" y="99"/>
                  </a:lnTo>
                  <a:lnTo>
                    <a:pt x="192" y="99"/>
                  </a:lnTo>
                  <a:lnTo>
                    <a:pt x="192" y="102"/>
                  </a:lnTo>
                  <a:lnTo>
                    <a:pt x="192" y="102"/>
                  </a:lnTo>
                  <a:lnTo>
                    <a:pt x="194" y="104"/>
                  </a:lnTo>
                  <a:lnTo>
                    <a:pt x="199" y="104"/>
                  </a:lnTo>
                  <a:lnTo>
                    <a:pt x="206" y="102"/>
                  </a:lnTo>
                  <a:lnTo>
                    <a:pt x="208" y="97"/>
                  </a:lnTo>
                  <a:lnTo>
                    <a:pt x="208" y="97"/>
                  </a:lnTo>
                  <a:lnTo>
                    <a:pt x="215" y="95"/>
                  </a:lnTo>
                  <a:lnTo>
                    <a:pt x="215" y="95"/>
                  </a:lnTo>
                  <a:lnTo>
                    <a:pt x="220" y="95"/>
                  </a:lnTo>
                  <a:lnTo>
                    <a:pt x="220" y="92"/>
                  </a:lnTo>
                  <a:lnTo>
                    <a:pt x="225" y="90"/>
                  </a:lnTo>
                  <a:lnTo>
                    <a:pt x="225" y="90"/>
                  </a:lnTo>
                  <a:lnTo>
                    <a:pt x="227" y="92"/>
                  </a:lnTo>
                  <a:lnTo>
                    <a:pt x="227" y="95"/>
                  </a:lnTo>
                  <a:lnTo>
                    <a:pt x="227" y="95"/>
                  </a:lnTo>
                  <a:lnTo>
                    <a:pt x="229" y="97"/>
                  </a:lnTo>
                  <a:lnTo>
                    <a:pt x="229" y="99"/>
                  </a:lnTo>
                  <a:lnTo>
                    <a:pt x="229" y="99"/>
                  </a:lnTo>
                  <a:lnTo>
                    <a:pt x="229" y="99"/>
                  </a:lnTo>
                  <a:lnTo>
                    <a:pt x="229" y="99"/>
                  </a:lnTo>
                  <a:lnTo>
                    <a:pt x="232" y="97"/>
                  </a:lnTo>
                  <a:lnTo>
                    <a:pt x="234" y="95"/>
                  </a:lnTo>
                  <a:lnTo>
                    <a:pt x="236" y="95"/>
                  </a:lnTo>
                  <a:lnTo>
                    <a:pt x="241" y="95"/>
                  </a:lnTo>
                  <a:lnTo>
                    <a:pt x="243" y="92"/>
                  </a:lnTo>
                  <a:lnTo>
                    <a:pt x="253" y="99"/>
                  </a:lnTo>
                  <a:lnTo>
                    <a:pt x="253" y="106"/>
                  </a:lnTo>
                  <a:lnTo>
                    <a:pt x="258" y="106"/>
                  </a:lnTo>
                  <a:lnTo>
                    <a:pt x="258" y="111"/>
                  </a:lnTo>
                  <a:lnTo>
                    <a:pt x="255" y="114"/>
                  </a:lnTo>
                  <a:lnTo>
                    <a:pt x="255" y="116"/>
                  </a:lnTo>
                  <a:lnTo>
                    <a:pt x="253" y="118"/>
                  </a:lnTo>
                  <a:lnTo>
                    <a:pt x="258" y="123"/>
                  </a:lnTo>
                  <a:lnTo>
                    <a:pt x="260" y="125"/>
                  </a:lnTo>
                  <a:lnTo>
                    <a:pt x="260" y="125"/>
                  </a:lnTo>
                  <a:lnTo>
                    <a:pt x="262" y="118"/>
                  </a:lnTo>
                  <a:lnTo>
                    <a:pt x="267" y="118"/>
                  </a:lnTo>
                  <a:lnTo>
                    <a:pt x="269" y="118"/>
                  </a:lnTo>
                  <a:lnTo>
                    <a:pt x="272" y="118"/>
                  </a:lnTo>
                  <a:lnTo>
                    <a:pt x="274" y="118"/>
                  </a:lnTo>
                  <a:lnTo>
                    <a:pt x="279" y="111"/>
                  </a:lnTo>
                  <a:lnTo>
                    <a:pt x="279" y="111"/>
                  </a:lnTo>
                  <a:lnTo>
                    <a:pt x="279" y="109"/>
                  </a:lnTo>
                  <a:lnTo>
                    <a:pt x="279" y="109"/>
                  </a:lnTo>
                  <a:lnTo>
                    <a:pt x="279" y="106"/>
                  </a:lnTo>
                  <a:lnTo>
                    <a:pt x="281" y="106"/>
                  </a:lnTo>
                  <a:lnTo>
                    <a:pt x="284" y="104"/>
                  </a:lnTo>
                  <a:lnTo>
                    <a:pt x="286" y="104"/>
                  </a:lnTo>
                  <a:lnTo>
                    <a:pt x="286" y="104"/>
                  </a:lnTo>
                  <a:lnTo>
                    <a:pt x="288" y="99"/>
                  </a:lnTo>
                  <a:lnTo>
                    <a:pt x="286" y="95"/>
                  </a:lnTo>
                  <a:lnTo>
                    <a:pt x="286" y="95"/>
                  </a:lnTo>
                  <a:lnTo>
                    <a:pt x="286" y="95"/>
                  </a:lnTo>
                  <a:lnTo>
                    <a:pt x="284" y="95"/>
                  </a:lnTo>
                  <a:lnTo>
                    <a:pt x="284" y="92"/>
                  </a:lnTo>
                  <a:lnTo>
                    <a:pt x="284" y="92"/>
                  </a:lnTo>
                  <a:lnTo>
                    <a:pt x="281" y="92"/>
                  </a:lnTo>
                  <a:lnTo>
                    <a:pt x="279" y="90"/>
                  </a:lnTo>
                  <a:lnTo>
                    <a:pt x="281" y="88"/>
                  </a:lnTo>
                  <a:lnTo>
                    <a:pt x="281" y="83"/>
                  </a:lnTo>
                  <a:lnTo>
                    <a:pt x="286" y="76"/>
                  </a:lnTo>
                  <a:lnTo>
                    <a:pt x="284" y="76"/>
                  </a:lnTo>
                  <a:lnTo>
                    <a:pt x="286" y="73"/>
                  </a:lnTo>
                  <a:lnTo>
                    <a:pt x="286" y="76"/>
                  </a:lnTo>
                  <a:lnTo>
                    <a:pt x="291" y="76"/>
                  </a:lnTo>
                  <a:lnTo>
                    <a:pt x="293" y="78"/>
                  </a:lnTo>
                  <a:lnTo>
                    <a:pt x="293" y="78"/>
                  </a:lnTo>
                  <a:lnTo>
                    <a:pt x="295" y="78"/>
                  </a:lnTo>
                  <a:lnTo>
                    <a:pt x="295" y="78"/>
                  </a:lnTo>
                  <a:lnTo>
                    <a:pt x="295" y="76"/>
                  </a:lnTo>
                  <a:lnTo>
                    <a:pt x="295" y="69"/>
                  </a:lnTo>
                  <a:lnTo>
                    <a:pt x="293" y="69"/>
                  </a:lnTo>
                  <a:lnTo>
                    <a:pt x="293" y="69"/>
                  </a:lnTo>
                  <a:lnTo>
                    <a:pt x="291" y="69"/>
                  </a:lnTo>
                  <a:lnTo>
                    <a:pt x="291" y="66"/>
                  </a:lnTo>
                  <a:lnTo>
                    <a:pt x="288" y="64"/>
                  </a:lnTo>
                  <a:lnTo>
                    <a:pt x="288" y="64"/>
                  </a:lnTo>
                  <a:lnTo>
                    <a:pt x="286" y="62"/>
                  </a:lnTo>
                  <a:lnTo>
                    <a:pt x="284" y="62"/>
                  </a:lnTo>
                  <a:lnTo>
                    <a:pt x="284" y="59"/>
                  </a:lnTo>
                  <a:lnTo>
                    <a:pt x="284" y="57"/>
                  </a:lnTo>
                  <a:lnTo>
                    <a:pt x="284" y="54"/>
                  </a:lnTo>
                  <a:lnTo>
                    <a:pt x="284" y="54"/>
                  </a:lnTo>
                  <a:lnTo>
                    <a:pt x="286" y="50"/>
                  </a:lnTo>
                  <a:lnTo>
                    <a:pt x="286" y="47"/>
                  </a:lnTo>
                  <a:lnTo>
                    <a:pt x="288" y="43"/>
                  </a:lnTo>
                  <a:lnTo>
                    <a:pt x="293" y="45"/>
                  </a:lnTo>
                  <a:lnTo>
                    <a:pt x="295" y="45"/>
                  </a:lnTo>
                  <a:lnTo>
                    <a:pt x="300" y="36"/>
                  </a:lnTo>
                  <a:lnTo>
                    <a:pt x="305" y="38"/>
                  </a:lnTo>
                  <a:lnTo>
                    <a:pt x="307" y="36"/>
                  </a:lnTo>
                  <a:lnTo>
                    <a:pt x="312" y="33"/>
                  </a:lnTo>
                  <a:lnTo>
                    <a:pt x="314" y="36"/>
                  </a:lnTo>
                  <a:lnTo>
                    <a:pt x="314" y="38"/>
                  </a:lnTo>
                  <a:lnTo>
                    <a:pt x="314" y="38"/>
                  </a:lnTo>
                  <a:lnTo>
                    <a:pt x="314" y="43"/>
                  </a:lnTo>
                  <a:lnTo>
                    <a:pt x="314" y="45"/>
                  </a:lnTo>
                  <a:lnTo>
                    <a:pt x="314" y="45"/>
                  </a:lnTo>
                  <a:lnTo>
                    <a:pt x="314" y="47"/>
                  </a:lnTo>
                  <a:lnTo>
                    <a:pt x="314" y="47"/>
                  </a:lnTo>
                  <a:lnTo>
                    <a:pt x="314" y="47"/>
                  </a:lnTo>
                  <a:lnTo>
                    <a:pt x="317" y="50"/>
                  </a:lnTo>
                  <a:lnTo>
                    <a:pt x="319" y="50"/>
                  </a:lnTo>
                  <a:lnTo>
                    <a:pt x="319" y="54"/>
                  </a:lnTo>
                  <a:lnTo>
                    <a:pt x="324" y="54"/>
                  </a:lnTo>
                  <a:lnTo>
                    <a:pt x="324" y="54"/>
                  </a:lnTo>
                  <a:lnTo>
                    <a:pt x="329" y="54"/>
                  </a:lnTo>
                  <a:lnTo>
                    <a:pt x="333" y="52"/>
                  </a:lnTo>
                  <a:lnTo>
                    <a:pt x="333" y="52"/>
                  </a:lnTo>
                  <a:lnTo>
                    <a:pt x="336" y="52"/>
                  </a:lnTo>
                  <a:lnTo>
                    <a:pt x="336" y="52"/>
                  </a:lnTo>
                  <a:lnTo>
                    <a:pt x="338" y="52"/>
                  </a:lnTo>
                  <a:lnTo>
                    <a:pt x="338" y="52"/>
                  </a:lnTo>
                  <a:lnTo>
                    <a:pt x="340" y="50"/>
                  </a:lnTo>
                  <a:lnTo>
                    <a:pt x="340" y="50"/>
                  </a:lnTo>
                  <a:lnTo>
                    <a:pt x="343" y="50"/>
                  </a:lnTo>
                  <a:lnTo>
                    <a:pt x="343" y="50"/>
                  </a:lnTo>
                  <a:lnTo>
                    <a:pt x="343" y="50"/>
                  </a:lnTo>
                  <a:lnTo>
                    <a:pt x="343" y="50"/>
                  </a:lnTo>
                  <a:lnTo>
                    <a:pt x="345" y="54"/>
                  </a:lnTo>
                  <a:lnTo>
                    <a:pt x="345" y="54"/>
                  </a:lnTo>
                  <a:lnTo>
                    <a:pt x="350" y="57"/>
                  </a:lnTo>
                  <a:lnTo>
                    <a:pt x="350" y="57"/>
                  </a:lnTo>
                  <a:lnTo>
                    <a:pt x="350" y="59"/>
                  </a:lnTo>
                  <a:lnTo>
                    <a:pt x="350" y="59"/>
                  </a:lnTo>
                  <a:lnTo>
                    <a:pt x="355" y="59"/>
                  </a:lnTo>
                  <a:lnTo>
                    <a:pt x="355" y="59"/>
                  </a:lnTo>
                  <a:lnTo>
                    <a:pt x="359" y="62"/>
                  </a:lnTo>
                  <a:lnTo>
                    <a:pt x="369" y="59"/>
                  </a:lnTo>
                  <a:lnTo>
                    <a:pt x="378" y="59"/>
                  </a:lnTo>
                  <a:lnTo>
                    <a:pt x="381" y="59"/>
                  </a:lnTo>
                  <a:lnTo>
                    <a:pt x="385" y="59"/>
                  </a:lnTo>
                  <a:lnTo>
                    <a:pt x="388" y="59"/>
                  </a:lnTo>
                  <a:lnTo>
                    <a:pt x="388" y="59"/>
                  </a:lnTo>
                  <a:lnTo>
                    <a:pt x="388" y="57"/>
                  </a:lnTo>
                  <a:lnTo>
                    <a:pt x="390" y="54"/>
                  </a:lnTo>
                  <a:lnTo>
                    <a:pt x="392" y="57"/>
                  </a:lnTo>
                  <a:lnTo>
                    <a:pt x="395" y="57"/>
                  </a:lnTo>
                  <a:lnTo>
                    <a:pt x="395" y="54"/>
                  </a:lnTo>
                  <a:lnTo>
                    <a:pt x="395" y="54"/>
                  </a:lnTo>
                  <a:lnTo>
                    <a:pt x="397" y="57"/>
                  </a:lnTo>
                  <a:lnTo>
                    <a:pt x="399" y="57"/>
                  </a:lnTo>
                  <a:lnTo>
                    <a:pt x="399" y="57"/>
                  </a:lnTo>
                  <a:lnTo>
                    <a:pt x="402" y="57"/>
                  </a:lnTo>
                  <a:lnTo>
                    <a:pt x="404" y="59"/>
                  </a:lnTo>
                  <a:lnTo>
                    <a:pt x="404" y="59"/>
                  </a:lnTo>
                  <a:lnTo>
                    <a:pt x="404" y="59"/>
                  </a:lnTo>
                  <a:lnTo>
                    <a:pt x="406" y="59"/>
                  </a:lnTo>
                  <a:lnTo>
                    <a:pt x="406" y="62"/>
                  </a:lnTo>
                  <a:lnTo>
                    <a:pt x="406" y="62"/>
                  </a:lnTo>
                  <a:lnTo>
                    <a:pt x="409" y="59"/>
                  </a:lnTo>
                  <a:lnTo>
                    <a:pt x="409" y="59"/>
                  </a:lnTo>
                  <a:lnTo>
                    <a:pt x="409" y="59"/>
                  </a:lnTo>
                  <a:lnTo>
                    <a:pt x="411" y="59"/>
                  </a:lnTo>
                  <a:lnTo>
                    <a:pt x="411" y="59"/>
                  </a:lnTo>
                  <a:lnTo>
                    <a:pt x="411" y="59"/>
                  </a:lnTo>
                  <a:lnTo>
                    <a:pt x="414" y="59"/>
                  </a:lnTo>
                  <a:lnTo>
                    <a:pt x="414" y="59"/>
                  </a:lnTo>
                  <a:lnTo>
                    <a:pt x="416" y="59"/>
                  </a:lnTo>
                  <a:lnTo>
                    <a:pt x="416" y="59"/>
                  </a:lnTo>
                  <a:lnTo>
                    <a:pt x="416" y="59"/>
                  </a:lnTo>
                  <a:lnTo>
                    <a:pt x="416" y="59"/>
                  </a:lnTo>
                  <a:lnTo>
                    <a:pt x="418" y="59"/>
                  </a:lnTo>
                  <a:lnTo>
                    <a:pt x="418" y="59"/>
                  </a:lnTo>
                  <a:lnTo>
                    <a:pt x="418" y="59"/>
                  </a:lnTo>
                  <a:lnTo>
                    <a:pt x="421" y="59"/>
                  </a:lnTo>
                  <a:lnTo>
                    <a:pt x="423" y="59"/>
                  </a:lnTo>
                  <a:lnTo>
                    <a:pt x="423" y="59"/>
                  </a:lnTo>
                  <a:lnTo>
                    <a:pt x="423" y="59"/>
                  </a:lnTo>
                  <a:lnTo>
                    <a:pt x="425" y="62"/>
                  </a:lnTo>
                  <a:lnTo>
                    <a:pt x="428" y="62"/>
                  </a:lnTo>
                  <a:lnTo>
                    <a:pt x="430" y="64"/>
                  </a:lnTo>
                  <a:lnTo>
                    <a:pt x="432" y="64"/>
                  </a:lnTo>
                  <a:lnTo>
                    <a:pt x="435" y="66"/>
                  </a:lnTo>
                  <a:lnTo>
                    <a:pt x="435" y="69"/>
                  </a:lnTo>
                  <a:lnTo>
                    <a:pt x="442" y="69"/>
                  </a:lnTo>
                  <a:lnTo>
                    <a:pt x="444" y="66"/>
                  </a:lnTo>
                  <a:lnTo>
                    <a:pt x="449" y="66"/>
                  </a:lnTo>
                  <a:lnTo>
                    <a:pt x="449" y="64"/>
                  </a:lnTo>
                  <a:lnTo>
                    <a:pt x="451" y="64"/>
                  </a:lnTo>
                  <a:lnTo>
                    <a:pt x="451" y="66"/>
                  </a:lnTo>
                  <a:lnTo>
                    <a:pt x="451" y="69"/>
                  </a:lnTo>
                  <a:lnTo>
                    <a:pt x="454" y="69"/>
                  </a:lnTo>
                  <a:lnTo>
                    <a:pt x="456" y="69"/>
                  </a:lnTo>
                  <a:lnTo>
                    <a:pt x="458" y="69"/>
                  </a:lnTo>
                  <a:lnTo>
                    <a:pt x="458" y="69"/>
                  </a:lnTo>
                  <a:lnTo>
                    <a:pt x="461" y="66"/>
                  </a:lnTo>
                  <a:lnTo>
                    <a:pt x="463" y="66"/>
                  </a:lnTo>
                  <a:lnTo>
                    <a:pt x="463" y="64"/>
                  </a:lnTo>
                  <a:lnTo>
                    <a:pt x="463" y="64"/>
                  </a:lnTo>
                  <a:lnTo>
                    <a:pt x="466" y="62"/>
                  </a:lnTo>
                  <a:lnTo>
                    <a:pt x="466" y="62"/>
                  </a:lnTo>
                  <a:lnTo>
                    <a:pt x="470" y="66"/>
                  </a:lnTo>
                  <a:lnTo>
                    <a:pt x="470" y="66"/>
                  </a:lnTo>
                  <a:lnTo>
                    <a:pt x="473" y="64"/>
                  </a:lnTo>
                  <a:lnTo>
                    <a:pt x="475" y="64"/>
                  </a:lnTo>
                  <a:lnTo>
                    <a:pt x="475" y="64"/>
                  </a:lnTo>
                  <a:lnTo>
                    <a:pt x="477" y="64"/>
                  </a:lnTo>
                  <a:lnTo>
                    <a:pt x="480" y="62"/>
                  </a:lnTo>
                  <a:lnTo>
                    <a:pt x="480" y="62"/>
                  </a:lnTo>
                  <a:lnTo>
                    <a:pt x="482" y="59"/>
                  </a:lnTo>
                  <a:lnTo>
                    <a:pt x="482" y="62"/>
                  </a:lnTo>
                  <a:lnTo>
                    <a:pt x="482" y="76"/>
                  </a:lnTo>
                  <a:lnTo>
                    <a:pt x="482" y="80"/>
                  </a:lnTo>
                  <a:lnTo>
                    <a:pt x="484" y="85"/>
                  </a:lnTo>
                  <a:lnTo>
                    <a:pt x="484" y="85"/>
                  </a:lnTo>
                  <a:lnTo>
                    <a:pt x="487" y="88"/>
                  </a:lnTo>
                  <a:lnTo>
                    <a:pt x="487" y="88"/>
                  </a:lnTo>
                  <a:lnTo>
                    <a:pt x="487" y="90"/>
                  </a:lnTo>
                  <a:lnTo>
                    <a:pt x="487" y="92"/>
                  </a:lnTo>
                  <a:lnTo>
                    <a:pt x="487" y="92"/>
                  </a:lnTo>
                  <a:lnTo>
                    <a:pt x="487" y="92"/>
                  </a:lnTo>
                  <a:lnTo>
                    <a:pt x="487" y="95"/>
                  </a:lnTo>
                  <a:lnTo>
                    <a:pt x="487" y="95"/>
                  </a:lnTo>
                  <a:lnTo>
                    <a:pt x="487" y="97"/>
                  </a:lnTo>
                  <a:lnTo>
                    <a:pt x="487" y="97"/>
                  </a:lnTo>
                  <a:lnTo>
                    <a:pt x="487" y="97"/>
                  </a:lnTo>
                  <a:lnTo>
                    <a:pt x="489" y="97"/>
                  </a:lnTo>
                  <a:lnTo>
                    <a:pt x="489" y="99"/>
                  </a:lnTo>
                  <a:lnTo>
                    <a:pt x="489" y="104"/>
                  </a:lnTo>
                  <a:lnTo>
                    <a:pt x="489" y="109"/>
                  </a:lnTo>
                  <a:lnTo>
                    <a:pt x="489" y="111"/>
                  </a:lnTo>
                  <a:lnTo>
                    <a:pt x="492" y="114"/>
                  </a:lnTo>
                  <a:lnTo>
                    <a:pt x="494" y="114"/>
                  </a:lnTo>
                  <a:lnTo>
                    <a:pt x="496" y="114"/>
                  </a:lnTo>
                  <a:lnTo>
                    <a:pt x="496" y="116"/>
                  </a:lnTo>
                  <a:lnTo>
                    <a:pt x="494" y="118"/>
                  </a:lnTo>
                  <a:lnTo>
                    <a:pt x="494" y="118"/>
                  </a:lnTo>
                  <a:lnTo>
                    <a:pt x="496" y="121"/>
                  </a:lnTo>
                  <a:lnTo>
                    <a:pt x="496" y="123"/>
                  </a:lnTo>
                  <a:lnTo>
                    <a:pt x="496" y="123"/>
                  </a:lnTo>
                  <a:lnTo>
                    <a:pt x="494" y="125"/>
                  </a:lnTo>
                  <a:lnTo>
                    <a:pt x="496" y="125"/>
                  </a:lnTo>
                  <a:lnTo>
                    <a:pt x="496" y="125"/>
                  </a:lnTo>
                  <a:lnTo>
                    <a:pt x="496" y="125"/>
                  </a:lnTo>
                  <a:lnTo>
                    <a:pt x="496" y="125"/>
                  </a:lnTo>
                  <a:lnTo>
                    <a:pt x="496" y="125"/>
                  </a:lnTo>
                  <a:lnTo>
                    <a:pt x="496" y="125"/>
                  </a:lnTo>
                  <a:lnTo>
                    <a:pt x="496" y="128"/>
                  </a:lnTo>
                  <a:lnTo>
                    <a:pt x="496" y="128"/>
                  </a:lnTo>
                  <a:lnTo>
                    <a:pt x="496" y="128"/>
                  </a:lnTo>
                  <a:lnTo>
                    <a:pt x="496" y="130"/>
                  </a:lnTo>
                  <a:lnTo>
                    <a:pt x="496" y="130"/>
                  </a:lnTo>
                  <a:lnTo>
                    <a:pt x="496" y="128"/>
                  </a:lnTo>
                  <a:lnTo>
                    <a:pt x="494" y="128"/>
                  </a:lnTo>
                  <a:lnTo>
                    <a:pt x="494" y="128"/>
                  </a:lnTo>
                  <a:lnTo>
                    <a:pt x="496" y="130"/>
                  </a:lnTo>
                  <a:lnTo>
                    <a:pt x="496" y="130"/>
                  </a:lnTo>
                  <a:lnTo>
                    <a:pt x="496" y="130"/>
                  </a:lnTo>
                  <a:lnTo>
                    <a:pt x="499" y="128"/>
                  </a:lnTo>
                  <a:lnTo>
                    <a:pt x="499" y="125"/>
                  </a:lnTo>
                  <a:lnTo>
                    <a:pt x="499" y="123"/>
                  </a:lnTo>
                  <a:lnTo>
                    <a:pt x="499" y="123"/>
                  </a:lnTo>
                  <a:lnTo>
                    <a:pt x="499" y="128"/>
                  </a:lnTo>
                  <a:lnTo>
                    <a:pt x="499" y="132"/>
                  </a:lnTo>
                  <a:lnTo>
                    <a:pt x="499" y="132"/>
                  </a:lnTo>
                  <a:lnTo>
                    <a:pt x="499" y="135"/>
                  </a:lnTo>
                  <a:lnTo>
                    <a:pt x="499" y="137"/>
                  </a:lnTo>
                  <a:lnTo>
                    <a:pt x="499" y="137"/>
                  </a:lnTo>
                  <a:lnTo>
                    <a:pt x="499" y="140"/>
                  </a:lnTo>
                  <a:lnTo>
                    <a:pt x="501" y="142"/>
                  </a:lnTo>
                  <a:lnTo>
                    <a:pt x="501" y="144"/>
                  </a:lnTo>
                  <a:lnTo>
                    <a:pt x="501" y="147"/>
                  </a:lnTo>
                  <a:lnTo>
                    <a:pt x="503" y="147"/>
                  </a:lnTo>
                  <a:lnTo>
                    <a:pt x="503" y="147"/>
                  </a:lnTo>
                  <a:lnTo>
                    <a:pt x="503" y="154"/>
                  </a:lnTo>
                  <a:lnTo>
                    <a:pt x="503" y="156"/>
                  </a:lnTo>
                  <a:lnTo>
                    <a:pt x="501" y="158"/>
                  </a:lnTo>
                  <a:lnTo>
                    <a:pt x="503" y="161"/>
                  </a:lnTo>
                  <a:lnTo>
                    <a:pt x="503" y="165"/>
                  </a:lnTo>
                  <a:lnTo>
                    <a:pt x="503" y="165"/>
                  </a:lnTo>
                  <a:lnTo>
                    <a:pt x="503" y="168"/>
                  </a:lnTo>
                  <a:lnTo>
                    <a:pt x="503" y="168"/>
                  </a:lnTo>
                  <a:lnTo>
                    <a:pt x="503" y="170"/>
                  </a:lnTo>
                  <a:lnTo>
                    <a:pt x="503" y="175"/>
                  </a:lnTo>
                  <a:lnTo>
                    <a:pt x="503" y="175"/>
                  </a:lnTo>
                  <a:lnTo>
                    <a:pt x="503" y="177"/>
                  </a:lnTo>
                  <a:lnTo>
                    <a:pt x="501" y="180"/>
                  </a:lnTo>
                  <a:lnTo>
                    <a:pt x="501" y="187"/>
                  </a:lnTo>
                  <a:lnTo>
                    <a:pt x="501" y="189"/>
                  </a:lnTo>
                  <a:lnTo>
                    <a:pt x="503" y="189"/>
                  </a:lnTo>
                  <a:lnTo>
                    <a:pt x="501" y="191"/>
                  </a:lnTo>
                  <a:lnTo>
                    <a:pt x="501" y="191"/>
                  </a:lnTo>
                  <a:lnTo>
                    <a:pt x="501" y="194"/>
                  </a:lnTo>
                  <a:lnTo>
                    <a:pt x="501" y="196"/>
                  </a:lnTo>
                  <a:lnTo>
                    <a:pt x="499" y="199"/>
                  </a:lnTo>
                  <a:lnTo>
                    <a:pt x="499" y="199"/>
                  </a:lnTo>
                  <a:lnTo>
                    <a:pt x="499" y="199"/>
                  </a:lnTo>
                  <a:lnTo>
                    <a:pt x="496" y="199"/>
                  </a:lnTo>
                  <a:lnTo>
                    <a:pt x="494" y="199"/>
                  </a:lnTo>
                  <a:lnTo>
                    <a:pt x="492" y="196"/>
                  </a:lnTo>
                  <a:lnTo>
                    <a:pt x="492" y="199"/>
                  </a:lnTo>
                  <a:lnTo>
                    <a:pt x="489" y="199"/>
                  </a:lnTo>
                  <a:lnTo>
                    <a:pt x="489" y="199"/>
                  </a:lnTo>
                  <a:lnTo>
                    <a:pt x="489" y="199"/>
                  </a:lnTo>
                  <a:lnTo>
                    <a:pt x="489" y="199"/>
                  </a:lnTo>
                  <a:lnTo>
                    <a:pt x="487" y="196"/>
                  </a:lnTo>
                  <a:lnTo>
                    <a:pt x="487" y="196"/>
                  </a:lnTo>
                  <a:lnTo>
                    <a:pt x="484" y="199"/>
                  </a:lnTo>
                  <a:lnTo>
                    <a:pt x="482" y="199"/>
                  </a:lnTo>
                  <a:lnTo>
                    <a:pt x="482" y="196"/>
                  </a:lnTo>
                  <a:lnTo>
                    <a:pt x="480" y="194"/>
                  </a:lnTo>
                  <a:lnTo>
                    <a:pt x="480" y="194"/>
                  </a:lnTo>
                  <a:lnTo>
                    <a:pt x="480" y="191"/>
                  </a:lnTo>
                  <a:lnTo>
                    <a:pt x="480" y="189"/>
                  </a:lnTo>
                  <a:lnTo>
                    <a:pt x="480" y="187"/>
                  </a:lnTo>
                  <a:lnTo>
                    <a:pt x="477" y="187"/>
                  </a:lnTo>
                  <a:lnTo>
                    <a:pt x="473" y="184"/>
                  </a:lnTo>
                  <a:lnTo>
                    <a:pt x="473" y="182"/>
                  </a:lnTo>
                  <a:lnTo>
                    <a:pt x="470" y="180"/>
                  </a:lnTo>
                  <a:lnTo>
                    <a:pt x="468" y="180"/>
                  </a:lnTo>
                  <a:lnTo>
                    <a:pt x="468" y="180"/>
                  </a:lnTo>
                  <a:lnTo>
                    <a:pt x="468" y="180"/>
                  </a:lnTo>
                  <a:lnTo>
                    <a:pt x="466" y="182"/>
                  </a:lnTo>
                  <a:lnTo>
                    <a:pt x="463" y="180"/>
                  </a:lnTo>
                  <a:lnTo>
                    <a:pt x="461" y="180"/>
                  </a:lnTo>
                  <a:lnTo>
                    <a:pt x="458" y="180"/>
                  </a:lnTo>
                  <a:lnTo>
                    <a:pt x="458" y="180"/>
                  </a:lnTo>
                  <a:lnTo>
                    <a:pt x="456" y="177"/>
                  </a:lnTo>
                  <a:lnTo>
                    <a:pt x="454" y="180"/>
                  </a:lnTo>
                  <a:lnTo>
                    <a:pt x="454" y="180"/>
                  </a:lnTo>
                  <a:lnTo>
                    <a:pt x="451" y="177"/>
                  </a:lnTo>
                  <a:lnTo>
                    <a:pt x="449" y="177"/>
                  </a:lnTo>
                  <a:lnTo>
                    <a:pt x="447" y="177"/>
                  </a:lnTo>
                  <a:lnTo>
                    <a:pt x="442" y="177"/>
                  </a:lnTo>
                  <a:lnTo>
                    <a:pt x="440" y="182"/>
                  </a:lnTo>
                  <a:lnTo>
                    <a:pt x="437" y="182"/>
                  </a:lnTo>
                  <a:lnTo>
                    <a:pt x="437" y="182"/>
                  </a:lnTo>
                  <a:lnTo>
                    <a:pt x="437" y="182"/>
                  </a:lnTo>
                  <a:lnTo>
                    <a:pt x="435" y="182"/>
                  </a:lnTo>
                  <a:lnTo>
                    <a:pt x="435" y="182"/>
                  </a:lnTo>
                  <a:lnTo>
                    <a:pt x="435" y="182"/>
                  </a:lnTo>
                  <a:lnTo>
                    <a:pt x="435" y="182"/>
                  </a:lnTo>
                  <a:lnTo>
                    <a:pt x="432" y="182"/>
                  </a:lnTo>
                  <a:lnTo>
                    <a:pt x="432" y="184"/>
                  </a:lnTo>
                  <a:lnTo>
                    <a:pt x="432" y="184"/>
                  </a:lnTo>
                  <a:lnTo>
                    <a:pt x="432" y="184"/>
                  </a:lnTo>
                  <a:lnTo>
                    <a:pt x="430" y="184"/>
                  </a:lnTo>
                  <a:lnTo>
                    <a:pt x="430" y="187"/>
                  </a:lnTo>
                  <a:lnTo>
                    <a:pt x="425" y="187"/>
                  </a:lnTo>
                  <a:lnTo>
                    <a:pt x="425" y="189"/>
                  </a:lnTo>
                  <a:lnTo>
                    <a:pt x="425" y="189"/>
                  </a:lnTo>
                  <a:lnTo>
                    <a:pt x="423" y="189"/>
                  </a:lnTo>
                  <a:lnTo>
                    <a:pt x="423" y="187"/>
                  </a:lnTo>
                  <a:lnTo>
                    <a:pt x="421" y="187"/>
                  </a:lnTo>
                  <a:lnTo>
                    <a:pt x="416" y="187"/>
                  </a:lnTo>
                  <a:lnTo>
                    <a:pt x="414" y="187"/>
                  </a:lnTo>
                  <a:lnTo>
                    <a:pt x="414" y="191"/>
                  </a:lnTo>
                  <a:lnTo>
                    <a:pt x="414" y="194"/>
                  </a:lnTo>
                  <a:lnTo>
                    <a:pt x="414" y="194"/>
                  </a:lnTo>
                  <a:lnTo>
                    <a:pt x="414" y="196"/>
                  </a:lnTo>
                  <a:lnTo>
                    <a:pt x="414" y="196"/>
                  </a:lnTo>
                  <a:lnTo>
                    <a:pt x="411" y="196"/>
                  </a:lnTo>
                  <a:lnTo>
                    <a:pt x="411" y="201"/>
                  </a:lnTo>
                  <a:lnTo>
                    <a:pt x="411" y="203"/>
                  </a:lnTo>
                  <a:lnTo>
                    <a:pt x="409" y="203"/>
                  </a:lnTo>
                  <a:lnTo>
                    <a:pt x="409" y="203"/>
                  </a:lnTo>
                  <a:lnTo>
                    <a:pt x="411" y="206"/>
                  </a:lnTo>
                  <a:lnTo>
                    <a:pt x="414" y="203"/>
                  </a:lnTo>
                  <a:lnTo>
                    <a:pt x="411" y="206"/>
                  </a:lnTo>
                  <a:lnTo>
                    <a:pt x="411" y="206"/>
                  </a:lnTo>
                  <a:lnTo>
                    <a:pt x="411" y="206"/>
                  </a:lnTo>
                  <a:lnTo>
                    <a:pt x="409" y="208"/>
                  </a:lnTo>
                  <a:lnTo>
                    <a:pt x="414" y="213"/>
                  </a:lnTo>
                  <a:lnTo>
                    <a:pt x="411" y="213"/>
                  </a:lnTo>
                  <a:lnTo>
                    <a:pt x="409" y="213"/>
                  </a:lnTo>
                  <a:lnTo>
                    <a:pt x="406" y="213"/>
                  </a:lnTo>
                  <a:lnTo>
                    <a:pt x="404" y="213"/>
                  </a:lnTo>
                  <a:lnTo>
                    <a:pt x="404" y="213"/>
                  </a:lnTo>
                  <a:lnTo>
                    <a:pt x="402" y="213"/>
                  </a:lnTo>
                  <a:lnTo>
                    <a:pt x="399" y="213"/>
                  </a:lnTo>
                  <a:lnTo>
                    <a:pt x="399" y="213"/>
                  </a:lnTo>
                  <a:lnTo>
                    <a:pt x="399" y="215"/>
                  </a:lnTo>
                  <a:lnTo>
                    <a:pt x="397" y="215"/>
                  </a:lnTo>
                  <a:lnTo>
                    <a:pt x="397" y="217"/>
                  </a:lnTo>
                  <a:lnTo>
                    <a:pt x="395" y="220"/>
                  </a:lnTo>
                  <a:lnTo>
                    <a:pt x="395" y="220"/>
                  </a:lnTo>
                  <a:lnTo>
                    <a:pt x="392" y="220"/>
                  </a:lnTo>
                  <a:lnTo>
                    <a:pt x="390" y="220"/>
                  </a:lnTo>
                  <a:lnTo>
                    <a:pt x="390" y="220"/>
                  </a:lnTo>
                  <a:lnTo>
                    <a:pt x="390" y="217"/>
                  </a:lnTo>
                  <a:lnTo>
                    <a:pt x="388" y="220"/>
                  </a:lnTo>
                  <a:lnTo>
                    <a:pt x="388" y="220"/>
                  </a:lnTo>
                  <a:lnTo>
                    <a:pt x="388" y="220"/>
                  </a:lnTo>
                  <a:lnTo>
                    <a:pt x="385" y="220"/>
                  </a:lnTo>
                  <a:lnTo>
                    <a:pt x="383" y="220"/>
                  </a:lnTo>
                  <a:lnTo>
                    <a:pt x="383" y="222"/>
                  </a:lnTo>
                  <a:lnTo>
                    <a:pt x="383" y="222"/>
                  </a:lnTo>
                  <a:lnTo>
                    <a:pt x="381" y="222"/>
                  </a:lnTo>
                  <a:lnTo>
                    <a:pt x="378" y="225"/>
                  </a:lnTo>
                  <a:lnTo>
                    <a:pt x="378" y="225"/>
                  </a:lnTo>
                  <a:lnTo>
                    <a:pt x="376" y="225"/>
                  </a:lnTo>
                  <a:lnTo>
                    <a:pt x="373" y="225"/>
                  </a:lnTo>
                  <a:lnTo>
                    <a:pt x="373" y="225"/>
                  </a:lnTo>
                  <a:lnTo>
                    <a:pt x="371" y="225"/>
                  </a:lnTo>
                  <a:lnTo>
                    <a:pt x="369" y="225"/>
                  </a:lnTo>
                  <a:lnTo>
                    <a:pt x="366" y="225"/>
                  </a:lnTo>
                  <a:lnTo>
                    <a:pt x="366" y="227"/>
                  </a:lnTo>
                  <a:lnTo>
                    <a:pt x="366" y="227"/>
                  </a:lnTo>
                  <a:lnTo>
                    <a:pt x="366" y="229"/>
                  </a:lnTo>
                  <a:lnTo>
                    <a:pt x="364" y="232"/>
                  </a:lnTo>
                  <a:lnTo>
                    <a:pt x="359" y="229"/>
                  </a:lnTo>
                  <a:lnTo>
                    <a:pt x="359" y="232"/>
                  </a:lnTo>
                  <a:lnTo>
                    <a:pt x="357" y="232"/>
                  </a:lnTo>
                  <a:lnTo>
                    <a:pt x="355" y="232"/>
                  </a:lnTo>
                  <a:lnTo>
                    <a:pt x="352" y="232"/>
                  </a:lnTo>
                  <a:lnTo>
                    <a:pt x="352" y="232"/>
                  </a:lnTo>
                  <a:lnTo>
                    <a:pt x="352" y="234"/>
                  </a:lnTo>
                  <a:lnTo>
                    <a:pt x="350" y="234"/>
                  </a:lnTo>
                  <a:lnTo>
                    <a:pt x="347" y="234"/>
                  </a:lnTo>
                  <a:lnTo>
                    <a:pt x="345" y="232"/>
                  </a:lnTo>
                  <a:lnTo>
                    <a:pt x="345" y="232"/>
                  </a:lnTo>
                  <a:lnTo>
                    <a:pt x="345" y="232"/>
                  </a:lnTo>
                  <a:lnTo>
                    <a:pt x="343" y="229"/>
                  </a:lnTo>
                  <a:lnTo>
                    <a:pt x="338" y="229"/>
                  </a:lnTo>
                  <a:lnTo>
                    <a:pt x="336" y="229"/>
                  </a:lnTo>
                  <a:lnTo>
                    <a:pt x="336" y="229"/>
                  </a:lnTo>
                  <a:lnTo>
                    <a:pt x="333" y="229"/>
                  </a:lnTo>
                  <a:lnTo>
                    <a:pt x="329" y="229"/>
                  </a:lnTo>
                  <a:lnTo>
                    <a:pt x="326" y="232"/>
                  </a:lnTo>
                  <a:lnTo>
                    <a:pt x="324" y="229"/>
                  </a:lnTo>
                  <a:lnTo>
                    <a:pt x="324" y="227"/>
                  </a:lnTo>
                  <a:lnTo>
                    <a:pt x="319" y="232"/>
                  </a:lnTo>
                  <a:lnTo>
                    <a:pt x="319" y="232"/>
                  </a:lnTo>
                  <a:lnTo>
                    <a:pt x="319" y="232"/>
                  </a:lnTo>
                  <a:lnTo>
                    <a:pt x="321" y="234"/>
                  </a:lnTo>
                  <a:lnTo>
                    <a:pt x="321" y="234"/>
                  </a:lnTo>
                  <a:lnTo>
                    <a:pt x="319" y="236"/>
                  </a:lnTo>
                  <a:lnTo>
                    <a:pt x="317" y="236"/>
                  </a:lnTo>
                  <a:lnTo>
                    <a:pt x="317" y="236"/>
                  </a:lnTo>
                  <a:lnTo>
                    <a:pt x="314" y="234"/>
                  </a:lnTo>
                  <a:lnTo>
                    <a:pt x="314" y="234"/>
                  </a:lnTo>
                  <a:lnTo>
                    <a:pt x="312" y="234"/>
                  </a:lnTo>
                  <a:lnTo>
                    <a:pt x="305" y="234"/>
                  </a:lnTo>
                  <a:lnTo>
                    <a:pt x="305" y="232"/>
                  </a:lnTo>
                  <a:lnTo>
                    <a:pt x="303" y="234"/>
                  </a:lnTo>
                  <a:lnTo>
                    <a:pt x="300" y="234"/>
                  </a:lnTo>
                  <a:lnTo>
                    <a:pt x="298" y="234"/>
                  </a:lnTo>
                  <a:lnTo>
                    <a:pt x="298" y="234"/>
                  </a:lnTo>
                  <a:lnTo>
                    <a:pt x="295" y="234"/>
                  </a:lnTo>
                  <a:lnTo>
                    <a:pt x="295" y="236"/>
                  </a:lnTo>
                  <a:lnTo>
                    <a:pt x="295" y="241"/>
                  </a:lnTo>
                  <a:lnTo>
                    <a:pt x="295" y="241"/>
                  </a:lnTo>
                  <a:lnTo>
                    <a:pt x="295" y="243"/>
                  </a:lnTo>
                  <a:lnTo>
                    <a:pt x="295" y="243"/>
                  </a:lnTo>
                  <a:lnTo>
                    <a:pt x="295" y="243"/>
                  </a:lnTo>
                  <a:lnTo>
                    <a:pt x="295" y="246"/>
                  </a:lnTo>
                  <a:lnTo>
                    <a:pt x="295" y="248"/>
                  </a:lnTo>
                  <a:lnTo>
                    <a:pt x="293" y="248"/>
                  </a:lnTo>
                  <a:lnTo>
                    <a:pt x="291" y="248"/>
                  </a:lnTo>
                  <a:lnTo>
                    <a:pt x="288" y="248"/>
                  </a:lnTo>
                  <a:lnTo>
                    <a:pt x="288" y="248"/>
                  </a:lnTo>
                  <a:lnTo>
                    <a:pt x="281" y="246"/>
                  </a:lnTo>
                  <a:lnTo>
                    <a:pt x="281" y="243"/>
                  </a:lnTo>
                  <a:lnTo>
                    <a:pt x="279" y="246"/>
                  </a:lnTo>
                  <a:lnTo>
                    <a:pt x="279" y="246"/>
                  </a:lnTo>
                  <a:lnTo>
                    <a:pt x="277" y="248"/>
                  </a:lnTo>
                  <a:lnTo>
                    <a:pt x="279" y="251"/>
                  </a:lnTo>
                  <a:lnTo>
                    <a:pt x="277" y="251"/>
                  </a:lnTo>
                  <a:lnTo>
                    <a:pt x="279" y="253"/>
                  </a:lnTo>
                  <a:lnTo>
                    <a:pt x="277" y="253"/>
                  </a:lnTo>
                  <a:lnTo>
                    <a:pt x="277" y="253"/>
                  </a:lnTo>
                  <a:lnTo>
                    <a:pt x="272" y="251"/>
                  </a:lnTo>
                  <a:lnTo>
                    <a:pt x="272" y="253"/>
                  </a:lnTo>
                  <a:lnTo>
                    <a:pt x="272" y="255"/>
                  </a:lnTo>
                  <a:lnTo>
                    <a:pt x="272" y="258"/>
                  </a:lnTo>
                  <a:lnTo>
                    <a:pt x="272" y="260"/>
                  </a:lnTo>
                  <a:lnTo>
                    <a:pt x="272" y="265"/>
                  </a:lnTo>
                  <a:lnTo>
                    <a:pt x="269" y="267"/>
                  </a:lnTo>
                  <a:lnTo>
                    <a:pt x="267" y="267"/>
                  </a:lnTo>
                  <a:lnTo>
                    <a:pt x="267" y="269"/>
                  </a:lnTo>
                  <a:lnTo>
                    <a:pt x="269" y="269"/>
                  </a:lnTo>
                  <a:lnTo>
                    <a:pt x="269" y="269"/>
                  </a:lnTo>
                  <a:lnTo>
                    <a:pt x="269" y="269"/>
                  </a:lnTo>
                  <a:lnTo>
                    <a:pt x="272" y="272"/>
                  </a:lnTo>
                  <a:lnTo>
                    <a:pt x="272" y="274"/>
                  </a:lnTo>
                  <a:lnTo>
                    <a:pt x="269" y="274"/>
                  </a:lnTo>
                  <a:lnTo>
                    <a:pt x="267" y="274"/>
                  </a:lnTo>
                  <a:lnTo>
                    <a:pt x="262" y="277"/>
                  </a:lnTo>
                  <a:lnTo>
                    <a:pt x="262" y="277"/>
                  </a:lnTo>
                  <a:lnTo>
                    <a:pt x="262" y="279"/>
                  </a:lnTo>
                  <a:lnTo>
                    <a:pt x="260" y="279"/>
                  </a:lnTo>
                  <a:lnTo>
                    <a:pt x="260" y="279"/>
                  </a:lnTo>
                  <a:lnTo>
                    <a:pt x="260" y="279"/>
                  </a:lnTo>
                  <a:lnTo>
                    <a:pt x="260" y="279"/>
                  </a:lnTo>
                  <a:lnTo>
                    <a:pt x="260" y="279"/>
                  </a:lnTo>
                  <a:lnTo>
                    <a:pt x="260" y="281"/>
                  </a:lnTo>
                  <a:lnTo>
                    <a:pt x="258" y="281"/>
                  </a:lnTo>
                  <a:lnTo>
                    <a:pt x="255" y="281"/>
                  </a:lnTo>
                  <a:lnTo>
                    <a:pt x="255" y="284"/>
                  </a:lnTo>
                  <a:lnTo>
                    <a:pt x="253" y="284"/>
                  </a:lnTo>
                  <a:lnTo>
                    <a:pt x="253" y="284"/>
                  </a:lnTo>
                  <a:lnTo>
                    <a:pt x="251" y="284"/>
                  </a:lnTo>
                  <a:lnTo>
                    <a:pt x="248" y="284"/>
                  </a:lnTo>
                  <a:lnTo>
                    <a:pt x="248" y="286"/>
                  </a:lnTo>
                  <a:lnTo>
                    <a:pt x="241" y="288"/>
                  </a:lnTo>
                  <a:lnTo>
                    <a:pt x="239" y="288"/>
                  </a:lnTo>
                  <a:lnTo>
                    <a:pt x="236" y="288"/>
                  </a:lnTo>
                  <a:lnTo>
                    <a:pt x="236" y="291"/>
                  </a:lnTo>
                  <a:lnTo>
                    <a:pt x="234" y="293"/>
                  </a:lnTo>
                  <a:lnTo>
                    <a:pt x="232" y="295"/>
                  </a:lnTo>
                  <a:lnTo>
                    <a:pt x="232" y="295"/>
                  </a:lnTo>
                  <a:lnTo>
                    <a:pt x="229" y="298"/>
                  </a:lnTo>
                  <a:lnTo>
                    <a:pt x="229" y="298"/>
                  </a:lnTo>
                  <a:lnTo>
                    <a:pt x="227" y="298"/>
                  </a:lnTo>
                  <a:lnTo>
                    <a:pt x="225" y="298"/>
                  </a:lnTo>
                  <a:lnTo>
                    <a:pt x="222" y="295"/>
                  </a:lnTo>
                  <a:lnTo>
                    <a:pt x="220" y="293"/>
                  </a:lnTo>
                  <a:lnTo>
                    <a:pt x="218" y="293"/>
                  </a:lnTo>
                  <a:lnTo>
                    <a:pt x="213" y="293"/>
                  </a:lnTo>
                  <a:lnTo>
                    <a:pt x="213" y="288"/>
                  </a:lnTo>
                  <a:lnTo>
                    <a:pt x="208" y="286"/>
                  </a:lnTo>
                  <a:lnTo>
                    <a:pt x="208" y="284"/>
                  </a:lnTo>
                  <a:lnTo>
                    <a:pt x="208" y="284"/>
                  </a:lnTo>
                  <a:lnTo>
                    <a:pt x="208" y="281"/>
                  </a:lnTo>
                  <a:lnTo>
                    <a:pt x="206" y="281"/>
                  </a:lnTo>
                  <a:lnTo>
                    <a:pt x="203" y="281"/>
                  </a:lnTo>
                  <a:lnTo>
                    <a:pt x="203" y="279"/>
                  </a:lnTo>
                  <a:lnTo>
                    <a:pt x="203" y="279"/>
                  </a:lnTo>
                  <a:lnTo>
                    <a:pt x="206" y="279"/>
                  </a:lnTo>
                  <a:lnTo>
                    <a:pt x="203" y="277"/>
                  </a:lnTo>
                  <a:lnTo>
                    <a:pt x="206" y="274"/>
                  </a:lnTo>
                  <a:lnTo>
                    <a:pt x="206" y="274"/>
                  </a:lnTo>
                  <a:lnTo>
                    <a:pt x="206" y="274"/>
                  </a:lnTo>
                  <a:lnTo>
                    <a:pt x="206" y="272"/>
                  </a:lnTo>
                  <a:lnTo>
                    <a:pt x="206" y="269"/>
                  </a:lnTo>
                  <a:lnTo>
                    <a:pt x="203" y="267"/>
                  </a:lnTo>
                  <a:lnTo>
                    <a:pt x="203" y="265"/>
                  </a:lnTo>
                  <a:lnTo>
                    <a:pt x="206" y="262"/>
                  </a:lnTo>
                  <a:lnTo>
                    <a:pt x="206" y="260"/>
                  </a:lnTo>
                  <a:lnTo>
                    <a:pt x="206" y="260"/>
                  </a:lnTo>
                  <a:lnTo>
                    <a:pt x="203" y="258"/>
                  </a:lnTo>
                  <a:lnTo>
                    <a:pt x="203" y="258"/>
                  </a:lnTo>
                  <a:lnTo>
                    <a:pt x="201" y="258"/>
                  </a:lnTo>
                  <a:lnTo>
                    <a:pt x="201" y="258"/>
                  </a:lnTo>
                  <a:lnTo>
                    <a:pt x="201" y="258"/>
                  </a:lnTo>
                  <a:lnTo>
                    <a:pt x="199" y="255"/>
                  </a:lnTo>
                  <a:lnTo>
                    <a:pt x="199" y="253"/>
                  </a:lnTo>
                  <a:lnTo>
                    <a:pt x="199" y="253"/>
                  </a:lnTo>
                  <a:lnTo>
                    <a:pt x="196" y="253"/>
                  </a:lnTo>
                  <a:lnTo>
                    <a:pt x="196" y="255"/>
                  </a:lnTo>
                  <a:lnTo>
                    <a:pt x="194" y="255"/>
                  </a:lnTo>
                  <a:lnTo>
                    <a:pt x="194" y="253"/>
                  </a:lnTo>
                  <a:lnTo>
                    <a:pt x="194" y="255"/>
                  </a:lnTo>
                  <a:lnTo>
                    <a:pt x="194" y="253"/>
                  </a:lnTo>
                  <a:lnTo>
                    <a:pt x="189" y="253"/>
                  </a:lnTo>
                  <a:lnTo>
                    <a:pt x="189" y="255"/>
                  </a:lnTo>
                  <a:lnTo>
                    <a:pt x="187" y="253"/>
                  </a:lnTo>
                  <a:lnTo>
                    <a:pt x="184" y="253"/>
                  </a:lnTo>
                  <a:lnTo>
                    <a:pt x="184" y="253"/>
                  </a:lnTo>
                  <a:lnTo>
                    <a:pt x="180" y="255"/>
                  </a:lnTo>
                  <a:lnTo>
                    <a:pt x="180" y="255"/>
                  </a:lnTo>
                  <a:lnTo>
                    <a:pt x="180" y="255"/>
                  </a:lnTo>
                  <a:lnTo>
                    <a:pt x="180" y="253"/>
                  </a:lnTo>
                  <a:lnTo>
                    <a:pt x="180" y="251"/>
                  </a:lnTo>
                  <a:lnTo>
                    <a:pt x="180" y="251"/>
                  </a:lnTo>
                  <a:lnTo>
                    <a:pt x="184" y="251"/>
                  </a:lnTo>
                  <a:lnTo>
                    <a:pt x="184" y="251"/>
                  </a:lnTo>
                  <a:lnTo>
                    <a:pt x="184" y="251"/>
                  </a:lnTo>
                  <a:lnTo>
                    <a:pt x="184" y="248"/>
                  </a:lnTo>
                  <a:lnTo>
                    <a:pt x="184" y="248"/>
                  </a:lnTo>
                  <a:lnTo>
                    <a:pt x="184" y="248"/>
                  </a:lnTo>
                  <a:lnTo>
                    <a:pt x="184" y="248"/>
                  </a:lnTo>
                  <a:lnTo>
                    <a:pt x="184" y="248"/>
                  </a:lnTo>
                  <a:lnTo>
                    <a:pt x="184" y="246"/>
                  </a:lnTo>
                  <a:lnTo>
                    <a:pt x="184" y="246"/>
                  </a:lnTo>
                  <a:lnTo>
                    <a:pt x="184" y="246"/>
                  </a:lnTo>
                  <a:lnTo>
                    <a:pt x="187" y="246"/>
                  </a:lnTo>
                  <a:lnTo>
                    <a:pt x="194" y="241"/>
                  </a:lnTo>
                  <a:lnTo>
                    <a:pt x="194" y="241"/>
                  </a:lnTo>
                  <a:lnTo>
                    <a:pt x="192" y="239"/>
                  </a:lnTo>
                  <a:lnTo>
                    <a:pt x="194" y="239"/>
                  </a:lnTo>
                  <a:lnTo>
                    <a:pt x="196" y="239"/>
                  </a:lnTo>
                  <a:lnTo>
                    <a:pt x="196" y="234"/>
                  </a:lnTo>
                  <a:lnTo>
                    <a:pt x="194" y="234"/>
                  </a:lnTo>
                  <a:lnTo>
                    <a:pt x="194" y="234"/>
                  </a:lnTo>
                  <a:lnTo>
                    <a:pt x="194" y="234"/>
                  </a:lnTo>
                  <a:lnTo>
                    <a:pt x="196" y="232"/>
                  </a:lnTo>
                  <a:lnTo>
                    <a:pt x="196" y="234"/>
                  </a:lnTo>
                  <a:lnTo>
                    <a:pt x="199" y="232"/>
                  </a:lnTo>
                  <a:lnTo>
                    <a:pt x="199" y="232"/>
                  </a:lnTo>
                  <a:lnTo>
                    <a:pt x="201" y="232"/>
                  </a:lnTo>
                  <a:lnTo>
                    <a:pt x="201" y="232"/>
                  </a:lnTo>
                  <a:lnTo>
                    <a:pt x="203" y="232"/>
                  </a:lnTo>
                  <a:lnTo>
                    <a:pt x="203" y="232"/>
                  </a:lnTo>
                  <a:lnTo>
                    <a:pt x="203" y="232"/>
                  </a:lnTo>
                  <a:lnTo>
                    <a:pt x="203" y="232"/>
                  </a:lnTo>
                  <a:lnTo>
                    <a:pt x="206" y="229"/>
                  </a:lnTo>
                  <a:lnTo>
                    <a:pt x="203" y="229"/>
                  </a:lnTo>
                  <a:lnTo>
                    <a:pt x="203" y="229"/>
                  </a:lnTo>
                  <a:lnTo>
                    <a:pt x="206" y="225"/>
                  </a:lnTo>
                  <a:lnTo>
                    <a:pt x="206" y="222"/>
                  </a:lnTo>
                  <a:lnTo>
                    <a:pt x="206" y="220"/>
                  </a:lnTo>
                  <a:lnTo>
                    <a:pt x="203" y="220"/>
                  </a:lnTo>
                  <a:lnTo>
                    <a:pt x="203" y="217"/>
                  </a:lnTo>
                  <a:lnTo>
                    <a:pt x="201" y="215"/>
                  </a:lnTo>
                  <a:lnTo>
                    <a:pt x="201" y="215"/>
                  </a:lnTo>
                  <a:lnTo>
                    <a:pt x="201" y="215"/>
                  </a:lnTo>
                  <a:lnTo>
                    <a:pt x="199" y="213"/>
                  </a:lnTo>
                  <a:lnTo>
                    <a:pt x="199" y="210"/>
                  </a:lnTo>
                  <a:lnTo>
                    <a:pt x="199" y="210"/>
                  </a:lnTo>
                  <a:lnTo>
                    <a:pt x="199" y="210"/>
                  </a:lnTo>
                  <a:lnTo>
                    <a:pt x="201" y="208"/>
                  </a:lnTo>
                  <a:lnTo>
                    <a:pt x="201" y="206"/>
                  </a:lnTo>
                  <a:lnTo>
                    <a:pt x="203" y="203"/>
                  </a:lnTo>
                  <a:lnTo>
                    <a:pt x="203" y="201"/>
                  </a:lnTo>
                  <a:lnTo>
                    <a:pt x="206" y="201"/>
                  </a:lnTo>
                  <a:lnTo>
                    <a:pt x="208" y="196"/>
                  </a:lnTo>
                  <a:lnTo>
                    <a:pt x="210" y="196"/>
                  </a:lnTo>
                  <a:lnTo>
                    <a:pt x="213" y="196"/>
                  </a:lnTo>
                  <a:lnTo>
                    <a:pt x="215" y="196"/>
                  </a:lnTo>
                  <a:lnTo>
                    <a:pt x="218" y="194"/>
                  </a:lnTo>
                  <a:lnTo>
                    <a:pt x="220" y="194"/>
                  </a:lnTo>
                  <a:lnTo>
                    <a:pt x="220" y="191"/>
                  </a:lnTo>
                  <a:lnTo>
                    <a:pt x="222" y="191"/>
                  </a:lnTo>
                  <a:lnTo>
                    <a:pt x="225" y="191"/>
                  </a:lnTo>
                  <a:lnTo>
                    <a:pt x="225" y="191"/>
                  </a:lnTo>
                  <a:lnTo>
                    <a:pt x="225" y="189"/>
                  </a:lnTo>
                  <a:lnTo>
                    <a:pt x="225" y="189"/>
                  </a:lnTo>
                  <a:lnTo>
                    <a:pt x="225" y="189"/>
                  </a:lnTo>
                  <a:lnTo>
                    <a:pt x="225" y="187"/>
                  </a:lnTo>
                  <a:lnTo>
                    <a:pt x="222" y="187"/>
                  </a:lnTo>
                  <a:lnTo>
                    <a:pt x="222" y="187"/>
                  </a:lnTo>
                  <a:lnTo>
                    <a:pt x="222" y="184"/>
                  </a:lnTo>
                  <a:lnTo>
                    <a:pt x="222" y="184"/>
                  </a:lnTo>
                  <a:lnTo>
                    <a:pt x="222" y="182"/>
                  </a:lnTo>
                  <a:lnTo>
                    <a:pt x="220" y="182"/>
                  </a:lnTo>
                  <a:lnTo>
                    <a:pt x="222" y="180"/>
                  </a:lnTo>
                  <a:lnTo>
                    <a:pt x="220" y="177"/>
                  </a:lnTo>
                  <a:lnTo>
                    <a:pt x="218" y="177"/>
                  </a:lnTo>
                  <a:lnTo>
                    <a:pt x="218" y="177"/>
                  </a:lnTo>
                  <a:lnTo>
                    <a:pt x="218" y="177"/>
                  </a:lnTo>
                  <a:lnTo>
                    <a:pt x="215" y="177"/>
                  </a:lnTo>
                  <a:lnTo>
                    <a:pt x="215" y="175"/>
                  </a:lnTo>
                  <a:lnTo>
                    <a:pt x="215" y="175"/>
                  </a:lnTo>
                  <a:lnTo>
                    <a:pt x="213" y="175"/>
                  </a:lnTo>
                  <a:lnTo>
                    <a:pt x="210" y="175"/>
                  </a:lnTo>
                  <a:lnTo>
                    <a:pt x="208" y="173"/>
                  </a:lnTo>
                  <a:lnTo>
                    <a:pt x="208" y="173"/>
                  </a:lnTo>
                  <a:lnTo>
                    <a:pt x="206" y="173"/>
                  </a:lnTo>
                  <a:lnTo>
                    <a:pt x="206" y="170"/>
                  </a:lnTo>
                  <a:lnTo>
                    <a:pt x="203" y="170"/>
                  </a:lnTo>
                  <a:lnTo>
                    <a:pt x="203" y="170"/>
                  </a:lnTo>
                  <a:lnTo>
                    <a:pt x="203" y="170"/>
                  </a:lnTo>
                  <a:lnTo>
                    <a:pt x="201" y="168"/>
                  </a:lnTo>
                  <a:lnTo>
                    <a:pt x="199" y="165"/>
                  </a:lnTo>
                  <a:lnTo>
                    <a:pt x="196" y="165"/>
                  </a:lnTo>
                  <a:lnTo>
                    <a:pt x="194" y="163"/>
                  </a:lnTo>
                  <a:lnTo>
                    <a:pt x="192" y="163"/>
                  </a:lnTo>
                  <a:lnTo>
                    <a:pt x="192" y="163"/>
                  </a:lnTo>
                  <a:lnTo>
                    <a:pt x="189" y="163"/>
                  </a:lnTo>
                  <a:lnTo>
                    <a:pt x="187" y="165"/>
                  </a:lnTo>
                  <a:lnTo>
                    <a:pt x="184" y="165"/>
                  </a:lnTo>
                  <a:lnTo>
                    <a:pt x="184" y="165"/>
                  </a:lnTo>
                  <a:lnTo>
                    <a:pt x="182" y="165"/>
                  </a:lnTo>
                  <a:lnTo>
                    <a:pt x="180" y="168"/>
                  </a:lnTo>
                  <a:lnTo>
                    <a:pt x="180" y="170"/>
                  </a:lnTo>
                  <a:lnTo>
                    <a:pt x="180" y="170"/>
                  </a:lnTo>
                  <a:lnTo>
                    <a:pt x="175" y="175"/>
                  </a:lnTo>
                  <a:lnTo>
                    <a:pt x="173" y="175"/>
                  </a:lnTo>
                  <a:lnTo>
                    <a:pt x="170" y="175"/>
                  </a:lnTo>
                  <a:lnTo>
                    <a:pt x="170" y="175"/>
                  </a:lnTo>
                  <a:lnTo>
                    <a:pt x="168" y="175"/>
                  </a:lnTo>
                  <a:lnTo>
                    <a:pt x="168" y="175"/>
                  </a:lnTo>
                  <a:lnTo>
                    <a:pt x="166" y="175"/>
                  </a:lnTo>
                  <a:lnTo>
                    <a:pt x="161" y="175"/>
                  </a:lnTo>
                  <a:lnTo>
                    <a:pt x="161" y="175"/>
                  </a:lnTo>
                  <a:lnTo>
                    <a:pt x="161" y="177"/>
                  </a:lnTo>
                  <a:lnTo>
                    <a:pt x="161" y="180"/>
                  </a:lnTo>
                  <a:lnTo>
                    <a:pt x="161" y="180"/>
                  </a:lnTo>
                  <a:lnTo>
                    <a:pt x="161" y="182"/>
                  </a:lnTo>
                  <a:lnTo>
                    <a:pt x="158" y="182"/>
                  </a:lnTo>
                  <a:lnTo>
                    <a:pt x="158" y="184"/>
                  </a:lnTo>
                  <a:lnTo>
                    <a:pt x="158" y="184"/>
                  </a:lnTo>
                  <a:lnTo>
                    <a:pt x="158" y="184"/>
                  </a:lnTo>
                  <a:lnTo>
                    <a:pt x="156" y="187"/>
                  </a:lnTo>
                  <a:lnTo>
                    <a:pt x="156" y="189"/>
                  </a:lnTo>
                  <a:lnTo>
                    <a:pt x="156" y="189"/>
                  </a:lnTo>
                  <a:lnTo>
                    <a:pt x="154" y="191"/>
                  </a:lnTo>
                  <a:lnTo>
                    <a:pt x="151" y="191"/>
                  </a:lnTo>
                  <a:lnTo>
                    <a:pt x="149" y="194"/>
                  </a:lnTo>
                  <a:lnTo>
                    <a:pt x="147" y="194"/>
                  </a:lnTo>
                  <a:lnTo>
                    <a:pt x="147" y="196"/>
                  </a:lnTo>
                  <a:lnTo>
                    <a:pt x="147" y="196"/>
                  </a:lnTo>
                  <a:lnTo>
                    <a:pt x="144" y="196"/>
                  </a:lnTo>
                  <a:lnTo>
                    <a:pt x="142" y="196"/>
                  </a:lnTo>
                  <a:lnTo>
                    <a:pt x="142" y="196"/>
                  </a:lnTo>
                  <a:lnTo>
                    <a:pt x="140" y="196"/>
                  </a:lnTo>
                  <a:lnTo>
                    <a:pt x="137" y="196"/>
                  </a:lnTo>
                  <a:lnTo>
                    <a:pt x="137" y="199"/>
                  </a:lnTo>
                  <a:lnTo>
                    <a:pt x="135" y="201"/>
                  </a:lnTo>
                  <a:lnTo>
                    <a:pt x="135" y="201"/>
                  </a:lnTo>
                  <a:lnTo>
                    <a:pt x="135" y="203"/>
                  </a:lnTo>
                  <a:lnTo>
                    <a:pt x="132" y="203"/>
                  </a:lnTo>
                  <a:lnTo>
                    <a:pt x="132" y="203"/>
                  </a:lnTo>
                  <a:lnTo>
                    <a:pt x="130" y="206"/>
                  </a:lnTo>
                  <a:lnTo>
                    <a:pt x="130" y="206"/>
                  </a:lnTo>
                  <a:lnTo>
                    <a:pt x="130" y="208"/>
                  </a:lnTo>
                  <a:lnTo>
                    <a:pt x="128" y="208"/>
                  </a:lnTo>
                  <a:lnTo>
                    <a:pt x="128" y="210"/>
                  </a:lnTo>
                  <a:lnTo>
                    <a:pt x="128" y="210"/>
                  </a:lnTo>
                  <a:lnTo>
                    <a:pt x="130" y="210"/>
                  </a:lnTo>
                  <a:lnTo>
                    <a:pt x="130" y="213"/>
                  </a:lnTo>
                  <a:lnTo>
                    <a:pt x="130" y="213"/>
                  </a:lnTo>
                  <a:lnTo>
                    <a:pt x="128" y="215"/>
                  </a:lnTo>
                  <a:lnTo>
                    <a:pt x="128" y="215"/>
                  </a:lnTo>
                  <a:lnTo>
                    <a:pt x="128" y="213"/>
                  </a:lnTo>
                  <a:lnTo>
                    <a:pt x="128" y="213"/>
                  </a:lnTo>
                  <a:lnTo>
                    <a:pt x="125" y="213"/>
                  </a:lnTo>
                  <a:lnTo>
                    <a:pt x="125" y="210"/>
                  </a:lnTo>
                  <a:lnTo>
                    <a:pt x="125" y="210"/>
                  </a:lnTo>
                  <a:lnTo>
                    <a:pt x="123" y="210"/>
                  </a:lnTo>
                  <a:lnTo>
                    <a:pt x="123" y="210"/>
                  </a:lnTo>
                  <a:lnTo>
                    <a:pt x="121" y="213"/>
                  </a:lnTo>
                  <a:lnTo>
                    <a:pt x="116" y="213"/>
                  </a:lnTo>
                  <a:lnTo>
                    <a:pt x="116" y="213"/>
                  </a:lnTo>
                  <a:lnTo>
                    <a:pt x="114" y="213"/>
                  </a:lnTo>
                  <a:lnTo>
                    <a:pt x="111" y="217"/>
                  </a:lnTo>
                  <a:lnTo>
                    <a:pt x="111" y="217"/>
                  </a:lnTo>
                  <a:lnTo>
                    <a:pt x="109" y="220"/>
                  </a:lnTo>
                  <a:lnTo>
                    <a:pt x="111" y="220"/>
                  </a:lnTo>
                  <a:lnTo>
                    <a:pt x="111" y="220"/>
                  </a:lnTo>
                  <a:lnTo>
                    <a:pt x="111" y="220"/>
                  </a:lnTo>
                  <a:lnTo>
                    <a:pt x="109" y="220"/>
                  </a:lnTo>
                  <a:lnTo>
                    <a:pt x="106" y="220"/>
                  </a:lnTo>
                  <a:lnTo>
                    <a:pt x="106" y="222"/>
                  </a:lnTo>
                  <a:lnTo>
                    <a:pt x="104" y="225"/>
                  </a:lnTo>
                  <a:lnTo>
                    <a:pt x="104" y="227"/>
                  </a:lnTo>
                  <a:lnTo>
                    <a:pt x="102" y="227"/>
                  </a:lnTo>
                  <a:lnTo>
                    <a:pt x="102" y="229"/>
                  </a:lnTo>
                  <a:lnTo>
                    <a:pt x="102" y="229"/>
                  </a:lnTo>
                  <a:lnTo>
                    <a:pt x="99" y="229"/>
                  </a:lnTo>
                  <a:lnTo>
                    <a:pt x="97" y="229"/>
                  </a:lnTo>
                  <a:lnTo>
                    <a:pt x="97" y="229"/>
                  </a:lnTo>
                  <a:lnTo>
                    <a:pt x="97" y="229"/>
                  </a:lnTo>
                  <a:lnTo>
                    <a:pt x="97" y="227"/>
                  </a:lnTo>
                  <a:lnTo>
                    <a:pt x="95" y="227"/>
                  </a:lnTo>
                  <a:lnTo>
                    <a:pt x="92" y="225"/>
                  </a:lnTo>
                  <a:lnTo>
                    <a:pt x="88" y="229"/>
                  </a:lnTo>
                  <a:lnTo>
                    <a:pt x="88" y="229"/>
                  </a:lnTo>
                  <a:lnTo>
                    <a:pt x="88" y="232"/>
                  </a:lnTo>
                  <a:lnTo>
                    <a:pt x="88" y="232"/>
                  </a:lnTo>
                  <a:lnTo>
                    <a:pt x="88" y="234"/>
                  </a:lnTo>
                  <a:lnTo>
                    <a:pt x="88" y="234"/>
                  </a:lnTo>
                  <a:lnTo>
                    <a:pt x="88" y="236"/>
                  </a:lnTo>
                  <a:lnTo>
                    <a:pt x="83" y="234"/>
                  </a:lnTo>
                  <a:lnTo>
                    <a:pt x="83" y="234"/>
                  </a:lnTo>
                  <a:lnTo>
                    <a:pt x="83" y="234"/>
                  </a:lnTo>
                  <a:lnTo>
                    <a:pt x="80" y="232"/>
                  </a:lnTo>
                  <a:lnTo>
                    <a:pt x="80" y="232"/>
                  </a:lnTo>
                  <a:lnTo>
                    <a:pt x="78" y="229"/>
                  </a:lnTo>
                  <a:lnTo>
                    <a:pt x="78" y="229"/>
                  </a:lnTo>
                  <a:lnTo>
                    <a:pt x="76" y="229"/>
                  </a:lnTo>
                  <a:lnTo>
                    <a:pt x="76" y="232"/>
                  </a:lnTo>
                  <a:lnTo>
                    <a:pt x="73" y="232"/>
                  </a:lnTo>
                  <a:lnTo>
                    <a:pt x="71" y="234"/>
                  </a:lnTo>
                  <a:lnTo>
                    <a:pt x="69" y="234"/>
                  </a:lnTo>
                  <a:lnTo>
                    <a:pt x="69" y="234"/>
                  </a:lnTo>
                  <a:lnTo>
                    <a:pt x="66" y="234"/>
                  </a:lnTo>
                  <a:lnTo>
                    <a:pt x="66" y="236"/>
                  </a:lnTo>
                  <a:lnTo>
                    <a:pt x="64" y="236"/>
                  </a:lnTo>
                  <a:lnTo>
                    <a:pt x="64" y="236"/>
                  </a:lnTo>
                  <a:lnTo>
                    <a:pt x="62" y="236"/>
                  </a:lnTo>
                  <a:lnTo>
                    <a:pt x="62" y="236"/>
                  </a:lnTo>
                  <a:lnTo>
                    <a:pt x="59" y="234"/>
                  </a:lnTo>
                  <a:lnTo>
                    <a:pt x="59" y="232"/>
                  </a:lnTo>
                  <a:lnTo>
                    <a:pt x="59" y="229"/>
                  </a:lnTo>
                  <a:lnTo>
                    <a:pt x="59" y="229"/>
                  </a:lnTo>
                  <a:lnTo>
                    <a:pt x="59" y="227"/>
                  </a:lnTo>
                  <a:lnTo>
                    <a:pt x="57" y="227"/>
                  </a:lnTo>
                  <a:lnTo>
                    <a:pt x="59" y="225"/>
                  </a:lnTo>
                  <a:lnTo>
                    <a:pt x="57" y="225"/>
                  </a:lnTo>
                  <a:lnTo>
                    <a:pt x="57" y="222"/>
                  </a:lnTo>
                  <a:lnTo>
                    <a:pt x="57" y="222"/>
                  </a:lnTo>
                  <a:lnTo>
                    <a:pt x="57" y="222"/>
                  </a:lnTo>
                  <a:lnTo>
                    <a:pt x="57" y="220"/>
                  </a:lnTo>
                  <a:lnTo>
                    <a:pt x="57" y="220"/>
                  </a:lnTo>
                  <a:lnTo>
                    <a:pt x="57" y="217"/>
                  </a:lnTo>
                  <a:lnTo>
                    <a:pt x="55" y="220"/>
                  </a:lnTo>
                  <a:lnTo>
                    <a:pt x="55" y="217"/>
                  </a:lnTo>
                  <a:lnTo>
                    <a:pt x="55" y="220"/>
                  </a:lnTo>
                  <a:lnTo>
                    <a:pt x="52" y="215"/>
                  </a:lnTo>
                  <a:lnTo>
                    <a:pt x="50" y="217"/>
                  </a:lnTo>
                  <a:lnTo>
                    <a:pt x="50" y="217"/>
                  </a:lnTo>
                  <a:lnTo>
                    <a:pt x="50" y="220"/>
                  </a:lnTo>
                  <a:lnTo>
                    <a:pt x="50" y="220"/>
                  </a:lnTo>
                  <a:lnTo>
                    <a:pt x="45" y="220"/>
                  </a:lnTo>
                  <a:lnTo>
                    <a:pt x="47" y="222"/>
                  </a:lnTo>
                  <a:lnTo>
                    <a:pt x="45" y="222"/>
                  </a:lnTo>
                  <a:lnTo>
                    <a:pt x="45" y="222"/>
                  </a:lnTo>
                  <a:lnTo>
                    <a:pt x="43" y="222"/>
                  </a:lnTo>
                  <a:lnTo>
                    <a:pt x="43" y="222"/>
                  </a:lnTo>
                  <a:lnTo>
                    <a:pt x="40" y="222"/>
                  </a:lnTo>
                  <a:lnTo>
                    <a:pt x="38" y="222"/>
                  </a:lnTo>
                  <a:lnTo>
                    <a:pt x="36" y="222"/>
                  </a:lnTo>
                  <a:lnTo>
                    <a:pt x="36" y="225"/>
                  </a:lnTo>
                  <a:lnTo>
                    <a:pt x="36" y="225"/>
                  </a:lnTo>
                  <a:lnTo>
                    <a:pt x="31" y="225"/>
                  </a:lnTo>
                  <a:lnTo>
                    <a:pt x="31" y="227"/>
                  </a:lnTo>
                  <a:lnTo>
                    <a:pt x="29" y="225"/>
                  </a:lnTo>
                  <a:lnTo>
                    <a:pt x="26" y="227"/>
                  </a:lnTo>
                  <a:lnTo>
                    <a:pt x="24" y="225"/>
                  </a:lnTo>
                  <a:lnTo>
                    <a:pt x="24" y="227"/>
                  </a:lnTo>
                  <a:lnTo>
                    <a:pt x="24" y="225"/>
                  </a:lnTo>
                  <a:lnTo>
                    <a:pt x="24" y="227"/>
                  </a:lnTo>
                  <a:lnTo>
                    <a:pt x="21" y="227"/>
                  </a:lnTo>
                  <a:lnTo>
                    <a:pt x="21" y="225"/>
                  </a:lnTo>
                  <a:lnTo>
                    <a:pt x="19" y="225"/>
                  </a:lnTo>
                  <a:lnTo>
                    <a:pt x="19" y="222"/>
                  </a:lnTo>
                  <a:lnTo>
                    <a:pt x="19" y="220"/>
                  </a:lnTo>
                  <a:lnTo>
                    <a:pt x="19" y="220"/>
                  </a:lnTo>
                  <a:lnTo>
                    <a:pt x="19" y="217"/>
                  </a:lnTo>
                  <a:lnTo>
                    <a:pt x="14" y="217"/>
                  </a:lnTo>
                  <a:lnTo>
                    <a:pt x="14" y="215"/>
                  </a:lnTo>
                  <a:lnTo>
                    <a:pt x="14" y="215"/>
                  </a:lnTo>
                  <a:lnTo>
                    <a:pt x="14" y="215"/>
                  </a:lnTo>
                  <a:lnTo>
                    <a:pt x="12" y="213"/>
                  </a:lnTo>
                  <a:lnTo>
                    <a:pt x="12" y="213"/>
                  </a:lnTo>
                  <a:lnTo>
                    <a:pt x="10" y="210"/>
                  </a:lnTo>
                  <a:lnTo>
                    <a:pt x="10" y="210"/>
                  </a:lnTo>
                  <a:lnTo>
                    <a:pt x="7" y="208"/>
                  </a:lnTo>
                  <a:lnTo>
                    <a:pt x="5" y="208"/>
                  </a:lnTo>
                  <a:lnTo>
                    <a:pt x="5" y="208"/>
                  </a:lnTo>
                  <a:lnTo>
                    <a:pt x="7" y="206"/>
                  </a:lnTo>
                  <a:lnTo>
                    <a:pt x="7" y="203"/>
                  </a:lnTo>
                  <a:lnTo>
                    <a:pt x="7" y="203"/>
                  </a:lnTo>
                  <a:lnTo>
                    <a:pt x="10" y="203"/>
                  </a:lnTo>
                  <a:lnTo>
                    <a:pt x="12" y="203"/>
                  </a:lnTo>
                  <a:lnTo>
                    <a:pt x="14" y="201"/>
                  </a:lnTo>
                  <a:lnTo>
                    <a:pt x="14" y="201"/>
                  </a:lnTo>
                  <a:lnTo>
                    <a:pt x="14" y="201"/>
                  </a:lnTo>
                  <a:lnTo>
                    <a:pt x="14" y="199"/>
                  </a:lnTo>
                  <a:lnTo>
                    <a:pt x="14" y="199"/>
                  </a:lnTo>
                  <a:lnTo>
                    <a:pt x="14" y="196"/>
                  </a:lnTo>
                  <a:lnTo>
                    <a:pt x="14" y="196"/>
                  </a:lnTo>
                  <a:lnTo>
                    <a:pt x="14" y="196"/>
                  </a:lnTo>
                  <a:lnTo>
                    <a:pt x="14" y="194"/>
                  </a:lnTo>
                  <a:lnTo>
                    <a:pt x="14" y="194"/>
                  </a:lnTo>
                  <a:lnTo>
                    <a:pt x="17" y="191"/>
                  </a:lnTo>
                  <a:lnTo>
                    <a:pt x="17" y="189"/>
                  </a:lnTo>
                  <a:lnTo>
                    <a:pt x="14" y="189"/>
                  </a:lnTo>
                  <a:lnTo>
                    <a:pt x="14" y="187"/>
                  </a:lnTo>
                  <a:lnTo>
                    <a:pt x="21" y="187"/>
                  </a:lnTo>
                  <a:lnTo>
                    <a:pt x="21" y="187"/>
                  </a:lnTo>
                  <a:lnTo>
                    <a:pt x="21" y="184"/>
                  </a:lnTo>
                  <a:lnTo>
                    <a:pt x="21" y="184"/>
                  </a:lnTo>
                  <a:lnTo>
                    <a:pt x="24" y="184"/>
                  </a:lnTo>
                  <a:lnTo>
                    <a:pt x="24" y="182"/>
                  </a:lnTo>
                  <a:lnTo>
                    <a:pt x="21" y="182"/>
                  </a:lnTo>
                  <a:lnTo>
                    <a:pt x="21" y="180"/>
                  </a:lnTo>
                  <a:lnTo>
                    <a:pt x="24" y="180"/>
                  </a:lnTo>
                  <a:lnTo>
                    <a:pt x="24" y="177"/>
                  </a:lnTo>
                  <a:lnTo>
                    <a:pt x="26" y="175"/>
                  </a:lnTo>
                  <a:lnTo>
                    <a:pt x="29" y="173"/>
                  </a:lnTo>
                  <a:lnTo>
                    <a:pt x="29" y="170"/>
                  </a:lnTo>
                  <a:lnTo>
                    <a:pt x="29" y="170"/>
                  </a:lnTo>
                  <a:lnTo>
                    <a:pt x="29" y="168"/>
                  </a:lnTo>
                  <a:lnTo>
                    <a:pt x="29" y="168"/>
                  </a:lnTo>
                  <a:lnTo>
                    <a:pt x="29" y="165"/>
                  </a:lnTo>
                  <a:lnTo>
                    <a:pt x="29" y="163"/>
                  </a:lnTo>
                  <a:lnTo>
                    <a:pt x="29" y="161"/>
                  </a:lnTo>
                  <a:lnTo>
                    <a:pt x="29" y="161"/>
                  </a:lnTo>
                  <a:lnTo>
                    <a:pt x="26" y="161"/>
                  </a:lnTo>
                  <a:lnTo>
                    <a:pt x="29" y="158"/>
                  </a:lnTo>
                  <a:lnTo>
                    <a:pt x="26" y="158"/>
                  </a:lnTo>
                  <a:lnTo>
                    <a:pt x="24" y="161"/>
                  </a:lnTo>
                  <a:lnTo>
                    <a:pt x="21" y="158"/>
                  </a:lnTo>
                  <a:lnTo>
                    <a:pt x="21" y="158"/>
                  </a:lnTo>
                  <a:lnTo>
                    <a:pt x="19" y="158"/>
                  </a:lnTo>
                  <a:lnTo>
                    <a:pt x="19" y="156"/>
                  </a:lnTo>
                  <a:lnTo>
                    <a:pt x="19" y="156"/>
                  </a:lnTo>
                  <a:lnTo>
                    <a:pt x="19" y="154"/>
                  </a:lnTo>
                  <a:lnTo>
                    <a:pt x="19" y="151"/>
                  </a:lnTo>
                  <a:lnTo>
                    <a:pt x="17" y="151"/>
                  </a:lnTo>
                  <a:lnTo>
                    <a:pt x="14" y="151"/>
                  </a:lnTo>
                  <a:lnTo>
                    <a:pt x="12" y="151"/>
                  </a:lnTo>
                  <a:lnTo>
                    <a:pt x="10" y="151"/>
                  </a:lnTo>
                  <a:lnTo>
                    <a:pt x="10" y="151"/>
                  </a:lnTo>
                  <a:lnTo>
                    <a:pt x="12" y="149"/>
                  </a:lnTo>
                  <a:lnTo>
                    <a:pt x="10" y="149"/>
                  </a:lnTo>
                  <a:lnTo>
                    <a:pt x="12" y="149"/>
                  </a:lnTo>
                  <a:lnTo>
                    <a:pt x="12" y="144"/>
                  </a:lnTo>
                  <a:lnTo>
                    <a:pt x="12" y="144"/>
                  </a:lnTo>
                  <a:lnTo>
                    <a:pt x="12" y="142"/>
                  </a:lnTo>
                  <a:lnTo>
                    <a:pt x="14" y="140"/>
                  </a:lnTo>
                  <a:lnTo>
                    <a:pt x="14" y="140"/>
                  </a:lnTo>
                  <a:lnTo>
                    <a:pt x="12" y="137"/>
                  </a:lnTo>
                  <a:lnTo>
                    <a:pt x="12" y="137"/>
                  </a:lnTo>
                  <a:lnTo>
                    <a:pt x="12" y="137"/>
                  </a:lnTo>
                  <a:lnTo>
                    <a:pt x="12" y="135"/>
                  </a:lnTo>
                  <a:lnTo>
                    <a:pt x="12" y="132"/>
                  </a:lnTo>
                  <a:lnTo>
                    <a:pt x="10" y="132"/>
                  </a:lnTo>
                  <a:lnTo>
                    <a:pt x="10" y="130"/>
                  </a:lnTo>
                  <a:lnTo>
                    <a:pt x="7" y="130"/>
                  </a:lnTo>
                  <a:lnTo>
                    <a:pt x="5" y="130"/>
                  </a:lnTo>
                  <a:lnTo>
                    <a:pt x="5" y="130"/>
                  </a:lnTo>
                  <a:lnTo>
                    <a:pt x="3" y="128"/>
                  </a:lnTo>
                  <a:lnTo>
                    <a:pt x="0" y="128"/>
                  </a:lnTo>
                  <a:lnTo>
                    <a:pt x="0" y="128"/>
                  </a:lnTo>
                  <a:lnTo>
                    <a:pt x="0" y="125"/>
                  </a:lnTo>
                  <a:lnTo>
                    <a:pt x="3" y="125"/>
                  </a:lnTo>
                  <a:lnTo>
                    <a:pt x="3" y="123"/>
                  </a:lnTo>
                  <a:lnTo>
                    <a:pt x="3" y="123"/>
                  </a:lnTo>
                  <a:lnTo>
                    <a:pt x="3" y="123"/>
                  </a:lnTo>
                  <a:lnTo>
                    <a:pt x="3" y="123"/>
                  </a:lnTo>
                  <a:lnTo>
                    <a:pt x="0" y="123"/>
                  </a:lnTo>
                  <a:lnTo>
                    <a:pt x="0" y="121"/>
                  </a:lnTo>
                  <a:lnTo>
                    <a:pt x="3" y="121"/>
                  </a:lnTo>
                  <a:lnTo>
                    <a:pt x="0" y="118"/>
                  </a:lnTo>
                  <a:lnTo>
                    <a:pt x="0" y="116"/>
                  </a:lnTo>
                  <a:lnTo>
                    <a:pt x="0" y="116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 cap="flat">
              <a:solidFill>
                <a:schemeClr val="bg2">
                  <a:lumMod val="7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>
                <a:solidFill>
                  <a:srgbClr val="000000"/>
                </a:solidFill>
              </a:endParaRPr>
            </a:p>
          </p:txBody>
        </p:sp>
        <p:sp>
          <p:nvSpPr>
            <p:cNvPr id="27" name="Freeform 27"/>
            <p:cNvSpPr>
              <a:spLocks/>
            </p:cNvSpPr>
            <p:nvPr/>
          </p:nvSpPr>
          <p:spPr bwMode="gray">
            <a:xfrm>
              <a:off x="3531164" y="3674507"/>
              <a:ext cx="669869" cy="252110"/>
            </a:xfrm>
            <a:custGeom>
              <a:avLst/>
              <a:gdLst/>
              <a:ahLst/>
              <a:cxnLst>
                <a:cxn ang="0">
                  <a:pos x="33" y="163"/>
                </a:cxn>
                <a:cxn ang="0">
                  <a:pos x="59" y="142"/>
                </a:cxn>
                <a:cxn ang="0">
                  <a:pos x="82" y="121"/>
                </a:cxn>
                <a:cxn ang="0">
                  <a:pos x="101" y="73"/>
                </a:cxn>
                <a:cxn ang="0">
                  <a:pos x="108" y="14"/>
                </a:cxn>
                <a:cxn ang="0">
                  <a:pos x="210" y="5"/>
                </a:cxn>
                <a:cxn ang="0">
                  <a:pos x="257" y="36"/>
                </a:cxn>
                <a:cxn ang="0">
                  <a:pos x="276" y="59"/>
                </a:cxn>
                <a:cxn ang="0">
                  <a:pos x="305" y="71"/>
                </a:cxn>
                <a:cxn ang="0">
                  <a:pos x="321" y="52"/>
                </a:cxn>
                <a:cxn ang="0">
                  <a:pos x="347" y="54"/>
                </a:cxn>
                <a:cxn ang="0">
                  <a:pos x="373" y="57"/>
                </a:cxn>
                <a:cxn ang="0">
                  <a:pos x="392" y="73"/>
                </a:cxn>
                <a:cxn ang="0">
                  <a:pos x="423" y="64"/>
                </a:cxn>
                <a:cxn ang="0">
                  <a:pos x="451" y="47"/>
                </a:cxn>
                <a:cxn ang="0">
                  <a:pos x="470" y="33"/>
                </a:cxn>
                <a:cxn ang="0">
                  <a:pos x="498" y="12"/>
                </a:cxn>
                <a:cxn ang="0">
                  <a:pos x="538" y="12"/>
                </a:cxn>
                <a:cxn ang="0">
                  <a:pos x="546" y="31"/>
                </a:cxn>
                <a:cxn ang="0">
                  <a:pos x="531" y="69"/>
                </a:cxn>
                <a:cxn ang="0">
                  <a:pos x="512" y="85"/>
                </a:cxn>
                <a:cxn ang="0">
                  <a:pos x="527" y="92"/>
                </a:cxn>
                <a:cxn ang="0">
                  <a:pos x="536" y="123"/>
                </a:cxn>
                <a:cxn ang="0">
                  <a:pos x="588" y="118"/>
                </a:cxn>
                <a:cxn ang="0">
                  <a:pos x="605" y="90"/>
                </a:cxn>
                <a:cxn ang="0">
                  <a:pos x="628" y="71"/>
                </a:cxn>
                <a:cxn ang="0">
                  <a:pos x="673" y="69"/>
                </a:cxn>
                <a:cxn ang="0">
                  <a:pos x="711" y="59"/>
                </a:cxn>
                <a:cxn ang="0">
                  <a:pos x="739" y="43"/>
                </a:cxn>
                <a:cxn ang="0">
                  <a:pos x="760" y="21"/>
                </a:cxn>
                <a:cxn ang="0">
                  <a:pos x="796" y="17"/>
                </a:cxn>
                <a:cxn ang="0">
                  <a:pos x="827" y="36"/>
                </a:cxn>
                <a:cxn ang="0">
                  <a:pos x="827" y="76"/>
                </a:cxn>
                <a:cxn ang="0">
                  <a:pos x="812" y="140"/>
                </a:cxn>
                <a:cxn ang="0">
                  <a:pos x="801" y="175"/>
                </a:cxn>
                <a:cxn ang="0">
                  <a:pos x="779" y="213"/>
                </a:cxn>
                <a:cxn ang="0">
                  <a:pos x="742" y="203"/>
                </a:cxn>
                <a:cxn ang="0">
                  <a:pos x="716" y="215"/>
                </a:cxn>
                <a:cxn ang="0">
                  <a:pos x="690" y="208"/>
                </a:cxn>
                <a:cxn ang="0">
                  <a:pos x="661" y="232"/>
                </a:cxn>
                <a:cxn ang="0">
                  <a:pos x="647" y="248"/>
                </a:cxn>
                <a:cxn ang="0">
                  <a:pos x="626" y="255"/>
                </a:cxn>
                <a:cxn ang="0">
                  <a:pos x="602" y="272"/>
                </a:cxn>
                <a:cxn ang="0">
                  <a:pos x="564" y="262"/>
                </a:cxn>
                <a:cxn ang="0">
                  <a:pos x="534" y="260"/>
                </a:cxn>
                <a:cxn ang="0">
                  <a:pos x="510" y="236"/>
                </a:cxn>
                <a:cxn ang="0">
                  <a:pos x="468" y="225"/>
                </a:cxn>
                <a:cxn ang="0">
                  <a:pos x="446" y="213"/>
                </a:cxn>
                <a:cxn ang="0">
                  <a:pos x="423" y="246"/>
                </a:cxn>
                <a:cxn ang="0">
                  <a:pos x="385" y="239"/>
                </a:cxn>
                <a:cxn ang="0">
                  <a:pos x="364" y="213"/>
                </a:cxn>
                <a:cxn ang="0">
                  <a:pos x="316" y="199"/>
                </a:cxn>
                <a:cxn ang="0">
                  <a:pos x="269" y="187"/>
                </a:cxn>
                <a:cxn ang="0">
                  <a:pos x="243" y="168"/>
                </a:cxn>
                <a:cxn ang="0">
                  <a:pos x="210" y="199"/>
                </a:cxn>
                <a:cxn ang="0">
                  <a:pos x="156" y="241"/>
                </a:cxn>
                <a:cxn ang="0">
                  <a:pos x="118" y="272"/>
                </a:cxn>
                <a:cxn ang="0">
                  <a:pos x="75" y="279"/>
                </a:cxn>
                <a:cxn ang="0">
                  <a:pos x="85" y="251"/>
                </a:cxn>
                <a:cxn ang="0">
                  <a:pos x="66" y="227"/>
                </a:cxn>
                <a:cxn ang="0">
                  <a:pos x="38" y="199"/>
                </a:cxn>
                <a:cxn ang="0">
                  <a:pos x="14" y="189"/>
                </a:cxn>
              </a:cxnLst>
              <a:rect l="0" t="0" r="r" b="b"/>
              <a:pathLst>
                <a:path w="829" h="288">
                  <a:moveTo>
                    <a:pt x="0" y="187"/>
                  </a:moveTo>
                  <a:lnTo>
                    <a:pt x="2" y="187"/>
                  </a:lnTo>
                  <a:lnTo>
                    <a:pt x="5" y="187"/>
                  </a:lnTo>
                  <a:lnTo>
                    <a:pt x="7" y="184"/>
                  </a:lnTo>
                  <a:lnTo>
                    <a:pt x="9" y="182"/>
                  </a:lnTo>
                  <a:lnTo>
                    <a:pt x="12" y="182"/>
                  </a:lnTo>
                  <a:lnTo>
                    <a:pt x="14" y="180"/>
                  </a:lnTo>
                  <a:lnTo>
                    <a:pt x="16" y="180"/>
                  </a:lnTo>
                  <a:lnTo>
                    <a:pt x="16" y="180"/>
                  </a:lnTo>
                  <a:lnTo>
                    <a:pt x="19" y="177"/>
                  </a:lnTo>
                  <a:lnTo>
                    <a:pt x="19" y="175"/>
                  </a:lnTo>
                  <a:lnTo>
                    <a:pt x="19" y="173"/>
                  </a:lnTo>
                  <a:lnTo>
                    <a:pt x="19" y="173"/>
                  </a:lnTo>
                  <a:lnTo>
                    <a:pt x="19" y="173"/>
                  </a:lnTo>
                  <a:lnTo>
                    <a:pt x="21" y="173"/>
                  </a:lnTo>
                  <a:lnTo>
                    <a:pt x="23" y="173"/>
                  </a:lnTo>
                  <a:lnTo>
                    <a:pt x="23" y="170"/>
                  </a:lnTo>
                  <a:lnTo>
                    <a:pt x="23" y="170"/>
                  </a:lnTo>
                  <a:lnTo>
                    <a:pt x="26" y="168"/>
                  </a:lnTo>
                  <a:lnTo>
                    <a:pt x="26" y="165"/>
                  </a:lnTo>
                  <a:lnTo>
                    <a:pt x="28" y="165"/>
                  </a:lnTo>
                  <a:lnTo>
                    <a:pt x="28" y="165"/>
                  </a:lnTo>
                  <a:lnTo>
                    <a:pt x="28" y="165"/>
                  </a:lnTo>
                  <a:lnTo>
                    <a:pt x="31" y="165"/>
                  </a:lnTo>
                  <a:lnTo>
                    <a:pt x="33" y="163"/>
                  </a:lnTo>
                  <a:lnTo>
                    <a:pt x="33" y="163"/>
                  </a:lnTo>
                  <a:lnTo>
                    <a:pt x="33" y="163"/>
                  </a:lnTo>
                  <a:lnTo>
                    <a:pt x="35" y="161"/>
                  </a:lnTo>
                  <a:lnTo>
                    <a:pt x="35" y="158"/>
                  </a:lnTo>
                  <a:lnTo>
                    <a:pt x="38" y="158"/>
                  </a:lnTo>
                  <a:lnTo>
                    <a:pt x="38" y="154"/>
                  </a:lnTo>
                  <a:lnTo>
                    <a:pt x="40" y="151"/>
                  </a:lnTo>
                  <a:lnTo>
                    <a:pt x="45" y="151"/>
                  </a:lnTo>
                  <a:lnTo>
                    <a:pt x="45" y="149"/>
                  </a:lnTo>
                  <a:lnTo>
                    <a:pt x="45" y="149"/>
                  </a:lnTo>
                  <a:lnTo>
                    <a:pt x="47" y="147"/>
                  </a:lnTo>
                  <a:lnTo>
                    <a:pt x="49" y="149"/>
                  </a:lnTo>
                  <a:lnTo>
                    <a:pt x="49" y="149"/>
                  </a:lnTo>
                  <a:lnTo>
                    <a:pt x="49" y="151"/>
                  </a:lnTo>
                  <a:lnTo>
                    <a:pt x="52" y="151"/>
                  </a:lnTo>
                  <a:lnTo>
                    <a:pt x="54" y="154"/>
                  </a:lnTo>
                  <a:lnTo>
                    <a:pt x="57" y="151"/>
                  </a:lnTo>
                  <a:lnTo>
                    <a:pt x="57" y="151"/>
                  </a:lnTo>
                  <a:lnTo>
                    <a:pt x="57" y="149"/>
                  </a:lnTo>
                  <a:lnTo>
                    <a:pt x="57" y="147"/>
                  </a:lnTo>
                  <a:lnTo>
                    <a:pt x="57" y="147"/>
                  </a:lnTo>
                  <a:lnTo>
                    <a:pt x="59" y="147"/>
                  </a:lnTo>
                  <a:lnTo>
                    <a:pt x="59" y="144"/>
                  </a:lnTo>
                  <a:lnTo>
                    <a:pt x="57" y="144"/>
                  </a:lnTo>
                  <a:lnTo>
                    <a:pt x="59" y="142"/>
                  </a:lnTo>
                  <a:lnTo>
                    <a:pt x="61" y="142"/>
                  </a:lnTo>
                  <a:lnTo>
                    <a:pt x="61" y="142"/>
                  </a:lnTo>
                  <a:lnTo>
                    <a:pt x="64" y="144"/>
                  </a:lnTo>
                  <a:lnTo>
                    <a:pt x="64" y="144"/>
                  </a:lnTo>
                  <a:lnTo>
                    <a:pt x="66" y="144"/>
                  </a:lnTo>
                  <a:lnTo>
                    <a:pt x="68" y="142"/>
                  </a:lnTo>
                  <a:lnTo>
                    <a:pt x="66" y="140"/>
                  </a:lnTo>
                  <a:lnTo>
                    <a:pt x="68" y="140"/>
                  </a:lnTo>
                  <a:lnTo>
                    <a:pt x="68" y="137"/>
                  </a:lnTo>
                  <a:lnTo>
                    <a:pt x="71" y="137"/>
                  </a:lnTo>
                  <a:lnTo>
                    <a:pt x="71" y="135"/>
                  </a:lnTo>
                  <a:lnTo>
                    <a:pt x="73" y="135"/>
                  </a:lnTo>
                  <a:lnTo>
                    <a:pt x="73" y="135"/>
                  </a:lnTo>
                  <a:lnTo>
                    <a:pt x="73" y="132"/>
                  </a:lnTo>
                  <a:lnTo>
                    <a:pt x="73" y="132"/>
                  </a:lnTo>
                  <a:lnTo>
                    <a:pt x="73" y="130"/>
                  </a:lnTo>
                  <a:lnTo>
                    <a:pt x="73" y="128"/>
                  </a:lnTo>
                  <a:lnTo>
                    <a:pt x="75" y="128"/>
                  </a:lnTo>
                  <a:lnTo>
                    <a:pt x="78" y="125"/>
                  </a:lnTo>
                  <a:lnTo>
                    <a:pt x="78" y="125"/>
                  </a:lnTo>
                  <a:lnTo>
                    <a:pt x="80" y="125"/>
                  </a:lnTo>
                  <a:lnTo>
                    <a:pt x="82" y="125"/>
                  </a:lnTo>
                  <a:lnTo>
                    <a:pt x="82" y="123"/>
                  </a:lnTo>
                  <a:lnTo>
                    <a:pt x="82" y="123"/>
                  </a:lnTo>
                  <a:lnTo>
                    <a:pt x="82" y="121"/>
                  </a:lnTo>
                  <a:lnTo>
                    <a:pt x="85" y="121"/>
                  </a:lnTo>
                  <a:lnTo>
                    <a:pt x="85" y="121"/>
                  </a:lnTo>
                  <a:lnTo>
                    <a:pt x="87" y="118"/>
                  </a:lnTo>
                  <a:lnTo>
                    <a:pt x="87" y="116"/>
                  </a:lnTo>
                  <a:lnTo>
                    <a:pt x="87" y="116"/>
                  </a:lnTo>
                  <a:lnTo>
                    <a:pt x="90" y="116"/>
                  </a:lnTo>
                  <a:lnTo>
                    <a:pt x="90" y="116"/>
                  </a:lnTo>
                  <a:lnTo>
                    <a:pt x="90" y="114"/>
                  </a:lnTo>
                  <a:lnTo>
                    <a:pt x="92" y="114"/>
                  </a:lnTo>
                  <a:lnTo>
                    <a:pt x="94" y="116"/>
                  </a:lnTo>
                  <a:lnTo>
                    <a:pt x="94" y="114"/>
                  </a:lnTo>
                  <a:lnTo>
                    <a:pt x="97" y="114"/>
                  </a:lnTo>
                  <a:lnTo>
                    <a:pt x="97" y="111"/>
                  </a:lnTo>
                  <a:lnTo>
                    <a:pt x="94" y="111"/>
                  </a:lnTo>
                  <a:lnTo>
                    <a:pt x="94" y="109"/>
                  </a:lnTo>
                  <a:lnTo>
                    <a:pt x="94" y="106"/>
                  </a:lnTo>
                  <a:lnTo>
                    <a:pt x="97" y="102"/>
                  </a:lnTo>
                  <a:lnTo>
                    <a:pt x="99" y="99"/>
                  </a:lnTo>
                  <a:lnTo>
                    <a:pt x="101" y="90"/>
                  </a:lnTo>
                  <a:lnTo>
                    <a:pt x="101" y="90"/>
                  </a:lnTo>
                  <a:lnTo>
                    <a:pt x="101" y="88"/>
                  </a:lnTo>
                  <a:lnTo>
                    <a:pt x="104" y="78"/>
                  </a:lnTo>
                  <a:lnTo>
                    <a:pt x="104" y="76"/>
                  </a:lnTo>
                  <a:lnTo>
                    <a:pt x="101" y="73"/>
                  </a:lnTo>
                  <a:lnTo>
                    <a:pt x="101" y="73"/>
                  </a:lnTo>
                  <a:lnTo>
                    <a:pt x="101" y="71"/>
                  </a:lnTo>
                  <a:lnTo>
                    <a:pt x="99" y="71"/>
                  </a:lnTo>
                  <a:lnTo>
                    <a:pt x="99" y="71"/>
                  </a:lnTo>
                  <a:lnTo>
                    <a:pt x="92" y="69"/>
                  </a:lnTo>
                  <a:lnTo>
                    <a:pt x="90" y="66"/>
                  </a:lnTo>
                  <a:lnTo>
                    <a:pt x="85" y="64"/>
                  </a:lnTo>
                  <a:lnTo>
                    <a:pt x="85" y="59"/>
                  </a:lnTo>
                  <a:lnTo>
                    <a:pt x="87" y="54"/>
                  </a:lnTo>
                  <a:lnTo>
                    <a:pt x="90" y="50"/>
                  </a:lnTo>
                  <a:lnTo>
                    <a:pt x="90" y="47"/>
                  </a:lnTo>
                  <a:lnTo>
                    <a:pt x="90" y="45"/>
                  </a:lnTo>
                  <a:lnTo>
                    <a:pt x="90" y="43"/>
                  </a:lnTo>
                  <a:lnTo>
                    <a:pt x="90" y="43"/>
                  </a:lnTo>
                  <a:lnTo>
                    <a:pt x="90" y="43"/>
                  </a:lnTo>
                  <a:lnTo>
                    <a:pt x="90" y="40"/>
                  </a:lnTo>
                  <a:lnTo>
                    <a:pt x="85" y="36"/>
                  </a:lnTo>
                  <a:lnTo>
                    <a:pt x="82" y="36"/>
                  </a:lnTo>
                  <a:lnTo>
                    <a:pt x="80" y="28"/>
                  </a:lnTo>
                  <a:lnTo>
                    <a:pt x="80" y="26"/>
                  </a:lnTo>
                  <a:lnTo>
                    <a:pt x="82" y="24"/>
                  </a:lnTo>
                  <a:lnTo>
                    <a:pt x="85" y="24"/>
                  </a:lnTo>
                  <a:lnTo>
                    <a:pt x="87" y="24"/>
                  </a:lnTo>
                  <a:lnTo>
                    <a:pt x="90" y="21"/>
                  </a:lnTo>
                  <a:lnTo>
                    <a:pt x="101" y="17"/>
                  </a:lnTo>
                  <a:lnTo>
                    <a:pt x="108" y="14"/>
                  </a:lnTo>
                  <a:lnTo>
                    <a:pt x="118" y="14"/>
                  </a:lnTo>
                  <a:lnTo>
                    <a:pt x="125" y="14"/>
                  </a:lnTo>
                  <a:lnTo>
                    <a:pt x="130" y="14"/>
                  </a:lnTo>
                  <a:lnTo>
                    <a:pt x="134" y="14"/>
                  </a:lnTo>
                  <a:lnTo>
                    <a:pt x="137" y="14"/>
                  </a:lnTo>
                  <a:lnTo>
                    <a:pt x="137" y="17"/>
                  </a:lnTo>
                  <a:lnTo>
                    <a:pt x="139" y="21"/>
                  </a:lnTo>
                  <a:lnTo>
                    <a:pt x="153" y="19"/>
                  </a:lnTo>
                  <a:lnTo>
                    <a:pt x="163" y="17"/>
                  </a:lnTo>
                  <a:lnTo>
                    <a:pt x="168" y="17"/>
                  </a:lnTo>
                  <a:lnTo>
                    <a:pt x="170" y="14"/>
                  </a:lnTo>
                  <a:lnTo>
                    <a:pt x="175" y="17"/>
                  </a:lnTo>
                  <a:lnTo>
                    <a:pt x="177" y="14"/>
                  </a:lnTo>
                  <a:lnTo>
                    <a:pt x="182" y="7"/>
                  </a:lnTo>
                  <a:lnTo>
                    <a:pt x="184" y="7"/>
                  </a:lnTo>
                  <a:lnTo>
                    <a:pt x="184" y="10"/>
                  </a:lnTo>
                  <a:lnTo>
                    <a:pt x="189" y="7"/>
                  </a:lnTo>
                  <a:lnTo>
                    <a:pt x="191" y="7"/>
                  </a:lnTo>
                  <a:lnTo>
                    <a:pt x="194" y="7"/>
                  </a:lnTo>
                  <a:lnTo>
                    <a:pt x="194" y="7"/>
                  </a:lnTo>
                  <a:lnTo>
                    <a:pt x="196" y="7"/>
                  </a:lnTo>
                  <a:lnTo>
                    <a:pt x="198" y="7"/>
                  </a:lnTo>
                  <a:lnTo>
                    <a:pt x="203" y="7"/>
                  </a:lnTo>
                  <a:lnTo>
                    <a:pt x="208" y="5"/>
                  </a:lnTo>
                  <a:lnTo>
                    <a:pt x="210" y="5"/>
                  </a:lnTo>
                  <a:lnTo>
                    <a:pt x="212" y="5"/>
                  </a:lnTo>
                  <a:lnTo>
                    <a:pt x="215" y="5"/>
                  </a:lnTo>
                  <a:lnTo>
                    <a:pt x="217" y="7"/>
                  </a:lnTo>
                  <a:lnTo>
                    <a:pt x="220" y="7"/>
                  </a:lnTo>
                  <a:lnTo>
                    <a:pt x="222" y="7"/>
                  </a:lnTo>
                  <a:lnTo>
                    <a:pt x="222" y="10"/>
                  </a:lnTo>
                  <a:lnTo>
                    <a:pt x="222" y="10"/>
                  </a:lnTo>
                  <a:lnTo>
                    <a:pt x="224" y="12"/>
                  </a:lnTo>
                  <a:lnTo>
                    <a:pt x="227" y="14"/>
                  </a:lnTo>
                  <a:lnTo>
                    <a:pt x="229" y="14"/>
                  </a:lnTo>
                  <a:lnTo>
                    <a:pt x="231" y="19"/>
                  </a:lnTo>
                  <a:lnTo>
                    <a:pt x="234" y="19"/>
                  </a:lnTo>
                  <a:lnTo>
                    <a:pt x="236" y="19"/>
                  </a:lnTo>
                  <a:lnTo>
                    <a:pt x="236" y="21"/>
                  </a:lnTo>
                  <a:lnTo>
                    <a:pt x="238" y="24"/>
                  </a:lnTo>
                  <a:lnTo>
                    <a:pt x="241" y="24"/>
                  </a:lnTo>
                  <a:lnTo>
                    <a:pt x="241" y="24"/>
                  </a:lnTo>
                  <a:lnTo>
                    <a:pt x="245" y="26"/>
                  </a:lnTo>
                  <a:lnTo>
                    <a:pt x="248" y="26"/>
                  </a:lnTo>
                  <a:lnTo>
                    <a:pt x="248" y="26"/>
                  </a:lnTo>
                  <a:lnTo>
                    <a:pt x="250" y="28"/>
                  </a:lnTo>
                  <a:lnTo>
                    <a:pt x="253" y="31"/>
                  </a:lnTo>
                  <a:lnTo>
                    <a:pt x="257" y="33"/>
                  </a:lnTo>
                  <a:lnTo>
                    <a:pt x="257" y="36"/>
                  </a:lnTo>
                  <a:lnTo>
                    <a:pt x="257" y="36"/>
                  </a:lnTo>
                  <a:lnTo>
                    <a:pt x="260" y="40"/>
                  </a:lnTo>
                  <a:lnTo>
                    <a:pt x="260" y="43"/>
                  </a:lnTo>
                  <a:lnTo>
                    <a:pt x="262" y="43"/>
                  </a:lnTo>
                  <a:lnTo>
                    <a:pt x="262" y="43"/>
                  </a:lnTo>
                  <a:lnTo>
                    <a:pt x="264" y="43"/>
                  </a:lnTo>
                  <a:lnTo>
                    <a:pt x="262" y="43"/>
                  </a:lnTo>
                  <a:lnTo>
                    <a:pt x="260" y="45"/>
                  </a:lnTo>
                  <a:lnTo>
                    <a:pt x="260" y="47"/>
                  </a:lnTo>
                  <a:lnTo>
                    <a:pt x="260" y="50"/>
                  </a:lnTo>
                  <a:lnTo>
                    <a:pt x="260" y="50"/>
                  </a:lnTo>
                  <a:lnTo>
                    <a:pt x="260" y="52"/>
                  </a:lnTo>
                  <a:lnTo>
                    <a:pt x="262" y="52"/>
                  </a:lnTo>
                  <a:lnTo>
                    <a:pt x="264" y="50"/>
                  </a:lnTo>
                  <a:lnTo>
                    <a:pt x="264" y="52"/>
                  </a:lnTo>
                  <a:lnTo>
                    <a:pt x="264" y="52"/>
                  </a:lnTo>
                  <a:lnTo>
                    <a:pt x="267" y="52"/>
                  </a:lnTo>
                  <a:lnTo>
                    <a:pt x="267" y="54"/>
                  </a:lnTo>
                  <a:lnTo>
                    <a:pt x="267" y="57"/>
                  </a:lnTo>
                  <a:lnTo>
                    <a:pt x="267" y="57"/>
                  </a:lnTo>
                  <a:lnTo>
                    <a:pt x="267" y="57"/>
                  </a:lnTo>
                  <a:lnTo>
                    <a:pt x="269" y="57"/>
                  </a:lnTo>
                  <a:lnTo>
                    <a:pt x="269" y="57"/>
                  </a:lnTo>
                  <a:lnTo>
                    <a:pt x="271" y="54"/>
                  </a:lnTo>
                  <a:lnTo>
                    <a:pt x="274" y="57"/>
                  </a:lnTo>
                  <a:lnTo>
                    <a:pt x="276" y="59"/>
                  </a:lnTo>
                  <a:lnTo>
                    <a:pt x="281" y="59"/>
                  </a:lnTo>
                  <a:lnTo>
                    <a:pt x="281" y="59"/>
                  </a:lnTo>
                  <a:lnTo>
                    <a:pt x="283" y="62"/>
                  </a:lnTo>
                  <a:lnTo>
                    <a:pt x="286" y="64"/>
                  </a:lnTo>
                  <a:lnTo>
                    <a:pt x="286" y="66"/>
                  </a:lnTo>
                  <a:lnTo>
                    <a:pt x="286" y="66"/>
                  </a:lnTo>
                  <a:lnTo>
                    <a:pt x="286" y="71"/>
                  </a:lnTo>
                  <a:lnTo>
                    <a:pt x="286" y="71"/>
                  </a:lnTo>
                  <a:lnTo>
                    <a:pt x="288" y="73"/>
                  </a:lnTo>
                  <a:lnTo>
                    <a:pt x="286" y="76"/>
                  </a:lnTo>
                  <a:lnTo>
                    <a:pt x="286" y="76"/>
                  </a:lnTo>
                  <a:lnTo>
                    <a:pt x="290" y="73"/>
                  </a:lnTo>
                  <a:lnTo>
                    <a:pt x="293" y="71"/>
                  </a:lnTo>
                  <a:lnTo>
                    <a:pt x="295" y="71"/>
                  </a:lnTo>
                  <a:lnTo>
                    <a:pt x="295" y="71"/>
                  </a:lnTo>
                  <a:lnTo>
                    <a:pt x="297" y="71"/>
                  </a:lnTo>
                  <a:lnTo>
                    <a:pt x="297" y="73"/>
                  </a:lnTo>
                  <a:lnTo>
                    <a:pt x="297" y="76"/>
                  </a:lnTo>
                  <a:lnTo>
                    <a:pt x="300" y="76"/>
                  </a:lnTo>
                  <a:lnTo>
                    <a:pt x="302" y="76"/>
                  </a:lnTo>
                  <a:lnTo>
                    <a:pt x="302" y="76"/>
                  </a:lnTo>
                  <a:lnTo>
                    <a:pt x="302" y="76"/>
                  </a:lnTo>
                  <a:lnTo>
                    <a:pt x="302" y="73"/>
                  </a:lnTo>
                  <a:lnTo>
                    <a:pt x="302" y="73"/>
                  </a:lnTo>
                  <a:lnTo>
                    <a:pt x="305" y="71"/>
                  </a:lnTo>
                  <a:lnTo>
                    <a:pt x="305" y="71"/>
                  </a:lnTo>
                  <a:lnTo>
                    <a:pt x="305" y="69"/>
                  </a:lnTo>
                  <a:lnTo>
                    <a:pt x="305" y="66"/>
                  </a:lnTo>
                  <a:lnTo>
                    <a:pt x="305" y="66"/>
                  </a:lnTo>
                  <a:lnTo>
                    <a:pt x="305" y="64"/>
                  </a:lnTo>
                  <a:lnTo>
                    <a:pt x="305" y="64"/>
                  </a:lnTo>
                  <a:lnTo>
                    <a:pt x="307" y="64"/>
                  </a:lnTo>
                  <a:lnTo>
                    <a:pt x="307" y="62"/>
                  </a:lnTo>
                  <a:lnTo>
                    <a:pt x="309" y="64"/>
                  </a:lnTo>
                  <a:lnTo>
                    <a:pt x="309" y="64"/>
                  </a:lnTo>
                  <a:lnTo>
                    <a:pt x="309" y="62"/>
                  </a:lnTo>
                  <a:lnTo>
                    <a:pt x="312" y="62"/>
                  </a:lnTo>
                  <a:lnTo>
                    <a:pt x="312" y="62"/>
                  </a:lnTo>
                  <a:lnTo>
                    <a:pt x="314" y="62"/>
                  </a:lnTo>
                  <a:lnTo>
                    <a:pt x="314" y="59"/>
                  </a:lnTo>
                  <a:lnTo>
                    <a:pt x="314" y="57"/>
                  </a:lnTo>
                  <a:lnTo>
                    <a:pt x="316" y="59"/>
                  </a:lnTo>
                  <a:lnTo>
                    <a:pt x="319" y="59"/>
                  </a:lnTo>
                  <a:lnTo>
                    <a:pt x="319" y="59"/>
                  </a:lnTo>
                  <a:lnTo>
                    <a:pt x="321" y="59"/>
                  </a:lnTo>
                  <a:lnTo>
                    <a:pt x="321" y="57"/>
                  </a:lnTo>
                  <a:lnTo>
                    <a:pt x="321" y="54"/>
                  </a:lnTo>
                  <a:lnTo>
                    <a:pt x="321" y="52"/>
                  </a:lnTo>
                  <a:lnTo>
                    <a:pt x="321" y="52"/>
                  </a:lnTo>
                  <a:lnTo>
                    <a:pt x="321" y="52"/>
                  </a:lnTo>
                  <a:lnTo>
                    <a:pt x="321" y="52"/>
                  </a:lnTo>
                  <a:lnTo>
                    <a:pt x="323" y="52"/>
                  </a:lnTo>
                  <a:lnTo>
                    <a:pt x="326" y="52"/>
                  </a:lnTo>
                  <a:lnTo>
                    <a:pt x="326" y="52"/>
                  </a:lnTo>
                  <a:lnTo>
                    <a:pt x="326" y="50"/>
                  </a:lnTo>
                  <a:lnTo>
                    <a:pt x="328" y="52"/>
                  </a:lnTo>
                  <a:lnTo>
                    <a:pt x="328" y="50"/>
                  </a:lnTo>
                  <a:lnTo>
                    <a:pt x="331" y="50"/>
                  </a:lnTo>
                  <a:lnTo>
                    <a:pt x="331" y="50"/>
                  </a:lnTo>
                  <a:lnTo>
                    <a:pt x="331" y="50"/>
                  </a:lnTo>
                  <a:lnTo>
                    <a:pt x="333" y="47"/>
                  </a:lnTo>
                  <a:lnTo>
                    <a:pt x="331" y="47"/>
                  </a:lnTo>
                  <a:lnTo>
                    <a:pt x="333" y="47"/>
                  </a:lnTo>
                  <a:lnTo>
                    <a:pt x="333" y="47"/>
                  </a:lnTo>
                  <a:lnTo>
                    <a:pt x="333" y="45"/>
                  </a:lnTo>
                  <a:lnTo>
                    <a:pt x="335" y="45"/>
                  </a:lnTo>
                  <a:lnTo>
                    <a:pt x="338" y="47"/>
                  </a:lnTo>
                  <a:lnTo>
                    <a:pt x="338" y="47"/>
                  </a:lnTo>
                  <a:lnTo>
                    <a:pt x="340" y="50"/>
                  </a:lnTo>
                  <a:lnTo>
                    <a:pt x="340" y="50"/>
                  </a:lnTo>
                  <a:lnTo>
                    <a:pt x="342" y="52"/>
                  </a:lnTo>
                  <a:lnTo>
                    <a:pt x="342" y="52"/>
                  </a:lnTo>
                  <a:lnTo>
                    <a:pt x="342" y="52"/>
                  </a:lnTo>
                  <a:lnTo>
                    <a:pt x="342" y="54"/>
                  </a:lnTo>
                  <a:lnTo>
                    <a:pt x="347" y="54"/>
                  </a:lnTo>
                  <a:lnTo>
                    <a:pt x="347" y="57"/>
                  </a:lnTo>
                  <a:lnTo>
                    <a:pt x="347" y="57"/>
                  </a:lnTo>
                  <a:lnTo>
                    <a:pt x="347" y="59"/>
                  </a:lnTo>
                  <a:lnTo>
                    <a:pt x="347" y="62"/>
                  </a:lnTo>
                  <a:lnTo>
                    <a:pt x="349" y="62"/>
                  </a:lnTo>
                  <a:lnTo>
                    <a:pt x="349" y="64"/>
                  </a:lnTo>
                  <a:lnTo>
                    <a:pt x="352" y="64"/>
                  </a:lnTo>
                  <a:lnTo>
                    <a:pt x="352" y="62"/>
                  </a:lnTo>
                  <a:lnTo>
                    <a:pt x="352" y="64"/>
                  </a:lnTo>
                  <a:lnTo>
                    <a:pt x="352" y="62"/>
                  </a:lnTo>
                  <a:lnTo>
                    <a:pt x="354" y="64"/>
                  </a:lnTo>
                  <a:lnTo>
                    <a:pt x="357" y="62"/>
                  </a:lnTo>
                  <a:lnTo>
                    <a:pt x="359" y="64"/>
                  </a:lnTo>
                  <a:lnTo>
                    <a:pt x="359" y="62"/>
                  </a:lnTo>
                  <a:lnTo>
                    <a:pt x="364" y="62"/>
                  </a:lnTo>
                  <a:lnTo>
                    <a:pt x="364" y="62"/>
                  </a:lnTo>
                  <a:lnTo>
                    <a:pt x="364" y="59"/>
                  </a:lnTo>
                  <a:lnTo>
                    <a:pt x="366" y="59"/>
                  </a:lnTo>
                  <a:lnTo>
                    <a:pt x="368" y="59"/>
                  </a:lnTo>
                  <a:lnTo>
                    <a:pt x="371" y="59"/>
                  </a:lnTo>
                  <a:lnTo>
                    <a:pt x="371" y="59"/>
                  </a:lnTo>
                  <a:lnTo>
                    <a:pt x="373" y="59"/>
                  </a:lnTo>
                  <a:lnTo>
                    <a:pt x="373" y="59"/>
                  </a:lnTo>
                  <a:lnTo>
                    <a:pt x="375" y="59"/>
                  </a:lnTo>
                  <a:lnTo>
                    <a:pt x="373" y="57"/>
                  </a:lnTo>
                  <a:lnTo>
                    <a:pt x="378" y="57"/>
                  </a:lnTo>
                  <a:lnTo>
                    <a:pt x="378" y="57"/>
                  </a:lnTo>
                  <a:lnTo>
                    <a:pt x="378" y="54"/>
                  </a:lnTo>
                  <a:lnTo>
                    <a:pt x="378" y="54"/>
                  </a:lnTo>
                  <a:lnTo>
                    <a:pt x="380" y="52"/>
                  </a:lnTo>
                  <a:lnTo>
                    <a:pt x="383" y="57"/>
                  </a:lnTo>
                  <a:lnTo>
                    <a:pt x="383" y="54"/>
                  </a:lnTo>
                  <a:lnTo>
                    <a:pt x="383" y="57"/>
                  </a:lnTo>
                  <a:lnTo>
                    <a:pt x="385" y="54"/>
                  </a:lnTo>
                  <a:lnTo>
                    <a:pt x="385" y="57"/>
                  </a:lnTo>
                  <a:lnTo>
                    <a:pt x="385" y="57"/>
                  </a:lnTo>
                  <a:lnTo>
                    <a:pt x="385" y="59"/>
                  </a:lnTo>
                  <a:lnTo>
                    <a:pt x="385" y="59"/>
                  </a:lnTo>
                  <a:lnTo>
                    <a:pt x="385" y="59"/>
                  </a:lnTo>
                  <a:lnTo>
                    <a:pt x="385" y="62"/>
                  </a:lnTo>
                  <a:lnTo>
                    <a:pt x="387" y="62"/>
                  </a:lnTo>
                  <a:lnTo>
                    <a:pt x="385" y="64"/>
                  </a:lnTo>
                  <a:lnTo>
                    <a:pt x="387" y="64"/>
                  </a:lnTo>
                  <a:lnTo>
                    <a:pt x="387" y="66"/>
                  </a:lnTo>
                  <a:lnTo>
                    <a:pt x="387" y="66"/>
                  </a:lnTo>
                  <a:lnTo>
                    <a:pt x="387" y="69"/>
                  </a:lnTo>
                  <a:lnTo>
                    <a:pt x="387" y="71"/>
                  </a:lnTo>
                  <a:lnTo>
                    <a:pt x="390" y="73"/>
                  </a:lnTo>
                  <a:lnTo>
                    <a:pt x="390" y="73"/>
                  </a:lnTo>
                  <a:lnTo>
                    <a:pt x="392" y="73"/>
                  </a:lnTo>
                  <a:lnTo>
                    <a:pt x="392" y="73"/>
                  </a:lnTo>
                  <a:lnTo>
                    <a:pt x="394" y="73"/>
                  </a:lnTo>
                  <a:lnTo>
                    <a:pt x="394" y="71"/>
                  </a:lnTo>
                  <a:lnTo>
                    <a:pt x="397" y="71"/>
                  </a:lnTo>
                  <a:lnTo>
                    <a:pt x="397" y="71"/>
                  </a:lnTo>
                  <a:lnTo>
                    <a:pt x="399" y="71"/>
                  </a:lnTo>
                  <a:lnTo>
                    <a:pt x="401" y="69"/>
                  </a:lnTo>
                  <a:lnTo>
                    <a:pt x="404" y="69"/>
                  </a:lnTo>
                  <a:lnTo>
                    <a:pt x="404" y="66"/>
                  </a:lnTo>
                  <a:lnTo>
                    <a:pt x="406" y="66"/>
                  </a:lnTo>
                  <a:lnTo>
                    <a:pt x="406" y="66"/>
                  </a:lnTo>
                  <a:lnTo>
                    <a:pt x="408" y="69"/>
                  </a:lnTo>
                  <a:lnTo>
                    <a:pt x="408" y="69"/>
                  </a:lnTo>
                  <a:lnTo>
                    <a:pt x="411" y="71"/>
                  </a:lnTo>
                  <a:lnTo>
                    <a:pt x="411" y="71"/>
                  </a:lnTo>
                  <a:lnTo>
                    <a:pt x="411" y="71"/>
                  </a:lnTo>
                  <a:lnTo>
                    <a:pt x="416" y="73"/>
                  </a:lnTo>
                  <a:lnTo>
                    <a:pt x="416" y="71"/>
                  </a:lnTo>
                  <a:lnTo>
                    <a:pt x="416" y="71"/>
                  </a:lnTo>
                  <a:lnTo>
                    <a:pt x="416" y="69"/>
                  </a:lnTo>
                  <a:lnTo>
                    <a:pt x="416" y="69"/>
                  </a:lnTo>
                  <a:lnTo>
                    <a:pt x="416" y="66"/>
                  </a:lnTo>
                  <a:lnTo>
                    <a:pt x="416" y="66"/>
                  </a:lnTo>
                  <a:lnTo>
                    <a:pt x="420" y="62"/>
                  </a:lnTo>
                  <a:lnTo>
                    <a:pt x="423" y="64"/>
                  </a:lnTo>
                  <a:lnTo>
                    <a:pt x="425" y="64"/>
                  </a:lnTo>
                  <a:lnTo>
                    <a:pt x="425" y="66"/>
                  </a:lnTo>
                  <a:lnTo>
                    <a:pt x="425" y="66"/>
                  </a:lnTo>
                  <a:lnTo>
                    <a:pt x="425" y="66"/>
                  </a:lnTo>
                  <a:lnTo>
                    <a:pt x="427" y="66"/>
                  </a:lnTo>
                  <a:lnTo>
                    <a:pt x="430" y="66"/>
                  </a:lnTo>
                  <a:lnTo>
                    <a:pt x="430" y="66"/>
                  </a:lnTo>
                  <a:lnTo>
                    <a:pt x="430" y="64"/>
                  </a:lnTo>
                  <a:lnTo>
                    <a:pt x="432" y="64"/>
                  </a:lnTo>
                  <a:lnTo>
                    <a:pt x="432" y="62"/>
                  </a:lnTo>
                  <a:lnTo>
                    <a:pt x="434" y="59"/>
                  </a:lnTo>
                  <a:lnTo>
                    <a:pt x="434" y="57"/>
                  </a:lnTo>
                  <a:lnTo>
                    <a:pt x="437" y="57"/>
                  </a:lnTo>
                  <a:lnTo>
                    <a:pt x="439" y="57"/>
                  </a:lnTo>
                  <a:lnTo>
                    <a:pt x="439" y="57"/>
                  </a:lnTo>
                  <a:lnTo>
                    <a:pt x="439" y="57"/>
                  </a:lnTo>
                  <a:lnTo>
                    <a:pt x="437" y="57"/>
                  </a:lnTo>
                  <a:lnTo>
                    <a:pt x="439" y="54"/>
                  </a:lnTo>
                  <a:lnTo>
                    <a:pt x="439" y="54"/>
                  </a:lnTo>
                  <a:lnTo>
                    <a:pt x="442" y="50"/>
                  </a:lnTo>
                  <a:lnTo>
                    <a:pt x="444" y="50"/>
                  </a:lnTo>
                  <a:lnTo>
                    <a:pt x="444" y="50"/>
                  </a:lnTo>
                  <a:lnTo>
                    <a:pt x="449" y="50"/>
                  </a:lnTo>
                  <a:lnTo>
                    <a:pt x="451" y="47"/>
                  </a:lnTo>
                  <a:lnTo>
                    <a:pt x="451" y="47"/>
                  </a:lnTo>
                  <a:lnTo>
                    <a:pt x="453" y="47"/>
                  </a:lnTo>
                  <a:lnTo>
                    <a:pt x="453" y="47"/>
                  </a:lnTo>
                  <a:lnTo>
                    <a:pt x="453" y="50"/>
                  </a:lnTo>
                  <a:lnTo>
                    <a:pt x="456" y="50"/>
                  </a:lnTo>
                  <a:lnTo>
                    <a:pt x="456" y="50"/>
                  </a:lnTo>
                  <a:lnTo>
                    <a:pt x="456" y="52"/>
                  </a:lnTo>
                  <a:lnTo>
                    <a:pt x="456" y="52"/>
                  </a:lnTo>
                  <a:lnTo>
                    <a:pt x="458" y="50"/>
                  </a:lnTo>
                  <a:lnTo>
                    <a:pt x="458" y="50"/>
                  </a:lnTo>
                  <a:lnTo>
                    <a:pt x="458" y="47"/>
                  </a:lnTo>
                  <a:lnTo>
                    <a:pt x="456" y="47"/>
                  </a:lnTo>
                  <a:lnTo>
                    <a:pt x="456" y="47"/>
                  </a:lnTo>
                  <a:lnTo>
                    <a:pt x="456" y="45"/>
                  </a:lnTo>
                  <a:lnTo>
                    <a:pt x="458" y="45"/>
                  </a:lnTo>
                  <a:lnTo>
                    <a:pt x="458" y="43"/>
                  </a:lnTo>
                  <a:lnTo>
                    <a:pt x="458" y="43"/>
                  </a:lnTo>
                  <a:lnTo>
                    <a:pt x="460" y="40"/>
                  </a:lnTo>
                  <a:lnTo>
                    <a:pt x="460" y="40"/>
                  </a:lnTo>
                  <a:lnTo>
                    <a:pt x="463" y="40"/>
                  </a:lnTo>
                  <a:lnTo>
                    <a:pt x="463" y="38"/>
                  </a:lnTo>
                  <a:lnTo>
                    <a:pt x="463" y="38"/>
                  </a:lnTo>
                  <a:lnTo>
                    <a:pt x="465" y="36"/>
                  </a:lnTo>
                  <a:lnTo>
                    <a:pt x="465" y="33"/>
                  </a:lnTo>
                  <a:lnTo>
                    <a:pt x="468" y="33"/>
                  </a:lnTo>
                  <a:lnTo>
                    <a:pt x="470" y="33"/>
                  </a:lnTo>
                  <a:lnTo>
                    <a:pt x="470" y="33"/>
                  </a:lnTo>
                  <a:lnTo>
                    <a:pt x="472" y="33"/>
                  </a:lnTo>
                  <a:lnTo>
                    <a:pt x="475" y="33"/>
                  </a:lnTo>
                  <a:lnTo>
                    <a:pt x="475" y="33"/>
                  </a:lnTo>
                  <a:lnTo>
                    <a:pt x="475" y="31"/>
                  </a:lnTo>
                  <a:lnTo>
                    <a:pt x="477" y="31"/>
                  </a:lnTo>
                  <a:lnTo>
                    <a:pt x="479" y="28"/>
                  </a:lnTo>
                  <a:lnTo>
                    <a:pt x="482" y="28"/>
                  </a:lnTo>
                  <a:lnTo>
                    <a:pt x="484" y="26"/>
                  </a:lnTo>
                  <a:lnTo>
                    <a:pt x="484" y="26"/>
                  </a:lnTo>
                  <a:lnTo>
                    <a:pt x="484" y="24"/>
                  </a:lnTo>
                  <a:lnTo>
                    <a:pt x="486" y="21"/>
                  </a:lnTo>
                  <a:lnTo>
                    <a:pt x="486" y="21"/>
                  </a:lnTo>
                  <a:lnTo>
                    <a:pt x="486" y="21"/>
                  </a:lnTo>
                  <a:lnTo>
                    <a:pt x="486" y="19"/>
                  </a:lnTo>
                  <a:lnTo>
                    <a:pt x="489" y="19"/>
                  </a:lnTo>
                  <a:lnTo>
                    <a:pt x="489" y="17"/>
                  </a:lnTo>
                  <a:lnTo>
                    <a:pt x="489" y="17"/>
                  </a:lnTo>
                  <a:lnTo>
                    <a:pt x="489" y="14"/>
                  </a:lnTo>
                  <a:lnTo>
                    <a:pt x="489" y="12"/>
                  </a:lnTo>
                  <a:lnTo>
                    <a:pt x="489" y="12"/>
                  </a:lnTo>
                  <a:lnTo>
                    <a:pt x="494" y="12"/>
                  </a:lnTo>
                  <a:lnTo>
                    <a:pt x="496" y="12"/>
                  </a:lnTo>
                  <a:lnTo>
                    <a:pt x="496" y="12"/>
                  </a:lnTo>
                  <a:lnTo>
                    <a:pt x="498" y="12"/>
                  </a:lnTo>
                  <a:lnTo>
                    <a:pt x="498" y="12"/>
                  </a:lnTo>
                  <a:lnTo>
                    <a:pt x="501" y="12"/>
                  </a:lnTo>
                  <a:lnTo>
                    <a:pt x="503" y="12"/>
                  </a:lnTo>
                  <a:lnTo>
                    <a:pt x="508" y="7"/>
                  </a:lnTo>
                  <a:lnTo>
                    <a:pt x="508" y="7"/>
                  </a:lnTo>
                  <a:lnTo>
                    <a:pt x="508" y="5"/>
                  </a:lnTo>
                  <a:lnTo>
                    <a:pt x="510" y="2"/>
                  </a:lnTo>
                  <a:lnTo>
                    <a:pt x="512" y="2"/>
                  </a:lnTo>
                  <a:lnTo>
                    <a:pt x="512" y="2"/>
                  </a:lnTo>
                  <a:lnTo>
                    <a:pt x="515" y="2"/>
                  </a:lnTo>
                  <a:lnTo>
                    <a:pt x="517" y="0"/>
                  </a:lnTo>
                  <a:lnTo>
                    <a:pt x="520" y="0"/>
                  </a:lnTo>
                  <a:lnTo>
                    <a:pt x="520" y="0"/>
                  </a:lnTo>
                  <a:lnTo>
                    <a:pt x="522" y="0"/>
                  </a:lnTo>
                  <a:lnTo>
                    <a:pt x="524" y="2"/>
                  </a:lnTo>
                  <a:lnTo>
                    <a:pt x="527" y="2"/>
                  </a:lnTo>
                  <a:lnTo>
                    <a:pt x="529" y="5"/>
                  </a:lnTo>
                  <a:lnTo>
                    <a:pt x="531" y="7"/>
                  </a:lnTo>
                  <a:lnTo>
                    <a:pt x="531" y="7"/>
                  </a:lnTo>
                  <a:lnTo>
                    <a:pt x="531" y="7"/>
                  </a:lnTo>
                  <a:lnTo>
                    <a:pt x="534" y="7"/>
                  </a:lnTo>
                  <a:lnTo>
                    <a:pt x="534" y="10"/>
                  </a:lnTo>
                  <a:lnTo>
                    <a:pt x="536" y="10"/>
                  </a:lnTo>
                  <a:lnTo>
                    <a:pt x="536" y="10"/>
                  </a:lnTo>
                  <a:lnTo>
                    <a:pt x="538" y="12"/>
                  </a:lnTo>
                  <a:lnTo>
                    <a:pt x="541" y="12"/>
                  </a:lnTo>
                  <a:lnTo>
                    <a:pt x="543" y="12"/>
                  </a:lnTo>
                  <a:lnTo>
                    <a:pt x="543" y="12"/>
                  </a:lnTo>
                  <a:lnTo>
                    <a:pt x="543" y="14"/>
                  </a:lnTo>
                  <a:lnTo>
                    <a:pt x="546" y="14"/>
                  </a:lnTo>
                  <a:lnTo>
                    <a:pt x="546" y="14"/>
                  </a:lnTo>
                  <a:lnTo>
                    <a:pt x="546" y="14"/>
                  </a:lnTo>
                  <a:lnTo>
                    <a:pt x="548" y="14"/>
                  </a:lnTo>
                  <a:lnTo>
                    <a:pt x="550" y="17"/>
                  </a:lnTo>
                  <a:lnTo>
                    <a:pt x="548" y="19"/>
                  </a:lnTo>
                  <a:lnTo>
                    <a:pt x="550" y="19"/>
                  </a:lnTo>
                  <a:lnTo>
                    <a:pt x="550" y="21"/>
                  </a:lnTo>
                  <a:lnTo>
                    <a:pt x="550" y="21"/>
                  </a:lnTo>
                  <a:lnTo>
                    <a:pt x="550" y="24"/>
                  </a:lnTo>
                  <a:lnTo>
                    <a:pt x="550" y="24"/>
                  </a:lnTo>
                  <a:lnTo>
                    <a:pt x="553" y="24"/>
                  </a:lnTo>
                  <a:lnTo>
                    <a:pt x="553" y="26"/>
                  </a:lnTo>
                  <a:lnTo>
                    <a:pt x="553" y="26"/>
                  </a:lnTo>
                  <a:lnTo>
                    <a:pt x="553" y="26"/>
                  </a:lnTo>
                  <a:lnTo>
                    <a:pt x="553" y="28"/>
                  </a:lnTo>
                  <a:lnTo>
                    <a:pt x="553" y="28"/>
                  </a:lnTo>
                  <a:lnTo>
                    <a:pt x="550" y="28"/>
                  </a:lnTo>
                  <a:lnTo>
                    <a:pt x="548" y="28"/>
                  </a:lnTo>
                  <a:lnTo>
                    <a:pt x="548" y="31"/>
                  </a:lnTo>
                  <a:lnTo>
                    <a:pt x="546" y="31"/>
                  </a:lnTo>
                  <a:lnTo>
                    <a:pt x="543" y="33"/>
                  </a:lnTo>
                  <a:lnTo>
                    <a:pt x="541" y="33"/>
                  </a:lnTo>
                  <a:lnTo>
                    <a:pt x="538" y="33"/>
                  </a:lnTo>
                  <a:lnTo>
                    <a:pt x="536" y="33"/>
                  </a:lnTo>
                  <a:lnTo>
                    <a:pt x="534" y="38"/>
                  </a:lnTo>
                  <a:lnTo>
                    <a:pt x="531" y="38"/>
                  </a:lnTo>
                  <a:lnTo>
                    <a:pt x="531" y="40"/>
                  </a:lnTo>
                  <a:lnTo>
                    <a:pt x="529" y="43"/>
                  </a:lnTo>
                  <a:lnTo>
                    <a:pt x="529" y="45"/>
                  </a:lnTo>
                  <a:lnTo>
                    <a:pt x="527" y="47"/>
                  </a:lnTo>
                  <a:lnTo>
                    <a:pt x="527" y="47"/>
                  </a:lnTo>
                  <a:lnTo>
                    <a:pt x="527" y="47"/>
                  </a:lnTo>
                  <a:lnTo>
                    <a:pt x="527" y="50"/>
                  </a:lnTo>
                  <a:lnTo>
                    <a:pt x="529" y="52"/>
                  </a:lnTo>
                  <a:lnTo>
                    <a:pt x="529" y="52"/>
                  </a:lnTo>
                  <a:lnTo>
                    <a:pt x="529" y="52"/>
                  </a:lnTo>
                  <a:lnTo>
                    <a:pt x="531" y="54"/>
                  </a:lnTo>
                  <a:lnTo>
                    <a:pt x="531" y="57"/>
                  </a:lnTo>
                  <a:lnTo>
                    <a:pt x="534" y="57"/>
                  </a:lnTo>
                  <a:lnTo>
                    <a:pt x="534" y="59"/>
                  </a:lnTo>
                  <a:lnTo>
                    <a:pt x="534" y="62"/>
                  </a:lnTo>
                  <a:lnTo>
                    <a:pt x="531" y="66"/>
                  </a:lnTo>
                  <a:lnTo>
                    <a:pt x="531" y="66"/>
                  </a:lnTo>
                  <a:lnTo>
                    <a:pt x="534" y="66"/>
                  </a:lnTo>
                  <a:lnTo>
                    <a:pt x="531" y="69"/>
                  </a:lnTo>
                  <a:lnTo>
                    <a:pt x="531" y="69"/>
                  </a:lnTo>
                  <a:lnTo>
                    <a:pt x="531" y="69"/>
                  </a:lnTo>
                  <a:lnTo>
                    <a:pt x="531" y="69"/>
                  </a:lnTo>
                  <a:lnTo>
                    <a:pt x="529" y="69"/>
                  </a:lnTo>
                  <a:lnTo>
                    <a:pt x="529" y="69"/>
                  </a:lnTo>
                  <a:lnTo>
                    <a:pt x="527" y="69"/>
                  </a:lnTo>
                  <a:lnTo>
                    <a:pt x="527" y="69"/>
                  </a:lnTo>
                  <a:lnTo>
                    <a:pt x="524" y="71"/>
                  </a:lnTo>
                  <a:lnTo>
                    <a:pt x="524" y="69"/>
                  </a:lnTo>
                  <a:lnTo>
                    <a:pt x="522" y="71"/>
                  </a:lnTo>
                  <a:lnTo>
                    <a:pt x="522" y="71"/>
                  </a:lnTo>
                  <a:lnTo>
                    <a:pt x="522" y="71"/>
                  </a:lnTo>
                  <a:lnTo>
                    <a:pt x="524" y="71"/>
                  </a:lnTo>
                  <a:lnTo>
                    <a:pt x="524" y="76"/>
                  </a:lnTo>
                  <a:lnTo>
                    <a:pt x="522" y="76"/>
                  </a:lnTo>
                  <a:lnTo>
                    <a:pt x="520" y="76"/>
                  </a:lnTo>
                  <a:lnTo>
                    <a:pt x="522" y="78"/>
                  </a:lnTo>
                  <a:lnTo>
                    <a:pt x="522" y="78"/>
                  </a:lnTo>
                  <a:lnTo>
                    <a:pt x="515" y="83"/>
                  </a:lnTo>
                  <a:lnTo>
                    <a:pt x="512" y="83"/>
                  </a:lnTo>
                  <a:lnTo>
                    <a:pt x="512" y="83"/>
                  </a:lnTo>
                  <a:lnTo>
                    <a:pt x="512" y="83"/>
                  </a:lnTo>
                  <a:lnTo>
                    <a:pt x="512" y="85"/>
                  </a:lnTo>
                  <a:lnTo>
                    <a:pt x="512" y="85"/>
                  </a:lnTo>
                  <a:lnTo>
                    <a:pt x="512" y="85"/>
                  </a:lnTo>
                  <a:lnTo>
                    <a:pt x="512" y="85"/>
                  </a:lnTo>
                  <a:lnTo>
                    <a:pt x="512" y="85"/>
                  </a:lnTo>
                  <a:lnTo>
                    <a:pt x="512" y="88"/>
                  </a:lnTo>
                  <a:lnTo>
                    <a:pt x="512" y="88"/>
                  </a:lnTo>
                  <a:lnTo>
                    <a:pt x="512" y="88"/>
                  </a:lnTo>
                  <a:lnTo>
                    <a:pt x="508" y="88"/>
                  </a:lnTo>
                  <a:lnTo>
                    <a:pt x="508" y="88"/>
                  </a:lnTo>
                  <a:lnTo>
                    <a:pt x="508" y="90"/>
                  </a:lnTo>
                  <a:lnTo>
                    <a:pt x="508" y="92"/>
                  </a:lnTo>
                  <a:lnTo>
                    <a:pt x="508" y="92"/>
                  </a:lnTo>
                  <a:lnTo>
                    <a:pt x="508" y="92"/>
                  </a:lnTo>
                  <a:lnTo>
                    <a:pt x="512" y="90"/>
                  </a:lnTo>
                  <a:lnTo>
                    <a:pt x="512" y="90"/>
                  </a:lnTo>
                  <a:lnTo>
                    <a:pt x="515" y="90"/>
                  </a:lnTo>
                  <a:lnTo>
                    <a:pt x="517" y="92"/>
                  </a:lnTo>
                  <a:lnTo>
                    <a:pt x="517" y="90"/>
                  </a:lnTo>
                  <a:lnTo>
                    <a:pt x="522" y="90"/>
                  </a:lnTo>
                  <a:lnTo>
                    <a:pt x="522" y="92"/>
                  </a:lnTo>
                  <a:lnTo>
                    <a:pt x="522" y="90"/>
                  </a:lnTo>
                  <a:lnTo>
                    <a:pt x="522" y="92"/>
                  </a:lnTo>
                  <a:lnTo>
                    <a:pt x="524" y="92"/>
                  </a:lnTo>
                  <a:lnTo>
                    <a:pt x="524" y="90"/>
                  </a:lnTo>
                  <a:lnTo>
                    <a:pt x="527" y="90"/>
                  </a:lnTo>
                  <a:lnTo>
                    <a:pt x="527" y="90"/>
                  </a:lnTo>
                  <a:lnTo>
                    <a:pt x="527" y="92"/>
                  </a:lnTo>
                  <a:lnTo>
                    <a:pt x="529" y="95"/>
                  </a:lnTo>
                  <a:lnTo>
                    <a:pt x="529" y="95"/>
                  </a:lnTo>
                  <a:lnTo>
                    <a:pt x="529" y="95"/>
                  </a:lnTo>
                  <a:lnTo>
                    <a:pt x="531" y="95"/>
                  </a:lnTo>
                  <a:lnTo>
                    <a:pt x="531" y="95"/>
                  </a:lnTo>
                  <a:lnTo>
                    <a:pt x="534" y="97"/>
                  </a:lnTo>
                  <a:lnTo>
                    <a:pt x="534" y="97"/>
                  </a:lnTo>
                  <a:lnTo>
                    <a:pt x="534" y="99"/>
                  </a:lnTo>
                  <a:lnTo>
                    <a:pt x="531" y="102"/>
                  </a:lnTo>
                  <a:lnTo>
                    <a:pt x="531" y="104"/>
                  </a:lnTo>
                  <a:lnTo>
                    <a:pt x="534" y="106"/>
                  </a:lnTo>
                  <a:lnTo>
                    <a:pt x="534" y="109"/>
                  </a:lnTo>
                  <a:lnTo>
                    <a:pt x="534" y="111"/>
                  </a:lnTo>
                  <a:lnTo>
                    <a:pt x="534" y="111"/>
                  </a:lnTo>
                  <a:lnTo>
                    <a:pt x="534" y="111"/>
                  </a:lnTo>
                  <a:lnTo>
                    <a:pt x="531" y="114"/>
                  </a:lnTo>
                  <a:lnTo>
                    <a:pt x="534" y="116"/>
                  </a:lnTo>
                  <a:lnTo>
                    <a:pt x="531" y="116"/>
                  </a:lnTo>
                  <a:lnTo>
                    <a:pt x="531" y="116"/>
                  </a:lnTo>
                  <a:lnTo>
                    <a:pt x="531" y="118"/>
                  </a:lnTo>
                  <a:lnTo>
                    <a:pt x="534" y="118"/>
                  </a:lnTo>
                  <a:lnTo>
                    <a:pt x="536" y="118"/>
                  </a:lnTo>
                  <a:lnTo>
                    <a:pt x="536" y="121"/>
                  </a:lnTo>
                  <a:lnTo>
                    <a:pt x="536" y="121"/>
                  </a:lnTo>
                  <a:lnTo>
                    <a:pt x="536" y="123"/>
                  </a:lnTo>
                  <a:lnTo>
                    <a:pt x="541" y="125"/>
                  </a:lnTo>
                  <a:lnTo>
                    <a:pt x="541" y="130"/>
                  </a:lnTo>
                  <a:lnTo>
                    <a:pt x="546" y="130"/>
                  </a:lnTo>
                  <a:lnTo>
                    <a:pt x="548" y="130"/>
                  </a:lnTo>
                  <a:lnTo>
                    <a:pt x="550" y="132"/>
                  </a:lnTo>
                  <a:lnTo>
                    <a:pt x="553" y="135"/>
                  </a:lnTo>
                  <a:lnTo>
                    <a:pt x="555" y="135"/>
                  </a:lnTo>
                  <a:lnTo>
                    <a:pt x="557" y="135"/>
                  </a:lnTo>
                  <a:lnTo>
                    <a:pt x="557" y="135"/>
                  </a:lnTo>
                  <a:lnTo>
                    <a:pt x="560" y="132"/>
                  </a:lnTo>
                  <a:lnTo>
                    <a:pt x="560" y="132"/>
                  </a:lnTo>
                  <a:lnTo>
                    <a:pt x="562" y="130"/>
                  </a:lnTo>
                  <a:lnTo>
                    <a:pt x="564" y="128"/>
                  </a:lnTo>
                  <a:lnTo>
                    <a:pt x="564" y="125"/>
                  </a:lnTo>
                  <a:lnTo>
                    <a:pt x="567" y="125"/>
                  </a:lnTo>
                  <a:lnTo>
                    <a:pt x="569" y="125"/>
                  </a:lnTo>
                  <a:lnTo>
                    <a:pt x="576" y="123"/>
                  </a:lnTo>
                  <a:lnTo>
                    <a:pt x="576" y="121"/>
                  </a:lnTo>
                  <a:lnTo>
                    <a:pt x="579" y="121"/>
                  </a:lnTo>
                  <a:lnTo>
                    <a:pt x="581" y="121"/>
                  </a:lnTo>
                  <a:lnTo>
                    <a:pt x="581" y="121"/>
                  </a:lnTo>
                  <a:lnTo>
                    <a:pt x="583" y="121"/>
                  </a:lnTo>
                  <a:lnTo>
                    <a:pt x="583" y="118"/>
                  </a:lnTo>
                  <a:lnTo>
                    <a:pt x="586" y="118"/>
                  </a:lnTo>
                  <a:lnTo>
                    <a:pt x="588" y="118"/>
                  </a:lnTo>
                  <a:lnTo>
                    <a:pt x="588" y="116"/>
                  </a:lnTo>
                  <a:lnTo>
                    <a:pt x="588" y="116"/>
                  </a:lnTo>
                  <a:lnTo>
                    <a:pt x="588" y="116"/>
                  </a:lnTo>
                  <a:lnTo>
                    <a:pt x="588" y="116"/>
                  </a:lnTo>
                  <a:lnTo>
                    <a:pt x="588" y="116"/>
                  </a:lnTo>
                  <a:lnTo>
                    <a:pt x="590" y="116"/>
                  </a:lnTo>
                  <a:lnTo>
                    <a:pt x="590" y="114"/>
                  </a:lnTo>
                  <a:lnTo>
                    <a:pt x="590" y="114"/>
                  </a:lnTo>
                  <a:lnTo>
                    <a:pt x="595" y="111"/>
                  </a:lnTo>
                  <a:lnTo>
                    <a:pt x="597" y="111"/>
                  </a:lnTo>
                  <a:lnTo>
                    <a:pt x="600" y="111"/>
                  </a:lnTo>
                  <a:lnTo>
                    <a:pt x="600" y="109"/>
                  </a:lnTo>
                  <a:lnTo>
                    <a:pt x="597" y="106"/>
                  </a:lnTo>
                  <a:lnTo>
                    <a:pt x="597" y="106"/>
                  </a:lnTo>
                  <a:lnTo>
                    <a:pt x="597" y="106"/>
                  </a:lnTo>
                  <a:lnTo>
                    <a:pt x="595" y="106"/>
                  </a:lnTo>
                  <a:lnTo>
                    <a:pt x="595" y="104"/>
                  </a:lnTo>
                  <a:lnTo>
                    <a:pt x="597" y="104"/>
                  </a:lnTo>
                  <a:lnTo>
                    <a:pt x="600" y="102"/>
                  </a:lnTo>
                  <a:lnTo>
                    <a:pt x="600" y="97"/>
                  </a:lnTo>
                  <a:lnTo>
                    <a:pt x="600" y="95"/>
                  </a:lnTo>
                  <a:lnTo>
                    <a:pt x="600" y="92"/>
                  </a:lnTo>
                  <a:lnTo>
                    <a:pt x="600" y="90"/>
                  </a:lnTo>
                  <a:lnTo>
                    <a:pt x="600" y="88"/>
                  </a:lnTo>
                  <a:lnTo>
                    <a:pt x="605" y="90"/>
                  </a:lnTo>
                  <a:lnTo>
                    <a:pt x="605" y="90"/>
                  </a:lnTo>
                  <a:lnTo>
                    <a:pt x="607" y="90"/>
                  </a:lnTo>
                  <a:lnTo>
                    <a:pt x="605" y="88"/>
                  </a:lnTo>
                  <a:lnTo>
                    <a:pt x="607" y="88"/>
                  </a:lnTo>
                  <a:lnTo>
                    <a:pt x="605" y="85"/>
                  </a:lnTo>
                  <a:lnTo>
                    <a:pt x="607" y="83"/>
                  </a:lnTo>
                  <a:lnTo>
                    <a:pt x="607" y="83"/>
                  </a:lnTo>
                  <a:lnTo>
                    <a:pt x="609" y="80"/>
                  </a:lnTo>
                  <a:lnTo>
                    <a:pt x="609" y="83"/>
                  </a:lnTo>
                  <a:lnTo>
                    <a:pt x="616" y="85"/>
                  </a:lnTo>
                  <a:lnTo>
                    <a:pt x="616" y="85"/>
                  </a:lnTo>
                  <a:lnTo>
                    <a:pt x="619" y="85"/>
                  </a:lnTo>
                  <a:lnTo>
                    <a:pt x="621" y="85"/>
                  </a:lnTo>
                  <a:lnTo>
                    <a:pt x="623" y="85"/>
                  </a:lnTo>
                  <a:lnTo>
                    <a:pt x="623" y="83"/>
                  </a:lnTo>
                  <a:lnTo>
                    <a:pt x="623" y="80"/>
                  </a:lnTo>
                  <a:lnTo>
                    <a:pt x="623" y="80"/>
                  </a:lnTo>
                  <a:lnTo>
                    <a:pt x="623" y="80"/>
                  </a:lnTo>
                  <a:lnTo>
                    <a:pt x="623" y="78"/>
                  </a:lnTo>
                  <a:lnTo>
                    <a:pt x="623" y="78"/>
                  </a:lnTo>
                  <a:lnTo>
                    <a:pt x="623" y="73"/>
                  </a:lnTo>
                  <a:lnTo>
                    <a:pt x="623" y="71"/>
                  </a:lnTo>
                  <a:lnTo>
                    <a:pt x="626" y="71"/>
                  </a:lnTo>
                  <a:lnTo>
                    <a:pt x="626" y="71"/>
                  </a:lnTo>
                  <a:lnTo>
                    <a:pt x="628" y="71"/>
                  </a:lnTo>
                  <a:lnTo>
                    <a:pt x="631" y="71"/>
                  </a:lnTo>
                  <a:lnTo>
                    <a:pt x="633" y="69"/>
                  </a:lnTo>
                  <a:lnTo>
                    <a:pt x="633" y="71"/>
                  </a:lnTo>
                  <a:lnTo>
                    <a:pt x="640" y="71"/>
                  </a:lnTo>
                  <a:lnTo>
                    <a:pt x="642" y="71"/>
                  </a:lnTo>
                  <a:lnTo>
                    <a:pt x="642" y="71"/>
                  </a:lnTo>
                  <a:lnTo>
                    <a:pt x="645" y="73"/>
                  </a:lnTo>
                  <a:lnTo>
                    <a:pt x="645" y="73"/>
                  </a:lnTo>
                  <a:lnTo>
                    <a:pt x="647" y="73"/>
                  </a:lnTo>
                  <a:lnTo>
                    <a:pt x="649" y="71"/>
                  </a:lnTo>
                  <a:lnTo>
                    <a:pt x="649" y="71"/>
                  </a:lnTo>
                  <a:lnTo>
                    <a:pt x="647" y="69"/>
                  </a:lnTo>
                  <a:lnTo>
                    <a:pt x="647" y="69"/>
                  </a:lnTo>
                  <a:lnTo>
                    <a:pt x="647" y="69"/>
                  </a:lnTo>
                  <a:lnTo>
                    <a:pt x="652" y="64"/>
                  </a:lnTo>
                  <a:lnTo>
                    <a:pt x="652" y="66"/>
                  </a:lnTo>
                  <a:lnTo>
                    <a:pt x="654" y="69"/>
                  </a:lnTo>
                  <a:lnTo>
                    <a:pt x="657" y="66"/>
                  </a:lnTo>
                  <a:lnTo>
                    <a:pt x="661" y="66"/>
                  </a:lnTo>
                  <a:lnTo>
                    <a:pt x="664" y="66"/>
                  </a:lnTo>
                  <a:lnTo>
                    <a:pt x="664" y="66"/>
                  </a:lnTo>
                  <a:lnTo>
                    <a:pt x="666" y="66"/>
                  </a:lnTo>
                  <a:lnTo>
                    <a:pt x="671" y="66"/>
                  </a:lnTo>
                  <a:lnTo>
                    <a:pt x="673" y="69"/>
                  </a:lnTo>
                  <a:lnTo>
                    <a:pt x="673" y="69"/>
                  </a:lnTo>
                  <a:lnTo>
                    <a:pt x="673" y="69"/>
                  </a:lnTo>
                  <a:lnTo>
                    <a:pt x="675" y="71"/>
                  </a:lnTo>
                  <a:lnTo>
                    <a:pt x="678" y="71"/>
                  </a:lnTo>
                  <a:lnTo>
                    <a:pt x="680" y="71"/>
                  </a:lnTo>
                  <a:lnTo>
                    <a:pt x="680" y="69"/>
                  </a:lnTo>
                  <a:lnTo>
                    <a:pt x="680" y="69"/>
                  </a:lnTo>
                  <a:lnTo>
                    <a:pt x="683" y="69"/>
                  </a:lnTo>
                  <a:lnTo>
                    <a:pt x="685" y="69"/>
                  </a:lnTo>
                  <a:lnTo>
                    <a:pt x="687" y="69"/>
                  </a:lnTo>
                  <a:lnTo>
                    <a:pt x="687" y="66"/>
                  </a:lnTo>
                  <a:lnTo>
                    <a:pt x="692" y="69"/>
                  </a:lnTo>
                  <a:lnTo>
                    <a:pt x="694" y="66"/>
                  </a:lnTo>
                  <a:lnTo>
                    <a:pt x="694" y="64"/>
                  </a:lnTo>
                  <a:lnTo>
                    <a:pt x="694" y="64"/>
                  </a:lnTo>
                  <a:lnTo>
                    <a:pt x="694" y="62"/>
                  </a:lnTo>
                  <a:lnTo>
                    <a:pt x="697" y="62"/>
                  </a:lnTo>
                  <a:lnTo>
                    <a:pt x="699" y="62"/>
                  </a:lnTo>
                  <a:lnTo>
                    <a:pt x="701" y="62"/>
                  </a:lnTo>
                  <a:lnTo>
                    <a:pt x="701" y="62"/>
                  </a:lnTo>
                  <a:lnTo>
                    <a:pt x="704" y="62"/>
                  </a:lnTo>
                  <a:lnTo>
                    <a:pt x="706" y="62"/>
                  </a:lnTo>
                  <a:lnTo>
                    <a:pt x="706" y="62"/>
                  </a:lnTo>
                  <a:lnTo>
                    <a:pt x="709" y="59"/>
                  </a:lnTo>
                  <a:lnTo>
                    <a:pt x="711" y="59"/>
                  </a:lnTo>
                  <a:lnTo>
                    <a:pt x="711" y="59"/>
                  </a:lnTo>
                  <a:lnTo>
                    <a:pt x="711" y="57"/>
                  </a:lnTo>
                  <a:lnTo>
                    <a:pt x="713" y="57"/>
                  </a:lnTo>
                  <a:lnTo>
                    <a:pt x="716" y="57"/>
                  </a:lnTo>
                  <a:lnTo>
                    <a:pt x="716" y="57"/>
                  </a:lnTo>
                  <a:lnTo>
                    <a:pt x="716" y="57"/>
                  </a:lnTo>
                  <a:lnTo>
                    <a:pt x="718" y="54"/>
                  </a:lnTo>
                  <a:lnTo>
                    <a:pt x="718" y="57"/>
                  </a:lnTo>
                  <a:lnTo>
                    <a:pt x="718" y="57"/>
                  </a:lnTo>
                  <a:lnTo>
                    <a:pt x="720" y="57"/>
                  </a:lnTo>
                  <a:lnTo>
                    <a:pt x="723" y="57"/>
                  </a:lnTo>
                  <a:lnTo>
                    <a:pt x="723" y="57"/>
                  </a:lnTo>
                  <a:lnTo>
                    <a:pt x="725" y="54"/>
                  </a:lnTo>
                  <a:lnTo>
                    <a:pt x="725" y="52"/>
                  </a:lnTo>
                  <a:lnTo>
                    <a:pt x="727" y="52"/>
                  </a:lnTo>
                  <a:lnTo>
                    <a:pt x="727" y="50"/>
                  </a:lnTo>
                  <a:lnTo>
                    <a:pt x="727" y="50"/>
                  </a:lnTo>
                  <a:lnTo>
                    <a:pt x="730" y="50"/>
                  </a:lnTo>
                  <a:lnTo>
                    <a:pt x="732" y="50"/>
                  </a:lnTo>
                  <a:lnTo>
                    <a:pt x="732" y="50"/>
                  </a:lnTo>
                  <a:lnTo>
                    <a:pt x="734" y="50"/>
                  </a:lnTo>
                  <a:lnTo>
                    <a:pt x="737" y="50"/>
                  </a:lnTo>
                  <a:lnTo>
                    <a:pt x="739" y="50"/>
                  </a:lnTo>
                  <a:lnTo>
                    <a:pt x="742" y="50"/>
                  </a:lnTo>
                  <a:lnTo>
                    <a:pt x="737" y="45"/>
                  </a:lnTo>
                  <a:lnTo>
                    <a:pt x="739" y="43"/>
                  </a:lnTo>
                  <a:lnTo>
                    <a:pt x="739" y="43"/>
                  </a:lnTo>
                  <a:lnTo>
                    <a:pt x="739" y="43"/>
                  </a:lnTo>
                  <a:lnTo>
                    <a:pt x="742" y="40"/>
                  </a:lnTo>
                  <a:lnTo>
                    <a:pt x="739" y="43"/>
                  </a:lnTo>
                  <a:lnTo>
                    <a:pt x="737" y="40"/>
                  </a:lnTo>
                  <a:lnTo>
                    <a:pt x="737" y="40"/>
                  </a:lnTo>
                  <a:lnTo>
                    <a:pt x="739" y="40"/>
                  </a:lnTo>
                  <a:lnTo>
                    <a:pt x="739" y="38"/>
                  </a:lnTo>
                  <a:lnTo>
                    <a:pt x="739" y="33"/>
                  </a:lnTo>
                  <a:lnTo>
                    <a:pt x="742" y="33"/>
                  </a:lnTo>
                  <a:lnTo>
                    <a:pt x="742" y="33"/>
                  </a:lnTo>
                  <a:lnTo>
                    <a:pt x="742" y="31"/>
                  </a:lnTo>
                  <a:lnTo>
                    <a:pt x="742" y="31"/>
                  </a:lnTo>
                  <a:lnTo>
                    <a:pt x="742" y="28"/>
                  </a:lnTo>
                  <a:lnTo>
                    <a:pt x="742" y="24"/>
                  </a:lnTo>
                  <a:lnTo>
                    <a:pt x="744" y="24"/>
                  </a:lnTo>
                  <a:lnTo>
                    <a:pt x="749" y="24"/>
                  </a:lnTo>
                  <a:lnTo>
                    <a:pt x="751" y="24"/>
                  </a:lnTo>
                  <a:lnTo>
                    <a:pt x="751" y="26"/>
                  </a:lnTo>
                  <a:lnTo>
                    <a:pt x="753" y="26"/>
                  </a:lnTo>
                  <a:lnTo>
                    <a:pt x="753" y="26"/>
                  </a:lnTo>
                  <a:lnTo>
                    <a:pt x="753" y="24"/>
                  </a:lnTo>
                  <a:lnTo>
                    <a:pt x="758" y="24"/>
                  </a:lnTo>
                  <a:lnTo>
                    <a:pt x="758" y="21"/>
                  </a:lnTo>
                  <a:lnTo>
                    <a:pt x="760" y="21"/>
                  </a:lnTo>
                  <a:lnTo>
                    <a:pt x="760" y="21"/>
                  </a:lnTo>
                  <a:lnTo>
                    <a:pt x="760" y="21"/>
                  </a:lnTo>
                  <a:lnTo>
                    <a:pt x="760" y="19"/>
                  </a:lnTo>
                  <a:lnTo>
                    <a:pt x="763" y="19"/>
                  </a:lnTo>
                  <a:lnTo>
                    <a:pt x="763" y="19"/>
                  </a:lnTo>
                  <a:lnTo>
                    <a:pt x="763" y="19"/>
                  </a:lnTo>
                  <a:lnTo>
                    <a:pt x="763" y="19"/>
                  </a:lnTo>
                  <a:lnTo>
                    <a:pt x="765" y="19"/>
                  </a:lnTo>
                  <a:lnTo>
                    <a:pt x="765" y="19"/>
                  </a:lnTo>
                  <a:lnTo>
                    <a:pt x="765" y="19"/>
                  </a:lnTo>
                  <a:lnTo>
                    <a:pt x="768" y="19"/>
                  </a:lnTo>
                  <a:lnTo>
                    <a:pt x="770" y="14"/>
                  </a:lnTo>
                  <a:lnTo>
                    <a:pt x="775" y="14"/>
                  </a:lnTo>
                  <a:lnTo>
                    <a:pt x="777" y="14"/>
                  </a:lnTo>
                  <a:lnTo>
                    <a:pt x="779" y="14"/>
                  </a:lnTo>
                  <a:lnTo>
                    <a:pt x="782" y="17"/>
                  </a:lnTo>
                  <a:lnTo>
                    <a:pt x="782" y="17"/>
                  </a:lnTo>
                  <a:lnTo>
                    <a:pt x="784" y="14"/>
                  </a:lnTo>
                  <a:lnTo>
                    <a:pt x="786" y="17"/>
                  </a:lnTo>
                  <a:lnTo>
                    <a:pt x="786" y="17"/>
                  </a:lnTo>
                  <a:lnTo>
                    <a:pt x="789" y="17"/>
                  </a:lnTo>
                  <a:lnTo>
                    <a:pt x="791" y="17"/>
                  </a:lnTo>
                  <a:lnTo>
                    <a:pt x="794" y="19"/>
                  </a:lnTo>
                  <a:lnTo>
                    <a:pt x="796" y="17"/>
                  </a:lnTo>
                  <a:lnTo>
                    <a:pt x="796" y="17"/>
                  </a:lnTo>
                  <a:lnTo>
                    <a:pt x="796" y="17"/>
                  </a:lnTo>
                  <a:lnTo>
                    <a:pt x="798" y="17"/>
                  </a:lnTo>
                  <a:lnTo>
                    <a:pt x="801" y="19"/>
                  </a:lnTo>
                  <a:lnTo>
                    <a:pt x="801" y="21"/>
                  </a:lnTo>
                  <a:lnTo>
                    <a:pt x="805" y="24"/>
                  </a:lnTo>
                  <a:lnTo>
                    <a:pt x="808" y="24"/>
                  </a:lnTo>
                  <a:lnTo>
                    <a:pt x="808" y="26"/>
                  </a:lnTo>
                  <a:lnTo>
                    <a:pt x="808" y="28"/>
                  </a:lnTo>
                  <a:lnTo>
                    <a:pt x="808" y="31"/>
                  </a:lnTo>
                  <a:lnTo>
                    <a:pt x="808" y="31"/>
                  </a:lnTo>
                  <a:lnTo>
                    <a:pt x="810" y="33"/>
                  </a:lnTo>
                  <a:lnTo>
                    <a:pt x="810" y="36"/>
                  </a:lnTo>
                  <a:lnTo>
                    <a:pt x="812" y="36"/>
                  </a:lnTo>
                  <a:lnTo>
                    <a:pt x="815" y="33"/>
                  </a:lnTo>
                  <a:lnTo>
                    <a:pt x="815" y="33"/>
                  </a:lnTo>
                  <a:lnTo>
                    <a:pt x="817" y="36"/>
                  </a:lnTo>
                  <a:lnTo>
                    <a:pt x="817" y="36"/>
                  </a:lnTo>
                  <a:lnTo>
                    <a:pt x="817" y="36"/>
                  </a:lnTo>
                  <a:lnTo>
                    <a:pt x="817" y="36"/>
                  </a:lnTo>
                  <a:lnTo>
                    <a:pt x="820" y="36"/>
                  </a:lnTo>
                  <a:lnTo>
                    <a:pt x="820" y="33"/>
                  </a:lnTo>
                  <a:lnTo>
                    <a:pt x="822" y="36"/>
                  </a:lnTo>
                  <a:lnTo>
                    <a:pt x="824" y="36"/>
                  </a:lnTo>
                  <a:lnTo>
                    <a:pt x="827" y="36"/>
                  </a:lnTo>
                  <a:lnTo>
                    <a:pt x="827" y="36"/>
                  </a:lnTo>
                  <a:lnTo>
                    <a:pt x="827" y="38"/>
                  </a:lnTo>
                  <a:lnTo>
                    <a:pt x="827" y="38"/>
                  </a:lnTo>
                  <a:lnTo>
                    <a:pt x="827" y="38"/>
                  </a:lnTo>
                  <a:lnTo>
                    <a:pt x="827" y="38"/>
                  </a:lnTo>
                  <a:lnTo>
                    <a:pt x="827" y="40"/>
                  </a:lnTo>
                  <a:lnTo>
                    <a:pt x="829" y="40"/>
                  </a:lnTo>
                  <a:lnTo>
                    <a:pt x="829" y="43"/>
                  </a:lnTo>
                  <a:lnTo>
                    <a:pt x="829" y="45"/>
                  </a:lnTo>
                  <a:lnTo>
                    <a:pt x="829" y="47"/>
                  </a:lnTo>
                  <a:lnTo>
                    <a:pt x="829" y="50"/>
                  </a:lnTo>
                  <a:lnTo>
                    <a:pt x="827" y="54"/>
                  </a:lnTo>
                  <a:lnTo>
                    <a:pt x="827" y="54"/>
                  </a:lnTo>
                  <a:lnTo>
                    <a:pt x="824" y="54"/>
                  </a:lnTo>
                  <a:lnTo>
                    <a:pt x="827" y="57"/>
                  </a:lnTo>
                  <a:lnTo>
                    <a:pt x="827" y="57"/>
                  </a:lnTo>
                  <a:lnTo>
                    <a:pt x="827" y="57"/>
                  </a:lnTo>
                  <a:lnTo>
                    <a:pt x="827" y="59"/>
                  </a:lnTo>
                  <a:lnTo>
                    <a:pt x="829" y="62"/>
                  </a:lnTo>
                  <a:lnTo>
                    <a:pt x="827" y="69"/>
                  </a:lnTo>
                  <a:lnTo>
                    <a:pt x="827" y="71"/>
                  </a:lnTo>
                  <a:lnTo>
                    <a:pt x="824" y="71"/>
                  </a:lnTo>
                  <a:lnTo>
                    <a:pt x="824" y="71"/>
                  </a:lnTo>
                  <a:lnTo>
                    <a:pt x="827" y="73"/>
                  </a:lnTo>
                  <a:lnTo>
                    <a:pt x="827" y="73"/>
                  </a:lnTo>
                  <a:lnTo>
                    <a:pt x="827" y="76"/>
                  </a:lnTo>
                  <a:lnTo>
                    <a:pt x="827" y="76"/>
                  </a:lnTo>
                  <a:lnTo>
                    <a:pt x="827" y="78"/>
                  </a:lnTo>
                  <a:lnTo>
                    <a:pt x="829" y="80"/>
                  </a:lnTo>
                  <a:lnTo>
                    <a:pt x="829" y="83"/>
                  </a:lnTo>
                  <a:lnTo>
                    <a:pt x="829" y="85"/>
                  </a:lnTo>
                  <a:lnTo>
                    <a:pt x="827" y="90"/>
                  </a:lnTo>
                  <a:lnTo>
                    <a:pt x="827" y="95"/>
                  </a:lnTo>
                  <a:lnTo>
                    <a:pt x="827" y="97"/>
                  </a:lnTo>
                  <a:lnTo>
                    <a:pt x="824" y="99"/>
                  </a:lnTo>
                  <a:lnTo>
                    <a:pt x="824" y="99"/>
                  </a:lnTo>
                  <a:lnTo>
                    <a:pt x="824" y="102"/>
                  </a:lnTo>
                  <a:lnTo>
                    <a:pt x="820" y="106"/>
                  </a:lnTo>
                  <a:lnTo>
                    <a:pt x="817" y="116"/>
                  </a:lnTo>
                  <a:lnTo>
                    <a:pt x="817" y="121"/>
                  </a:lnTo>
                  <a:lnTo>
                    <a:pt x="817" y="123"/>
                  </a:lnTo>
                  <a:lnTo>
                    <a:pt x="815" y="125"/>
                  </a:lnTo>
                  <a:lnTo>
                    <a:pt x="817" y="125"/>
                  </a:lnTo>
                  <a:lnTo>
                    <a:pt x="815" y="130"/>
                  </a:lnTo>
                  <a:lnTo>
                    <a:pt x="812" y="132"/>
                  </a:lnTo>
                  <a:lnTo>
                    <a:pt x="812" y="132"/>
                  </a:lnTo>
                  <a:lnTo>
                    <a:pt x="812" y="135"/>
                  </a:lnTo>
                  <a:lnTo>
                    <a:pt x="815" y="135"/>
                  </a:lnTo>
                  <a:lnTo>
                    <a:pt x="812" y="140"/>
                  </a:lnTo>
                  <a:lnTo>
                    <a:pt x="812" y="140"/>
                  </a:lnTo>
                  <a:lnTo>
                    <a:pt x="812" y="140"/>
                  </a:lnTo>
                  <a:lnTo>
                    <a:pt x="815" y="142"/>
                  </a:lnTo>
                  <a:lnTo>
                    <a:pt x="812" y="142"/>
                  </a:lnTo>
                  <a:lnTo>
                    <a:pt x="810" y="142"/>
                  </a:lnTo>
                  <a:lnTo>
                    <a:pt x="810" y="142"/>
                  </a:lnTo>
                  <a:lnTo>
                    <a:pt x="812" y="144"/>
                  </a:lnTo>
                  <a:lnTo>
                    <a:pt x="808" y="151"/>
                  </a:lnTo>
                  <a:lnTo>
                    <a:pt x="808" y="156"/>
                  </a:lnTo>
                  <a:lnTo>
                    <a:pt x="808" y="158"/>
                  </a:lnTo>
                  <a:lnTo>
                    <a:pt x="805" y="158"/>
                  </a:lnTo>
                  <a:lnTo>
                    <a:pt x="805" y="161"/>
                  </a:lnTo>
                  <a:lnTo>
                    <a:pt x="805" y="161"/>
                  </a:lnTo>
                  <a:lnTo>
                    <a:pt x="805" y="163"/>
                  </a:lnTo>
                  <a:lnTo>
                    <a:pt x="805" y="163"/>
                  </a:lnTo>
                  <a:lnTo>
                    <a:pt x="805" y="165"/>
                  </a:lnTo>
                  <a:lnTo>
                    <a:pt x="805" y="168"/>
                  </a:lnTo>
                  <a:lnTo>
                    <a:pt x="805" y="168"/>
                  </a:lnTo>
                  <a:lnTo>
                    <a:pt x="805" y="170"/>
                  </a:lnTo>
                  <a:lnTo>
                    <a:pt x="805" y="170"/>
                  </a:lnTo>
                  <a:lnTo>
                    <a:pt x="803" y="168"/>
                  </a:lnTo>
                  <a:lnTo>
                    <a:pt x="803" y="170"/>
                  </a:lnTo>
                  <a:lnTo>
                    <a:pt x="801" y="170"/>
                  </a:lnTo>
                  <a:lnTo>
                    <a:pt x="801" y="173"/>
                  </a:lnTo>
                  <a:lnTo>
                    <a:pt x="801" y="173"/>
                  </a:lnTo>
                  <a:lnTo>
                    <a:pt x="801" y="175"/>
                  </a:lnTo>
                  <a:lnTo>
                    <a:pt x="801" y="175"/>
                  </a:lnTo>
                  <a:lnTo>
                    <a:pt x="798" y="180"/>
                  </a:lnTo>
                  <a:lnTo>
                    <a:pt x="796" y="180"/>
                  </a:lnTo>
                  <a:lnTo>
                    <a:pt x="798" y="182"/>
                  </a:lnTo>
                  <a:lnTo>
                    <a:pt x="796" y="184"/>
                  </a:lnTo>
                  <a:lnTo>
                    <a:pt x="796" y="187"/>
                  </a:lnTo>
                  <a:lnTo>
                    <a:pt x="796" y="187"/>
                  </a:lnTo>
                  <a:lnTo>
                    <a:pt x="796" y="189"/>
                  </a:lnTo>
                  <a:lnTo>
                    <a:pt x="796" y="189"/>
                  </a:lnTo>
                  <a:lnTo>
                    <a:pt x="794" y="191"/>
                  </a:lnTo>
                  <a:lnTo>
                    <a:pt x="796" y="194"/>
                  </a:lnTo>
                  <a:lnTo>
                    <a:pt x="791" y="196"/>
                  </a:lnTo>
                  <a:lnTo>
                    <a:pt x="791" y="199"/>
                  </a:lnTo>
                  <a:lnTo>
                    <a:pt x="794" y="199"/>
                  </a:lnTo>
                  <a:lnTo>
                    <a:pt x="791" y="199"/>
                  </a:lnTo>
                  <a:lnTo>
                    <a:pt x="791" y="199"/>
                  </a:lnTo>
                  <a:lnTo>
                    <a:pt x="789" y="203"/>
                  </a:lnTo>
                  <a:lnTo>
                    <a:pt x="789" y="206"/>
                  </a:lnTo>
                  <a:lnTo>
                    <a:pt x="789" y="208"/>
                  </a:lnTo>
                  <a:lnTo>
                    <a:pt x="789" y="208"/>
                  </a:lnTo>
                  <a:lnTo>
                    <a:pt x="789" y="210"/>
                  </a:lnTo>
                  <a:lnTo>
                    <a:pt x="786" y="215"/>
                  </a:lnTo>
                  <a:lnTo>
                    <a:pt x="786" y="213"/>
                  </a:lnTo>
                  <a:lnTo>
                    <a:pt x="784" y="213"/>
                  </a:lnTo>
                  <a:lnTo>
                    <a:pt x="779" y="213"/>
                  </a:lnTo>
                  <a:lnTo>
                    <a:pt x="779" y="213"/>
                  </a:lnTo>
                  <a:lnTo>
                    <a:pt x="777" y="213"/>
                  </a:lnTo>
                  <a:lnTo>
                    <a:pt x="775" y="210"/>
                  </a:lnTo>
                  <a:lnTo>
                    <a:pt x="775" y="213"/>
                  </a:lnTo>
                  <a:lnTo>
                    <a:pt x="770" y="210"/>
                  </a:lnTo>
                  <a:lnTo>
                    <a:pt x="770" y="210"/>
                  </a:lnTo>
                  <a:lnTo>
                    <a:pt x="768" y="210"/>
                  </a:lnTo>
                  <a:lnTo>
                    <a:pt x="760" y="208"/>
                  </a:lnTo>
                  <a:lnTo>
                    <a:pt x="756" y="206"/>
                  </a:lnTo>
                  <a:lnTo>
                    <a:pt x="753" y="206"/>
                  </a:lnTo>
                  <a:lnTo>
                    <a:pt x="753" y="206"/>
                  </a:lnTo>
                  <a:lnTo>
                    <a:pt x="753" y="206"/>
                  </a:lnTo>
                  <a:lnTo>
                    <a:pt x="751" y="206"/>
                  </a:lnTo>
                  <a:lnTo>
                    <a:pt x="751" y="206"/>
                  </a:lnTo>
                  <a:lnTo>
                    <a:pt x="749" y="206"/>
                  </a:lnTo>
                  <a:lnTo>
                    <a:pt x="746" y="206"/>
                  </a:lnTo>
                  <a:lnTo>
                    <a:pt x="746" y="203"/>
                  </a:lnTo>
                  <a:lnTo>
                    <a:pt x="746" y="203"/>
                  </a:lnTo>
                  <a:lnTo>
                    <a:pt x="746" y="203"/>
                  </a:lnTo>
                  <a:lnTo>
                    <a:pt x="746" y="203"/>
                  </a:lnTo>
                  <a:lnTo>
                    <a:pt x="746" y="203"/>
                  </a:lnTo>
                  <a:lnTo>
                    <a:pt x="744" y="203"/>
                  </a:lnTo>
                  <a:lnTo>
                    <a:pt x="744" y="203"/>
                  </a:lnTo>
                  <a:lnTo>
                    <a:pt x="744" y="203"/>
                  </a:lnTo>
                  <a:lnTo>
                    <a:pt x="744" y="203"/>
                  </a:lnTo>
                  <a:lnTo>
                    <a:pt x="742" y="203"/>
                  </a:lnTo>
                  <a:lnTo>
                    <a:pt x="742" y="203"/>
                  </a:lnTo>
                  <a:lnTo>
                    <a:pt x="742" y="203"/>
                  </a:lnTo>
                  <a:lnTo>
                    <a:pt x="742" y="203"/>
                  </a:lnTo>
                  <a:lnTo>
                    <a:pt x="739" y="203"/>
                  </a:lnTo>
                  <a:lnTo>
                    <a:pt x="737" y="203"/>
                  </a:lnTo>
                  <a:lnTo>
                    <a:pt x="737" y="203"/>
                  </a:lnTo>
                  <a:lnTo>
                    <a:pt x="737" y="203"/>
                  </a:lnTo>
                  <a:lnTo>
                    <a:pt x="737" y="203"/>
                  </a:lnTo>
                  <a:lnTo>
                    <a:pt x="734" y="203"/>
                  </a:lnTo>
                  <a:lnTo>
                    <a:pt x="734" y="206"/>
                  </a:lnTo>
                  <a:lnTo>
                    <a:pt x="732" y="206"/>
                  </a:lnTo>
                  <a:lnTo>
                    <a:pt x="732" y="206"/>
                  </a:lnTo>
                  <a:lnTo>
                    <a:pt x="732" y="206"/>
                  </a:lnTo>
                  <a:lnTo>
                    <a:pt x="730" y="208"/>
                  </a:lnTo>
                  <a:lnTo>
                    <a:pt x="727" y="208"/>
                  </a:lnTo>
                  <a:lnTo>
                    <a:pt x="725" y="210"/>
                  </a:lnTo>
                  <a:lnTo>
                    <a:pt x="725" y="210"/>
                  </a:lnTo>
                  <a:lnTo>
                    <a:pt x="725" y="210"/>
                  </a:lnTo>
                  <a:lnTo>
                    <a:pt x="723" y="210"/>
                  </a:lnTo>
                  <a:lnTo>
                    <a:pt x="723" y="210"/>
                  </a:lnTo>
                  <a:lnTo>
                    <a:pt x="720" y="213"/>
                  </a:lnTo>
                  <a:lnTo>
                    <a:pt x="718" y="213"/>
                  </a:lnTo>
                  <a:lnTo>
                    <a:pt x="718" y="215"/>
                  </a:lnTo>
                  <a:lnTo>
                    <a:pt x="716" y="213"/>
                  </a:lnTo>
                  <a:lnTo>
                    <a:pt x="716" y="215"/>
                  </a:lnTo>
                  <a:lnTo>
                    <a:pt x="713" y="215"/>
                  </a:lnTo>
                  <a:lnTo>
                    <a:pt x="713" y="215"/>
                  </a:lnTo>
                  <a:lnTo>
                    <a:pt x="711" y="215"/>
                  </a:lnTo>
                  <a:lnTo>
                    <a:pt x="709" y="215"/>
                  </a:lnTo>
                  <a:lnTo>
                    <a:pt x="709" y="213"/>
                  </a:lnTo>
                  <a:lnTo>
                    <a:pt x="706" y="213"/>
                  </a:lnTo>
                  <a:lnTo>
                    <a:pt x="706" y="213"/>
                  </a:lnTo>
                  <a:lnTo>
                    <a:pt x="706" y="213"/>
                  </a:lnTo>
                  <a:lnTo>
                    <a:pt x="706" y="210"/>
                  </a:lnTo>
                  <a:lnTo>
                    <a:pt x="706" y="208"/>
                  </a:lnTo>
                  <a:lnTo>
                    <a:pt x="706" y="208"/>
                  </a:lnTo>
                  <a:lnTo>
                    <a:pt x="706" y="208"/>
                  </a:lnTo>
                  <a:lnTo>
                    <a:pt x="706" y="206"/>
                  </a:lnTo>
                  <a:lnTo>
                    <a:pt x="706" y="206"/>
                  </a:lnTo>
                  <a:lnTo>
                    <a:pt x="704" y="208"/>
                  </a:lnTo>
                  <a:lnTo>
                    <a:pt x="701" y="208"/>
                  </a:lnTo>
                  <a:lnTo>
                    <a:pt x="701" y="208"/>
                  </a:lnTo>
                  <a:lnTo>
                    <a:pt x="699" y="208"/>
                  </a:lnTo>
                  <a:lnTo>
                    <a:pt x="699" y="208"/>
                  </a:lnTo>
                  <a:lnTo>
                    <a:pt x="697" y="208"/>
                  </a:lnTo>
                  <a:lnTo>
                    <a:pt x="692" y="208"/>
                  </a:lnTo>
                  <a:lnTo>
                    <a:pt x="692" y="208"/>
                  </a:lnTo>
                  <a:lnTo>
                    <a:pt x="692" y="208"/>
                  </a:lnTo>
                  <a:lnTo>
                    <a:pt x="690" y="208"/>
                  </a:lnTo>
                  <a:lnTo>
                    <a:pt x="690" y="208"/>
                  </a:lnTo>
                  <a:lnTo>
                    <a:pt x="690" y="208"/>
                  </a:lnTo>
                  <a:lnTo>
                    <a:pt x="690" y="210"/>
                  </a:lnTo>
                  <a:lnTo>
                    <a:pt x="687" y="210"/>
                  </a:lnTo>
                  <a:lnTo>
                    <a:pt x="687" y="210"/>
                  </a:lnTo>
                  <a:lnTo>
                    <a:pt x="685" y="213"/>
                  </a:lnTo>
                  <a:lnTo>
                    <a:pt x="683" y="213"/>
                  </a:lnTo>
                  <a:lnTo>
                    <a:pt x="683" y="213"/>
                  </a:lnTo>
                  <a:lnTo>
                    <a:pt x="683" y="213"/>
                  </a:lnTo>
                  <a:lnTo>
                    <a:pt x="683" y="213"/>
                  </a:lnTo>
                  <a:lnTo>
                    <a:pt x="680" y="213"/>
                  </a:lnTo>
                  <a:lnTo>
                    <a:pt x="678" y="215"/>
                  </a:lnTo>
                  <a:lnTo>
                    <a:pt x="675" y="215"/>
                  </a:lnTo>
                  <a:lnTo>
                    <a:pt x="671" y="215"/>
                  </a:lnTo>
                  <a:lnTo>
                    <a:pt x="668" y="217"/>
                  </a:lnTo>
                  <a:lnTo>
                    <a:pt x="664" y="220"/>
                  </a:lnTo>
                  <a:lnTo>
                    <a:pt x="661" y="222"/>
                  </a:lnTo>
                  <a:lnTo>
                    <a:pt x="664" y="225"/>
                  </a:lnTo>
                  <a:lnTo>
                    <a:pt x="664" y="225"/>
                  </a:lnTo>
                  <a:lnTo>
                    <a:pt x="666" y="227"/>
                  </a:lnTo>
                  <a:lnTo>
                    <a:pt x="664" y="227"/>
                  </a:lnTo>
                  <a:lnTo>
                    <a:pt x="664" y="227"/>
                  </a:lnTo>
                  <a:lnTo>
                    <a:pt x="664" y="229"/>
                  </a:lnTo>
                  <a:lnTo>
                    <a:pt x="661" y="232"/>
                  </a:lnTo>
                  <a:lnTo>
                    <a:pt x="661" y="232"/>
                  </a:lnTo>
                  <a:lnTo>
                    <a:pt x="661" y="232"/>
                  </a:lnTo>
                  <a:lnTo>
                    <a:pt x="659" y="232"/>
                  </a:lnTo>
                  <a:lnTo>
                    <a:pt x="659" y="232"/>
                  </a:lnTo>
                  <a:lnTo>
                    <a:pt x="657" y="232"/>
                  </a:lnTo>
                  <a:lnTo>
                    <a:pt x="657" y="232"/>
                  </a:lnTo>
                  <a:lnTo>
                    <a:pt x="654" y="232"/>
                  </a:lnTo>
                  <a:lnTo>
                    <a:pt x="654" y="232"/>
                  </a:lnTo>
                  <a:lnTo>
                    <a:pt x="654" y="232"/>
                  </a:lnTo>
                  <a:lnTo>
                    <a:pt x="652" y="234"/>
                  </a:lnTo>
                  <a:lnTo>
                    <a:pt x="652" y="236"/>
                  </a:lnTo>
                  <a:lnTo>
                    <a:pt x="652" y="236"/>
                  </a:lnTo>
                  <a:lnTo>
                    <a:pt x="652" y="236"/>
                  </a:lnTo>
                  <a:lnTo>
                    <a:pt x="649" y="239"/>
                  </a:lnTo>
                  <a:lnTo>
                    <a:pt x="647" y="239"/>
                  </a:lnTo>
                  <a:lnTo>
                    <a:pt x="645" y="239"/>
                  </a:lnTo>
                  <a:lnTo>
                    <a:pt x="645" y="241"/>
                  </a:lnTo>
                  <a:lnTo>
                    <a:pt x="645" y="241"/>
                  </a:lnTo>
                  <a:lnTo>
                    <a:pt x="645" y="243"/>
                  </a:lnTo>
                  <a:lnTo>
                    <a:pt x="645" y="243"/>
                  </a:lnTo>
                  <a:lnTo>
                    <a:pt x="647" y="243"/>
                  </a:lnTo>
                  <a:lnTo>
                    <a:pt x="649" y="246"/>
                  </a:lnTo>
                  <a:lnTo>
                    <a:pt x="649" y="246"/>
                  </a:lnTo>
                  <a:lnTo>
                    <a:pt x="649" y="248"/>
                  </a:lnTo>
                  <a:lnTo>
                    <a:pt x="649" y="248"/>
                  </a:lnTo>
                  <a:lnTo>
                    <a:pt x="647" y="251"/>
                  </a:lnTo>
                  <a:lnTo>
                    <a:pt x="647" y="248"/>
                  </a:lnTo>
                  <a:lnTo>
                    <a:pt x="647" y="251"/>
                  </a:lnTo>
                  <a:lnTo>
                    <a:pt x="645" y="251"/>
                  </a:lnTo>
                  <a:lnTo>
                    <a:pt x="645" y="248"/>
                  </a:lnTo>
                  <a:lnTo>
                    <a:pt x="645" y="248"/>
                  </a:lnTo>
                  <a:lnTo>
                    <a:pt x="645" y="248"/>
                  </a:lnTo>
                  <a:lnTo>
                    <a:pt x="642" y="248"/>
                  </a:lnTo>
                  <a:lnTo>
                    <a:pt x="642" y="248"/>
                  </a:lnTo>
                  <a:lnTo>
                    <a:pt x="642" y="251"/>
                  </a:lnTo>
                  <a:lnTo>
                    <a:pt x="640" y="248"/>
                  </a:lnTo>
                  <a:lnTo>
                    <a:pt x="640" y="251"/>
                  </a:lnTo>
                  <a:lnTo>
                    <a:pt x="640" y="248"/>
                  </a:lnTo>
                  <a:lnTo>
                    <a:pt x="640" y="251"/>
                  </a:lnTo>
                  <a:lnTo>
                    <a:pt x="638" y="251"/>
                  </a:lnTo>
                  <a:lnTo>
                    <a:pt x="638" y="253"/>
                  </a:lnTo>
                  <a:lnTo>
                    <a:pt x="635" y="253"/>
                  </a:lnTo>
                  <a:lnTo>
                    <a:pt x="635" y="253"/>
                  </a:lnTo>
                  <a:lnTo>
                    <a:pt x="633" y="253"/>
                  </a:lnTo>
                  <a:lnTo>
                    <a:pt x="633" y="253"/>
                  </a:lnTo>
                  <a:lnTo>
                    <a:pt x="635" y="253"/>
                  </a:lnTo>
                  <a:lnTo>
                    <a:pt x="633" y="255"/>
                  </a:lnTo>
                  <a:lnTo>
                    <a:pt x="633" y="255"/>
                  </a:lnTo>
                  <a:lnTo>
                    <a:pt x="631" y="255"/>
                  </a:lnTo>
                  <a:lnTo>
                    <a:pt x="631" y="255"/>
                  </a:lnTo>
                  <a:lnTo>
                    <a:pt x="628" y="255"/>
                  </a:lnTo>
                  <a:lnTo>
                    <a:pt x="626" y="255"/>
                  </a:lnTo>
                  <a:lnTo>
                    <a:pt x="626" y="255"/>
                  </a:lnTo>
                  <a:lnTo>
                    <a:pt x="626" y="255"/>
                  </a:lnTo>
                  <a:lnTo>
                    <a:pt x="626" y="253"/>
                  </a:lnTo>
                  <a:lnTo>
                    <a:pt x="623" y="253"/>
                  </a:lnTo>
                  <a:lnTo>
                    <a:pt x="623" y="255"/>
                  </a:lnTo>
                  <a:lnTo>
                    <a:pt x="621" y="255"/>
                  </a:lnTo>
                  <a:lnTo>
                    <a:pt x="621" y="255"/>
                  </a:lnTo>
                  <a:lnTo>
                    <a:pt x="621" y="255"/>
                  </a:lnTo>
                  <a:lnTo>
                    <a:pt x="621" y="258"/>
                  </a:lnTo>
                  <a:lnTo>
                    <a:pt x="619" y="258"/>
                  </a:lnTo>
                  <a:lnTo>
                    <a:pt x="619" y="258"/>
                  </a:lnTo>
                  <a:lnTo>
                    <a:pt x="616" y="258"/>
                  </a:lnTo>
                  <a:lnTo>
                    <a:pt x="616" y="260"/>
                  </a:lnTo>
                  <a:lnTo>
                    <a:pt x="616" y="260"/>
                  </a:lnTo>
                  <a:lnTo>
                    <a:pt x="616" y="260"/>
                  </a:lnTo>
                  <a:lnTo>
                    <a:pt x="614" y="262"/>
                  </a:lnTo>
                  <a:lnTo>
                    <a:pt x="607" y="265"/>
                  </a:lnTo>
                  <a:lnTo>
                    <a:pt x="607" y="267"/>
                  </a:lnTo>
                  <a:lnTo>
                    <a:pt x="607" y="267"/>
                  </a:lnTo>
                  <a:lnTo>
                    <a:pt x="607" y="269"/>
                  </a:lnTo>
                  <a:lnTo>
                    <a:pt x="607" y="269"/>
                  </a:lnTo>
                  <a:lnTo>
                    <a:pt x="607" y="269"/>
                  </a:lnTo>
                  <a:lnTo>
                    <a:pt x="605" y="269"/>
                  </a:lnTo>
                  <a:lnTo>
                    <a:pt x="605" y="269"/>
                  </a:lnTo>
                  <a:lnTo>
                    <a:pt x="602" y="272"/>
                  </a:lnTo>
                  <a:lnTo>
                    <a:pt x="602" y="269"/>
                  </a:lnTo>
                  <a:lnTo>
                    <a:pt x="602" y="269"/>
                  </a:lnTo>
                  <a:lnTo>
                    <a:pt x="600" y="269"/>
                  </a:lnTo>
                  <a:lnTo>
                    <a:pt x="600" y="269"/>
                  </a:lnTo>
                  <a:lnTo>
                    <a:pt x="600" y="269"/>
                  </a:lnTo>
                  <a:lnTo>
                    <a:pt x="600" y="269"/>
                  </a:lnTo>
                  <a:lnTo>
                    <a:pt x="600" y="269"/>
                  </a:lnTo>
                  <a:lnTo>
                    <a:pt x="597" y="269"/>
                  </a:lnTo>
                  <a:lnTo>
                    <a:pt x="597" y="267"/>
                  </a:lnTo>
                  <a:lnTo>
                    <a:pt x="597" y="267"/>
                  </a:lnTo>
                  <a:lnTo>
                    <a:pt x="597" y="267"/>
                  </a:lnTo>
                  <a:lnTo>
                    <a:pt x="597" y="267"/>
                  </a:lnTo>
                  <a:lnTo>
                    <a:pt x="595" y="267"/>
                  </a:lnTo>
                  <a:lnTo>
                    <a:pt x="593" y="262"/>
                  </a:lnTo>
                  <a:lnTo>
                    <a:pt x="590" y="262"/>
                  </a:lnTo>
                  <a:lnTo>
                    <a:pt x="583" y="262"/>
                  </a:lnTo>
                  <a:lnTo>
                    <a:pt x="579" y="265"/>
                  </a:lnTo>
                  <a:lnTo>
                    <a:pt x="571" y="265"/>
                  </a:lnTo>
                  <a:lnTo>
                    <a:pt x="571" y="262"/>
                  </a:lnTo>
                  <a:lnTo>
                    <a:pt x="571" y="262"/>
                  </a:lnTo>
                  <a:lnTo>
                    <a:pt x="569" y="262"/>
                  </a:lnTo>
                  <a:lnTo>
                    <a:pt x="567" y="262"/>
                  </a:lnTo>
                  <a:lnTo>
                    <a:pt x="569" y="262"/>
                  </a:lnTo>
                  <a:lnTo>
                    <a:pt x="567" y="262"/>
                  </a:lnTo>
                  <a:lnTo>
                    <a:pt x="564" y="262"/>
                  </a:lnTo>
                  <a:lnTo>
                    <a:pt x="562" y="265"/>
                  </a:lnTo>
                  <a:lnTo>
                    <a:pt x="562" y="269"/>
                  </a:lnTo>
                  <a:lnTo>
                    <a:pt x="562" y="269"/>
                  </a:lnTo>
                  <a:lnTo>
                    <a:pt x="562" y="269"/>
                  </a:lnTo>
                  <a:lnTo>
                    <a:pt x="560" y="272"/>
                  </a:lnTo>
                  <a:lnTo>
                    <a:pt x="560" y="274"/>
                  </a:lnTo>
                  <a:lnTo>
                    <a:pt x="560" y="274"/>
                  </a:lnTo>
                  <a:lnTo>
                    <a:pt x="560" y="274"/>
                  </a:lnTo>
                  <a:lnTo>
                    <a:pt x="560" y="274"/>
                  </a:lnTo>
                  <a:lnTo>
                    <a:pt x="560" y="277"/>
                  </a:lnTo>
                  <a:lnTo>
                    <a:pt x="557" y="277"/>
                  </a:lnTo>
                  <a:lnTo>
                    <a:pt x="555" y="274"/>
                  </a:lnTo>
                  <a:lnTo>
                    <a:pt x="553" y="272"/>
                  </a:lnTo>
                  <a:lnTo>
                    <a:pt x="550" y="267"/>
                  </a:lnTo>
                  <a:lnTo>
                    <a:pt x="546" y="267"/>
                  </a:lnTo>
                  <a:lnTo>
                    <a:pt x="546" y="265"/>
                  </a:lnTo>
                  <a:lnTo>
                    <a:pt x="546" y="267"/>
                  </a:lnTo>
                  <a:lnTo>
                    <a:pt x="543" y="265"/>
                  </a:lnTo>
                  <a:lnTo>
                    <a:pt x="546" y="262"/>
                  </a:lnTo>
                  <a:lnTo>
                    <a:pt x="543" y="260"/>
                  </a:lnTo>
                  <a:lnTo>
                    <a:pt x="541" y="260"/>
                  </a:lnTo>
                  <a:lnTo>
                    <a:pt x="538" y="258"/>
                  </a:lnTo>
                  <a:lnTo>
                    <a:pt x="538" y="258"/>
                  </a:lnTo>
                  <a:lnTo>
                    <a:pt x="536" y="260"/>
                  </a:lnTo>
                  <a:lnTo>
                    <a:pt x="534" y="260"/>
                  </a:lnTo>
                  <a:lnTo>
                    <a:pt x="531" y="262"/>
                  </a:lnTo>
                  <a:lnTo>
                    <a:pt x="531" y="262"/>
                  </a:lnTo>
                  <a:lnTo>
                    <a:pt x="531" y="260"/>
                  </a:lnTo>
                  <a:lnTo>
                    <a:pt x="531" y="260"/>
                  </a:lnTo>
                  <a:lnTo>
                    <a:pt x="531" y="258"/>
                  </a:lnTo>
                  <a:lnTo>
                    <a:pt x="527" y="253"/>
                  </a:lnTo>
                  <a:lnTo>
                    <a:pt x="524" y="255"/>
                  </a:lnTo>
                  <a:lnTo>
                    <a:pt x="522" y="258"/>
                  </a:lnTo>
                  <a:lnTo>
                    <a:pt x="522" y="255"/>
                  </a:lnTo>
                  <a:lnTo>
                    <a:pt x="522" y="255"/>
                  </a:lnTo>
                  <a:lnTo>
                    <a:pt x="522" y="255"/>
                  </a:lnTo>
                  <a:lnTo>
                    <a:pt x="522" y="253"/>
                  </a:lnTo>
                  <a:lnTo>
                    <a:pt x="522" y="253"/>
                  </a:lnTo>
                  <a:lnTo>
                    <a:pt x="522" y="251"/>
                  </a:lnTo>
                  <a:lnTo>
                    <a:pt x="522" y="251"/>
                  </a:lnTo>
                  <a:lnTo>
                    <a:pt x="522" y="251"/>
                  </a:lnTo>
                  <a:lnTo>
                    <a:pt x="520" y="248"/>
                  </a:lnTo>
                  <a:lnTo>
                    <a:pt x="517" y="246"/>
                  </a:lnTo>
                  <a:lnTo>
                    <a:pt x="517" y="246"/>
                  </a:lnTo>
                  <a:lnTo>
                    <a:pt x="515" y="241"/>
                  </a:lnTo>
                  <a:lnTo>
                    <a:pt x="512" y="241"/>
                  </a:lnTo>
                  <a:lnTo>
                    <a:pt x="512" y="239"/>
                  </a:lnTo>
                  <a:lnTo>
                    <a:pt x="512" y="239"/>
                  </a:lnTo>
                  <a:lnTo>
                    <a:pt x="510" y="239"/>
                  </a:lnTo>
                  <a:lnTo>
                    <a:pt x="510" y="236"/>
                  </a:lnTo>
                  <a:lnTo>
                    <a:pt x="501" y="234"/>
                  </a:lnTo>
                  <a:lnTo>
                    <a:pt x="498" y="232"/>
                  </a:lnTo>
                  <a:lnTo>
                    <a:pt x="496" y="229"/>
                  </a:lnTo>
                  <a:lnTo>
                    <a:pt x="496" y="229"/>
                  </a:lnTo>
                  <a:lnTo>
                    <a:pt x="494" y="229"/>
                  </a:lnTo>
                  <a:lnTo>
                    <a:pt x="489" y="227"/>
                  </a:lnTo>
                  <a:lnTo>
                    <a:pt x="489" y="225"/>
                  </a:lnTo>
                  <a:lnTo>
                    <a:pt x="489" y="222"/>
                  </a:lnTo>
                  <a:lnTo>
                    <a:pt x="489" y="222"/>
                  </a:lnTo>
                  <a:lnTo>
                    <a:pt x="486" y="222"/>
                  </a:lnTo>
                  <a:lnTo>
                    <a:pt x="486" y="222"/>
                  </a:lnTo>
                  <a:lnTo>
                    <a:pt x="484" y="222"/>
                  </a:lnTo>
                  <a:lnTo>
                    <a:pt x="484" y="220"/>
                  </a:lnTo>
                  <a:lnTo>
                    <a:pt x="479" y="222"/>
                  </a:lnTo>
                  <a:lnTo>
                    <a:pt x="477" y="222"/>
                  </a:lnTo>
                  <a:lnTo>
                    <a:pt x="477" y="222"/>
                  </a:lnTo>
                  <a:lnTo>
                    <a:pt x="475" y="225"/>
                  </a:lnTo>
                  <a:lnTo>
                    <a:pt x="475" y="227"/>
                  </a:lnTo>
                  <a:lnTo>
                    <a:pt x="475" y="227"/>
                  </a:lnTo>
                  <a:lnTo>
                    <a:pt x="475" y="227"/>
                  </a:lnTo>
                  <a:lnTo>
                    <a:pt x="470" y="227"/>
                  </a:lnTo>
                  <a:lnTo>
                    <a:pt x="468" y="227"/>
                  </a:lnTo>
                  <a:lnTo>
                    <a:pt x="468" y="227"/>
                  </a:lnTo>
                  <a:lnTo>
                    <a:pt x="468" y="225"/>
                  </a:lnTo>
                  <a:lnTo>
                    <a:pt x="468" y="225"/>
                  </a:lnTo>
                  <a:lnTo>
                    <a:pt x="465" y="227"/>
                  </a:lnTo>
                  <a:lnTo>
                    <a:pt x="465" y="225"/>
                  </a:lnTo>
                  <a:lnTo>
                    <a:pt x="463" y="225"/>
                  </a:lnTo>
                  <a:lnTo>
                    <a:pt x="463" y="225"/>
                  </a:lnTo>
                  <a:lnTo>
                    <a:pt x="465" y="225"/>
                  </a:lnTo>
                  <a:lnTo>
                    <a:pt x="465" y="222"/>
                  </a:lnTo>
                  <a:lnTo>
                    <a:pt x="465" y="222"/>
                  </a:lnTo>
                  <a:lnTo>
                    <a:pt x="465" y="220"/>
                  </a:lnTo>
                  <a:lnTo>
                    <a:pt x="463" y="220"/>
                  </a:lnTo>
                  <a:lnTo>
                    <a:pt x="463" y="217"/>
                  </a:lnTo>
                  <a:lnTo>
                    <a:pt x="463" y="217"/>
                  </a:lnTo>
                  <a:lnTo>
                    <a:pt x="460" y="215"/>
                  </a:lnTo>
                  <a:lnTo>
                    <a:pt x="460" y="213"/>
                  </a:lnTo>
                  <a:lnTo>
                    <a:pt x="458" y="213"/>
                  </a:lnTo>
                  <a:lnTo>
                    <a:pt x="458" y="213"/>
                  </a:lnTo>
                  <a:lnTo>
                    <a:pt x="458" y="213"/>
                  </a:lnTo>
                  <a:lnTo>
                    <a:pt x="458" y="210"/>
                  </a:lnTo>
                  <a:lnTo>
                    <a:pt x="458" y="208"/>
                  </a:lnTo>
                  <a:lnTo>
                    <a:pt x="456" y="208"/>
                  </a:lnTo>
                  <a:lnTo>
                    <a:pt x="456" y="208"/>
                  </a:lnTo>
                  <a:lnTo>
                    <a:pt x="453" y="208"/>
                  </a:lnTo>
                  <a:lnTo>
                    <a:pt x="453" y="208"/>
                  </a:lnTo>
                  <a:lnTo>
                    <a:pt x="451" y="210"/>
                  </a:lnTo>
                  <a:lnTo>
                    <a:pt x="449" y="210"/>
                  </a:lnTo>
                  <a:lnTo>
                    <a:pt x="446" y="213"/>
                  </a:lnTo>
                  <a:lnTo>
                    <a:pt x="449" y="213"/>
                  </a:lnTo>
                  <a:lnTo>
                    <a:pt x="449" y="215"/>
                  </a:lnTo>
                  <a:lnTo>
                    <a:pt x="446" y="217"/>
                  </a:lnTo>
                  <a:lnTo>
                    <a:pt x="446" y="217"/>
                  </a:lnTo>
                  <a:lnTo>
                    <a:pt x="446" y="222"/>
                  </a:lnTo>
                  <a:lnTo>
                    <a:pt x="444" y="225"/>
                  </a:lnTo>
                  <a:lnTo>
                    <a:pt x="444" y="225"/>
                  </a:lnTo>
                  <a:lnTo>
                    <a:pt x="442" y="227"/>
                  </a:lnTo>
                  <a:lnTo>
                    <a:pt x="442" y="227"/>
                  </a:lnTo>
                  <a:lnTo>
                    <a:pt x="442" y="229"/>
                  </a:lnTo>
                  <a:lnTo>
                    <a:pt x="439" y="232"/>
                  </a:lnTo>
                  <a:lnTo>
                    <a:pt x="439" y="232"/>
                  </a:lnTo>
                  <a:lnTo>
                    <a:pt x="437" y="232"/>
                  </a:lnTo>
                  <a:lnTo>
                    <a:pt x="437" y="234"/>
                  </a:lnTo>
                  <a:lnTo>
                    <a:pt x="432" y="236"/>
                  </a:lnTo>
                  <a:lnTo>
                    <a:pt x="432" y="239"/>
                  </a:lnTo>
                  <a:lnTo>
                    <a:pt x="432" y="239"/>
                  </a:lnTo>
                  <a:lnTo>
                    <a:pt x="430" y="241"/>
                  </a:lnTo>
                  <a:lnTo>
                    <a:pt x="430" y="241"/>
                  </a:lnTo>
                  <a:lnTo>
                    <a:pt x="430" y="243"/>
                  </a:lnTo>
                  <a:lnTo>
                    <a:pt x="427" y="246"/>
                  </a:lnTo>
                  <a:lnTo>
                    <a:pt x="425" y="246"/>
                  </a:lnTo>
                  <a:lnTo>
                    <a:pt x="425" y="246"/>
                  </a:lnTo>
                  <a:lnTo>
                    <a:pt x="423" y="246"/>
                  </a:lnTo>
                  <a:lnTo>
                    <a:pt x="423" y="246"/>
                  </a:lnTo>
                  <a:lnTo>
                    <a:pt x="420" y="248"/>
                  </a:lnTo>
                  <a:lnTo>
                    <a:pt x="420" y="248"/>
                  </a:lnTo>
                  <a:lnTo>
                    <a:pt x="418" y="248"/>
                  </a:lnTo>
                  <a:lnTo>
                    <a:pt x="416" y="248"/>
                  </a:lnTo>
                  <a:lnTo>
                    <a:pt x="416" y="248"/>
                  </a:lnTo>
                  <a:lnTo>
                    <a:pt x="413" y="248"/>
                  </a:lnTo>
                  <a:lnTo>
                    <a:pt x="413" y="251"/>
                  </a:lnTo>
                  <a:lnTo>
                    <a:pt x="411" y="253"/>
                  </a:lnTo>
                  <a:lnTo>
                    <a:pt x="406" y="255"/>
                  </a:lnTo>
                  <a:lnTo>
                    <a:pt x="406" y="258"/>
                  </a:lnTo>
                  <a:lnTo>
                    <a:pt x="406" y="260"/>
                  </a:lnTo>
                  <a:lnTo>
                    <a:pt x="406" y="260"/>
                  </a:lnTo>
                  <a:lnTo>
                    <a:pt x="401" y="265"/>
                  </a:lnTo>
                  <a:lnTo>
                    <a:pt x="399" y="265"/>
                  </a:lnTo>
                  <a:lnTo>
                    <a:pt x="394" y="269"/>
                  </a:lnTo>
                  <a:lnTo>
                    <a:pt x="394" y="265"/>
                  </a:lnTo>
                  <a:lnTo>
                    <a:pt x="390" y="255"/>
                  </a:lnTo>
                  <a:lnTo>
                    <a:pt x="390" y="253"/>
                  </a:lnTo>
                  <a:lnTo>
                    <a:pt x="387" y="248"/>
                  </a:lnTo>
                  <a:lnTo>
                    <a:pt x="387" y="246"/>
                  </a:lnTo>
                  <a:lnTo>
                    <a:pt x="385" y="246"/>
                  </a:lnTo>
                  <a:lnTo>
                    <a:pt x="385" y="243"/>
                  </a:lnTo>
                  <a:lnTo>
                    <a:pt x="385" y="241"/>
                  </a:lnTo>
                  <a:lnTo>
                    <a:pt x="387" y="239"/>
                  </a:lnTo>
                  <a:lnTo>
                    <a:pt x="385" y="239"/>
                  </a:lnTo>
                  <a:lnTo>
                    <a:pt x="385" y="236"/>
                  </a:lnTo>
                  <a:lnTo>
                    <a:pt x="385" y="234"/>
                  </a:lnTo>
                  <a:lnTo>
                    <a:pt x="387" y="234"/>
                  </a:lnTo>
                  <a:lnTo>
                    <a:pt x="387" y="232"/>
                  </a:lnTo>
                  <a:lnTo>
                    <a:pt x="387" y="232"/>
                  </a:lnTo>
                  <a:lnTo>
                    <a:pt x="387" y="229"/>
                  </a:lnTo>
                  <a:lnTo>
                    <a:pt x="385" y="227"/>
                  </a:lnTo>
                  <a:lnTo>
                    <a:pt x="385" y="225"/>
                  </a:lnTo>
                  <a:lnTo>
                    <a:pt x="383" y="225"/>
                  </a:lnTo>
                  <a:lnTo>
                    <a:pt x="380" y="225"/>
                  </a:lnTo>
                  <a:lnTo>
                    <a:pt x="380" y="225"/>
                  </a:lnTo>
                  <a:lnTo>
                    <a:pt x="375" y="229"/>
                  </a:lnTo>
                  <a:lnTo>
                    <a:pt x="373" y="232"/>
                  </a:lnTo>
                  <a:lnTo>
                    <a:pt x="371" y="232"/>
                  </a:lnTo>
                  <a:lnTo>
                    <a:pt x="368" y="229"/>
                  </a:lnTo>
                  <a:lnTo>
                    <a:pt x="368" y="229"/>
                  </a:lnTo>
                  <a:lnTo>
                    <a:pt x="364" y="227"/>
                  </a:lnTo>
                  <a:lnTo>
                    <a:pt x="361" y="225"/>
                  </a:lnTo>
                  <a:lnTo>
                    <a:pt x="359" y="222"/>
                  </a:lnTo>
                  <a:lnTo>
                    <a:pt x="359" y="220"/>
                  </a:lnTo>
                  <a:lnTo>
                    <a:pt x="359" y="217"/>
                  </a:lnTo>
                  <a:lnTo>
                    <a:pt x="359" y="217"/>
                  </a:lnTo>
                  <a:lnTo>
                    <a:pt x="359" y="217"/>
                  </a:lnTo>
                  <a:lnTo>
                    <a:pt x="361" y="215"/>
                  </a:lnTo>
                  <a:lnTo>
                    <a:pt x="364" y="213"/>
                  </a:lnTo>
                  <a:lnTo>
                    <a:pt x="366" y="213"/>
                  </a:lnTo>
                  <a:lnTo>
                    <a:pt x="366" y="208"/>
                  </a:lnTo>
                  <a:lnTo>
                    <a:pt x="364" y="206"/>
                  </a:lnTo>
                  <a:lnTo>
                    <a:pt x="361" y="203"/>
                  </a:lnTo>
                  <a:lnTo>
                    <a:pt x="357" y="203"/>
                  </a:lnTo>
                  <a:lnTo>
                    <a:pt x="352" y="203"/>
                  </a:lnTo>
                  <a:lnTo>
                    <a:pt x="349" y="210"/>
                  </a:lnTo>
                  <a:lnTo>
                    <a:pt x="347" y="213"/>
                  </a:lnTo>
                  <a:lnTo>
                    <a:pt x="347" y="220"/>
                  </a:lnTo>
                  <a:lnTo>
                    <a:pt x="347" y="225"/>
                  </a:lnTo>
                  <a:lnTo>
                    <a:pt x="345" y="225"/>
                  </a:lnTo>
                  <a:lnTo>
                    <a:pt x="342" y="225"/>
                  </a:lnTo>
                  <a:lnTo>
                    <a:pt x="340" y="222"/>
                  </a:lnTo>
                  <a:lnTo>
                    <a:pt x="338" y="220"/>
                  </a:lnTo>
                  <a:lnTo>
                    <a:pt x="338" y="217"/>
                  </a:lnTo>
                  <a:lnTo>
                    <a:pt x="338" y="215"/>
                  </a:lnTo>
                  <a:lnTo>
                    <a:pt x="338" y="210"/>
                  </a:lnTo>
                  <a:lnTo>
                    <a:pt x="335" y="208"/>
                  </a:lnTo>
                  <a:lnTo>
                    <a:pt x="333" y="206"/>
                  </a:lnTo>
                  <a:lnTo>
                    <a:pt x="331" y="206"/>
                  </a:lnTo>
                  <a:lnTo>
                    <a:pt x="328" y="203"/>
                  </a:lnTo>
                  <a:lnTo>
                    <a:pt x="323" y="199"/>
                  </a:lnTo>
                  <a:lnTo>
                    <a:pt x="323" y="199"/>
                  </a:lnTo>
                  <a:lnTo>
                    <a:pt x="323" y="199"/>
                  </a:lnTo>
                  <a:lnTo>
                    <a:pt x="316" y="199"/>
                  </a:lnTo>
                  <a:lnTo>
                    <a:pt x="314" y="199"/>
                  </a:lnTo>
                  <a:lnTo>
                    <a:pt x="314" y="199"/>
                  </a:lnTo>
                  <a:lnTo>
                    <a:pt x="309" y="199"/>
                  </a:lnTo>
                  <a:lnTo>
                    <a:pt x="305" y="201"/>
                  </a:lnTo>
                  <a:lnTo>
                    <a:pt x="305" y="201"/>
                  </a:lnTo>
                  <a:lnTo>
                    <a:pt x="305" y="201"/>
                  </a:lnTo>
                  <a:lnTo>
                    <a:pt x="302" y="199"/>
                  </a:lnTo>
                  <a:lnTo>
                    <a:pt x="302" y="199"/>
                  </a:lnTo>
                  <a:lnTo>
                    <a:pt x="300" y="196"/>
                  </a:lnTo>
                  <a:lnTo>
                    <a:pt x="295" y="194"/>
                  </a:lnTo>
                  <a:lnTo>
                    <a:pt x="295" y="191"/>
                  </a:lnTo>
                  <a:lnTo>
                    <a:pt x="293" y="191"/>
                  </a:lnTo>
                  <a:lnTo>
                    <a:pt x="290" y="191"/>
                  </a:lnTo>
                  <a:lnTo>
                    <a:pt x="286" y="189"/>
                  </a:lnTo>
                  <a:lnTo>
                    <a:pt x="283" y="189"/>
                  </a:lnTo>
                  <a:lnTo>
                    <a:pt x="279" y="189"/>
                  </a:lnTo>
                  <a:lnTo>
                    <a:pt x="279" y="187"/>
                  </a:lnTo>
                  <a:lnTo>
                    <a:pt x="276" y="187"/>
                  </a:lnTo>
                  <a:lnTo>
                    <a:pt x="276" y="187"/>
                  </a:lnTo>
                  <a:lnTo>
                    <a:pt x="276" y="187"/>
                  </a:lnTo>
                  <a:lnTo>
                    <a:pt x="274" y="189"/>
                  </a:lnTo>
                  <a:lnTo>
                    <a:pt x="269" y="187"/>
                  </a:lnTo>
                  <a:lnTo>
                    <a:pt x="269" y="189"/>
                  </a:lnTo>
                  <a:lnTo>
                    <a:pt x="269" y="189"/>
                  </a:lnTo>
                  <a:lnTo>
                    <a:pt x="269" y="187"/>
                  </a:lnTo>
                  <a:lnTo>
                    <a:pt x="267" y="187"/>
                  </a:lnTo>
                  <a:lnTo>
                    <a:pt x="267" y="184"/>
                  </a:lnTo>
                  <a:lnTo>
                    <a:pt x="267" y="184"/>
                  </a:lnTo>
                  <a:lnTo>
                    <a:pt x="267" y="180"/>
                  </a:lnTo>
                  <a:lnTo>
                    <a:pt x="267" y="180"/>
                  </a:lnTo>
                  <a:lnTo>
                    <a:pt x="267" y="177"/>
                  </a:lnTo>
                  <a:lnTo>
                    <a:pt x="267" y="177"/>
                  </a:lnTo>
                  <a:lnTo>
                    <a:pt x="264" y="175"/>
                  </a:lnTo>
                  <a:lnTo>
                    <a:pt x="264" y="173"/>
                  </a:lnTo>
                  <a:lnTo>
                    <a:pt x="264" y="173"/>
                  </a:lnTo>
                  <a:lnTo>
                    <a:pt x="264" y="170"/>
                  </a:lnTo>
                  <a:lnTo>
                    <a:pt x="262" y="170"/>
                  </a:lnTo>
                  <a:lnTo>
                    <a:pt x="262" y="168"/>
                  </a:lnTo>
                  <a:lnTo>
                    <a:pt x="260" y="168"/>
                  </a:lnTo>
                  <a:lnTo>
                    <a:pt x="257" y="168"/>
                  </a:lnTo>
                  <a:lnTo>
                    <a:pt x="255" y="168"/>
                  </a:lnTo>
                  <a:lnTo>
                    <a:pt x="253" y="168"/>
                  </a:lnTo>
                  <a:lnTo>
                    <a:pt x="253" y="165"/>
                  </a:lnTo>
                  <a:lnTo>
                    <a:pt x="250" y="165"/>
                  </a:lnTo>
                  <a:lnTo>
                    <a:pt x="250" y="165"/>
                  </a:lnTo>
                  <a:lnTo>
                    <a:pt x="250" y="165"/>
                  </a:lnTo>
                  <a:lnTo>
                    <a:pt x="245" y="165"/>
                  </a:lnTo>
                  <a:lnTo>
                    <a:pt x="245" y="165"/>
                  </a:lnTo>
                  <a:lnTo>
                    <a:pt x="245" y="168"/>
                  </a:lnTo>
                  <a:lnTo>
                    <a:pt x="243" y="168"/>
                  </a:lnTo>
                  <a:lnTo>
                    <a:pt x="241" y="168"/>
                  </a:lnTo>
                  <a:lnTo>
                    <a:pt x="241" y="170"/>
                  </a:lnTo>
                  <a:lnTo>
                    <a:pt x="241" y="170"/>
                  </a:lnTo>
                  <a:lnTo>
                    <a:pt x="238" y="173"/>
                  </a:lnTo>
                  <a:lnTo>
                    <a:pt x="231" y="175"/>
                  </a:lnTo>
                  <a:lnTo>
                    <a:pt x="231" y="175"/>
                  </a:lnTo>
                  <a:lnTo>
                    <a:pt x="229" y="177"/>
                  </a:lnTo>
                  <a:lnTo>
                    <a:pt x="227" y="177"/>
                  </a:lnTo>
                  <a:lnTo>
                    <a:pt x="227" y="177"/>
                  </a:lnTo>
                  <a:lnTo>
                    <a:pt x="227" y="180"/>
                  </a:lnTo>
                  <a:lnTo>
                    <a:pt x="222" y="180"/>
                  </a:lnTo>
                  <a:lnTo>
                    <a:pt x="220" y="180"/>
                  </a:lnTo>
                  <a:lnTo>
                    <a:pt x="217" y="182"/>
                  </a:lnTo>
                  <a:lnTo>
                    <a:pt x="215" y="182"/>
                  </a:lnTo>
                  <a:lnTo>
                    <a:pt x="210" y="182"/>
                  </a:lnTo>
                  <a:lnTo>
                    <a:pt x="210" y="184"/>
                  </a:lnTo>
                  <a:lnTo>
                    <a:pt x="212" y="187"/>
                  </a:lnTo>
                  <a:lnTo>
                    <a:pt x="212" y="191"/>
                  </a:lnTo>
                  <a:lnTo>
                    <a:pt x="212" y="194"/>
                  </a:lnTo>
                  <a:lnTo>
                    <a:pt x="212" y="194"/>
                  </a:lnTo>
                  <a:lnTo>
                    <a:pt x="212" y="196"/>
                  </a:lnTo>
                  <a:lnTo>
                    <a:pt x="212" y="199"/>
                  </a:lnTo>
                  <a:lnTo>
                    <a:pt x="212" y="199"/>
                  </a:lnTo>
                  <a:lnTo>
                    <a:pt x="210" y="199"/>
                  </a:lnTo>
                  <a:lnTo>
                    <a:pt x="210" y="199"/>
                  </a:lnTo>
                  <a:lnTo>
                    <a:pt x="203" y="199"/>
                  </a:lnTo>
                  <a:lnTo>
                    <a:pt x="198" y="203"/>
                  </a:lnTo>
                  <a:lnTo>
                    <a:pt x="196" y="203"/>
                  </a:lnTo>
                  <a:lnTo>
                    <a:pt x="194" y="201"/>
                  </a:lnTo>
                  <a:lnTo>
                    <a:pt x="186" y="203"/>
                  </a:lnTo>
                  <a:lnTo>
                    <a:pt x="184" y="203"/>
                  </a:lnTo>
                  <a:lnTo>
                    <a:pt x="184" y="206"/>
                  </a:lnTo>
                  <a:lnTo>
                    <a:pt x="184" y="206"/>
                  </a:lnTo>
                  <a:lnTo>
                    <a:pt x="184" y="208"/>
                  </a:lnTo>
                  <a:lnTo>
                    <a:pt x="184" y="208"/>
                  </a:lnTo>
                  <a:lnTo>
                    <a:pt x="186" y="213"/>
                  </a:lnTo>
                  <a:lnTo>
                    <a:pt x="186" y="217"/>
                  </a:lnTo>
                  <a:lnTo>
                    <a:pt x="184" y="222"/>
                  </a:lnTo>
                  <a:lnTo>
                    <a:pt x="184" y="222"/>
                  </a:lnTo>
                  <a:lnTo>
                    <a:pt x="182" y="225"/>
                  </a:lnTo>
                  <a:lnTo>
                    <a:pt x="182" y="227"/>
                  </a:lnTo>
                  <a:lnTo>
                    <a:pt x="177" y="232"/>
                  </a:lnTo>
                  <a:lnTo>
                    <a:pt x="175" y="234"/>
                  </a:lnTo>
                  <a:lnTo>
                    <a:pt x="172" y="234"/>
                  </a:lnTo>
                  <a:lnTo>
                    <a:pt x="172" y="234"/>
                  </a:lnTo>
                  <a:lnTo>
                    <a:pt x="168" y="234"/>
                  </a:lnTo>
                  <a:lnTo>
                    <a:pt x="163" y="234"/>
                  </a:lnTo>
                  <a:lnTo>
                    <a:pt x="163" y="236"/>
                  </a:lnTo>
                  <a:lnTo>
                    <a:pt x="160" y="236"/>
                  </a:lnTo>
                  <a:lnTo>
                    <a:pt x="156" y="241"/>
                  </a:lnTo>
                  <a:lnTo>
                    <a:pt x="153" y="241"/>
                  </a:lnTo>
                  <a:lnTo>
                    <a:pt x="151" y="241"/>
                  </a:lnTo>
                  <a:lnTo>
                    <a:pt x="149" y="239"/>
                  </a:lnTo>
                  <a:lnTo>
                    <a:pt x="146" y="236"/>
                  </a:lnTo>
                  <a:lnTo>
                    <a:pt x="144" y="234"/>
                  </a:lnTo>
                  <a:lnTo>
                    <a:pt x="144" y="234"/>
                  </a:lnTo>
                  <a:lnTo>
                    <a:pt x="144" y="234"/>
                  </a:lnTo>
                  <a:lnTo>
                    <a:pt x="142" y="234"/>
                  </a:lnTo>
                  <a:lnTo>
                    <a:pt x="139" y="234"/>
                  </a:lnTo>
                  <a:lnTo>
                    <a:pt x="139" y="234"/>
                  </a:lnTo>
                  <a:lnTo>
                    <a:pt x="137" y="236"/>
                  </a:lnTo>
                  <a:lnTo>
                    <a:pt x="134" y="241"/>
                  </a:lnTo>
                  <a:lnTo>
                    <a:pt x="134" y="246"/>
                  </a:lnTo>
                  <a:lnTo>
                    <a:pt x="134" y="251"/>
                  </a:lnTo>
                  <a:lnTo>
                    <a:pt x="134" y="253"/>
                  </a:lnTo>
                  <a:lnTo>
                    <a:pt x="132" y="262"/>
                  </a:lnTo>
                  <a:lnTo>
                    <a:pt x="130" y="262"/>
                  </a:lnTo>
                  <a:lnTo>
                    <a:pt x="130" y="269"/>
                  </a:lnTo>
                  <a:lnTo>
                    <a:pt x="130" y="269"/>
                  </a:lnTo>
                  <a:lnTo>
                    <a:pt x="130" y="272"/>
                  </a:lnTo>
                  <a:lnTo>
                    <a:pt x="125" y="274"/>
                  </a:lnTo>
                  <a:lnTo>
                    <a:pt x="125" y="274"/>
                  </a:lnTo>
                  <a:lnTo>
                    <a:pt x="123" y="274"/>
                  </a:lnTo>
                  <a:lnTo>
                    <a:pt x="120" y="272"/>
                  </a:lnTo>
                  <a:lnTo>
                    <a:pt x="118" y="272"/>
                  </a:lnTo>
                  <a:lnTo>
                    <a:pt x="116" y="274"/>
                  </a:lnTo>
                  <a:lnTo>
                    <a:pt x="113" y="279"/>
                  </a:lnTo>
                  <a:lnTo>
                    <a:pt x="111" y="281"/>
                  </a:lnTo>
                  <a:lnTo>
                    <a:pt x="111" y="281"/>
                  </a:lnTo>
                  <a:lnTo>
                    <a:pt x="108" y="279"/>
                  </a:lnTo>
                  <a:lnTo>
                    <a:pt x="108" y="279"/>
                  </a:lnTo>
                  <a:lnTo>
                    <a:pt x="106" y="279"/>
                  </a:lnTo>
                  <a:lnTo>
                    <a:pt x="104" y="281"/>
                  </a:lnTo>
                  <a:lnTo>
                    <a:pt x="104" y="281"/>
                  </a:lnTo>
                  <a:lnTo>
                    <a:pt x="101" y="286"/>
                  </a:lnTo>
                  <a:lnTo>
                    <a:pt x="101" y="286"/>
                  </a:lnTo>
                  <a:lnTo>
                    <a:pt x="99" y="286"/>
                  </a:lnTo>
                  <a:lnTo>
                    <a:pt x="99" y="288"/>
                  </a:lnTo>
                  <a:lnTo>
                    <a:pt x="99" y="288"/>
                  </a:lnTo>
                  <a:lnTo>
                    <a:pt x="97" y="288"/>
                  </a:lnTo>
                  <a:lnTo>
                    <a:pt x="92" y="288"/>
                  </a:lnTo>
                  <a:lnTo>
                    <a:pt x="90" y="288"/>
                  </a:lnTo>
                  <a:lnTo>
                    <a:pt x="85" y="288"/>
                  </a:lnTo>
                  <a:lnTo>
                    <a:pt x="80" y="286"/>
                  </a:lnTo>
                  <a:lnTo>
                    <a:pt x="80" y="284"/>
                  </a:lnTo>
                  <a:lnTo>
                    <a:pt x="75" y="284"/>
                  </a:lnTo>
                  <a:lnTo>
                    <a:pt x="73" y="286"/>
                  </a:lnTo>
                  <a:lnTo>
                    <a:pt x="73" y="284"/>
                  </a:lnTo>
                  <a:lnTo>
                    <a:pt x="75" y="281"/>
                  </a:lnTo>
                  <a:lnTo>
                    <a:pt x="75" y="279"/>
                  </a:lnTo>
                  <a:lnTo>
                    <a:pt x="75" y="279"/>
                  </a:lnTo>
                  <a:lnTo>
                    <a:pt x="78" y="279"/>
                  </a:lnTo>
                  <a:lnTo>
                    <a:pt x="78" y="279"/>
                  </a:lnTo>
                  <a:lnTo>
                    <a:pt x="78" y="277"/>
                  </a:lnTo>
                  <a:lnTo>
                    <a:pt x="75" y="274"/>
                  </a:lnTo>
                  <a:lnTo>
                    <a:pt x="78" y="272"/>
                  </a:lnTo>
                  <a:lnTo>
                    <a:pt x="78" y="272"/>
                  </a:lnTo>
                  <a:lnTo>
                    <a:pt x="78" y="269"/>
                  </a:lnTo>
                  <a:lnTo>
                    <a:pt x="75" y="267"/>
                  </a:lnTo>
                  <a:lnTo>
                    <a:pt x="75" y="265"/>
                  </a:lnTo>
                  <a:lnTo>
                    <a:pt x="78" y="265"/>
                  </a:lnTo>
                  <a:lnTo>
                    <a:pt x="78" y="265"/>
                  </a:lnTo>
                  <a:lnTo>
                    <a:pt x="80" y="265"/>
                  </a:lnTo>
                  <a:lnTo>
                    <a:pt x="82" y="265"/>
                  </a:lnTo>
                  <a:lnTo>
                    <a:pt x="82" y="265"/>
                  </a:lnTo>
                  <a:lnTo>
                    <a:pt x="82" y="262"/>
                  </a:lnTo>
                  <a:lnTo>
                    <a:pt x="85" y="262"/>
                  </a:lnTo>
                  <a:lnTo>
                    <a:pt x="85" y="262"/>
                  </a:lnTo>
                  <a:lnTo>
                    <a:pt x="85" y="260"/>
                  </a:lnTo>
                  <a:lnTo>
                    <a:pt x="85" y="260"/>
                  </a:lnTo>
                  <a:lnTo>
                    <a:pt x="85" y="258"/>
                  </a:lnTo>
                  <a:lnTo>
                    <a:pt x="82" y="255"/>
                  </a:lnTo>
                  <a:lnTo>
                    <a:pt x="85" y="253"/>
                  </a:lnTo>
                  <a:lnTo>
                    <a:pt x="85" y="253"/>
                  </a:lnTo>
                  <a:lnTo>
                    <a:pt x="85" y="251"/>
                  </a:lnTo>
                  <a:lnTo>
                    <a:pt x="85" y="251"/>
                  </a:lnTo>
                  <a:lnTo>
                    <a:pt x="85" y="248"/>
                  </a:lnTo>
                  <a:lnTo>
                    <a:pt x="87" y="246"/>
                  </a:lnTo>
                  <a:lnTo>
                    <a:pt x="85" y="246"/>
                  </a:lnTo>
                  <a:lnTo>
                    <a:pt x="85" y="243"/>
                  </a:lnTo>
                  <a:lnTo>
                    <a:pt x="82" y="243"/>
                  </a:lnTo>
                  <a:lnTo>
                    <a:pt x="80" y="243"/>
                  </a:lnTo>
                  <a:lnTo>
                    <a:pt x="78" y="243"/>
                  </a:lnTo>
                  <a:lnTo>
                    <a:pt x="75" y="241"/>
                  </a:lnTo>
                  <a:lnTo>
                    <a:pt x="75" y="241"/>
                  </a:lnTo>
                  <a:lnTo>
                    <a:pt x="75" y="241"/>
                  </a:lnTo>
                  <a:lnTo>
                    <a:pt x="75" y="241"/>
                  </a:lnTo>
                  <a:lnTo>
                    <a:pt x="73" y="239"/>
                  </a:lnTo>
                  <a:lnTo>
                    <a:pt x="71" y="241"/>
                  </a:lnTo>
                  <a:lnTo>
                    <a:pt x="71" y="239"/>
                  </a:lnTo>
                  <a:lnTo>
                    <a:pt x="71" y="239"/>
                  </a:lnTo>
                  <a:lnTo>
                    <a:pt x="68" y="236"/>
                  </a:lnTo>
                  <a:lnTo>
                    <a:pt x="66" y="236"/>
                  </a:lnTo>
                  <a:lnTo>
                    <a:pt x="68" y="234"/>
                  </a:lnTo>
                  <a:lnTo>
                    <a:pt x="66" y="234"/>
                  </a:lnTo>
                  <a:lnTo>
                    <a:pt x="66" y="232"/>
                  </a:lnTo>
                  <a:lnTo>
                    <a:pt x="66" y="232"/>
                  </a:lnTo>
                  <a:lnTo>
                    <a:pt x="66" y="229"/>
                  </a:lnTo>
                  <a:lnTo>
                    <a:pt x="66" y="229"/>
                  </a:lnTo>
                  <a:lnTo>
                    <a:pt x="66" y="227"/>
                  </a:lnTo>
                  <a:lnTo>
                    <a:pt x="64" y="225"/>
                  </a:lnTo>
                  <a:lnTo>
                    <a:pt x="64" y="225"/>
                  </a:lnTo>
                  <a:lnTo>
                    <a:pt x="64" y="220"/>
                  </a:lnTo>
                  <a:lnTo>
                    <a:pt x="61" y="220"/>
                  </a:lnTo>
                  <a:lnTo>
                    <a:pt x="61" y="215"/>
                  </a:lnTo>
                  <a:lnTo>
                    <a:pt x="59" y="215"/>
                  </a:lnTo>
                  <a:lnTo>
                    <a:pt x="59" y="213"/>
                  </a:lnTo>
                  <a:lnTo>
                    <a:pt x="57" y="213"/>
                  </a:lnTo>
                  <a:lnTo>
                    <a:pt x="57" y="208"/>
                  </a:lnTo>
                  <a:lnTo>
                    <a:pt x="57" y="208"/>
                  </a:lnTo>
                  <a:lnTo>
                    <a:pt x="57" y="208"/>
                  </a:lnTo>
                  <a:lnTo>
                    <a:pt x="54" y="206"/>
                  </a:lnTo>
                  <a:lnTo>
                    <a:pt x="54" y="206"/>
                  </a:lnTo>
                  <a:lnTo>
                    <a:pt x="52" y="206"/>
                  </a:lnTo>
                  <a:lnTo>
                    <a:pt x="49" y="206"/>
                  </a:lnTo>
                  <a:lnTo>
                    <a:pt x="49" y="203"/>
                  </a:lnTo>
                  <a:lnTo>
                    <a:pt x="47" y="203"/>
                  </a:lnTo>
                  <a:lnTo>
                    <a:pt x="45" y="203"/>
                  </a:lnTo>
                  <a:lnTo>
                    <a:pt x="45" y="203"/>
                  </a:lnTo>
                  <a:lnTo>
                    <a:pt x="42" y="206"/>
                  </a:lnTo>
                  <a:lnTo>
                    <a:pt x="40" y="206"/>
                  </a:lnTo>
                  <a:lnTo>
                    <a:pt x="42" y="201"/>
                  </a:lnTo>
                  <a:lnTo>
                    <a:pt x="40" y="199"/>
                  </a:lnTo>
                  <a:lnTo>
                    <a:pt x="40" y="199"/>
                  </a:lnTo>
                  <a:lnTo>
                    <a:pt x="38" y="199"/>
                  </a:lnTo>
                  <a:lnTo>
                    <a:pt x="35" y="199"/>
                  </a:lnTo>
                  <a:lnTo>
                    <a:pt x="35" y="199"/>
                  </a:lnTo>
                  <a:lnTo>
                    <a:pt x="35" y="199"/>
                  </a:lnTo>
                  <a:lnTo>
                    <a:pt x="35" y="199"/>
                  </a:lnTo>
                  <a:lnTo>
                    <a:pt x="33" y="199"/>
                  </a:lnTo>
                  <a:lnTo>
                    <a:pt x="31" y="196"/>
                  </a:lnTo>
                  <a:lnTo>
                    <a:pt x="31" y="196"/>
                  </a:lnTo>
                  <a:lnTo>
                    <a:pt x="31" y="194"/>
                  </a:lnTo>
                  <a:lnTo>
                    <a:pt x="28" y="194"/>
                  </a:lnTo>
                  <a:lnTo>
                    <a:pt x="28" y="191"/>
                  </a:lnTo>
                  <a:lnTo>
                    <a:pt x="28" y="191"/>
                  </a:lnTo>
                  <a:lnTo>
                    <a:pt x="28" y="189"/>
                  </a:lnTo>
                  <a:lnTo>
                    <a:pt x="28" y="189"/>
                  </a:lnTo>
                  <a:lnTo>
                    <a:pt x="31" y="187"/>
                  </a:lnTo>
                  <a:lnTo>
                    <a:pt x="23" y="189"/>
                  </a:lnTo>
                  <a:lnTo>
                    <a:pt x="23" y="187"/>
                  </a:lnTo>
                  <a:lnTo>
                    <a:pt x="23" y="189"/>
                  </a:lnTo>
                  <a:lnTo>
                    <a:pt x="21" y="187"/>
                  </a:lnTo>
                  <a:lnTo>
                    <a:pt x="21" y="189"/>
                  </a:lnTo>
                  <a:lnTo>
                    <a:pt x="19" y="187"/>
                  </a:lnTo>
                  <a:lnTo>
                    <a:pt x="19" y="189"/>
                  </a:lnTo>
                  <a:lnTo>
                    <a:pt x="16" y="187"/>
                  </a:lnTo>
                  <a:lnTo>
                    <a:pt x="16" y="187"/>
                  </a:lnTo>
                  <a:lnTo>
                    <a:pt x="14" y="189"/>
                  </a:lnTo>
                  <a:lnTo>
                    <a:pt x="14" y="189"/>
                  </a:lnTo>
                  <a:lnTo>
                    <a:pt x="12" y="189"/>
                  </a:lnTo>
                  <a:lnTo>
                    <a:pt x="9" y="191"/>
                  </a:lnTo>
                  <a:lnTo>
                    <a:pt x="9" y="191"/>
                  </a:lnTo>
                  <a:lnTo>
                    <a:pt x="7" y="191"/>
                  </a:lnTo>
                  <a:lnTo>
                    <a:pt x="5" y="189"/>
                  </a:lnTo>
                  <a:lnTo>
                    <a:pt x="2" y="189"/>
                  </a:lnTo>
                  <a:lnTo>
                    <a:pt x="0" y="187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 cap="flat">
              <a:solidFill>
                <a:schemeClr val="bg2">
                  <a:lumMod val="7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>
                <a:solidFill>
                  <a:srgbClr val="000000"/>
                </a:solidFill>
              </a:endParaRPr>
            </a:p>
          </p:txBody>
        </p:sp>
        <p:sp>
          <p:nvSpPr>
            <p:cNvPr id="28" name="Freeform 28"/>
            <p:cNvSpPr>
              <a:spLocks/>
            </p:cNvSpPr>
            <p:nvPr/>
          </p:nvSpPr>
          <p:spPr bwMode="gray">
            <a:xfrm>
              <a:off x="3056033" y="3155406"/>
              <a:ext cx="576136" cy="939283"/>
            </a:xfrm>
            <a:custGeom>
              <a:avLst/>
              <a:gdLst/>
              <a:ahLst/>
              <a:cxnLst>
                <a:cxn ang="0">
                  <a:pos x="16" y="938"/>
                </a:cxn>
                <a:cxn ang="0">
                  <a:pos x="21" y="898"/>
                </a:cxn>
                <a:cxn ang="0">
                  <a:pos x="19" y="867"/>
                </a:cxn>
                <a:cxn ang="0">
                  <a:pos x="7" y="836"/>
                </a:cxn>
                <a:cxn ang="0">
                  <a:pos x="2" y="799"/>
                </a:cxn>
                <a:cxn ang="0">
                  <a:pos x="26" y="770"/>
                </a:cxn>
                <a:cxn ang="0">
                  <a:pos x="37" y="733"/>
                </a:cxn>
                <a:cxn ang="0">
                  <a:pos x="54" y="683"/>
                </a:cxn>
                <a:cxn ang="0">
                  <a:pos x="63" y="655"/>
                </a:cxn>
                <a:cxn ang="0">
                  <a:pos x="82" y="633"/>
                </a:cxn>
                <a:cxn ang="0">
                  <a:pos x="130" y="621"/>
                </a:cxn>
                <a:cxn ang="0">
                  <a:pos x="167" y="600"/>
                </a:cxn>
                <a:cxn ang="0">
                  <a:pos x="217" y="567"/>
                </a:cxn>
                <a:cxn ang="0">
                  <a:pos x="241" y="532"/>
                </a:cxn>
                <a:cxn ang="0">
                  <a:pos x="288" y="518"/>
                </a:cxn>
                <a:cxn ang="0">
                  <a:pos x="328" y="536"/>
                </a:cxn>
                <a:cxn ang="0">
                  <a:pos x="389" y="513"/>
                </a:cxn>
                <a:cxn ang="0">
                  <a:pos x="396" y="461"/>
                </a:cxn>
                <a:cxn ang="0">
                  <a:pos x="370" y="423"/>
                </a:cxn>
                <a:cxn ang="0">
                  <a:pos x="378" y="366"/>
                </a:cxn>
                <a:cxn ang="0">
                  <a:pos x="399" y="305"/>
                </a:cxn>
                <a:cxn ang="0">
                  <a:pos x="394" y="244"/>
                </a:cxn>
                <a:cxn ang="0">
                  <a:pos x="382" y="194"/>
                </a:cxn>
                <a:cxn ang="0">
                  <a:pos x="420" y="137"/>
                </a:cxn>
                <a:cxn ang="0">
                  <a:pos x="444" y="92"/>
                </a:cxn>
                <a:cxn ang="0">
                  <a:pos x="479" y="88"/>
                </a:cxn>
                <a:cxn ang="0">
                  <a:pos x="510" y="59"/>
                </a:cxn>
                <a:cxn ang="0">
                  <a:pos x="524" y="12"/>
                </a:cxn>
                <a:cxn ang="0">
                  <a:pos x="578" y="24"/>
                </a:cxn>
                <a:cxn ang="0">
                  <a:pos x="597" y="50"/>
                </a:cxn>
                <a:cxn ang="0">
                  <a:pos x="593" y="99"/>
                </a:cxn>
                <a:cxn ang="0">
                  <a:pos x="595" y="144"/>
                </a:cxn>
                <a:cxn ang="0">
                  <a:pos x="607" y="168"/>
                </a:cxn>
                <a:cxn ang="0">
                  <a:pos x="611" y="220"/>
                </a:cxn>
                <a:cxn ang="0">
                  <a:pos x="602" y="265"/>
                </a:cxn>
                <a:cxn ang="0">
                  <a:pos x="621" y="305"/>
                </a:cxn>
                <a:cxn ang="0">
                  <a:pos x="642" y="333"/>
                </a:cxn>
                <a:cxn ang="0">
                  <a:pos x="645" y="369"/>
                </a:cxn>
                <a:cxn ang="0">
                  <a:pos x="647" y="433"/>
                </a:cxn>
                <a:cxn ang="0">
                  <a:pos x="663" y="501"/>
                </a:cxn>
                <a:cxn ang="0">
                  <a:pos x="713" y="532"/>
                </a:cxn>
                <a:cxn ang="0">
                  <a:pos x="696" y="579"/>
                </a:cxn>
                <a:cxn ang="0">
                  <a:pos x="673" y="657"/>
                </a:cxn>
                <a:cxn ang="0">
                  <a:pos x="675" y="709"/>
                </a:cxn>
                <a:cxn ang="0">
                  <a:pos x="649" y="735"/>
                </a:cxn>
                <a:cxn ang="0">
                  <a:pos x="621" y="756"/>
                </a:cxn>
                <a:cxn ang="0">
                  <a:pos x="585" y="782"/>
                </a:cxn>
                <a:cxn ang="0">
                  <a:pos x="552" y="818"/>
                </a:cxn>
                <a:cxn ang="0">
                  <a:pos x="512" y="853"/>
                </a:cxn>
                <a:cxn ang="0">
                  <a:pos x="453" y="872"/>
                </a:cxn>
                <a:cxn ang="0">
                  <a:pos x="415" y="891"/>
                </a:cxn>
                <a:cxn ang="0">
                  <a:pos x="382" y="872"/>
                </a:cxn>
                <a:cxn ang="0">
                  <a:pos x="345" y="872"/>
                </a:cxn>
                <a:cxn ang="0">
                  <a:pos x="295" y="872"/>
                </a:cxn>
                <a:cxn ang="0">
                  <a:pos x="293" y="926"/>
                </a:cxn>
                <a:cxn ang="0">
                  <a:pos x="281" y="964"/>
                </a:cxn>
                <a:cxn ang="0">
                  <a:pos x="248" y="1014"/>
                </a:cxn>
                <a:cxn ang="0">
                  <a:pos x="203" y="1028"/>
                </a:cxn>
                <a:cxn ang="0">
                  <a:pos x="165" y="1049"/>
                </a:cxn>
                <a:cxn ang="0">
                  <a:pos x="120" y="1063"/>
                </a:cxn>
                <a:cxn ang="0">
                  <a:pos x="73" y="1032"/>
                </a:cxn>
                <a:cxn ang="0">
                  <a:pos x="54" y="973"/>
                </a:cxn>
              </a:cxnLst>
              <a:rect l="0" t="0" r="r" b="b"/>
              <a:pathLst>
                <a:path w="713" h="1073">
                  <a:moveTo>
                    <a:pt x="4" y="983"/>
                  </a:moveTo>
                  <a:lnTo>
                    <a:pt x="4" y="978"/>
                  </a:lnTo>
                  <a:lnTo>
                    <a:pt x="4" y="976"/>
                  </a:lnTo>
                  <a:lnTo>
                    <a:pt x="4" y="976"/>
                  </a:lnTo>
                  <a:lnTo>
                    <a:pt x="7" y="976"/>
                  </a:lnTo>
                  <a:lnTo>
                    <a:pt x="7" y="976"/>
                  </a:lnTo>
                  <a:lnTo>
                    <a:pt x="9" y="973"/>
                  </a:lnTo>
                  <a:lnTo>
                    <a:pt x="9" y="971"/>
                  </a:lnTo>
                  <a:lnTo>
                    <a:pt x="9" y="971"/>
                  </a:lnTo>
                  <a:lnTo>
                    <a:pt x="11" y="971"/>
                  </a:lnTo>
                  <a:lnTo>
                    <a:pt x="11" y="966"/>
                  </a:lnTo>
                  <a:lnTo>
                    <a:pt x="14" y="964"/>
                  </a:lnTo>
                  <a:lnTo>
                    <a:pt x="14" y="964"/>
                  </a:lnTo>
                  <a:lnTo>
                    <a:pt x="16" y="959"/>
                  </a:lnTo>
                  <a:lnTo>
                    <a:pt x="14" y="957"/>
                  </a:lnTo>
                  <a:lnTo>
                    <a:pt x="14" y="957"/>
                  </a:lnTo>
                  <a:lnTo>
                    <a:pt x="14" y="955"/>
                  </a:lnTo>
                  <a:lnTo>
                    <a:pt x="16" y="952"/>
                  </a:lnTo>
                  <a:lnTo>
                    <a:pt x="16" y="950"/>
                  </a:lnTo>
                  <a:lnTo>
                    <a:pt x="16" y="950"/>
                  </a:lnTo>
                  <a:lnTo>
                    <a:pt x="16" y="947"/>
                  </a:lnTo>
                  <a:lnTo>
                    <a:pt x="19" y="945"/>
                  </a:lnTo>
                  <a:lnTo>
                    <a:pt x="19" y="945"/>
                  </a:lnTo>
                  <a:lnTo>
                    <a:pt x="19" y="943"/>
                  </a:lnTo>
                  <a:lnTo>
                    <a:pt x="19" y="940"/>
                  </a:lnTo>
                  <a:lnTo>
                    <a:pt x="16" y="938"/>
                  </a:lnTo>
                  <a:lnTo>
                    <a:pt x="16" y="938"/>
                  </a:lnTo>
                  <a:lnTo>
                    <a:pt x="16" y="936"/>
                  </a:lnTo>
                  <a:lnTo>
                    <a:pt x="16" y="933"/>
                  </a:lnTo>
                  <a:lnTo>
                    <a:pt x="16" y="933"/>
                  </a:lnTo>
                  <a:lnTo>
                    <a:pt x="16" y="931"/>
                  </a:lnTo>
                  <a:lnTo>
                    <a:pt x="16" y="929"/>
                  </a:lnTo>
                  <a:lnTo>
                    <a:pt x="16" y="929"/>
                  </a:lnTo>
                  <a:lnTo>
                    <a:pt x="19" y="926"/>
                  </a:lnTo>
                  <a:lnTo>
                    <a:pt x="19" y="924"/>
                  </a:lnTo>
                  <a:lnTo>
                    <a:pt x="19" y="924"/>
                  </a:lnTo>
                  <a:lnTo>
                    <a:pt x="21" y="921"/>
                  </a:lnTo>
                  <a:lnTo>
                    <a:pt x="21" y="919"/>
                  </a:lnTo>
                  <a:lnTo>
                    <a:pt x="21" y="919"/>
                  </a:lnTo>
                  <a:lnTo>
                    <a:pt x="21" y="919"/>
                  </a:lnTo>
                  <a:lnTo>
                    <a:pt x="21" y="917"/>
                  </a:lnTo>
                  <a:lnTo>
                    <a:pt x="21" y="917"/>
                  </a:lnTo>
                  <a:lnTo>
                    <a:pt x="21" y="914"/>
                  </a:lnTo>
                  <a:lnTo>
                    <a:pt x="21" y="912"/>
                  </a:lnTo>
                  <a:lnTo>
                    <a:pt x="19" y="912"/>
                  </a:lnTo>
                  <a:lnTo>
                    <a:pt x="21" y="912"/>
                  </a:lnTo>
                  <a:lnTo>
                    <a:pt x="19" y="910"/>
                  </a:lnTo>
                  <a:lnTo>
                    <a:pt x="21" y="907"/>
                  </a:lnTo>
                  <a:lnTo>
                    <a:pt x="19" y="905"/>
                  </a:lnTo>
                  <a:lnTo>
                    <a:pt x="21" y="903"/>
                  </a:lnTo>
                  <a:lnTo>
                    <a:pt x="21" y="900"/>
                  </a:lnTo>
                  <a:lnTo>
                    <a:pt x="21" y="900"/>
                  </a:lnTo>
                  <a:lnTo>
                    <a:pt x="21" y="900"/>
                  </a:lnTo>
                  <a:lnTo>
                    <a:pt x="21" y="898"/>
                  </a:lnTo>
                  <a:lnTo>
                    <a:pt x="19" y="898"/>
                  </a:lnTo>
                  <a:lnTo>
                    <a:pt x="19" y="898"/>
                  </a:lnTo>
                  <a:lnTo>
                    <a:pt x="19" y="895"/>
                  </a:lnTo>
                  <a:lnTo>
                    <a:pt x="19" y="893"/>
                  </a:lnTo>
                  <a:lnTo>
                    <a:pt x="19" y="893"/>
                  </a:lnTo>
                  <a:lnTo>
                    <a:pt x="21" y="891"/>
                  </a:lnTo>
                  <a:lnTo>
                    <a:pt x="19" y="888"/>
                  </a:lnTo>
                  <a:lnTo>
                    <a:pt x="21" y="888"/>
                  </a:lnTo>
                  <a:lnTo>
                    <a:pt x="21" y="888"/>
                  </a:lnTo>
                  <a:lnTo>
                    <a:pt x="23" y="884"/>
                  </a:lnTo>
                  <a:lnTo>
                    <a:pt x="23" y="884"/>
                  </a:lnTo>
                  <a:lnTo>
                    <a:pt x="23" y="884"/>
                  </a:lnTo>
                  <a:lnTo>
                    <a:pt x="26" y="881"/>
                  </a:lnTo>
                  <a:lnTo>
                    <a:pt x="26" y="881"/>
                  </a:lnTo>
                  <a:lnTo>
                    <a:pt x="26" y="879"/>
                  </a:lnTo>
                  <a:lnTo>
                    <a:pt x="26" y="879"/>
                  </a:lnTo>
                  <a:lnTo>
                    <a:pt x="26" y="879"/>
                  </a:lnTo>
                  <a:lnTo>
                    <a:pt x="26" y="879"/>
                  </a:lnTo>
                  <a:lnTo>
                    <a:pt x="26" y="877"/>
                  </a:lnTo>
                  <a:lnTo>
                    <a:pt x="23" y="877"/>
                  </a:lnTo>
                  <a:lnTo>
                    <a:pt x="26" y="877"/>
                  </a:lnTo>
                  <a:lnTo>
                    <a:pt x="23" y="877"/>
                  </a:lnTo>
                  <a:lnTo>
                    <a:pt x="23" y="874"/>
                  </a:lnTo>
                  <a:lnTo>
                    <a:pt x="23" y="874"/>
                  </a:lnTo>
                  <a:lnTo>
                    <a:pt x="21" y="870"/>
                  </a:lnTo>
                  <a:lnTo>
                    <a:pt x="21" y="867"/>
                  </a:lnTo>
                  <a:lnTo>
                    <a:pt x="19" y="867"/>
                  </a:lnTo>
                  <a:lnTo>
                    <a:pt x="19" y="865"/>
                  </a:lnTo>
                  <a:lnTo>
                    <a:pt x="16" y="865"/>
                  </a:lnTo>
                  <a:lnTo>
                    <a:pt x="14" y="865"/>
                  </a:lnTo>
                  <a:lnTo>
                    <a:pt x="14" y="865"/>
                  </a:lnTo>
                  <a:lnTo>
                    <a:pt x="14" y="865"/>
                  </a:lnTo>
                  <a:lnTo>
                    <a:pt x="11" y="865"/>
                  </a:lnTo>
                  <a:lnTo>
                    <a:pt x="14" y="862"/>
                  </a:lnTo>
                  <a:lnTo>
                    <a:pt x="11" y="862"/>
                  </a:lnTo>
                  <a:lnTo>
                    <a:pt x="11" y="860"/>
                  </a:lnTo>
                  <a:lnTo>
                    <a:pt x="11" y="860"/>
                  </a:lnTo>
                  <a:lnTo>
                    <a:pt x="11" y="860"/>
                  </a:lnTo>
                  <a:lnTo>
                    <a:pt x="9" y="858"/>
                  </a:lnTo>
                  <a:lnTo>
                    <a:pt x="9" y="858"/>
                  </a:lnTo>
                  <a:lnTo>
                    <a:pt x="11" y="858"/>
                  </a:lnTo>
                  <a:lnTo>
                    <a:pt x="11" y="855"/>
                  </a:lnTo>
                  <a:lnTo>
                    <a:pt x="11" y="853"/>
                  </a:lnTo>
                  <a:lnTo>
                    <a:pt x="11" y="853"/>
                  </a:lnTo>
                  <a:lnTo>
                    <a:pt x="11" y="848"/>
                  </a:lnTo>
                  <a:lnTo>
                    <a:pt x="11" y="848"/>
                  </a:lnTo>
                  <a:lnTo>
                    <a:pt x="11" y="846"/>
                  </a:lnTo>
                  <a:lnTo>
                    <a:pt x="9" y="844"/>
                  </a:lnTo>
                  <a:lnTo>
                    <a:pt x="11" y="844"/>
                  </a:lnTo>
                  <a:lnTo>
                    <a:pt x="11" y="844"/>
                  </a:lnTo>
                  <a:lnTo>
                    <a:pt x="9" y="841"/>
                  </a:lnTo>
                  <a:lnTo>
                    <a:pt x="9" y="841"/>
                  </a:lnTo>
                  <a:lnTo>
                    <a:pt x="9" y="839"/>
                  </a:lnTo>
                  <a:lnTo>
                    <a:pt x="7" y="836"/>
                  </a:lnTo>
                  <a:lnTo>
                    <a:pt x="7" y="834"/>
                  </a:lnTo>
                  <a:lnTo>
                    <a:pt x="7" y="832"/>
                  </a:lnTo>
                  <a:lnTo>
                    <a:pt x="9" y="832"/>
                  </a:lnTo>
                  <a:lnTo>
                    <a:pt x="9" y="829"/>
                  </a:lnTo>
                  <a:lnTo>
                    <a:pt x="7" y="829"/>
                  </a:lnTo>
                  <a:lnTo>
                    <a:pt x="7" y="829"/>
                  </a:lnTo>
                  <a:lnTo>
                    <a:pt x="7" y="827"/>
                  </a:lnTo>
                  <a:lnTo>
                    <a:pt x="7" y="827"/>
                  </a:lnTo>
                  <a:lnTo>
                    <a:pt x="7" y="827"/>
                  </a:lnTo>
                  <a:lnTo>
                    <a:pt x="7" y="825"/>
                  </a:lnTo>
                  <a:lnTo>
                    <a:pt x="7" y="822"/>
                  </a:lnTo>
                  <a:lnTo>
                    <a:pt x="7" y="820"/>
                  </a:lnTo>
                  <a:lnTo>
                    <a:pt x="2" y="820"/>
                  </a:lnTo>
                  <a:lnTo>
                    <a:pt x="2" y="818"/>
                  </a:lnTo>
                  <a:lnTo>
                    <a:pt x="0" y="815"/>
                  </a:lnTo>
                  <a:lnTo>
                    <a:pt x="0" y="815"/>
                  </a:lnTo>
                  <a:lnTo>
                    <a:pt x="0" y="810"/>
                  </a:lnTo>
                  <a:lnTo>
                    <a:pt x="0" y="810"/>
                  </a:lnTo>
                  <a:lnTo>
                    <a:pt x="0" y="808"/>
                  </a:lnTo>
                  <a:lnTo>
                    <a:pt x="0" y="808"/>
                  </a:lnTo>
                  <a:lnTo>
                    <a:pt x="0" y="806"/>
                  </a:lnTo>
                  <a:lnTo>
                    <a:pt x="0" y="806"/>
                  </a:lnTo>
                  <a:lnTo>
                    <a:pt x="0" y="803"/>
                  </a:lnTo>
                  <a:lnTo>
                    <a:pt x="2" y="803"/>
                  </a:lnTo>
                  <a:lnTo>
                    <a:pt x="2" y="801"/>
                  </a:lnTo>
                  <a:lnTo>
                    <a:pt x="2" y="801"/>
                  </a:lnTo>
                  <a:lnTo>
                    <a:pt x="2" y="799"/>
                  </a:lnTo>
                  <a:lnTo>
                    <a:pt x="4" y="799"/>
                  </a:lnTo>
                  <a:lnTo>
                    <a:pt x="4" y="799"/>
                  </a:lnTo>
                  <a:lnTo>
                    <a:pt x="7" y="799"/>
                  </a:lnTo>
                  <a:lnTo>
                    <a:pt x="7" y="796"/>
                  </a:lnTo>
                  <a:lnTo>
                    <a:pt x="4" y="796"/>
                  </a:lnTo>
                  <a:lnTo>
                    <a:pt x="2" y="796"/>
                  </a:lnTo>
                  <a:lnTo>
                    <a:pt x="4" y="794"/>
                  </a:lnTo>
                  <a:lnTo>
                    <a:pt x="7" y="792"/>
                  </a:lnTo>
                  <a:lnTo>
                    <a:pt x="7" y="792"/>
                  </a:lnTo>
                  <a:lnTo>
                    <a:pt x="7" y="789"/>
                  </a:lnTo>
                  <a:lnTo>
                    <a:pt x="7" y="789"/>
                  </a:lnTo>
                  <a:lnTo>
                    <a:pt x="9" y="787"/>
                  </a:lnTo>
                  <a:lnTo>
                    <a:pt x="11" y="789"/>
                  </a:lnTo>
                  <a:lnTo>
                    <a:pt x="14" y="784"/>
                  </a:lnTo>
                  <a:lnTo>
                    <a:pt x="14" y="784"/>
                  </a:lnTo>
                  <a:lnTo>
                    <a:pt x="16" y="784"/>
                  </a:lnTo>
                  <a:lnTo>
                    <a:pt x="16" y="782"/>
                  </a:lnTo>
                  <a:lnTo>
                    <a:pt x="16" y="782"/>
                  </a:lnTo>
                  <a:lnTo>
                    <a:pt x="19" y="782"/>
                  </a:lnTo>
                  <a:lnTo>
                    <a:pt x="21" y="775"/>
                  </a:lnTo>
                  <a:lnTo>
                    <a:pt x="23" y="775"/>
                  </a:lnTo>
                  <a:lnTo>
                    <a:pt x="21" y="773"/>
                  </a:lnTo>
                  <a:lnTo>
                    <a:pt x="23" y="770"/>
                  </a:lnTo>
                  <a:lnTo>
                    <a:pt x="23" y="770"/>
                  </a:lnTo>
                  <a:lnTo>
                    <a:pt x="23" y="770"/>
                  </a:lnTo>
                  <a:lnTo>
                    <a:pt x="23" y="768"/>
                  </a:lnTo>
                  <a:lnTo>
                    <a:pt x="26" y="770"/>
                  </a:lnTo>
                  <a:lnTo>
                    <a:pt x="28" y="768"/>
                  </a:lnTo>
                  <a:lnTo>
                    <a:pt x="26" y="766"/>
                  </a:lnTo>
                  <a:lnTo>
                    <a:pt x="26" y="766"/>
                  </a:lnTo>
                  <a:lnTo>
                    <a:pt x="28" y="763"/>
                  </a:lnTo>
                  <a:lnTo>
                    <a:pt x="28" y="761"/>
                  </a:lnTo>
                  <a:lnTo>
                    <a:pt x="28" y="761"/>
                  </a:lnTo>
                  <a:lnTo>
                    <a:pt x="30" y="758"/>
                  </a:lnTo>
                  <a:lnTo>
                    <a:pt x="28" y="756"/>
                  </a:lnTo>
                  <a:lnTo>
                    <a:pt x="30" y="756"/>
                  </a:lnTo>
                  <a:lnTo>
                    <a:pt x="33" y="754"/>
                  </a:lnTo>
                  <a:lnTo>
                    <a:pt x="30" y="754"/>
                  </a:lnTo>
                  <a:lnTo>
                    <a:pt x="33" y="751"/>
                  </a:lnTo>
                  <a:lnTo>
                    <a:pt x="30" y="747"/>
                  </a:lnTo>
                  <a:lnTo>
                    <a:pt x="33" y="747"/>
                  </a:lnTo>
                  <a:lnTo>
                    <a:pt x="33" y="744"/>
                  </a:lnTo>
                  <a:lnTo>
                    <a:pt x="33" y="744"/>
                  </a:lnTo>
                  <a:lnTo>
                    <a:pt x="33" y="742"/>
                  </a:lnTo>
                  <a:lnTo>
                    <a:pt x="33" y="742"/>
                  </a:lnTo>
                  <a:lnTo>
                    <a:pt x="35" y="742"/>
                  </a:lnTo>
                  <a:lnTo>
                    <a:pt x="33" y="740"/>
                  </a:lnTo>
                  <a:lnTo>
                    <a:pt x="35" y="740"/>
                  </a:lnTo>
                  <a:lnTo>
                    <a:pt x="35" y="740"/>
                  </a:lnTo>
                  <a:lnTo>
                    <a:pt x="37" y="737"/>
                  </a:lnTo>
                  <a:lnTo>
                    <a:pt x="35" y="737"/>
                  </a:lnTo>
                  <a:lnTo>
                    <a:pt x="37" y="735"/>
                  </a:lnTo>
                  <a:lnTo>
                    <a:pt x="37" y="735"/>
                  </a:lnTo>
                  <a:lnTo>
                    <a:pt x="37" y="733"/>
                  </a:lnTo>
                  <a:lnTo>
                    <a:pt x="40" y="730"/>
                  </a:lnTo>
                  <a:lnTo>
                    <a:pt x="40" y="728"/>
                  </a:lnTo>
                  <a:lnTo>
                    <a:pt x="42" y="725"/>
                  </a:lnTo>
                  <a:lnTo>
                    <a:pt x="42" y="721"/>
                  </a:lnTo>
                  <a:lnTo>
                    <a:pt x="47" y="716"/>
                  </a:lnTo>
                  <a:lnTo>
                    <a:pt x="47" y="714"/>
                  </a:lnTo>
                  <a:lnTo>
                    <a:pt x="47" y="714"/>
                  </a:lnTo>
                  <a:lnTo>
                    <a:pt x="49" y="711"/>
                  </a:lnTo>
                  <a:lnTo>
                    <a:pt x="52" y="711"/>
                  </a:lnTo>
                  <a:lnTo>
                    <a:pt x="52" y="709"/>
                  </a:lnTo>
                  <a:lnTo>
                    <a:pt x="52" y="707"/>
                  </a:lnTo>
                  <a:lnTo>
                    <a:pt x="52" y="704"/>
                  </a:lnTo>
                  <a:lnTo>
                    <a:pt x="52" y="704"/>
                  </a:lnTo>
                  <a:lnTo>
                    <a:pt x="52" y="702"/>
                  </a:lnTo>
                  <a:lnTo>
                    <a:pt x="54" y="697"/>
                  </a:lnTo>
                  <a:lnTo>
                    <a:pt x="54" y="695"/>
                  </a:lnTo>
                  <a:lnTo>
                    <a:pt x="54" y="695"/>
                  </a:lnTo>
                  <a:lnTo>
                    <a:pt x="52" y="692"/>
                  </a:lnTo>
                  <a:lnTo>
                    <a:pt x="54" y="690"/>
                  </a:lnTo>
                  <a:lnTo>
                    <a:pt x="54" y="690"/>
                  </a:lnTo>
                  <a:lnTo>
                    <a:pt x="56" y="690"/>
                  </a:lnTo>
                  <a:lnTo>
                    <a:pt x="56" y="690"/>
                  </a:lnTo>
                  <a:lnTo>
                    <a:pt x="54" y="688"/>
                  </a:lnTo>
                  <a:lnTo>
                    <a:pt x="54" y="685"/>
                  </a:lnTo>
                  <a:lnTo>
                    <a:pt x="56" y="683"/>
                  </a:lnTo>
                  <a:lnTo>
                    <a:pt x="56" y="683"/>
                  </a:lnTo>
                  <a:lnTo>
                    <a:pt x="54" y="683"/>
                  </a:lnTo>
                  <a:lnTo>
                    <a:pt x="56" y="681"/>
                  </a:lnTo>
                  <a:lnTo>
                    <a:pt x="56" y="681"/>
                  </a:lnTo>
                  <a:lnTo>
                    <a:pt x="56" y="678"/>
                  </a:lnTo>
                  <a:lnTo>
                    <a:pt x="56" y="678"/>
                  </a:lnTo>
                  <a:lnTo>
                    <a:pt x="56" y="678"/>
                  </a:lnTo>
                  <a:lnTo>
                    <a:pt x="59" y="678"/>
                  </a:lnTo>
                  <a:lnTo>
                    <a:pt x="59" y="676"/>
                  </a:lnTo>
                  <a:lnTo>
                    <a:pt x="56" y="673"/>
                  </a:lnTo>
                  <a:lnTo>
                    <a:pt x="59" y="673"/>
                  </a:lnTo>
                  <a:lnTo>
                    <a:pt x="59" y="673"/>
                  </a:lnTo>
                  <a:lnTo>
                    <a:pt x="56" y="671"/>
                  </a:lnTo>
                  <a:lnTo>
                    <a:pt x="56" y="671"/>
                  </a:lnTo>
                  <a:lnTo>
                    <a:pt x="56" y="671"/>
                  </a:lnTo>
                  <a:lnTo>
                    <a:pt x="59" y="669"/>
                  </a:lnTo>
                  <a:lnTo>
                    <a:pt x="59" y="669"/>
                  </a:lnTo>
                  <a:lnTo>
                    <a:pt x="61" y="666"/>
                  </a:lnTo>
                  <a:lnTo>
                    <a:pt x="61" y="664"/>
                  </a:lnTo>
                  <a:lnTo>
                    <a:pt x="61" y="662"/>
                  </a:lnTo>
                  <a:lnTo>
                    <a:pt x="61" y="662"/>
                  </a:lnTo>
                  <a:lnTo>
                    <a:pt x="61" y="659"/>
                  </a:lnTo>
                  <a:lnTo>
                    <a:pt x="63" y="662"/>
                  </a:lnTo>
                  <a:lnTo>
                    <a:pt x="63" y="659"/>
                  </a:lnTo>
                  <a:lnTo>
                    <a:pt x="63" y="659"/>
                  </a:lnTo>
                  <a:lnTo>
                    <a:pt x="63" y="657"/>
                  </a:lnTo>
                  <a:lnTo>
                    <a:pt x="63" y="655"/>
                  </a:lnTo>
                  <a:lnTo>
                    <a:pt x="63" y="655"/>
                  </a:lnTo>
                  <a:lnTo>
                    <a:pt x="63" y="655"/>
                  </a:lnTo>
                  <a:lnTo>
                    <a:pt x="63" y="655"/>
                  </a:lnTo>
                  <a:lnTo>
                    <a:pt x="63" y="655"/>
                  </a:lnTo>
                  <a:lnTo>
                    <a:pt x="63" y="652"/>
                  </a:lnTo>
                  <a:lnTo>
                    <a:pt x="63" y="652"/>
                  </a:lnTo>
                  <a:lnTo>
                    <a:pt x="66" y="650"/>
                  </a:lnTo>
                  <a:lnTo>
                    <a:pt x="66" y="650"/>
                  </a:lnTo>
                  <a:lnTo>
                    <a:pt x="66" y="647"/>
                  </a:lnTo>
                  <a:lnTo>
                    <a:pt x="66" y="647"/>
                  </a:lnTo>
                  <a:lnTo>
                    <a:pt x="68" y="647"/>
                  </a:lnTo>
                  <a:lnTo>
                    <a:pt x="66" y="645"/>
                  </a:lnTo>
                  <a:lnTo>
                    <a:pt x="66" y="645"/>
                  </a:lnTo>
                  <a:lnTo>
                    <a:pt x="68" y="645"/>
                  </a:lnTo>
                  <a:lnTo>
                    <a:pt x="70" y="645"/>
                  </a:lnTo>
                  <a:lnTo>
                    <a:pt x="70" y="645"/>
                  </a:lnTo>
                  <a:lnTo>
                    <a:pt x="70" y="645"/>
                  </a:lnTo>
                  <a:lnTo>
                    <a:pt x="70" y="643"/>
                  </a:lnTo>
                  <a:lnTo>
                    <a:pt x="73" y="643"/>
                  </a:lnTo>
                  <a:lnTo>
                    <a:pt x="73" y="643"/>
                  </a:lnTo>
                  <a:lnTo>
                    <a:pt x="73" y="643"/>
                  </a:lnTo>
                  <a:lnTo>
                    <a:pt x="73" y="643"/>
                  </a:lnTo>
                  <a:lnTo>
                    <a:pt x="75" y="640"/>
                  </a:lnTo>
                  <a:lnTo>
                    <a:pt x="75" y="640"/>
                  </a:lnTo>
                  <a:lnTo>
                    <a:pt x="75" y="638"/>
                  </a:lnTo>
                  <a:lnTo>
                    <a:pt x="75" y="638"/>
                  </a:lnTo>
                  <a:lnTo>
                    <a:pt x="78" y="638"/>
                  </a:lnTo>
                  <a:lnTo>
                    <a:pt x="82" y="636"/>
                  </a:lnTo>
                  <a:lnTo>
                    <a:pt x="82" y="633"/>
                  </a:lnTo>
                  <a:lnTo>
                    <a:pt x="85" y="633"/>
                  </a:lnTo>
                  <a:lnTo>
                    <a:pt x="87" y="633"/>
                  </a:lnTo>
                  <a:lnTo>
                    <a:pt x="87" y="633"/>
                  </a:lnTo>
                  <a:lnTo>
                    <a:pt x="89" y="631"/>
                  </a:lnTo>
                  <a:lnTo>
                    <a:pt x="92" y="633"/>
                  </a:lnTo>
                  <a:lnTo>
                    <a:pt x="94" y="631"/>
                  </a:lnTo>
                  <a:lnTo>
                    <a:pt x="94" y="631"/>
                  </a:lnTo>
                  <a:lnTo>
                    <a:pt x="94" y="631"/>
                  </a:lnTo>
                  <a:lnTo>
                    <a:pt x="96" y="631"/>
                  </a:lnTo>
                  <a:lnTo>
                    <a:pt x="96" y="631"/>
                  </a:lnTo>
                  <a:lnTo>
                    <a:pt x="99" y="631"/>
                  </a:lnTo>
                  <a:lnTo>
                    <a:pt x="99" y="631"/>
                  </a:lnTo>
                  <a:lnTo>
                    <a:pt x="101" y="629"/>
                  </a:lnTo>
                  <a:lnTo>
                    <a:pt x="104" y="626"/>
                  </a:lnTo>
                  <a:lnTo>
                    <a:pt x="106" y="624"/>
                  </a:lnTo>
                  <a:lnTo>
                    <a:pt x="106" y="626"/>
                  </a:lnTo>
                  <a:lnTo>
                    <a:pt x="108" y="626"/>
                  </a:lnTo>
                  <a:lnTo>
                    <a:pt x="108" y="624"/>
                  </a:lnTo>
                  <a:lnTo>
                    <a:pt x="115" y="624"/>
                  </a:lnTo>
                  <a:lnTo>
                    <a:pt x="118" y="624"/>
                  </a:lnTo>
                  <a:lnTo>
                    <a:pt x="118" y="624"/>
                  </a:lnTo>
                  <a:lnTo>
                    <a:pt x="120" y="624"/>
                  </a:lnTo>
                  <a:lnTo>
                    <a:pt x="122" y="621"/>
                  </a:lnTo>
                  <a:lnTo>
                    <a:pt x="125" y="621"/>
                  </a:lnTo>
                  <a:lnTo>
                    <a:pt x="127" y="621"/>
                  </a:lnTo>
                  <a:lnTo>
                    <a:pt x="127" y="621"/>
                  </a:lnTo>
                  <a:lnTo>
                    <a:pt x="130" y="621"/>
                  </a:lnTo>
                  <a:lnTo>
                    <a:pt x="130" y="619"/>
                  </a:lnTo>
                  <a:lnTo>
                    <a:pt x="134" y="619"/>
                  </a:lnTo>
                  <a:lnTo>
                    <a:pt x="134" y="619"/>
                  </a:lnTo>
                  <a:lnTo>
                    <a:pt x="134" y="619"/>
                  </a:lnTo>
                  <a:lnTo>
                    <a:pt x="137" y="617"/>
                  </a:lnTo>
                  <a:lnTo>
                    <a:pt x="137" y="614"/>
                  </a:lnTo>
                  <a:lnTo>
                    <a:pt x="137" y="614"/>
                  </a:lnTo>
                  <a:lnTo>
                    <a:pt x="139" y="612"/>
                  </a:lnTo>
                  <a:lnTo>
                    <a:pt x="139" y="614"/>
                  </a:lnTo>
                  <a:lnTo>
                    <a:pt x="141" y="612"/>
                  </a:lnTo>
                  <a:lnTo>
                    <a:pt x="144" y="612"/>
                  </a:lnTo>
                  <a:lnTo>
                    <a:pt x="144" y="610"/>
                  </a:lnTo>
                  <a:lnTo>
                    <a:pt x="144" y="610"/>
                  </a:lnTo>
                  <a:lnTo>
                    <a:pt x="144" y="607"/>
                  </a:lnTo>
                  <a:lnTo>
                    <a:pt x="148" y="607"/>
                  </a:lnTo>
                  <a:lnTo>
                    <a:pt x="148" y="605"/>
                  </a:lnTo>
                  <a:lnTo>
                    <a:pt x="153" y="605"/>
                  </a:lnTo>
                  <a:lnTo>
                    <a:pt x="153" y="607"/>
                  </a:lnTo>
                  <a:lnTo>
                    <a:pt x="158" y="605"/>
                  </a:lnTo>
                  <a:lnTo>
                    <a:pt x="160" y="607"/>
                  </a:lnTo>
                  <a:lnTo>
                    <a:pt x="163" y="610"/>
                  </a:lnTo>
                  <a:lnTo>
                    <a:pt x="163" y="610"/>
                  </a:lnTo>
                  <a:lnTo>
                    <a:pt x="163" y="610"/>
                  </a:lnTo>
                  <a:lnTo>
                    <a:pt x="165" y="610"/>
                  </a:lnTo>
                  <a:lnTo>
                    <a:pt x="165" y="605"/>
                  </a:lnTo>
                  <a:lnTo>
                    <a:pt x="167" y="605"/>
                  </a:lnTo>
                  <a:lnTo>
                    <a:pt x="167" y="600"/>
                  </a:lnTo>
                  <a:lnTo>
                    <a:pt x="167" y="600"/>
                  </a:lnTo>
                  <a:lnTo>
                    <a:pt x="170" y="600"/>
                  </a:lnTo>
                  <a:lnTo>
                    <a:pt x="172" y="598"/>
                  </a:lnTo>
                  <a:lnTo>
                    <a:pt x="174" y="598"/>
                  </a:lnTo>
                  <a:lnTo>
                    <a:pt x="177" y="593"/>
                  </a:lnTo>
                  <a:lnTo>
                    <a:pt x="177" y="593"/>
                  </a:lnTo>
                  <a:lnTo>
                    <a:pt x="179" y="591"/>
                  </a:lnTo>
                  <a:lnTo>
                    <a:pt x="179" y="591"/>
                  </a:lnTo>
                  <a:lnTo>
                    <a:pt x="182" y="588"/>
                  </a:lnTo>
                  <a:lnTo>
                    <a:pt x="184" y="586"/>
                  </a:lnTo>
                  <a:lnTo>
                    <a:pt x="186" y="586"/>
                  </a:lnTo>
                  <a:lnTo>
                    <a:pt x="186" y="584"/>
                  </a:lnTo>
                  <a:lnTo>
                    <a:pt x="189" y="581"/>
                  </a:lnTo>
                  <a:lnTo>
                    <a:pt x="191" y="581"/>
                  </a:lnTo>
                  <a:lnTo>
                    <a:pt x="191" y="581"/>
                  </a:lnTo>
                  <a:lnTo>
                    <a:pt x="193" y="579"/>
                  </a:lnTo>
                  <a:lnTo>
                    <a:pt x="198" y="579"/>
                  </a:lnTo>
                  <a:lnTo>
                    <a:pt x="200" y="577"/>
                  </a:lnTo>
                  <a:lnTo>
                    <a:pt x="200" y="574"/>
                  </a:lnTo>
                  <a:lnTo>
                    <a:pt x="203" y="572"/>
                  </a:lnTo>
                  <a:lnTo>
                    <a:pt x="205" y="572"/>
                  </a:lnTo>
                  <a:lnTo>
                    <a:pt x="210" y="572"/>
                  </a:lnTo>
                  <a:lnTo>
                    <a:pt x="212" y="572"/>
                  </a:lnTo>
                  <a:lnTo>
                    <a:pt x="212" y="572"/>
                  </a:lnTo>
                  <a:lnTo>
                    <a:pt x="217" y="570"/>
                  </a:lnTo>
                  <a:lnTo>
                    <a:pt x="217" y="567"/>
                  </a:lnTo>
                  <a:lnTo>
                    <a:pt x="217" y="567"/>
                  </a:lnTo>
                  <a:lnTo>
                    <a:pt x="217" y="562"/>
                  </a:lnTo>
                  <a:lnTo>
                    <a:pt x="217" y="562"/>
                  </a:lnTo>
                  <a:lnTo>
                    <a:pt x="219" y="560"/>
                  </a:lnTo>
                  <a:lnTo>
                    <a:pt x="219" y="558"/>
                  </a:lnTo>
                  <a:lnTo>
                    <a:pt x="219" y="558"/>
                  </a:lnTo>
                  <a:lnTo>
                    <a:pt x="222" y="558"/>
                  </a:lnTo>
                  <a:lnTo>
                    <a:pt x="226" y="553"/>
                  </a:lnTo>
                  <a:lnTo>
                    <a:pt x="226" y="548"/>
                  </a:lnTo>
                  <a:lnTo>
                    <a:pt x="229" y="548"/>
                  </a:lnTo>
                  <a:lnTo>
                    <a:pt x="229" y="548"/>
                  </a:lnTo>
                  <a:lnTo>
                    <a:pt x="229" y="548"/>
                  </a:lnTo>
                  <a:lnTo>
                    <a:pt x="229" y="544"/>
                  </a:lnTo>
                  <a:lnTo>
                    <a:pt x="229" y="544"/>
                  </a:lnTo>
                  <a:lnTo>
                    <a:pt x="231" y="541"/>
                  </a:lnTo>
                  <a:lnTo>
                    <a:pt x="236" y="539"/>
                  </a:lnTo>
                  <a:lnTo>
                    <a:pt x="236" y="536"/>
                  </a:lnTo>
                  <a:lnTo>
                    <a:pt x="236" y="536"/>
                  </a:lnTo>
                  <a:lnTo>
                    <a:pt x="238" y="536"/>
                  </a:lnTo>
                  <a:lnTo>
                    <a:pt x="238" y="539"/>
                  </a:lnTo>
                  <a:lnTo>
                    <a:pt x="238" y="539"/>
                  </a:lnTo>
                  <a:lnTo>
                    <a:pt x="238" y="539"/>
                  </a:lnTo>
                  <a:lnTo>
                    <a:pt x="241" y="536"/>
                  </a:lnTo>
                  <a:lnTo>
                    <a:pt x="238" y="534"/>
                  </a:lnTo>
                  <a:lnTo>
                    <a:pt x="238" y="532"/>
                  </a:lnTo>
                  <a:lnTo>
                    <a:pt x="238" y="532"/>
                  </a:lnTo>
                  <a:lnTo>
                    <a:pt x="238" y="532"/>
                  </a:lnTo>
                  <a:lnTo>
                    <a:pt x="241" y="532"/>
                  </a:lnTo>
                  <a:lnTo>
                    <a:pt x="243" y="534"/>
                  </a:lnTo>
                  <a:lnTo>
                    <a:pt x="243" y="534"/>
                  </a:lnTo>
                  <a:lnTo>
                    <a:pt x="245" y="532"/>
                  </a:lnTo>
                  <a:lnTo>
                    <a:pt x="245" y="529"/>
                  </a:lnTo>
                  <a:lnTo>
                    <a:pt x="245" y="527"/>
                  </a:lnTo>
                  <a:lnTo>
                    <a:pt x="248" y="527"/>
                  </a:lnTo>
                  <a:lnTo>
                    <a:pt x="248" y="527"/>
                  </a:lnTo>
                  <a:lnTo>
                    <a:pt x="255" y="525"/>
                  </a:lnTo>
                  <a:lnTo>
                    <a:pt x="255" y="525"/>
                  </a:lnTo>
                  <a:lnTo>
                    <a:pt x="257" y="525"/>
                  </a:lnTo>
                  <a:lnTo>
                    <a:pt x="259" y="525"/>
                  </a:lnTo>
                  <a:lnTo>
                    <a:pt x="259" y="527"/>
                  </a:lnTo>
                  <a:lnTo>
                    <a:pt x="259" y="527"/>
                  </a:lnTo>
                  <a:lnTo>
                    <a:pt x="262" y="527"/>
                  </a:lnTo>
                  <a:lnTo>
                    <a:pt x="262" y="525"/>
                  </a:lnTo>
                  <a:lnTo>
                    <a:pt x="264" y="525"/>
                  </a:lnTo>
                  <a:lnTo>
                    <a:pt x="267" y="525"/>
                  </a:lnTo>
                  <a:lnTo>
                    <a:pt x="271" y="522"/>
                  </a:lnTo>
                  <a:lnTo>
                    <a:pt x="276" y="522"/>
                  </a:lnTo>
                  <a:lnTo>
                    <a:pt x="276" y="520"/>
                  </a:lnTo>
                  <a:lnTo>
                    <a:pt x="276" y="520"/>
                  </a:lnTo>
                  <a:lnTo>
                    <a:pt x="278" y="518"/>
                  </a:lnTo>
                  <a:lnTo>
                    <a:pt x="281" y="520"/>
                  </a:lnTo>
                  <a:lnTo>
                    <a:pt x="283" y="518"/>
                  </a:lnTo>
                  <a:lnTo>
                    <a:pt x="283" y="518"/>
                  </a:lnTo>
                  <a:lnTo>
                    <a:pt x="285" y="518"/>
                  </a:lnTo>
                  <a:lnTo>
                    <a:pt x="288" y="518"/>
                  </a:lnTo>
                  <a:lnTo>
                    <a:pt x="290" y="518"/>
                  </a:lnTo>
                  <a:lnTo>
                    <a:pt x="290" y="518"/>
                  </a:lnTo>
                  <a:lnTo>
                    <a:pt x="290" y="520"/>
                  </a:lnTo>
                  <a:lnTo>
                    <a:pt x="293" y="518"/>
                  </a:lnTo>
                  <a:lnTo>
                    <a:pt x="295" y="520"/>
                  </a:lnTo>
                  <a:lnTo>
                    <a:pt x="297" y="520"/>
                  </a:lnTo>
                  <a:lnTo>
                    <a:pt x="300" y="522"/>
                  </a:lnTo>
                  <a:lnTo>
                    <a:pt x="302" y="525"/>
                  </a:lnTo>
                  <a:lnTo>
                    <a:pt x="304" y="525"/>
                  </a:lnTo>
                  <a:lnTo>
                    <a:pt x="304" y="525"/>
                  </a:lnTo>
                  <a:lnTo>
                    <a:pt x="307" y="525"/>
                  </a:lnTo>
                  <a:lnTo>
                    <a:pt x="307" y="525"/>
                  </a:lnTo>
                  <a:lnTo>
                    <a:pt x="307" y="525"/>
                  </a:lnTo>
                  <a:lnTo>
                    <a:pt x="309" y="525"/>
                  </a:lnTo>
                  <a:lnTo>
                    <a:pt x="309" y="525"/>
                  </a:lnTo>
                  <a:lnTo>
                    <a:pt x="309" y="527"/>
                  </a:lnTo>
                  <a:lnTo>
                    <a:pt x="309" y="529"/>
                  </a:lnTo>
                  <a:lnTo>
                    <a:pt x="311" y="529"/>
                  </a:lnTo>
                  <a:lnTo>
                    <a:pt x="314" y="532"/>
                  </a:lnTo>
                  <a:lnTo>
                    <a:pt x="316" y="532"/>
                  </a:lnTo>
                  <a:lnTo>
                    <a:pt x="316" y="534"/>
                  </a:lnTo>
                  <a:lnTo>
                    <a:pt x="319" y="536"/>
                  </a:lnTo>
                  <a:lnTo>
                    <a:pt x="321" y="539"/>
                  </a:lnTo>
                  <a:lnTo>
                    <a:pt x="321" y="536"/>
                  </a:lnTo>
                  <a:lnTo>
                    <a:pt x="323" y="536"/>
                  </a:lnTo>
                  <a:lnTo>
                    <a:pt x="326" y="536"/>
                  </a:lnTo>
                  <a:lnTo>
                    <a:pt x="328" y="536"/>
                  </a:lnTo>
                  <a:lnTo>
                    <a:pt x="328" y="536"/>
                  </a:lnTo>
                  <a:lnTo>
                    <a:pt x="330" y="536"/>
                  </a:lnTo>
                  <a:lnTo>
                    <a:pt x="330" y="534"/>
                  </a:lnTo>
                  <a:lnTo>
                    <a:pt x="333" y="534"/>
                  </a:lnTo>
                  <a:lnTo>
                    <a:pt x="335" y="532"/>
                  </a:lnTo>
                  <a:lnTo>
                    <a:pt x="340" y="532"/>
                  </a:lnTo>
                  <a:lnTo>
                    <a:pt x="342" y="532"/>
                  </a:lnTo>
                  <a:lnTo>
                    <a:pt x="347" y="529"/>
                  </a:lnTo>
                  <a:lnTo>
                    <a:pt x="347" y="527"/>
                  </a:lnTo>
                  <a:lnTo>
                    <a:pt x="347" y="527"/>
                  </a:lnTo>
                  <a:lnTo>
                    <a:pt x="354" y="527"/>
                  </a:lnTo>
                  <a:lnTo>
                    <a:pt x="356" y="527"/>
                  </a:lnTo>
                  <a:lnTo>
                    <a:pt x="359" y="529"/>
                  </a:lnTo>
                  <a:lnTo>
                    <a:pt x="361" y="529"/>
                  </a:lnTo>
                  <a:lnTo>
                    <a:pt x="363" y="529"/>
                  </a:lnTo>
                  <a:lnTo>
                    <a:pt x="366" y="527"/>
                  </a:lnTo>
                  <a:lnTo>
                    <a:pt x="368" y="525"/>
                  </a:lnTo>
                  <a:lnTo>
                    <a:pt x="370" y="525"/>
                  </a:lnTo>
                  <a:lnTo>
                    <a:pt x="373" y="527"/>
                  </a:lnTo>
                  <a:lnTo>
                    <a:pt x="375" y="527"/>
                  </a:lnTo>
                  <a:lnTo>
                    <a:pt x="378" y="525"/>
                  </a:lnTo>
                  <a:lnTo>
                    <a:pt x="378" y="525"/>
                  </a:lnTo>
                  <a:lnTo>
                    <a:pt x="380" y="525"/>
                  </a:lnTo>
                  <a:lnTo>
                    <a:pt x="382" y="520"/>
                  </a:lnTo>
                  <a:lnTo>
                    <a:pt x="385" y="518"/>
                  </a:lnTo>
                  <a:lnTo>
                    <a:pt x="389" y="515"/>
                  </a:lnTo>
                  <a:lnTo>
                    <a:pt x="389" y="513"/>
                  </a:lnTo>
                  <a:lnTo>
                    <a:pt x="389" y="510"/>
                  </a:lnTo>
                  <a:lnTo>
                    <a:pt x="389" y="510"/>
                  </a:lnTo>
                  <a:lnTo>
                    <a:pt x="392" y="506"/>
                  </a:lnTo>
                  <a:lnTo>
                    <a:pt x="394" y="501"/>
                  </a:lnTo>
                  <a:lnTo>
                    <a:pt x="394" y="499"/>
                  </a:lnTo>
                  <a:lnTo>
                    <a:pt x="394" y="496"/>
                  </a:lnTo>
                  <a:lnTo>
                    <a:pt x="394" y="494"/>
                  </a:lnTo>
                  <a:lnTo>
                    <a:pt x="394" y="494"/>
                  </a:lnTo>
                  <a:lnTo>
                    <a:pt x="394" y="492"/>
                  </a:lnTo>
                  <a:lnTo>
                    <a:pt x="394" y="492"/>
                  </a:lnTo>
                  <a:lnTo>
                    <a:pt x="396" y="489"/>
                  </a:lnTo>
                  <a:lnTo>
                    <a:pt x="394" y="487"/>
                  </a:lnTo>
                  <a:lnTo>
                    <a:pt x="396" y="484"/>
                  </a:lnTo>
                  <a:lnTo>
                    <a:pt x="394" y="482"/>
                  </a:lnTo>
                  <a:lnTo>
                    <a:pt x="394" y="482"/>
                  </a:lnTo>
                  <a:lnTo>
                    <a:pt x="396" y="477"/>
                  </a:lnTo>
                  <a:lnTo>
                    <a:pt x="396" y="475"/>
                  </a:lnTo>
                  <a:lnTo>
                    <a:pt x="396" y="475"/>
                  </a:lnTo>
                  <a:lnTo>
                    <a:pt x="401" y="470"/>
                  </a:lnTo>
                  <a:lnTo>
                    <a:pt x="401" y="470"/>
                  </a:lnTo>
                  <a:lnTo>
                    <a:pt x="399" y="470"/>
                  </a:lnTo>
                  <a:lnTo>
                    <a:pt x="396" y="470"/>
                  </a:lnTo>
                  <a:lnTo>
                    <a:pt x="396" y="470"/>
                  </a:lnTo>
                  <a:lnTo>
                    <a:pt x="396" y="468"/>
                  </a:lnTo>
                  <a:lnTo>
                    <a:pt x="399" y="463"/>
                  </a:lnTo>
                  <a:lnTo>
                    <a:pt x="396" y="461"/>
                  </a:lnTo>
                  <a:lnTo>
                    <a:pt x="396" y="461"/>
                  </a:lnTo>
                  <a:lnTo>
                    <a:pt x="396" y="458"/>
                  </a:lnTo>
                  <a:lnTo>
                    <a:pt x="396" y="458"/>
                  </a:lnTo>
                  <a:lnTo>
                    <a:pt x="396" y="456"/>
                  </a:lnTo>
                  <a:lnTo>
                    <a:pt x="394" y="456"/>
                  </a:lnTo>
                  <a:lnTo>
                    <a:pt x="392" y="456"/>
                  </a:lnTo>
                  <a:lnTo>
                    <a:pt x="389" y="456"/>
                  </a:lnTo>
                  <a:lnTo>
                    <a:pt x="387" y="451"/>
                  </a:lnTo>
                  <a:lnTo>
                    <a:pt x="385" y="451"/>
                  </a:lnTo>
                  <a:lnTo>
                    <a:pt x="382" y="449"/>
                  </a:lnTo>
                  <a:lnTo>
                    <a:pt x="382" y="449"/>
                  </a:lnTo>
                  <a:lnTo>
                    <a:pt x="382" y="444"/>
                  </a:lnTo>
                  <a:lnTo>
                    <a:pt x="382" y="442"/>
                  </a:lnTo>
                  <a:lnTo>
                    <a:pt x="380" y="442"/>
                  </a:lnTo>
                  <a:lnTo>
                    <a:pt x="378" y="442"/>
                  </a:lnTo>
                  <a:lnTo>
                    <a:pt x="375" y="442"/>
                  </a:lnTo>
                  <a:lnTo>
                    <a:pt x="373" y="440"/>
                  </a:lnTo>
                  <a:lnTo>
                    <a:pt x="373" y="435"/>
                  </a:lnTo>
                  <a:lnTo>
                    <a:pt x="368" y="433"/>
                  </a:lnTo>
                  <a:lnTo>
                    <a:pt x="368" y="433"/>
                  </a:lnTo>
                  <a:lnTo>
                    <a:pt x="370" y="433"/>
                  </a:lnTo>
                  <a:lnTo>
                    <a:pt x="373" y="430"/>
                  </a:lnTo>
                  <a:lnTo>
                    <a:pt x="373" y="430"/>
                  </a:lnTo>
                  <a:lnTo>
                    <a:pt x="373" y="430"/>
                  </a:lnTo>
                  <a:lnTo>
                    <a:pt x="373" y="428"/>
                  </a:lnTo>
                  <a:lnTo>
                    <a:pt x="373" y="425"/>
                  </a:lnTo>
                  <a:lnTo>
                    <a:pt x="373" y="425"/>
                  </a:lnTo>
                  <a:lnTo>
                    <a:pt x="370" y="423"/>
                  </a:lnTo>
                  <a:lnTo>
                    <a:pt x="368" y="421"/>
                  </a:lnTo>
                  <a:lnTo>
                    <a:pt x="368" y="421"/>
                  </a:lnTo>
                  <a:lnTo>
                    <a:pt x="368" y="416"/>
                  </a:lnTo>
                  <a:lnTo>
                    <a:pt x="366" y="416"/>
                  </a:lnTo>
                  <a:lnTo>
                    <a:pt x="366" y="414"/>
                  </a:lnTo>
                  <a:lnTo>
                    <a:pt x="368" y="409"/>
                  </a:lnTo>
                  <a:lnTo>
                    <a:pt x="366" y="404"/>
                  </a:lnTo>
                  <a:lnTo>
                    <a:pt x="368" y="402"/>
                  </a:lnTo>
                  <a:lnTo>
                    <a:pt x="366" y="399"/>
                  </a:lnTo>
                  <a:lnTo>
                    <a:pt x="366" y="395"/>
                  </a:lnTo>
                  <a:lnTo>
                    <a:pt x="366" y="395"/>
                  </a:lnTo>
                  <a:lnTo>
                    <a:pt x="366" y="392"/>
                  </a:lnTo>
                  <a:lnTo>
                    <a:pt x="368" y="392"/>
                  </a:lnTo>
                  <a:lnTo>
                    <a:pt x="368" y="392"/>
                  </a:lnTo>
                  <a:lnTo>
                    <a:pt x="368" y="385"/>
                  </a:lnTo>
                  <a:lnTo>
                    <a:pt x="368" y="381"/>
                  </a:lnTo>
                  <a:lnTo>
                    <a:pt x="368" y="381"/>
                  </a:lnTo>
                  <a:lnTo>
                    <a:pt x="368" y="378"/>
                  </a:lnTo>
                  <a:lnTo>
                    <a:pt x="366" y="378"/>
                  </a:lnTo>
                  <a:lnTo>
                    <a:pt x="366" y="376"/>
                  </a:lnTo>
                  <a:lnTo>
                    <a:pt x="368" y="376"/>
                  </a:lnTo>
                  <a:lnTo>
                    <a:pt x="368" y="373"/>
                  </a:lnTo>
                  <a:lnTo>
                    <a:pt x="373" y="373"/>
                  </a:lnTo>
                  <a:lnTo>
                    <a:pt x="375" y="373"/>
                  </a:lnTo>
                  <a:lnTo>
                    <a:pt x="375" y="371"/>
                  </a:lnTo>
                  <a:lnTo>
                    <a:pt x="375" y="369"/>
                  </a:lnTo>
                  <a:lnTo>
                    <a:pt x="378" y="366"/>
                  </a:lnTo>
                  <a:lnTo>
                    <a:pt x="380" y="362"/>
                  </a:lnTo>
                  <a:lnTo>
                    <a:pt x="382" y="359"/>
                  </a:lnTo>
                  <a:lnTo>
                    <a:pt x="382" y="359"/>
                  </a:lnTo>
                  <a:lnTo>
                    <a:pt x="382" y="355"/>
                  </a:lnTo>
                  <a:lnTo>
                    <a:pt x="385" y="355"/>
                  </a:lnTo>
                  <a:lnTo>
                    <a:pt x="387" y="355"/>
                  </a:lnTo>
                  <a:lnTo>
                    <a:pt x="389" y="352"/>
                  </a:lnTo>
                  <a:lnTo>
                    <a:pt x="389" y="347"/>
                  </a:lnTo>
                  <a:lnTo>
                    <a:pt x="392" y="347"/>
                  </a:lnTo>
                  <a:lnTo>
                    <a:pt x="394" y="347"/>
                  </a:lnTo>
                  <a:lnTo>
                    <a:pt x="396" y="345"/>
                  </a:lnTo>
                  <a:lnTo>
                    <a:pt x="396" y="343"/>
                  </a:lnTo>
                  <a:lnTo>
                    <a:pt x="399" y="343"/>
                  </a:lnTo>
                  <a:lnTo>
                    <a:pt x="401" y="340"/>
                  </a:lnTo>
                  <a:lnTo>
                    <a:pt x="401" y="340"/>
                  </a:lnTo>
                  <a:lnTo>
                    <a:pt x="404" y="336"/>
                  </a:lnTo>
                  <a:lnTo>
                    <a:pt x="404" y="333"/>
                  </a:lnTo>
                  <a:lnTo>
                    <a:pt x="404" y="333"/>
                  </a:lnTo>
                  <a:lnTo>
                    <a:pt x="401" y="329"/>
                  </a:lnTo>
                  <a:lnTo>
                    <a:pt x="401" y="326"/>
                  </a:lnTo>
                  <a:lnTo>
                    <a:pt x="404" y="321"/>
                  </a:lnTo>
                  <a:lnTo>
                    <a:pt x="404" y="319"/>
                  </a:lnTo>
                  <a:lnTo>
                    <a:pt x="404" y="314"/>
                  </a:lnTo>
                  <a:lnTo>
                    <a:pt x="404" y="312"/>
                  </a:lnTo>
                  <a:lnTo>
                    <a:pt x="401" y="307"/>
                  </a:lnTo>
                  <a:lnTo>
                    <a:pt x="401" y="305"/>
                  </a:lnTo>
                  <a:lnTo>
                    <a:pt x="399" y="305"/>
                  </a:lnTo>
                  <a:lnTo>
                    <a:pt x="399" y="303"/>
                  </a:lnTo>
                  <a:lnTo>
                    <a:pt x="399" y="300"/>
                  </a:lnTo>
                  <a:lnTo>
                    <a:pt x="396" y="293"/>
                  </a:lnTo>
                  <a:lnTo>
                    <a:pt x="396" y="293"/>
                  </a:lnTo>
                  <a:lnTo>
                    <a:pt x="396" y="288"/>
                  </a:lnTo>
                  <a:lnTo>
                    <a:pt x="396" y="286"/>
                  </a:lnTo>
                  <a:lnTo>
                    <a:pt x="396" y="286"/>
                  </a:lnTo>
                  <a:lnTo>
                    <a:pt x="392" y="281"/>
                  </a:lnTo>
                  <a:lnTo>
                    <a:pt x="392" y="281"/>
                  </a:lnTo>
                  <a:lnTo>
                    <a:pt x="392" y="277"/>
                  </a:lnTo>
                  <a:lnTo>
                    <a:pt x="392" y="274"/>
                  </a:lnTo>
                  <a:lnTo>
                    <a:pt x="387" y="272"/>
                  </a:lnTo>
                  <a:lnTo>
                    <a:pt x="387" y="272"/>
                  </a:lnTo>
                  <a:lnTo>
                    <a:pt x="385" y="267"/>
                  </a:lnTo>
                  <a:lnTo>
                    <a:pt x="385" y="265"/>
                  </a:lnTo>
                  <a:lnTo>
                    <a:pt x="387" y="262"/>
                  </a:lnTo>
                  <a:lnTo>
                    <a:pt x="389" y="260"/>
                  </a:lnTo>
                  <a:lnTo>
                    <a:pt x="389" y="260"/>
                  </a:lnTo>
                  <a:lnTo>
                    <a:pt x="387" y="258"/>
                  </a:lnTo>
                  <a:lnTo>
                    <a:pt x="385" y="258"/>
                  </a:lnTo>
                  <a:lnTo>
                    <a:pt x="385" y="255"/>
                  </a:lnTo>
                  <a:lnTo>
                    <a:pt x="385" y="253"/>
                  </a:lnTo>
                  <a:lnTo>
                    <a:pt x="387" y="251"/>
                  </a:lnTo>
                  <a:lnTo>
                    <a:pt x="389" y="251"/>
                  </a:lnTo>
                  <a:lnTo>
                    <a:pt x="389" y="251"/>
                  </a:lnTo>
                  <a:lnTo>
                    <a:pt x="389" y="248"/>
                  </a:lnTo>
                  <a:lnTo>
                    <a:pt x="394" y="244"/>
                  </a:lnTo>
                  <a:lnTo>
                    <a:pt x="394" y="241"/>
                  </a:lnTo>
                  <a:lnTo>
                    <a:pt x="396" y="239"/>
                  </a:lnTo>
                  <a:lnTo>
                    <a:pt x="396" y="239"/>
                  </a:lnTo>
                  <a:lnTo>
                    <a:pt x="394" y="236"/>
                  </a:lnTo>
                  <a:lnTo>
                    <a:pt x="396" y="232"/>
                  </a:lnTo>
                  <a:lnTo>
                    <a:pt x="396" y="229"/>
                  </a:lnTo>
                  <a:lnTo>
                    <a:pt x="396" y="229"/>
                  </a:lnTo>
                  <a:lnTo>
                    <a:pt x="396" y="229"/>
                  </a:lnTo>
                  <a:lnTo>
                    <a:pt x="396" y="229"/>
                  </a:lnTo>
                  <a:lnTo>
                    <a:pt x="396" y="227"/>
                  </a:lnTo>
                  <a:lnTo>
                    <a:pt x="394" y="227"/>
                  </a:lnTo>
                  <a:lnTo>
                    <a:pt x="394" y="225"/>
                  </a:lnTo>
                  <a:lnTo>
                    <a:pt x="394" y="220"/>
                  </a:lnTo>
                  <a:lnTo>
                    <a:pt x="394" y="220"/>
                  </a:lnTo>
                  <a:lnTo>
                    <a:pt x="387" y="215"/>
                  </a:lnTo>
                  <a:lnTo>
                    <a:pt x="387" y="215"/>
                  </a:lnTo>
                  <a:lnTo>
                    <a:pt x="387" y="215"/>
                  </a:lnTo>
                  <a:lnTo>
                    <a:pt x="385" y="215"/>
                  </a:lnTo>
                  <a:lnTo>
                    <a:pt x="385" y="215"/>
                  </a:lnTo>
                  <a:lnTo>
                    <a:pt x="385" y="215"/>
                  </a:lnTo>
                  <a:lnTo>
                    <a:pt x="385" y="210"/>
                  </a:lnTo>
                  <a:lnTo>
                    <a:pt x="385" y="208"/>
                  </a:lnTo>
                  <a:lnTo>
                    <a:pt x="382" y="203"/>
                  </a:lnTo>
                  <a:lnTo>
                    <a:pt x="382" y="203"/>
                  </a:lnTo>
                  <a:lnTo>
                    <a:pt x="380" y="199"/>
                  </a:lnTo>
                  <a:lnTo>
                    <a:pt x="380" y="196"/>
                  </a:lnTo>
                  <a:lnTo>
                    <a:pt x="382" y="194"/>
                  </a:lnTo>
                  <a:lnTo>
                    <a:pt x="387" y="187"/>
                  </a:lnTo>
                  <a:lnTo>
                    <a:pt x="387" y="187"/>
                  </a:lnTo>
                  <a:lnTo>
                    <a:pt x="387" y="184"/>
                  </a:lnTo>
                  <a:lnTo>
                    <a:pt x="394" y="184"/>
                  </a:lnTo>
                  <a:lnTo>
                    <a:pt x="394" y="184"/>
                  </a:lnTo>
                  <a:lnTo>
                    <a:pt x="392" y="182"/>
                  </a:lnTo>
                  <a:lnTo>
                    <a:pt x="392" y="182"/>
                  </a:lnTo>
                  <a:lnTo>
                    <a:pt x="392" y="180"/>
                  </a:lnTo>
                  <a:lnTo>
                    <a:pt x="394" y="180"/>
                  </a:lnTo>
                  <a:lnTo>
                    <a:pt x="396" y="177"/>
                  </a:lnTo>
                  <a:lnTo>
                    <a:pt x="396" y="175"/>
                  </a:lnTo>
                  <a:lnTo>
                    <a:pt x="399" y="170"/>
                  </a:lnTo>
                  <a:lnTo>
                    <a:pt x="399" y="168"/>
                  </a:lnTo>
                  <a:lnTo>
                    <a:pt x="401" y="163"/>
                  </a:lnTo>
                  <a:lnTo>
                    <a:pt x="404" y="163"/>
                  </a:lnTo>
                  <a:lnTo>
                    <a:pt x="404" y="166"/>
                  </a:lnTo>
                  <a:lnTo>
                    <a:pt x="404" y="166"/>
                  </a:lnTo>
                  <a:lnTo>
                    <a:pt x="406" y="163"/>
                  </a:lnTo>
                  <a:lnTo>
                    <a:pt x="406" y="158"/>
                  </a:lnTo>
                  <a:lnTo>
                    <a:pt x="413" y="156"/>
                  </a:lnTo>
                  <a:lnTo>
                    <a:pt x="413" y="154"/>
                  </a:lnTo>
                  <a:lnTo>
                    <a:pt x="413" y="151"/>
                  </a:lnTo>
                  <a:lnTo>
                    <a:pt x="413" y="149"/>
                  </a:lnTo>
                  <a:lnTo>
                    <a:pt x="413" y="149"/>
                  </a:lnTo>
                  <a:lnTo>
                    <a:pt x="420" y="140"/>
                  </a:lnTo>
                  <a:lnTo>
                    <a:pt x="420" y="140"/>
                  </a:lnTo>
                  <a:lnTo>
                    <a:pt x="420" y="137"/>
                  </a:lnTo>
                  <a:lnTo>
                    <a:pt x="420" y="137"/>
                  </a:lnTo>
                  <a:lnTo>
                    <a:pt x="420" y="135"/>
                  </a:lnTo>
                  <a:lnTo>
                    <a:pt x="420" y="133"/>
                  </a:lnTo>
                  <a:lnTo>
                    <a:pt x="420" y="130"/>
                  </a:lnTo>
                  <a:lnTo>
                    <a:pt x="420" y="130"/>
                  </a:lnTo>
                  <a:lnTo>
                    <a:pt x="420" y="125"/>
                  </a:lnTo>
                  <a:lnTo>
                    <a:pt x="420" y="125"/>
                  </a:lnTo>
                  <a:lnTo>
                    <a:pt x="420" y="125"/>
                  </a:lnTo>
                  <a:lnTo>
                    <a:pt x="420" y="123"/>
                  </a:lnTo>
                  <a:lnTo>
                    <a:pt x="422" y="121"/>
                  </a:lnTo>
                  <a:lnTo>
                    <a:pt x="425" y="116"/>
                  </a:lnTo>
                  <a:lnTo>
                    <a:pt x="427" y="116"/>
                  </a:lnTo>
                  <a:lnTo>
                    <a:pt x="427" y="116"/>
                  </a:lnTo>
                  <a:lnTo>
                    <a:pt x="427" y="114"/>
                  </a:lnTo>
                  <a:lnTo>
                    <a:pt x="430" y="111"/>
                  </a:lnTo>
                  <a:lnTo>
                    <a:pt x="432" y="109"/>
                  </a:lnTo>
                  <a:lnTo>
                    <a:pt x="432" y="109"/>
                  </a:lnTo>
                  <a:lnTo>
                    <a:pt x="434" y="107"/>
                  </a:lnTo>
                  <a:lnTo>
                    <a:pt x="439" y="102"/>
                  </a:lnTo>
                  <a:lnTo>
                    <a:pt x="439" y="102"/>
                  </a:lnTo>
                  <a:lnTo>
                    <a:pt x="439" y="102"/>
                  </a:lnTo>
                  <a:lnTo>
                    <a:pt x="439" y="99"/>
                  </a:lnTo>
                  <a:lnTo>
                    <a:pt x="439" y="99"/>
                  </a:lnTo>
                  <a:lnTo>
                    <a:pt x="441" y="97"/>
                  </a:lnTo>
                  <a:lnTo>
                    <a:pt x="441" y="95"/>
                  </a:lnTo>
                  <a:lnTo>
                    <a:pt x="441" y="92"/>
                  </a:lnTo>
                  <a:lnTo>
                    <a:pt x="444" y="92"/>
                  </a:lnTo>
                  <a:lnTo>
                    <a:pt x="444" y="92"/>
                  </a:lnTo>
                  <a:lnTo>
                    <a:pt x="444" y="95"/>
                  </a:lnTo>
                  <a:lnTo>
                    <a:pt x="446" y="97"/>
                  </a:lnTo>
                  <a:lnTo>
                    <a:pt x="446" y="97"/>
                  </a:lnTo>
                  <a:lnTo>
                    <a:pt x="448" y="97"/>
                  </a:lnTo>
                  <a:lnTo>
                    <a:pt x="448" y="97"/>
                  </a:lnTo>
                  <a:lnTo>
                    <a:pt x="451" y="95"/>
                  </a:lnTo>
                  <a:lnTo>
                    <a:pt x="451" y="95"/>
                  </a:lnTo>
                  <a:lnTo>
                    <a:pt x="453" y="95"/>
                  </a:lnTo>
                  <a:lnTo>
                    <a:pt x="453" y="95"/>
                  </a:lnTo>
                  <a:lnTo>
                    <a:pt x="453" y="97"/>
                  </a:lnTo>
                  <a:lnTo>
                    <a:pt x="456" y="95"/>
                  </a:lnTo>
                  <a:lnTo>
                    <a:pt x="456" y="95"/>
                  </a:lnTo>
                  <a:lnTo>
                    <a:pt x="456" y="92"/>
                  </a:lnTo>
                  <a:lnTo>
                    <a:pt x="458" y="92"/>
                  </a:lnTo>
                  <a:lnTo>
                    <a:pt x="460" y="92"/>
                  </a:lnTo>
                  <a:lnTo>
                    <a:pt x="465" y="90"/>
                  </a:lnTo>
                  <a:lnTo>
                    <a:pt x="465" y="92"/>
                  </a:lnTo>
                  <a:lnTo>
                    <a:pt x="467" y="92"/>
                  </a:lnTo>
                  <a:lnTo>
                    <a:pt x="470" y="92"/>
                  </a:lnTo>
                  <a:lnTo>
                    <a:pt x="470" y="92"/>
                  </a:lnTo>
                  <a:lnTo>
                    <a:pt x="474" y="90"/>
                  </a:lnTo>
                  <a:lnTo>
                    <a:pt x="479" y="92"/>
                  </a:lnTo>
                  <a:lnTo>
                    <a:pt x="479" y="90"/>
                  </a:lnTo>
                  <a:lnTo>
                    <a:pt x="479" y="92"/>
                  </a:lnTo>
                  <a:lnTo>
                    <a:pt x="482" y="90"/>
                  </a:lnTo>
                  <a:lnTo>
                    <a:pt x="479" y="88"/>
                  </a:lnTo>
                  <a:lnTo>
                    <a:pt x="482" y="85"/>
                  </a:lnTo>
                  <a:lnTo>
                    <a:pt x="482" y="85"/>
                  </a:lnTo>
                  <a:lnTo>
                    <a:pt x="486" y="85"/>
                  </a:lnTo>
                  <a:lnTo>
                    <a:pt x="489" y="81"/>
                  </a:lnTo>
                  <a:lnTo>
                    <a:pt x="489" y="81"/>
                  </a:lnTo>
                  <a:lnTo>
                    <a:pt x="489" y="81"/>
                  </a:lnTo>
                  <a:lnTo>
                    <a:pt x="489" y="78"/>
                  </a:lnTo>
                  <a:lnTo>
                    <a:pt x="491" y="76"/>
                  </a:lnTo>
                  <a:lnTo>
                    <a:pt x="491" y="76"/>
                  </a:lnTo>
                  <a:lnTo>
                    <a:pt x="493" y="76"/>
                  </a:lnTo>
                  <a:lnTo>
                    <a:pt x="493" y="73"/>
                  </a:lnTo>
                  <a:lnTo>
                    <a:pt x="493" y="73"/>
                  </a:lnTo>
                  <a:lnTo>
                    <a:pt x="493" y="73"/>
                  </a:lnTo>
                  <a:lnTo>
                    <a:pt x="493" y="73"/>
                  </a:lnTo>
                  <a:lnTo>
                    <a:pt x="489" y="73"/>
                  </a:lnTo>
                  <a:lnTo>
                    <a:pt x="489" y="71"/>
                  </a:lnTo>
                  <a:lnTo>
                    <a:pt x="489" y="71"/>
                  </a:lnTo>
                  <a:lnTo>
                    <a:pt x="491" y="69"/>
                  </a:lnTo>
                  <a:lnTo>
                    <a:pt x="496" y="69"/>
                  </a:lnTo>
                  <a:lnTo>
                    <a:pt x="498" y="66"/>
                  </a:lnTo>
                  <a:lnTo>
                    <a:pt x="503" y="66"/>
                  </a:lnTo>
                  <a:lnTo>
                    <a:pt x="505" y="66"/>
                  </a:lnTo>
                  <a:lnTo>
                    <a:pt x="505" y="66"/>
                  </a:lnTo>
                  <a:lnTo>
                    <a:pt x="507" y="64"/>
                  </a:lnTo>
                  <a:lnTo>
                    <a:pt x="507" y="64"/>
                  </a:lnTo>
                  <a:lnTo>
                    <a:pt x="507" y="62"/>
                  </a:lnTo>
                  <a:lnTo>
                    <a:pt x="510" y="59"/>
                  </a:lnTo>
                  <a:lnTo>
                    <a:pt x="510" y="57"/>
                  </a:lnTo>
                  <a:lnTo>
                    <a:pt x="512" y="57"/>
                  </a:lnTo>
                  <a:lnTo>
                    <a:pt x="512" y="59"/>
                  </a:lnTo>
                  <a:lnTo>
                    <a:pt x="515" y="59"/>
                  </a:lnTo>
                  <a:lnTo>
                    <a:pt x="515" y="55"/>
                  </a:lnTo>
                  <a:lnTo>
                    <a:pt x="515" y="55"/>
                  </a:lnTo>
                  <a:lnTo>
                    <a:pt x="515" y="52"/>
                  </a:lnTo>
                  <a:lnTo>
                    <a:pt x="515" y="50"/>
                  </a:lnTo>
                  <a:lnTo>
                    <a:pt x="515" y="47"/>
                  </a:lnTo>
                  <a:lnTo>
                    <a:pt x="517" y="47"/>
                  </a:lnTo>
                  <a:lnTo>
                    <a:pt x="519" y="47"/>
                  </a:lnTo>
                  <a:lnTo>
                    <a:pt x="519" y="45"/>
                  </a:lnTo>
                  <a:lnTo>
                    <a:pt x="522" y="43"/>
                  </a:lnTo>
                  <a:lnTo>
                    <a:pt x="524" y="40"/>
                  </a:lnTo>
                  <a:lnTo>
                    <a:pt x="526" y="38"/>
                  </a:lnTo>
                  <a:lnTo>
                    <a:pt x="529" y="38"/>
                  </a:lnTo>
                  <a:lnTo>
                    <a:pt x="529" y="33"/>
                  </a:lnTo>
                  <a:lnTo>
                    <a:pt x="529" y="33"/>
                  </a:lnTo>
                  <a:lnTo>
                    <a:pt x="531" y="29"/>
                  </a:lnTo>
                  <a:lnTo>
                    <a:pt x="531" y="26"/>
                  </a:lnTo>
                  <a:lnTo>
                    <a:pt x="531" y="26"/>
                  </a:lnTo>
                  <a:lnTo>
                    <a:pt x="526" y="24"/>
                  </a:lnTo>
                  <a:lnTo>
                    <a:pt x="526" y="24"/>
                  </a:lnTo>
                  <a:lnTo>
                    <a:pt x="524" y="19"/>
                  </a:lnTo>
                  <a:lnTo>
                    <a:pt x="522" y="19"/>
                  </a:lnTo>
                  <a:lnTo>
                    <a:pt x="524" y="14"/>
                  </a:lnTo>
                  <a:lnTo>
                    <a:pt x="524" y="12"/>
                  </a:lnTo>
                  <a:lnTo>
                    <a:pt x="526" y="12"/>
                  </a:lnTo>
                  <a:lnTo>
                    <a:pt x="526" y="10"/>
                  </a:lnTo>
                  <a:lnTo>
                    <a:pt x="524" y="10"/>
                  </a:lnTo>
                  <a:lnTo>
                    <a:pt x="524" y="5"/>
                  </a:lnTo>
                  <a:lnTo>
                    <a:pt x="529" y="3"/>
                  </a:lnTo>
                  <a:lnTo>
                    <a:pt x="529" y="0"/>
                  </a:lnTo>
                  <a:lnTo>
                    <a:pt x="531" y="0"/>
                  </a:lnTo>
                  <a:lnTo>
                    <a:pt x="533" y="5"/>
                  </a:lnTo>
                  <a:lnTo>
                    <a:pt x="538" y="7"/>
                  </a:lnTo>
                  <a:lnTo>
                    <a:pt x="541" y="10"/>
                  </a:lnTo>
                  <a:lnTo>
                    <a:pt x="541" y="10"/>
                  </a:lnTo>
                  <a:lnTo>
                    <a:pt x="545" y="14"/>
                  </a:lnTo>
                  <a:lnTo>
                    <a:pt x="550" y="17"/>
                  </a:lnTo>
                  <a:lnTo>
                    <a:pt x="550" y="17"/>
                  </a:lnTo>
                  <a:lnTo>
                    <a:pt x="552" y="19"/>
                  </a:lnTo>
                  <a:lnTo>
                    <a:pt x="557" y="21"/>
                  </a:lnTo>
                  <a:lnTo>
                    <a:pt x="559" y="21"/>
                  </a:lnTo>
                  <a:lnTo>
                    <a:pt x="562" y="21"/>
                  </a:lnTo>
                  <a:lnTo>
                    <a:pt x="562" y="21"/>
                  </a:lnTo>
                  <a:lnTo>
                    <a:pt x="564" y="24"/>
                  </a:lnTo>
                  <a:lnTo>
                    <a:pt x="569" y="24"/>
                  </a:lnTo>
                  <a:lnTo>
                    <a:pt x="569" y="21"/>
                  </a:lnTo>
                  <a:lnTo>
                    <a:pt x="571" y="21"/>
                  </a:lnTo>
                  <a:lnTo>
                    <a:pt x="576" y="21"/>
                  </a:lnTo>
                  <a:lnTo>
                    <a:pt x="576" y="24"/>
                  </a:lnTo>
                  <a:lnTo>
                    <a:pt x="578" y="21"/>
                  </a:lnTo>
                  <a:lnTo>
                    <a:pt x="578" y="24"/>
                  </a:lnTo>
                  <a:lnTo>
                    <a:pt x="581" y="21"/>
                  </a:lnTo>
                  <a:lnTo>
                    <a:pt x="585" y="24"/>
                  </a:lnTo>
                  <a:lnTo>
                    <a:pt x="585" y="24"/>
                  </a:lnTo>
                  <a:lnTo>
                    <a:pt x="590" y="26"/>
                  </a:lnTo>
                  <a:lnTo>
                    <a:pt x="590" y="24"/>
                  </a:lnTo>
                  <a:lnTo>
                    <a:pt x="590" y="24"/>
                  </a:lnTo>
                  <a:lnTo>
                    <a:pt x="590" y="29"/>
                  </a:lnTo>
                  <a:lnTo>
                    <a:pt x="593" y="29"/>
                  </a:lnTo>
                  <a:lnTo>
                    <a:pt x="593" y="29"/>
                  </a:lnTo>
                  <a:lnTo>
                    <a:pt x="595" y="31"/>
                  </a:lnTo>
                  <a:lnTo>
                    <a:pt x="597" y="31"/>
                  </a:lnTo>
                  <a:lnTo>
                    <a:pt x="597" y="31"/>
                  </a:lnTo>
                  <a:lnTo>
                    <a:pt x="597" y="33"/>
                  </a:lnTo>
                  <a:lnTo>
                    <a:pt x="600" y="36"/>
                  </a:lnTo>
                  <a:lnTo>
                    <a:pt x="600" y="36"/>
                  </a:lnTo>
                  <a:lnTo>
                    <a:pt x="600" y="38"/>
                  </a:lnTo>
                  <a:lnTo>
                    <a:pt x="600" y="38"/>
                  </a:lnTo>
                  <a:lnTo>
                    <a:pt x="600" y="38"/>
                  </a:lnTo>
                  <a:lnTo>
                    <a:pt x="600" y="40"/>
                  </a:lnTo>
                  <a:lnTo>
                    <a:pt x="600" y="43"/>
                  </a:lnTo>
                  <a:lnTo>
                    <a:pt x="600" y="43"/>
                  </a:lnTo>
                  <a:lnTo>
                    <a:pt x="600" y="43"/>
                  </a:lnTo>
                  <a:lnTo>
                    <a:pt x="600" y="45"/>
                  </a:lnTo>
                  <a:lnTo>
                    <a:pt x="597" y="47"/>
                  </a:lnTo>
                  <a:lnTo>
                    <a:pt x="597" y="47"/>
                  </a:lnTo>
                  <a:lnTo>
                    <a:pt x="597" y="47"/>
                  </a:lnTo>
                  <a:lnTo>
                    <a:pt x="597" y="50"/>
                  </a:lnTo>
                  <a:lnTo>
                    <a:pt x="595" y="52"/>
                  </a:lnTo>
                  <a:lnTo>
                    <a:pt x="593" y="55"/>
                  </a:lnTo>
                  <a:lnTo>
                    <a:pt x="590" y="55"/>
                  </a:lnTo>
                  <a:lnTo>
                    <a:pt x="590" y="57"/>
                  </a:lnTo>
                  <a:lnTo>
                    <a:pt x="583" y="71"/>
                  </a:lnTo>
                  <a:lnTo>
                    <a:pt x="581" y="76"/>
                  </a:lnTo>
                  <a:lnTo>
                    <a:pt x="581" y="76"/>
                  </a:lnTo>
                  <a:lnTo>
                    <a:pt x="581" y="78"/>
                  </a:lnTo>
                  <a:lnTo>
                    <a:pt x="581" y="81"/>
                  </a:lnTo>
                  <a:lnTo>
                    <a:pt x="578" y="83"/>
                  </a:lnTo>
                  <a:lnTo>
                    <a:pt x="578" y="83"/>
                  </a:lnTo>
                  <a:lnTo>
                    <a:pt x="581" y="83"/>
                  </a:lnTo>
                  <a:lnTo>
                    <a:pt x="581" y="83"/>
                  </a:lnTo>
                  <a:lnTo>
                    <a:pt x="581" y="85"/>
                  </a:lnTo>
                  <a:lnTo>
                    <a:pt x="583" y="85"/>
                  </a:lnTo>
                  <a:lnTo>
                    <a:pt x="583" y="88"/>
                  </a:lnTo>
                  <a:lnTo>
                    <a:pt x="588" y="88"/>
                  </a:lnTo>
                  <a:lnTo>
                    <a:pt x="588" y="88"/>
                  </a:lnTo>
                  <a:lnTo>
                    <a:pt x="588" y="90"/>
                  </a:lnTo>
                  <a:lnTo>
                    <a:pt x="588" y="92"/>
                  </a:lnTo>
                  <a:lnTo>
                    <a:pt x="588" y="92"/>
                  </a:lnTo>
                  <a:lnTo>
                    <a:pt x="590" y="95"/>
                  </a:lnTo>
                  <a:lnTo>
                    <a:pt x="590" y="99"/>
                  </a:lnTo>
                  <a:lnTo>
                    <a:pt x="590" y="99"/>
                  </a:lnTo>
                  <a:lnTo>
                    <a:pt x="593" y="99"/>
                  </a:lnTo>
                  <a:lnTo>
                    <a:pt x="595" y="99"/>
                  </a:lnTo>
                  <a:lnTo>
                    <a:pt x="593" y="99"/>
                  </a:lnTo>
                  <a:lnTo>
                    <a:pt x="590" y="99"/>
                  </a:lnTo>
                  <a:lnTo>
                    <a:pt x="590" y="104"/>
                  </a:lnTo>
                  <a:lnTo>
                    <a:pt x="590" y="107"/>
                  </a:lnTo>
                  <a:lnTo>
                    <a:pt x="585" y="107"/>
                  </a:lnTo>
                  <a:lnTo>
                    <a:pt x="585" y="109"/>
                  </a:lnTo>
                  <a:lnTo>
                    <a:pt x="585" y="109"/>
                  </a:lnTo>
                  <a:lnTo>
                    <a:pt x="585" y="109"/>
                  </a:lnTo>
                  <a:lnTo>
                    <a:pt x="588" y="111"/>
                  </a:lnTo>
                  <a:lnTo>
                    <a:pt x="588" y="111"/>
                  </a:lnTo>
                  <a:lnTo>
                    <a:pt x="590" y="116"/>
                  </a:lnTo>
                  <a:lnTo>
                    <a:pt x="590" y="121"/>
                  </a:lnTo>
                  <a:lnTo>
                    <a:pt x="588" y="123"/>
                  </a:lnTo>
                  <a:lnTo>
                    <a:pt x="590" y="123"/>
                  </a:lnTo>
                  <a:lnTo>
                    <a:pt x="590" y="125"/>
                  </a:lnTo>
                  <a:lnTo>
                    <a:pt x="595" y="125"/>
                  </a:lnTo>
                  <a:lnTo>
                    <a:pt x="595" y="125"/>
                  </a:lnTo>
                  <a:lnTo>
                    <a:pt x="597" y="125"/>
                  </a:lnTo>
                  <a:lnTo>
                    <a:pt x="600" y="125"/>
                  </a:lnTo>
                  <a:lnTo>
                    <a:pt x="602" y="128"/>
                  </a:lnTo>
                  <a:lnTo>
                    <a:pt x="602" y="128"/>
                  </a:lnTo>
                  <a:lnTo>
                    <a:pt x="600" y="128"/>
                  </a:lnTo>
                  <a:lnTo>
                    <a:pt x="600" y="130"/>
                  </a:lnTo>
                  <a:lnTo>
                    <a:pt x="600" y="135"/>
                  </a:lnTo>
                  <a:lnTo>
                    <a:pt x="600" y="135"/>
                  </a:lnTo>
                  <a:lnTo>
                    <a:pt x="600" y="137"/>
                  </a:lnTo>
                  <a:lnTo>
                    <a:pt x="595" y="142"/>
                  </a:lnTo>
                  <a:lnTo>
                    <a:pt x="595" y="144"/>
                  </a:lnTo>
                  <a:lnTo>
                    <a:pt x="597" y="142"/>
                  </a:lnTo>
                  <a:lnTo>
                    <a:pt x="597" y="142"/>
                  </a:lnTo>
                  <a:lnTo>
                    <a:pt x="597" y="142"/>
                  </a:lnTo>
                  <a:lnTo>
                    <a:pt x="597" y="144"/>
                  </a:lnTo>
                  <a:lnTo>
                    <a:pt x="597" y="147"/>
                  </a:lnTo>
                  <a:lnTo>
                    <a:pt x="600" y="147"/>
                  </a:lnTo>
                  <a:lnTo>
                    <a:pt x="600" y="147"/>
                  </a:lnTo>
                  <a:lnTo>
                    <a:pt x="600" y="149"/>
                  </a:lnTo>
                  <a:lnTo>
                    <a:pt x="600" y="149"/>
                  </a:lnTo>
                  <a:lnTo>
                    <a:pt x="602" y="151"/>
                  </a:lnTo>
                  <a:lnTo>
                    <a:pt x="604" y="154"/>
                  </a:lnTo>
                  <a:lnTo>
                    <a:pt x="604" y="156"/>
                  </a:lnTo>
                  <a:lnTo>
                    <a:pt x="604" y="161"/>
                  </a:lnTo>
                  <a:lnTo>
                    <a:pt x="602" y="161"/>
                  </a:lnTo>
                  <a:lnTo>
                    <a:pt x="602" y="163"/>
                  </a:lnTo>
                  <a:lnTo>
                    <a:pt x="602" y="163"/>
                  </a:lnTo>
                  <a:lnTo>
                    <a:pt x="602" y="163"/>
                  </a:lnTo>
                  <a:lnTo>
                    <a:pt x="600" y="163"/>
                  </a:lnTo>
                  <a:lnTo>
                    <a:pt x="602" y="166"/>
                  </a:lnTo>
                  <a:lnTo>
                    <a:pt x="602" y="168"/>
                  </a:lnTo>
                  <a:lnTo>
                    <a:pt x="600" y="168"/>
                  </a:lnTo>
                  <a:lnTo>
                    <a:pt x="600" y="170"/>
                  </a:lnTo>
                  <a:lnTo>
                    <a:pt x="600" y="170"/>
                  </a:lnTo>
                  <a:lnTo>
                    <a:pt x="602" y="168"/>
                  </a:lnTo>
                  <a:lnTo>
                    <a:pt x="604" y="168"/>
                  </a:lnTo>
                  <a:lnTo>
                    <a:pt x="607" y="168"/>
                  </a:lnTo>
                  <a:lnTo>
                    <a:pt x="607" y="168"/>
                  </a:lnTo>
                  <a:lnTo>
                    <a:pt x="609" y="168"/>
                  </a:lnTo>
                  <a:lnTo>
                    <a:pt x="609" y="168"/>
                  </a:lnTo>
                  <a:lnTo>
                    <a:pt x="609" y="168"/>
                  </a:lnTo>
                  <a:lnTo>
                    <a:pt x="611" y="168"/>
                  </a:lnTo>
                  <a:lnTo>
                    <a:pt x="611" y="168"/>
                  </a:lnTo>
                  <a:lnTo>
                    <a:pt x="614" y="170"/>
                  </a:lnTo>
                  <a:lnTo>
                    <a:pt x="616" y="170"/>
                  </a:lnTo>
                  <a:lnTo>
                    <a:pt x="619" y="170"/>
                  </a:lnTo>
                  <a:lnTo>
                    <a:pt x="619" y="173"/>
                  </a:lnTo>
                  <a:lnTo>
                    <a:pt x="616" y="173"/>
                  </a:lnTo>
                  <a:lnTo>
                    <a:pt x="616" y="175"/>
                  </a:lnTo>
                  <a:lnTo>
                    <a:pt x="616" y="180"/>
                  </a:lnTo>
                  <a:lnTo>
                    <a:pt x="614" y="182"/>
                  </a:lnTo>
                  <a:lnTo>
                    <a:pt x="616" y="184"/>
                  </a:lnTo>
                  <a:lnTo>
                    <a:pt x="616" y="184"/>
                  </a:lnTo>
                  <a:lnTo>
                    <a:pt x="619" y="187"/>
                  </a:lnTo>
                  <a:lnTo>
                    <a:pt x="621" y="187"/>
                  </a:lnTo>
                  <a:lnTo>
                    <a:pt x="621" y="189"/>
                  </a:lnTo>
                  <a:lnTo>
                    <a:pt x="616" y="196"/>
                  </a:lnTo>
                  <a:lnTo>
                    <a:pt x="616" y="206"/>
                  </a:lnTo>
                  <a:lnTo>
                    <a:pt x="616" y="208"/>
                  </a:lnTo>
                  <a:lnTo>
                    <a:pt x="616" y="208"/>
                  </a:lnTo>
                  <a:lnTo>
                    <a:pt x="616" y="210"/>
                  </a:lnTo>
                  <a:lnTo>
                    <a:pt x="614" y="213"/>
                  </a:lnTo>
                  <a:lnTo>
                    <a:pt x="611" y="215"/>
                  </a:lnTo>
                  <a:lnTo>
                    <a:pt x="611" y="215"/>
                  </a:lnTo>
                  <a:lnTo>
                    <a:pt x="611" y="220"/>
                  </a:lnTo>
                  <a:lnTo>
                    <a:pt x="611" y="222"/>
                  </a:lnTo>
                  <a:lnTo>
                    <a:pt x="611" y="222"/>
                  </a:lnTo>
                  <a:lnTo>
                    <a:pt x="611" y="227"/>
                  </a:lnTo>
                  <a:lnTo>
                    <a:pt x="609" y="229"/>
                  </a:lnTo>
                  <a:lnTo>
                    <a:pt x="609" y="232"/>
                  </a:lnTo>
                  <a:lnTo>
                    <a:pt x="607" y="234"/>
                  </a:lnTo>
                  <a:lnTo>
                    <a:pt x="607" y="236"/>
                  </a:lnTo>
                  <a:lnTo>
                    <a:pt x="604" y="236"/>
                  </a:lnTo>
                  <a:lnTo>
                    <a:pt x="604" y="239"/>
                  </a:lnTo>
                  <a:lnTo>
                    <a:pt x="602" y="239"/>
                  </a:lnTo>
                  <a:lnTo>
                    <a:pt x="602" y="239"/>
                  </a:lnTo>
                  <a:lnTo>
                    <a:pt x="602" y="241"/>
                  </a:lnTo>
                  <a:lnTo>
                    <a:pt x="604" y="241"/>
                  </a:lnTo>
                  <a:lnTo>
                    <a:pt x="604" y="241"/>
                  </a:lnTo>
                  <a:lnTo>
                    <a:pt x="604" y="241"/>
                  </a:lnTo>
                  <a:lnTo>
                    <a:pt x="604" y="246"/>
                  </a:lnTo>
                  <a:lnTo>
                    <a:pt x="604" y="246"/>
                  </a:lnTo>
                  <a:lnTo>
                    <a:pt x="607" y="248"/>
                  </a:lnTo>
                  <a:lnTo>
                    <a:pt x="609" y="251"/>
                  </a:lnTo>
                  <a:lnTo>
                    <a:pt x="611" y="253"/>
                  </a:lnTo>
                  <a:lnTo>
                    <a:pt x="607" y="258"/>
                  </a:lnTo>
                  <a:lnTo>
                    <a:pt x="604" y="260"/>
                  </a:lnTo>
                  <a:lnTo>
                    <a:pt x="602" y="262"/>
                  </a:lnTo>
                  <a:lnTo>
                    <a:pt x="602" y="262"/>
                  </a:lnTo>
                  <a:lnTo>
                    <a:pt x="600" y="265"/>
                  </a:lnTo>
                  <a:lnTo>
                    <a:pt x="600" y="265"/>
                  </a:lnTo>
                  <a:lnTo>
                    <a:pt x="602" y="265"/>
                  </a:lnTo>
                  <a:lnTo>
                    <a:pt x="607" y="267"/>
                  </a:lnTo>
                  <a:lnTo>
                    <a:pt x="607" y="267"/>
                  </a:lnTo>
                  <a:lnTo>
                    <a:pt x="604" y="267"/>
                  </a:lnTo>
                  <a:lnTo>
                    <a:pt x="604" y="272"/>
                  </a:lnTo>
                  <a:lnTo>
                    <a:pt x="604" y="272"/>
                  </a:lnTo>
                  <a:lnTo>
                    <a:pt x="602" y="272"/>
                  </a:lnTo>
                  <a:lnTo>
                    <a:pt x="602" y="277"/>
                  </a:lnTo>
                  <a:lnTo>
                    <a:pt x="600" y="279"/>
                  </a:lnTo>
                  <a:lnTo>
                    <a:pt x="604" y="281"/>
                  </a:lnTo>
                  <a:lnTo>
                    <a:pt x="602" y="284"/>
                  </a:lnTo>
                  <a:lnTo>
                    <a:pt x="604" y="286"/>
                  </a:lnTo>
                  <a:lnTo>
                    <a:pt x="604" y="288"/>
                  </a:lnTo>
                  <a:lnTo>
                    <a:pt x="604" y="288"/>
                  </a:lnTo>
                  <a:lnTo>
                    <a:pt x="607" y="288"/>
                  </a:lnTo>
                  <a:lnTo>
                    <a:pt x="607" y="288"/>
                  </a:lnTo>
                  <a:lnTo>
                    <a:pt x="607" y="291"/>
                  </a:lnTo>
                  <a:lnTo>
                    <a:pt x="607" y="288"/>
                  </a:lnTo>
                  <a:lnTo>
                    <a:pt x="609" y="288"/>
                  </a:lnTo>
                  <a:lnTo>
                    <a:pt x="614" y="296"/>
                  </a:lnTo>
                  <a:lnTo>
                    <a:pt x="614" y="293"/>
                  </a:lnTo>
                  <a:lnTo>
                    <a:pt x="616" y="293"/>
                  </a:lnTo>
                  <a:lnTo>
                    <a:pt x="616" y="296"/>
                  </a:lnTo>
                  <a:lnTo>
                    <a:pt x="616" y="296"/>
                  </a:lnTo>
                  <a:lnTo>
                    <a:pt x="616" y="300"/>
                  </a:lnTo>
                  <a:lnTo>
                    <a:pt x="616" y="303"/>
                  </a:lnTo>
                  <a:lnTo>
                    <a:pt x="621" y="303"/>
                  </a:lnTo>
                  <a:lnTo>
                    <a:pt x="621" y="305"/>
                  </a:lnTo>
                  <a:lnTo>
                    <a:pt x="621" y="305"/>
                  </a:lnTo>
                  <a:lnTo>
                    <a:pt x="621" y="305"/>
                  </a:lnTo>
                  <a:lnTo>
                    <a:pt x="623" y="305"/>
                  </a:lnTo>
                  <a:lnTo>
                    <a:pt x="623" y="307"/>
                  </a:lnTo>
                  <a:lnTo>
                    <a:pt x="626" y="310"/>
                  </a:lnTo>
                  <a:lnTo>
                    <a:pt x="628" y="307"/>
                  </a:lnTo>
                  <a:lnTo>
                    <a:pt x="628" y="307"/>
                  </a:lnTo>
                  <a:lnTo>
                    <a:pt x="630" y="310"/>
                  </a:lnTo>
                  <a:lnTo>
                    <a:pt x="630" y="310"/>
                  </a:lnTo>
                  <a:lnTo>
                    <a:pt x="630" y="312"/>
                  </a:lnTo>
                  <a:lnTo>
                    <a:pt x="635" y="314"/>
                  </a:lnTo>
                  <a:lnTo>
                    <a:pt x="635" y="317"/>
                  </a:lnTo>
                  <a:lnTo>
                    <a:pt x="635" y="314"/>
                  </a:lnTo>
                  <a:lnTo>
                    <a:pt x="637" y="314"/>
                  </a:lnTo>
                  <a:lnTo>
                    <a:pt x="640" y="319"/>
                  </a:lnTo>
                  <a:lnTo>
                    <a:pt x="640" y="319"/>
                  </a:lnTo>
                  <a:lnTo>
                    <a:pt x="642" y="319"/>
                  </a:lnTo>
                  <a:lnTo>
                    <a:pt x="642" y="319"/>
                  </a:lnTo>
                  <a:lnTo>
                    <a:pt x="642" y="321"/>
                  </a:lnTo>
                  <a:lnTo>
                    <a:pt x="642" y="326"/>
                  </a:lnTo>
                  <a:lnTo>
                    <a:pt x="640" y="329"/>
                  </a:lnTo>
                  <a:lnTo>
                    <a:pt x="642" y="329"/>
                  </a:lnTo>
                  <a:lnTo>
                    <a:pt x="642" y="329"/>
                  </a:lnTo>
                  <a:lnTo>
                    <a:pt x="645" y="331"/>
                  </a:lnTo>
                  <a:lnTo>
                    <a:pt x="642" y="331"/>
                  </a:lnTo>
                  <a:lnTo>
                    <a:pt x="642" y="333"/>
                  </a:lnTo>
                  <a:lnTo>
                    <a:pt x="642" y="333"/>
                  </a:lnTo>
                  <a:lnTo>
                    <a:pt x="642" y="336"/>
                  </a:lnTo>
                  <a:lnTo>
                    <a:pt x="645" y="336"/>
                  </a:lnTo>
                  <a:lnTo>
                    <a:pt x="645" y="338"/>
                  </a:lnTo>
                  <a:lnTo>
                    <a:pt x="642" y="340"/>
                  </a:lnTo>
                  <a:lnTo>
                    <a:pt x="642" y="340"/>
                  </a:lnTo>
                  <a:lnTo>
                    <a:pt x="640" y="343"/>
                  </a:lnTo>
                  <a:lnTo>
                    <a:pt x="642" y="345"/>
                  </a:lnTo>
                  <a:lnTo>
                    <a:pt x="642" y="347"/>
                  </a:lnTo>
                  <a:lnTo>
                    <a:pt x="645" y="350"/>
                  </a:lnTo>
                  <a:lnTo>
                    <a:pt x="642" y="350"/>
                  </a:lnTo>
                  <a:lnTo>
                    <a:pt x="640" y="350"/>
                  </a:lnTo>
                  <a:lnTo>
                    <a:pt x="640" y="350"/>
                  </a:lnTo>
                  <a:lnTo>
                    <a:pt x="640" y="352"/>
                  </a:lnTo>
                  <a:lnTo>
                    <a:pt x="640" y="355"/>
                  </a:lnTo>
                  <a:lnTo>
                    <a:pt x="642" y="355"/>
                  </a:lnTo>
                  <a:lnTo>
                    <a:pt x="642" y="355"/>
                  </a:lnTo>
                  <a:lnTo>
                    <a:pt x="642" y="357"/>
                  </a:lnTo>
                  <a:lnTo>
                    <a:pt x="642" y="357"/>
                  </a:lnTo>
                  <a:lnTo>
                    <a:pt x="642" y="359"/>
                  </a:lnTo>
                  <a:lnTo>
                    <a:pt x="642" y="359"/>
                  </a:lnTo>
                  <a:lnTo>
                    <a:pt x="642" y="362"/>
                  </a:lnTo>
                  <a:lnTo>
                    <a:pt x="642" y="362"/>
                  </a:lnTo>
                  <a:lnTo>
                    <a:pt x="642" y="364"/>
                  </a:lnTo>
                  <a:lnTo>
                    <a:pt x="640" y="364"/>
                  </a:lnTo>
                  <a:lnTo>
                    <a:pt x="642" y="366"/>
                  </a:lnTo>
                  <a:lnTo>
                    <a:pt x="642" y="369"/>
                  </a:lnTo>
                  <a:lnTo>
                    <a:pt x="645" y="369"/>
                  </a:lnTo>
                  <a:lnTo>
                    <a:pt x="645" y="373"/>
                  </a:lnTo>
                  <a:lnTo>
                    <a:pt x="645" y="376"/>
                  </a:lnTo>
                  <a:lnTo>
                    <a:pt x="645" y="376"/>
                  </a:lnTo>
                  <a:lnTo>
                    <a:pt x="645" y="381"/>
                  </a:lnTo>
                  <a:lnTo>
                    <a:pt x="645" y="383"/>
                  </a:lnTo>
                  <a:lnTo>
                    <a:pt x="642" y="383"/>
                  </a:lnTo>
                  <a:lnTo>
                    <a:pt x="640" y="383"/>
                  </a:lnTo>
                  <a:lnTo>
                    <a:pt x="642" y="385"/>
                  </a:lnTo>
                  <a:lnTo>
                    <a:pt x="642" y="388"/>
                  </a:lnTo>
                  <a:lnTo>
                    <a:pt x="645" y="392"/>
                  </a:lnTo>
                  <a:lnTo>
                    <a:pt x="642" y="392"/>
                  </a:lnTo>
                  <a:lnTo>
                    <a:pt x="645" y="397"/>
                  </a:lnTo>
                  <a:lnTo>
                    <a:pt x="645" y="399"/>
                  </a:lnTo>
                  <a:lnTo>
                    <a:pt x="645" y="404"/>
                  </a:lnTo>
                  <a:lnTo>
                    <a:pt x="645" y="407"/>
                  </a:lnTo>
                  <a:lnTo>
                    <a:pt x="647" y="411"/>
                  </a:lnTo>
                  <a:lnTo>
                    <a:pt x="645" y="414"/>
                  </a:lnTo>
                  <a:lnTo>
                    <a:pt x="649" y="416"/>
                  </a:lnTo>
                  <a:lnTo>
                    <a:pt x="649" y="423"/>
                  </a:lnTo>
                  <a:lnTo>
                    <a:pt x="647" y="425"/>
                  </a:lnTo>
                  <a:lnTo>
                    <a:pt x="647" y="425"/>
                  </a:lnTo>
                  <a:lnTo>
                    <a:pt x="647" y="428"/>
                  </a:lnTo>
                  <a:lnTo>
                    <a:pt x="645" y="430"/>
                  </a:lnTo>
                  <a:lnTo>
                    <a:pt x="645" y="433"/>
                  </a:lnTo>
                  <a:lnTo>
                    <a:pt x="645" y="433"/>
                  </a:lnTo>
                  <a:lnTo>
                    <a:pt x="645" y="433"/>
                  </a:lnTo>
                  <a:lnTo>
                    <a:pt x="647" y="433"/>
                  </a:lnTo>
                  <a:lnTo>
                    <a:pt x="649" y="435"/>
                  </a:lnTo>
                  <a:lnTo>
                    <a:pt x="652" y="440"/>
                  </a:lnTo>
                  <a:lnTo>
                    <a:pt x="652" y="444"/>
                  </a:lnTo>
                  <a:lnTo>
                    <a:pt x="652" y="447"/>
                  </a:lnTo>
                  <a:lnTo>
                    <a:pt x="652" y="449"/>
                  </a:lnTo>
                  <a:lnTo>
                    <a:pt x="652" y="449"/>
                  </a:lnTo>
                  <a:lnTo>
                    <a:pt x="652" y="449"/>
                  </a:lnTo>
                  <a:lnTo>
                    <a:pt x="652" y="454"/>
                  </a:lnTo>
                  <a:lnTo>
                    <a:pt x="652" y="456"/>
                  </a:lnTo>
                  <a:lnTo>
                    <a:pt x="654" y="461"/>
                  </a:lnTo>
                  <a:lnTo>
                    <a:pt x="656" y="466"/>
                  </a:lnTo>
                  <a:lnTo>
                    <a:pt x="659" y="466"/>
                  </a:lnTo>
                  <a:lnTo>
                    <a:pt x="659" y="466"/>
                  </a:lnTo>
                  <a:lnTo>
                    <a:pt x="661" y="468"/>
                  </a:lnTo>
                  <a:lnTo>
                    <a:pt x="661" y="468"/>
                  </a:lnTo>
                  <a:lnTo>
                    <a:pt x="661" y="470"/>
                  </a:lnTo>
                  <a:lnTo>
                    <a:pt x="661" y="470"/>
                  </a:lnTo>
                  <a:lnTo>
                    <a:pt x="659" y="475"/>
                  </a:lnTo>
                  <a:lnTo>
                    <a:pt x="659" y="477"/>
                  </a:lnTo>
                  <a:lnTo>
                    <a:pt x="659" y="477"/>
                  </a:lnTo>
                  <a:lnTo>
                    <a:pt x="659" y="482"/>
                  </a:lnTo>
                  <a:lnTo>
                    <a:pt x="659" y="487"/>
                  </a:lnTo>
                  <a:lnTo>
                    <a:pt x="659" y="489"/>
                  </a:lnTo>
                  <a:lnTo>
                    <a:pt x="659" y="492"/>
                  </a:lnTo>
                  <a:lnTo>
                    <a:pt x="659" y="494"/>
                  </a:lnTo>
                  <a:lnTo>
                    <a:pt x="659" y="496"/>
                  </a:lnTo>
                  <a:lnTo>
                    <a:pt x="663" y="501"/>
                  </a:lnTo>
                  <a:lnTo>
                    <a:pt x="666" y="506"/>
                  </a:lnTo>
                  <a:lnTo>
                    <a:pt x="666" y="506"/>
                  </a:lnTo>
                  <a:lnTo>
                    <a:pt x="668" y="508"/>
                  </a:lnTo>
                  <a:lnTo>
                    <a:pt x="668" y="508"/>
                  </a:lnTo>
                  <a:lnTo>
                    <a:pt x="666" y="513"/>
                  </a:lnTo>
                  <a:lnTo>
                    <a:pt x="668" y="513"/>
                  </a:lnTo>
                  <a:lnTo>
                    <a:pt x="670" y="515"/>
                  </a:lnTo>
                  <a:lnTo>
                    <a:pt x="678" y="515"/>
                  </a:lnTo>
                  <a:lnTo>
                    <a:pt x="680" y="518"/>
                  </a:lnTo>
                  <a:lnTo>
                    <a:pt x="682" y="520"/>
                  </a:lnTo>
                  <a:lnTo>
                    <a:pt x="682" y="520"/>
                  </a:lnTo>
                  <a:lnTo>
                    <a:pt x="687" y="522"/>
                  </a:lnTo>
                  <a:lnTo>
                    <a:pt x="694" y="522"/>
                  </a:lnTo>
                  <a:lnTo>
                    <a:pt x="696" y="522"/>
                  </a:lnTo>
                  <a:lnTo>
                    <a:pt x="699" y="522"/>
                  </a:lnTo>
                  <a:lnTo>
                    <a:pt x="699" y="525"/>
                  </a:lnTo>
                  <a:lnTo>
                    <a:pt x="701" y="525"/>
                  </a:lnTo>
                  <a:lnTo>
                    <a:pt x="701" y="527"/>
                  </a:lnTo>
                  <a:lnTo>
                    <a:pt x="704" y="529"/>
                  </a:lnTo>
                  <a:lnTo>
                    <a:pt x="704" y="529"/>
                  </a:lnTo>
                  <a:lnTo>
                    <a:pt x="704" y="532"/>
                  </a:lnTo>
                  <a:lnTo>
                    <a:pt x="706" y="534"/>
                  </a:lnTo>
                  <a:lnTo>
                    <a:pt x="706" y="534"/>
                  </a:lnTo>
                  <a:lnTo>
                    <a:pt x="708" y="532"/>
                  </a:lnTo>
                  <a:lnTo>
                    <a:pt x="711" y="532"/>
                  </a:lnTo>
                  <a:lnTo>
                    <a:pt x="713" y="532"/>
                  </a:lnTo>
                  <a:lnTo>
                    <a:pt x="713" y="532"/>
                  </a:lnTo>
                  <a:lnTo>
                    <a:pt x="711" y="534"/>
                  </a:lnTo>
                  <a:lnTo>
                    <a:pt x="711" y="534"/>
                  </a:lnTo>
                  <a:lnTo>
                    <a:pt x="708" y="536"/>
                  </a:lnTo>
                  <a:lnTo>
                    <a:pt x="708" y="539"/>
                  </a:lnTo>
                  <a:lnTo>
                    <a:pt x="706" y="539"/>
                  </a:lnTo>
                  <a:lnTo>
                    <a:pt x="706" y="539"/>
                  </a:lnTo>
                  <a:lnTo>
                    <a:pt x="706" y="544"/>
                  </a:lnTo>
                  <a:lnTo>
                    <a:pt x="704" y="544"/>
                  </a:lnTo>
                  <a:lnTo>
                    <a:pt x="706" y="548"/>
                  </a:lnTo>
                  <a:lnTo>
                    <a:pt x="706" y="551"/>
                  </a:lnTo>
                  <a:lnTo>
                    <a:pt x="706" y="558"/>
                  </a:lnTo>
                  <a:lnTo>
                    <a:pt x="708" y="558"/>
                  </a:lnTo>
                  <a:lnTo>
                    <a:pt x="708" y="558"/>
                  </a:lnTo>
                  <a:lnTo>
                    <a:pt x="706" y="560"/>
                  </a:lnTo>
                  <a:lnTo>
                    <a:pt x="706" y="560"/>
                  </a:lnTo>
                  <a:lnTo>
                    <a:pt x="704" y="560"/>
                  </a:lnTo>
                  <a:lnTo>
                    <a:pt x="704" y="560"/>
                  </a:lnTo>
                  <a:lnTo>
                    <a:pt x="706" y="560"/>
                  </a:lnTo>
                  <a:lnTo>
                    <a:pt x="706" y="562"/>
                  </a:lnTo>
                  <a:lnTo>
                    <a:pt x="704" y="562"/>
                  </a:lnTo>
                  <a:lnTo>
                    <a:pt x="704" y="565"/>
                  </a:lnTo>
                  <a:lnTo>
                    <a:pt x="701" y="567"/>
                  </a:lnTo>
                  <a:lnTo>
                    <a:pt x="699" y="570"/>
                  </a:lnTo>
                  <a:lnTo>
                    <a:pt x="699" y="570"/>
                  </a:lnTo>
                  <a:lnTo>
                    <a:pt x="696" y="572"/>
                  </a:lnTo>
                  <a:lnTo>
                    <a:pt x="699" y="574"/>
                  </a:lnTo>
                  <a:lnTo>
                    <a:pt x="696" y="579"/>
                  </a:lnTo>
                  <a:lnTo>
                    <a:pt x="696" y="581"/>
                  </a:lnTo>
                  <a:lnTo>
                    <a:pt x="696" y="581"/>
                  </a:lnTo>
                  <a:lnTo>
                    <a:pt x="694" y="586"/>
                  </a:lnTo>
                  <a:lnTo>
                    <a:pt x="694" y="593"/>
                  </a:lnTo>
                  <a:lnTo>
                    <a:pt x="694" y="598"/>
                  </a:lnTo>
                  <a:lnTo>
                    <a:pt x="694" y="598"/>
                  </a:lnTo>
                  <a:lnTo>
                    <a:pt x="689" y="600"/>
                  </a:lnTo>
                  <a:lnTo>
                    <a:pt x="692" y="603"/>
                  </a:lnTo>
                  <a:lnTo>
                    <a:pt x="689" y="610"/>
                  </a:lnTo>
                  <a:lnTo>
                    <a:pt x="678" y="614"/>
                  </a:lnTo>
                  <a:lnTo>
                    <a:pt x="675" y="617"/>
                  </a:lnTo>
                  <a:lnTo>
                    <a:pt x="673" y="617"/>
                  </a:lnTo>
                  <a:lnTo>
                    <a:pt x="670" y="617"/>
                  </a:lnTo>
                  <a:lnTo>
                    <a:pt x="668" y="619"/>
                  </a:lnTo>
                  <a:lnTo>
                    <a:pt x="668" y="621"/>
                  </a:lnTo>
                  <a:lnTo>
                    <a:pt x="670" y="629"/>
                  </a:lnTo>
                  <a:lnTo>
                    <a:pt x="673" y="629"/>
                  </a:lnTo>
                  <a:lnTo>
                    <a:pt x="678" y="633"/>
                  </a:lnTo>
                  <a:lnTo>
                    <a:pt x="678" y="636"/>
                  </a:lnTo>
                  <a:lnTo>
                    <a:pt x="678" y="636"/>
                  </a:lnTo>
                  <a:lnTo>
                    <a:pt x="678" y="636"/>
                  </a:lnTo>
                  <a:lnTo>
                    <a:pt x="678" y="638"/>
                  </a:lnTo>
                  <a:lnTo>
                    <a:pt x="678" y="640"/>
                  </a:lnTo>
                  <a:lnTo>
                    <a:pt x="678" y="643"/>
                  </a:lnTo>
                  <a:lnTo>
                    <a:pt x="675" y="647"/>
                  </a:lnTo>
                  <a:lnTo>
                    <a:pt x="673" y="652"/>
                  </a:lnTo>
                  <a:lnTo>
                    <a:pt x="673" y="657"/>
                  </a:lnTo>
                  <a:lnTo>
                    <a:pt x="678" y="659"/>
                  </a:lnTo>
                  <a:lnTo>
                    <a:pt x="680" y="662"/>
                  </a:lnTo>
                  <a:lnTo>
                    <a:pt x="687" y="664"/>
                  </a:lnTo>
                  <a:lnTo>
                    <a:pt x="687" y="664"/>
                  </a:lnTo>
                  <a:lnTo>
                    <a:pt x="689" y="664"/>
                  </a:lnTo>
                  <a:lnTo>
                    <a:pt x="689" y="666"/>
                  </a:lnTo>
                  <a:lnTo>
                    <a:pt x="689" y="666"/>
                  </a:lnTo>
                  <a:lnTo>
                    <a:pt x="692" y="669"/>
                  </a:lnTo>
                  <a:lnTo>
                    <a:pt x="692" y="671"/>
                  </a:lnTo>
                  <a:lnTo>
                    <a:pt x="689" y="681"/>
                  </a:lnTo>
                  <a:lnTo>
                    <a:pt x="689" y="683"/>
                  </a:lnTo>
                  <a:lnTo>
                    <a:pt x="689" y="683"/>
                  </a:lnTo>
                  <a:lnTo>
                    <a:pt x="687" y="692"/>
                  </a:lnTo>
                  <a:lnTo>
                    <a:pt x="685" y="695"/>
                  </a:lnTo>
                  <a:lnTo>
                    <a:pt x="682" y="699"/>
                  </a:lnTo>
                  <a:lnTo>
                    <a:pt x="682" y="702"/>
                  </a:lnTo>
                  <a:lnTo>
                    <a:pt x="682" y="704"/>
                  </a:lnTo>
                  <a:lnTo>
                    <a:pt x="685" y="704"/>
                  </a:lnTo>
                  <a:lnTo>
                    <a:pt x="685" y="707"/>
                  </a:lnTo>
                  <a:lnTo>
                    <a:pt x="682" y="707"/>
                  </a:lnTo>
                  <a:lnTo>
                    <a:pt x="682" y="709"/>
                  </a:lnTo>
                  <a:lnTo>
                    <a:pt x="680" y="707"/>
                  </a:lnTo>
                  <a:lnTo>
                    <a:pt x="678" y="707"/>
                  </a:lnTo>
                  <a:lnTo>
                    <a:pt x="678" y="709"/>
                  </a:lnTo>
                  <a:lnTo>
                    <a:pt x="678" y="709"/>
                  </a:lnTo>
                  <a:lnTo>
                    <a:pt x="675" y="709"/>
                  </a:lnTo>
                  <a:lnTo>
                    <a:pt x="675" y="709"/>
                  </a:lnTo>
                  <a:lnTo>
                    <a:pt x="675" y="711"/>
                  </a:lnTo>
                  <a:lnTo>
                    <a:pt x="673" y="714"/>
                  </a:lnTo>
                  <a:lnTo>
                    <a:pt x="673" y="714"/>
                  </a:lnTo>
                  <a:lnTo>
                    <a:pt x="670" y="714"/>
                  </a:lnTo>
                  <a:lnTo>
                    <a:pt x="670" y="716"/>
                  </a:lnTo>
                  <a:lnTo>
                    <a:pt x="670" y="716"/>
                  </a:lnTo>
                  <a:lnTo>
                    <a:pt x="670" y="718"/>
                  </a:lnTo>
                  <a:lnTo>
                    <a:pt x="668" y="718"/>
                  </a:lnTo>
                  <a:lnTo>
                    <a:pt x="666" y="718"/>
                  </a:lnTo>
                  <a:lnTo>
                    <a:pt x="666" y="718"/>
                  </a:lnTo>
                  <a:lnTo>
                    <a:pt x="663" y="721"/>
                  </a:lnTo>
                  <a:lnTo>
                    <a:pt x="661" y="721"/>
                  </a:lnTo>
                  <a:lnTo>
                    <a:pt x="661" y="723"/>
                  </a:lnTo>
                  <a:lnTo>
                    <a:pt x="661" y="725"/>
                  </a:lnTo>
                  <a:lnTo>
                    <a:pt x="661" y="725"/>
                  </a:lnTo>
                  <a:lnTo>
                    <a:pt x="661" y="728"/>
                  </a:lnTo>
                  <a:lnTo>
                    <a:pt x="661" y="728"/>
                  </a:lnTo>
                  <a:lnTo>
                    <a:pt x="659" y="728"/>
                  </a:lnTo>
                  <a:lnTo>
                    <a:pt x="659" y="730"/>
                  </a:lnTo>
                  <a:lnTo>
                    <a:pt x="656" y="730"/>
                  </a:lnTo>
                  <a:lnTo>
                    <a:pt x="656" y="733"/>
                  </a:lnTo>
                  <a:lnTo>
                    <a:pt x="654" y="733"/>
                  </a:lnTo>
                  <a:lnTo>
                    <a:pt x="656" y="735"/>
                  </a:lnTo>
                  <a:lnTo>
                    <a:pt x="654" y="737"/>
                  </a:lnTo>
                  <a:lnTo>
                    <a:pt x="652" y="737"/>
                  </a:lnTo>
                  <a:lnTo>
                    <a:pt x="652" y="737"/>
                  </a:lnTo>
                  <a:lnTo>
                    <a:pt x="649" y="735"/>
                  </a:lnTo>
                  <a:lnTo>
                    <a:pt x="649" y="735"/>
                  </a:lnTo>
                  <a:lnTo>
                    <a:pt x="647" y="735"/>
                  </a:lnTo>
                  <a:lnTo>
                    <a:pt x="645" y="737"/>
                  </a:lnTo>
                  <a:lnTo>
                    <a:pt x="647" y="737"/>
                  </a:lnTo>
                  <a:lnTo>
                    <a:pt x="647" y="740"/>
                  </a:lnTo>
                  <a:lnTo>
                    <a:pt x="645" y="740"/>
                  </a:lnTo>
                  <a:lnTo>
                    <a:pt x="645" y="740"/>
                  </a:lnTo>
                  <a:lnTo>
                    <a:pt x="645" y="742"/>
                  </a:lnTo>
                  <a:lnTo>
                    <a:pt x="645" y="744"/>
                  </a:lnTo>
                  <a:lnTo>
                    <a:pt x="645" y="744"/>
                  </a:lnTo>
                  <a:lnTo>
                    <a:pt x="642" y="747"/>
                  </a:lnTo>
                  <a:lnTo>
                    <a:pt x="640" y="744"/>
                  </a:lnTo>
                  <a:lnTo>
                    <a:pt x="637" y="744"/>
                  </a:lnTo>
                  <a:lnTo>
                    <a:pt x="637" y="742"/>
                  </a:lnTo>
                  <a:lnTo>
                    <a:pt x="637" y="742"/>
                  </a:lnTo>
                  <a:lnTo>
                    <a:pt x="635" y="740"/>
                  </a:lnTo>
                  <a:lnTo>
                    <a:pt x="633" y="742"/>
                  </a:lnTo>
                  <a:lnTo>
                    <a:pt x="633" y="742"/>
                  </a:lnTo>
                  <a:lnTo>
                    <a:pt x="633" y="744"/>
                  </a:lnTo>
                  <a:lnTo>
                    <a:pt x="628" y="744"/>
                  </a:lnTo>
                  <a:lnTo>
                    <a:pt x="626" y="747"/>
                  </a:lnTo>
                  <a:lnTo>
                    <a:pt x="626" y="751"/>
                  </a:lnTo>
                  <a:lnTo>
                    <a:pt x="623" y="751"/>
                  </a:lnTo>
                  <a:lnTo>
                    <a:pt x="623" y="754"/>
                  </a:lnTo>
                  <a:lnTo>
                    <a:pt x="621" y="756"/>
                  </a:lnTo>
                  <a:lnTo>
                    <a:pt x="621" y="756"/>
                  </a:lnTo>
                  <a:lnTo>
                    <a:pt x="621" y="756"/>
                  </a:lnTo>
                  <a:lnTo>
                    <a:pt x="619" y="758"/>
                  </a:lnTo>
                  <a:lnTo>
                    <a:pt x="616" y="758"/>
                  </a:lnTo>
                  <a:lnTo>
                    <a:pt x="616" y="758"/>
                  </a:lnTo>
                  <a:lnTo>
                    <a:pt x="616" y="758"/>
                  </a:lnTo>
                  <a:lnTo>
                    <a:pt x="614" y="758"/>
                  </a:lnTo>
                  <a:lnTo>
                    <a:pt x="614" y="761"/>
                  </a:lnTo>
                  <a:lnTo>
                    <a:pt x="611" y="763"/>
                  </a:lnTo>
                  <a:lnTo>
                    <a:pt x="611" y="763"/>
                  </a:lnTo>
                  <a:lnTo>
                    <a:pt x="611" y="766"/>
                  </a:lnTo>
                  <a:lnTo>
                    <a:pt x="609" y="766"/>
                  </a:lnTo>
                  <a:lnTo>
                    <a:pt x="607" y="766"/>
                  </a:lnTo>
                  <a:lnTo>
                    <a:pt x="607" y="766"/>
                  </a:lnTo>
                  <a:lnTo>
                    <a:pt x="607" y="766"/>
                  </a:lnTo>
                  <a:lnTo>
                    <a:pt x="607" y="768"/>
                  </a:lnTo>
                  <a:lnTo>
                    <a:pt x="607" y="770"/>
                  </a:lnTo>
                  <a:lnTo>
                    <a:pt x="604" y="773"/>
                  </a:lnTo>
                  <a:lnTo>
                    <a:pt x="604" y="773"/>
                  </a:lnTo>
                  <a:lnTo>
                    <a:pt x="602" y="773"/>
                  </a:lnTo>
                  <a:lnTo>
                    <a:pt x="600" y="775"/>
                  </a:lnTo>
                  <a:lnTo>
                    <a:pt x="597" y="775"/>
                  </a:lnTo>
                  <a:lnTo>
                    <a:pt x="595" y="777"/>
                  </a:lnTo>
                  <a:lnTo>
                    <a:pt x="593" y="780"/>
                  </a:lnTo>
                  <a:lnTo>
                    <a:pt x="590" y="780"/>
                  </a:lnTo>
                  <a:lnTo>
                    <a:pt x="588" y="780"/>
                  </a:lnTo>
                  <a:lnTo>
                    <a:pt x="585" y="780"/>
                  </a:lnTo>
                  <a:lnTo>
                    <a:pt x="585" y="780"/>
                  </a:lnTo>
                  <a:lnTo>
                    <a:pt x="585" y="782"/>
                  </a:lnTo>
                  <a:lnTo>
                    <a:pt x="583" y="782"/>
                  </a:lnTo>
                  <a:lnTo>
                    <a:pt x="581" y="787"/>
                  </a:lnTo>
                  <a:lnTo>
                    <a:pt x="581" y="789"/>
                  </a:lnTo>
                  <a:lnTo>
                    <a:pt x="578" y="794"/>
                  </a:lnTo>
                  <a:lnTo>
                    <a:pt x="578" y="792"/>
                  </a:lnTo>
                  <a:lnTo>
                    <a:pt x="574" y="796"/>
                  </a:lnTo>
                  <a:lnTo>
                    <a:pt x="571" y="799"/>
                  </a:lnTo>
                  <a:lnTo>
                    <a:pt x="571" y="799"/>
                  </a:lnTo>
                  <a:lnTo>
                    <a:pt x="569" y="801"/>
                  </a:lnTo>
                  <a:lnTo>
                    <a:pt x="569" y="801"/>
                  </a:lnTo>
                  <a:lnTo>
                    <a:pt x="569" y="801"/>
                  </a:lnTo>
                  <a:lnTo>
                    <a:pt x="569" y="803"/>
                  </a:lnTo>
                  <a:lnTo>
                    <a:pt x="569" y="806"/>
                  </a:lnTo>
                  <a:lnTo>
                    <a:pt x="567" y="806"/>
                  </a:lnTo>
                  <a:lnTo>
                    <a:pt x="567" y="806"/>
                  </a:lnTo>
                  <a:lnTo>
                    <a:pt x="567" y="810"/>
                  </a:lnTo>
                  <a:lnTo>
                    <a:pt x="564" y="810"/>
                  </a:lnTo>
                  <a:lnTo>
                    <a:pt x="564" y="815"/>
                  </a:lnTo>
                  <a:lnTo>
                    <a:pt x="562" y="815"/>
                  </a:lnTo>
                  <a:lnTo>
                    <a:pt x="559" y="813"/>
                  </a:lnTo>
                  <a:lnTo>
                    <a:pt x="559" y="813"/>
                  </a:lnTo>
                  <a:lnTo>
                    <a:pt x="557" y="813"/>
                  </a:lnTo>
                  <a:lnTo>
                    <a:pt x="557" y="813"/>
                  </a:lnTo>
                  <a:lnTo>
                    <a:pt x="557" y="813"/>
                  </a:lnTo>
                  <a:lnTo>
                    <a:pt x="555" y="815"/>
                  </a:lnTo>
                  <a:lnTo>
                    <a:pt x="552" y="815"/>
                  </a:lnTo>
                  <a:lnTo>
                    <a:pt x="552" y="818"/>
                  </a:lnTo>
                  <a:lnTo>
                    <a:pt x="552" y="818"/>
                  </a:lnTo>
                  <a:lnTo>
                    <a:pt x="548" y="818"/>
                  </a:lnTo>
                  <a:lnTo>
                    <a:pt x="548" y="820"/>
                  </a:lnTo>
                  <a:lnTo>
                    <a:pt x="548" y="820"/>
                  </a:lnTo>
                  <a:lnTo>
                    <a:pt x="541" y="820"/>
                  </a:lnTo>
                  <a:lnTo>
                    <a:pt x="541" y="822"/>
                  </a:lnTo>
                  <a:lnTo>
                    <a:pt x="541" y="825"/>
                  </a:lnTo>
                  <a:lnTo>
                    <a:pt x="541" y="827"/>
                  </a:lnTo>
                  <a:lnTo>
                    <a:pt x="541" y="832"/>
                  </a:lnTo>
                  <a:lnTo>
                    <a:pt x="536" y="834"/>
                  </a:lnTo>
                  <a:lnTo>
                    <a:pt x="533" y="836"/>
                  </a:lnTo>
                  <a:lnTo>
                    <a:pt x="533" y="836"/>
                  </a:lnTo>
                  <a:lnTo>
                    <a:pt x="531" y="839"/>
                  </a:lnTo>
                  <a:lnTo>
                    <a:pt x="531" y="841"/>
                  </a:lnTo>
                  <a:lnTo>
                    <a:pt x="529" y="844"/>
                  </a:lnTo>
                  <a:lnTo>
                    <a:pt x="526" y="851"/>
                  </a:lnTo>
                  <a:lnTo>
                    <a:pt x="524" y="851"/>
                  </a:lnTo>
                  <a:lnTo>
                    <a:pt x="524" y="851"/>
                  </a:lnTo>
                  <a:lnTo>
                    <a:pt x="522" y="851"/>
                  </a:lnTo>
                  <a:lnTo>
                    <a:pt x="522" y="853"/>
                  </a:lnTo>
                  <a:lnTo>
                    <a:pt x="519" y="853"/>
                  </a:lnTo>
                  <a:lnTo>
                    <a:pt x="517" y="855"/>
                  </a:lnTo>
                  <a:lnTo>
                    <a:pt x="517" y="855"/>
                  </a:lnTo>
                  <a:lnTo>
                    <a:pt x="515" y="855"/>
                  </a:lnTo>
                  <a:lnTo>
                    <a:pt x="515" y="853"/>
                  </a:lnTo>
                  <a:lnTo>
                    <a:pt x="512" y="853"/>
                  </a:lnTo>
                  <a:lnTo>
                    <a:pt x="512" y="853"/>
                  </a:lnTo>
                  <a:lnTo>
                    <a:pt x="510" y="851"/>
                  </a:lnTo>
                  <a:lnTo>
                    <a:pt x="505" y="853"/>
                  </a:lnTo>
                  <a:lnTo>
                    <a:pt x="503" y="853"/>
                  </a:lnTo>
                  <a:lnTo>
                    <a:pt x="500" y="853"/>
                  </a:lnTo>
                  <a:lnTo>
                    <a:pt x="498" y="853"/>
                  </a:lnTo>
                  <a:lnTo>
                    <a:pt x="498" y="853"/>
                  </a:lnTo>
                  <a:lnTo>
                    <a:pt x="493" y="855"/>
                  </a:lnTo>
                  <a:lnTo>
                    <a:pt x="491" y="855"/>
                  </a:lnTo>
                  <a:lnTo>
                    <a:pt x="489" y="855"/>
                  </a:lnTo>
                  <a:lnTo>
                    <a:pt x="484" y="855"/>
                  </a:lnTo>
                  <a:lnTo>
                    <a:pt x="482" y="858"/>
                  </a:lnTo>
                  <a:lnTo>
                    <a:pt x="479" y="858"/>
                  </a:lnTo>
                  <a:lnTo>
                    <a:pt x="477" y="855"/>
                  </a:lnTo>
                  <a:lnTo>
                    <a:pt x="477" y="855"/>
                  </a:lnTo>
                  <a:lnTo>
                    <a:pt x="474" y="858"/>
                  </a:lnTo>
                  <a:lnTo>
                    <a:pt x="472" y="858"/>
                  </a:lnTo>
                  <a:lnTo>
                    <a:pt x="472" y="860"/>
                  </a:lnTo>
                  <a:lnTo>
                    <a:pt x="470" y="860"/>
                  </a:lnTo>
                  <a:lnTo>
                    <a:pt x="467" y="860"/>
                  </a:lnTo>
                  <a:lnTo>
                    <a:pt x="465" y="860"/>
                  </a:lnTo>
                  <a:lnTo>
                    <a:pt x="465" y="862"/>
                  </a:lnTo>
                  <a:lnTo>
                    <a:pt x="460" y="865"/>
                  </a:lnTo>
                  <a:lnTo>
                    <a:pt x="460" y="867"/>
                  </a:lnTo>
                  <a:lnTo>
                    <a:pt x="460" y="867"/>
                  </a:lnTo>
                  <a:lnTo>
                    <a:pt x="458" y="870"/>
                  </a:lnTo>
                  <a:lnTo>
                    <a:pt x="456" y="872"/>
                  </a:lnTo>
                  <a:lnTo>
                    <a:pt x="453" y="872"/>
                  </a:lnTo>
                  <a:lnTo>
                    <a:pt x="451" y="874"/>
                  </a:lnTo>
                  <a:lnTo>
                    <a:pt x="451" y="877"/>
                  </a:lnTo>
                  <a:lnTo>
                    <a:pt x="451" y="879"/>
                  </a:lnTo>
                  <a:lnTo>
                    <a:pt x="448" y="879"/>
                  </a:lnTo>
                  <a:lnTo>
                    <a:pt x="448" y="879"/>
                  </a:lnTo>
                  <a:lnTo>
                    <a:pt x="446" y="879"/>
                  </a:lnTo>
                  <a:lnTo>
                    <a:pt x="444" y="879"/>
                  </a:lnTo>
                  <a:lnTo>
                    <a:pt x="444" y="881"/>
                  </a:lnTo>
                  <a:lnTo>
                    <a:pt x="444" y="881"/>
                  </a:lnTo>
                  <a:lnTo>
                    <a:pt x="444" y="884"/>
                  </a:lnTo>
                  <a:lnTo>
                    <a:pt x="439" y="884"/>
                  </a:lnTo>
                  <a:lnTo>
                    <a:pt x="437" y="884"/>
                  </a:lnTo>
                  <a:lnTo>
                    <a:pt x="434" y="884"/>
                  </a:lnTo>
                  <a:lnTo>
                    <a:pt x="432" y="884"/>
                  </a:lnTo>
                  <a:lnTo>
                    <a:pt x="430" y="884"/>
                  </a:lnTo>
                  <a:lnTo>
                    <a:pt x="430" y="886"/>
                  </a:lnTo>
                  <a:lnTo>
                    <a:pt x="427" y="891"/>
                  </a:lnTo>
                  <a:lnTo>
                    <a:pt x="425" y="888"/>
                  </a:lnTo>
                  <a:lnTo>
                    <a:pt x="425" y="891"/>
                  </a:lnTo>
                  <a:lnTo>
                    <a:pt x="422" y="891"/>
                  </a:lnTo>
                  <a:lnTo>
                    <a:pt x="420" y="891"/>
                  </a:lnTo>
                  <a:lnTo>
                    <a:pt x="418" y="891"/>
                  </a:lnTo>
                  <a:lnTo>
                    <a:pt x="418" y="891"/>
                  </a:lnTo>
                  <a:lnTo>
                    <a:pt x="415" y="888"/>
                  </a:lnTo>
                  <a:lnTo>
                    <a:pt x="415" y="888"/>
                  </a:lnTo>
                  <a:lnTo>
                    <a:pt x="415" y="888"/>
                  </a:lnTo>
                  <a:lnTo>
                    <a:pt x="415" y="891"/>
                  </a:lnTo>
                  <a:lnTo>
                    <a:pt x="413" y="893"/>
                  </a:lnTo>
                  <a:lnTo>
                    <a:pt x="411" y="895"/>
                  </a:lnTo>
                  <a:lnTo>
                    <a:pt x="411" y="895"/>
                  </a:lnTo>
                  <a:lnTo>
                    <a:pt x="411" y="898"/>
                  </a:lnTo>
                  <a:lnTo>
                    <a:pt x="408" y="900"/>
                  </a:lnTo>
                  <a:lnTo>
                    <a:pt x="404" y="900"/>
                  </a:lnTo>
                  <a:lnTo>
                    <a:pt x="401" y="900"/>
                  </a:lnTo>
                  <a:lnTo>
                    <a:pt x="401" y="898"/>
                  </a:lnTo>
                  <a:lnTo>
                    <a:pt x="401" y="895"/>
                  </a:lnTo>
                  <a:lnTo>
                    <a:pt x="401" y="893"/>
                  </a:lnTo>
                  <a:lnTo>
                    <a:pt x="399" y="891"/>
                  </a:lnTo>
                  <a:lnTo>
                    <a:pt x="399" y="891"/>
                  </a:lnTo>
                  <a:lnTo>
                    <a:pt x="396" y="893"/>
                  </a:lnTo>
                  <a:lnTo>
                    <a:pt x="396" y="893"/>
                  </a:lnTo>
                  <a:lnTo>
                    <a:pt x="394" y="893"/>
                  </a:lnTo>
                  <a:lnTo>
                    <a:pt x="392" y="888"/>
                  </a:lnTo>
                  <a:lnTo>
                    <a:pt x="392" y="888"/>
                  </a:lnTo>
                  <a:lnTo>
                    <a:pt x="387" y="888"/>
                  </a:lnTo>
                  <a:lnTo>
                    <a:pt x="385" y="886"/>
                  </a:lnTo>
                  <a:lnTo>
                    <a:pt x="385" y="886"/>
                  </a:lnTo>
                  <a:lnTo>
                    <a:pt x="385" y="884"/>
                  </a:lnTo>
                  <a:lnTo>
                    <a:pt x="385" y="881"/>
                  </a:lnTo>
                  <a:lnTo>
                    <a:pt x="385" y="879"/>
                  </a:lnTo>
                  <a:lnTo>
                    <a:pt x="385" y="877"/>
                  </a:lnTo>
                  <a:lnTo>
                    <a:pt x="385" y="874"/>
                  </a:lnTo>
                  <a:lnTo>
                    <a:pt x="385" y="874"/>
                  </a:lnTo>
                  <a:lnTo>
                    <a:pt x="382" y="872"/>
                  </a:lnTo>
                  <a:lnTo>
                    <a:pt x="380" y="872"/>
                  </a:lnTo>
                  <a:lnTo>
                    <a:pt x="378" y="872"/>
                  </a:lnTo>
                  <a:lnTo>
                    <a:pt x="378" y="872"/>
                  </a:lnTo>
                  <a:lnTo>
                    <a:pt x="373" y="874"/>
                  </a:lnTo>
                  <a:lnTo>
                    <a:pt x="373" y="872"/>
                  </a:lnTo>
                  <a:lnTo>
                    <a:pt x="370" y="872"/>
                  </a:lnTo>
                  <a:lnTo>
                    <a:pt x="368" y="872"/>
                  </a:lnTo>
                  <a:lnTo>
                    <a:pt x="368" y="872"/>
                  </a:lnTo>
                  <a:lnTo>
                    <a:pt x="368" y="870"/>
                  </a:lnTo>
                  <a:lnTo>
                    <a:pt x="366" y="870"/>
                  </a:lnTo>
                  <a:lnTo>
                    <a:pt x="366" y="870"/>
                  </a:lnTo>
                  <a:lnTo>
                    <a:pt x="366" y="867"/>
                  </a:lnTo>
                  <a:lnTo>
                    <a:pt x="366" y="867"/>
                  </a:lnTo>
                  <a:lnTo>
                    <a:pt x="363" y="867"/>
                  </a:lnTo>
                  <a:lnTo>
                    <a:pt x="363" y="867"/>
                  </a:lnTo>
                  <a:lnTo>
                    <a:pt x="363" y="867"/>
                  </a:lnTo>
                  <a:lnTo>
                    <a:pt x="363" y="870"/>
                  </a:lnTo>
                  <a:lnTo>
                    <a:pt x="361" y="867"/>
                  </a:lnTo>
                  <a:lnTo>
                    <a:pt x="359" y="867"/>
                  </a:lnTo>
                  <a:lnTo>
                    <a:pt x="356" y="872"/>
                  </a:lnTo>
                  <a:lnTo>
                    <a:pt x="354" y="874"/>
                  </a:lnTo>
                  <a:lnTo>
                    <a:pt x="354" y="874"/>
                  </a:lnTo>
                  <a:lnTo>
                    <a:pt x="354" y="872"/>
                  </a:lnTo>
                  <a:lnTo>
                    <a:pt x="352" y="872"/>
                  </a:lnTo>
                  <a:lnTo>
                    <a:pt x="349" y="872"/>
                  </a:lnTo>
                  <a:lnTo>
                    <a:pt x="349" y="872"/>
                  </a:lnTo>
                  <a:lnTo>
                    <a:pt x="345" y="872"/>
                  </a:lnTo>
                  <a:lnTo>
                    <a:pt x="345" y="874"/>
                  </a:lnTo>
                  <a:lnTo>
                    <a:pt x="342" y="874"/>
                  </a:lnTo>
                  <a:lnTo>
                    <a:pt x="342" y="874"/>
                  </a:lnTo>
                  <a:lnTo>
                    <a:pt x="342" y="872"/>
                  </a:lnTo>
                  <a:lnTo>
                    <a:pt x="340" y="872"/>
                  </a:lnTo>
                  <a:lnTo>
                    <a:pt x="340" y="870"/>
                  </a:lnTo>
                  <a:lnTo>
                    <a:pt x="337" y="867"/>
                  </a:lnTo>
                  <a:lnTo>
                    <a:pt x="337" y="867"/>
                  </a:lnTo>
                  <a:lnTo>
                    <a:pt x="333" y="867"/>
                  </a:lnTo>
                  <a:lnTo>
                    <a:pt x="330" y="865"/>
                  </a:lnTo>
                  <a:lnTo>
                    <a:pt x="328" y="860"/>
                  </a:lnTo>
                  <a:lnTo>
                    <a:pt x="328" y="858"/>
                  </a:lnTo>
                  <a:lnTo>
                    <a:pt x="323" y="855"/>
                  </a:lnTo>
                  <a:lnTo>
                    <a:pt x="323" y="853"/>
                  </a:lnTo>
                  <a:lnTo>
                    <a:pt x="321" y="853"/>
                  </a:lnTo>
                  <a:lnTo>
                    <a:pt x="321" y="853"/>
                  </a:lnTo>
                  <a:lnTo>
                    <a:pt x="319" y="853"/>
                  </a:lnTo>
                  <a:lnTo>
                    <a:pt x="316" y="855"/>
                  </a:lnTo>
                  <a:lnTo>
                    <a:pt x="311" y="858"/>
                  </a:lnTo>
                  <a:lnTo>
                    <a:pt x="311" y="860"/>
                  </a:lnTo>
                  <a:lnTo>
                    <a:pt x="309" y="860"/>
                  </a:lnTo>
                  <a:lnTo>
                    <a:pt x="307" y="860"/>
                  </a:lnTo>
                  <a:lnTo>
                    <a:pt x="307" y="860"/>
                  </a:lnTo>
                  <a:lnTo>
                    <a:pt x="304" y="862"/>
                  </a:lnTo>
                  <a:lnTo>
                    <a:pt x="302" y="867"/>
                  </a:lnTo>
                  <a:lnTo>
                    <a:pt x="300" y="867"/>
                  </a:lnTo>
                  <a:lnTo>
                    <a:pt x="295" y="872"/>
                  </a:lnTo>
                  <a:lnTo>
                    <a:pt x="293" y="874"/>
                  </a:lnTo>
                  <a:lnTo>
                    <a:pt x="283" y="877"/>
                  </a:lnTo>
                  <a:lnTo>
                    <a:pt x="281" y="877"/>
                  </a:lnTo>
                  <a:lnTo>
                    <a:pt x="281" y="879"/>
                  </a:lnTo>
                  <a:lnTo>
                    <a:pt x="278" y="881"/>
                  </a:lnTo>
                  <a:lnTo>
                    <a:pt x="276" y="884"/>
                  </a:lnTo>
                  <a:lnTo>
                    <a:pt x="271" y="891"/>
                  </a:lnTo>
                  <a:lnTo>
                    <a:pt x="271" y="893"/>
                  </a:lnTo>
                  <a:lnTo>
                    <a:pt x="271" y="895"/>
                  </a:lnTo>
                  <a:lnTo>
                    <a:pt x="271" y="900"/>
                  </a:lnTo>
                  <a:lnTo>
                    <a:pt x="274" y="900"/>
                  </a:lnTo>
                  <a:lnTo>
                    <a:pt x="274" y="900"/>
                  </a:lnTo>
                  <a:lnTo>
                    <a:pt x="274" y="900"/>
                  </a:lnTo>
                  <a:lnTo>
                    <a:pt x="271" y="903"/>
                  </a:lnTo>
                  <a:lnTo>
                    <a:pt x="274" y="903"/>
                  </a:lnTo>
                  <a:lnTo>
                    <a:pt x="278" y="910"/>
                  </a:lnTo>
                  <a:lnTo>
                    <a:pt x="278" y="912"/>
                  </a:lnTo>
                  <a:lnTo>
                    <a:pt x="278" y="912"/>
                  </a:lnTo>
                  <a:lnTo>
                    <a:pt x="278" y="914"/>
                  </a:lnTo>
                  <a:lnTo>
                    <a:pt x="281" y="919"/>
                  </a:lnTo>
                  <a:lnTo>
                    <a:pt x="281" y="919"/>
                  </a:lnTo>
                  <a:lnTo>
                    <a:pt x="283" y="921"/>
                  </a:lnTo>
                  <a:lnTo>
                    <a:pt x="288" y="921"/>
                  </a:lnTo>
                  <a:lnTo>
                    <a:pt x="288" y="924"/>
                  </a:lnTo>
                  <a:lnTo>
                    <a:pt x="290" y="924"/>
                  </a:lnTo>
                  <a:lnTo>
                    <a:pt x="290" y="924"/>
                  </a:lnTo>
                  <a:lnTo>
                    <a:pt x="293" y="926"/>
                  </a:lnTo>
                  <a:lnTo>
                    <a:pt x="295" y="926"/>
                  </a:lnTo>
                  <a:lnTo>
                    <a:pt x="295" y="929"/>
                  </a:lnTo>
                  <a:lnTo>
                    <a:pt x="295" y="929"/>
                  </a:lnTo>
                  <a:lnTo>
                    <a:pt x="295" y="931"/>
                  </a:lnTo>
                  <a:lnTo>
                    <a:pt x="295" y="933"/>
                  </a:lnTo>
                  <a:lnTo>
                    <a:pt x="293" y="936"/>
                  </a:lnTo>
                  <a:lnTo>
                    <a:pt x="290" y="936"/>
                  </a:lnTo>
                  <a:lnTo>
                    <a:pt x="290" y="938"/>
                  </a:lnTo>
                  <a:lnTo>
                    <a:pt x="290" y="938"/>
                  </a:lnTo>
                  <a:lnTo>
                    <a:pt x="290" y="938"/>
                  </a:lnTo>
                  <a:lnTo>
                    <a:pt x="290" y="940"/>
                  </a:lnTo>
                  <a:lnTo>
                    <a:pt x="290" y="940"/>
                  </a:lnTo>
                  <a:lnTo>
                    <a:pt x="293" y="940"/>
                  </a:lnTo>
                  <a:lnTo>
                    <a:pt x="293" y="940"/>
                  </a:lnTo>
                  <a:lnTo>
                    <a:pt x="290" y="945"/>
                  </a:lnTo>
                  <a:lnTo>
                    <a:pt x="293" y="947"/>
                  </a:lnTo>
                  <a:lnTo>
                    <a:pt x="295" y="947"/>
                  </a:lnTo>
                  <a:lnTo>
                    <a:pt x="295" y="950"/>
                  </a:lnTo>
                  <a:lnTo>
                    <a:pt x="295" y="955"/>
                  </a:lnTo>
                  <a:lnTo>
                    <a:pt x="293" y="955"/>
                  </a:lnTo>
                  <a:lnTo>
                    <a:pt x="290" y="957"/>
                  </a:lnTo>
                  <a:lnTo>
                    <a:pt x="290" y="959"/>
                  </a:lnTo>
                  <a:lnTo>
                    <a:pt x="285" y="959"/>
                  </a:lnTo>
                  <a:lnTo>
                    <a:pt x="283" y="959"/>
                  </a:lnTo>
                  <a:lnTo>
                    <a:pt x="283" y="962"/>
                  </a:lnTo>
                  <a:lnTo>
                    <a:pt x="281" y="964"/>
                  </a:lnTo>
                  <a:lnTo>
                    <a:pt x="281" y="964"/>
                  </a:lnTo>
                  <a:lnTo>
                    <a:pt x="281" y="966"/>
                  </a:lnTo>
                  <a:lnTo>
                    <a:pt x="281" y="973"/>
                  </a:lnTo>
                  <a:lnTo>
                    <a:pt x="278" y="976"/>
                  </a:lnTo>
                  <a:lnTo>
                    <a:pt x="274" y="983"/>
                  </a:lnTo>
                  <a:lnTo>
                    <a:pt x="274" y="983"/>
                  </a:lnTo>
                  <a:lnTo>
                    <a:pt x="274" y="983"/>
                  </a:lnTo>
                  <a:lnTo>
                    <a:pt x="274" y="985"/>
                  </a:lnTo>
                  <a:lnTo>
                    <a:pt x="274" y="985"/>
                  </a:lnTo>
                  <a:lnTo>
                    <a:pt x="274" y="990"/>
                  </a:lnTo>
                  <a:lnTo>
                    <a:pt x="271" y="992"/>
                  </a:lnTo>
                  <a:lnTo>
                    <a:pt x="269" y="992"/>
                  </a:lnTo>
                  <a:lnTo>
                    <a:pt x="267" y="995"/>
                  </a:lnTo>
                  <a:lnTo>
                    <a:pt x="267" y="995"/>
                  </a:lnTo>
                  <a:lnTo>
                    <a:pt x="264" y="999"/>
                  </a:lnTo>
                  <a:lnTo>
                    <a:pt x="264" y="999"/>
                  </a:lnTo>
                  <a:lnTo>
                    <a:pt x="262" y="1004"/>
                  </a:lnTo>
                  <a:lnTo>
                    <a:pt x="262" y="1004"/>
                  </a:lnTo>
                  <a:lnTo>
                    <a:pt x="259" y="1004"/>
                  </a:lnTo>
                  <a:lnTo>
                    <a:pt x="257" y="1004"/>
                  </a:lnTo>
                  <a:lnTo>
                    <a:pt x="252" y="1004"/>
                  </a:lnTo>
                  <a:lnTo>
                    <a:pt x="250" y="1002"/>
                  </a:lnTo>
                  <a:lnTo>
                    <a:pt x="250" y="1002"/>
                  </a:lnTo>
                  <a:lnTo>
                    <a:pt x="248" y="1004"/>
                  </a:lnTo>
                  <a:lnTo>
                    <a:pt x="248" y="1009"/>
                  </a:lnTo>
                  <a:lnTo>
                    <a:pt x="248" y="1011"/>
                  </a:lnTo>
                  <a:lnTo>
                    <a:pt x="248" y="1014"/>
                  </a:lnTo>
                  <a:lnTo>
                    <a:pt x="248" y="1014"/>
                  </a:lnTo>
                  <a:lnTo>
                    <a:pt x="245" y="1016"/>
                  </a:lnTo>
                  <a:lnTo>
                    <a:pt x="243" y="1023"/>
                  </a:lnTo>
                  <a:lnTo>
                    <a:pt x="243" y="1025"/>
                  </a:lnTo>
                  <a:lnTo>
                    <a:pt x="241" y="1028"/>
                  </a:lnTo>
                  <a:lnTo>
                    <a:pt x="238" y="1028"/>
                  </a:lnTo>
                  <a:lnTo>
                    <a:pt x="238" y="1028"/>
                  </a:lnTo>
                  <a:lnTo>
                    <a:pt x="236" y="1030"/>
                  </a:lnTo>
                  <a:lnTo>
                    <a:pt x="236" y="1032"/>
                  </a:lnTo>
                  <a:lnTo>
                    <a:pt x="236" y="1032"/>
                  </a:lnTo>
                  <a:lnTo>
                    <a:pt x="233" y="1032"/>
                  </a:lnTo>
                  <a:lnTo>
                    <a:pt x="231" y="1032"/>
                  </a:lnTo>
                  <a:lnTo>
                    <a:pt x="231" y="1032"/>
                  </a:lnTo>
                  <a:lnTo>
                    <a:pt x="229" y="1032"/>
                  </a:lnTo>
                  <a:lnTo>
                    <a:pt x="229" y="1032"/>
                  </a:lnTo>
                  <a:lnTo>
                    <a:pt x="226" y="1030"/>
                  </a:lnTo>
                  <a:lnTo>
                    <a:pt x="224" y="1030"/>
                  </a:lnTo>
                  <a:lnTo>
                    <a:pt x="222" y="1032"/>
                  </a:lnTo>
                  <a:lnTo>
                    <a:pt x="222" y="1032"/>
                  </a:lnTo>
                  <a:lnTo>
                    <a:pt x="219" y="1030"/>
                  </a:lnTo>
                  <a:lnTo>
                    <a:pt x="217" y="1030"/>
                  </a:lnTo>
                  <a:lnTo>
                    <a:pt x="212" y="1023"/>
                  </a:lnTo>
                  <a:lnTo>
                    <a:pt x="212" y="1023"/>
                  </a:lnTo>
                  <a:lnTo>
                    <a:pt x="212" y="1023"/>
                  </a:lnTo>
                  <a:lnTo>
                    <a:pt x="210" y="1021"/>
                  </a:lnTo>
                  <a:lnTo>
                    <a:pt x="207" y="1021"/>
                  </a:lnTo>
                  <a:lnTo>
                    <a:pt x="207" y="1023"/>
                  </a:lnTo>
                  <a:lnTo>
                    <a:pt x="203" y="1028"/>
                  </a:lnTo>
                  <a:lnTo>
                    <a:pt x="200" y="1030"/>
                  </a:lnTo>
                  <a:lnTo>
                    <a:pt x="198" y="1030"/>
                  </a:lnTo>
                  <a:lnTo>
                    <a:pt x="196" y="1030"/>
                  </a:lnTo>
                  <a:lnTo>
                    <a:pt x="193" y="1030"/>
                  </a:lnTo>
                  <a:lnTo>
                    <a:pt x="193" y="1030"/>
                  </a:lnTo>
                  <a:lnTo>
                    <a:pt x="193" y="1032"/>
                  </a:lnTo>
                  <a:lnTo>
                    <a:pt x="191" y="1032"/>
                  </a:lnTo>
                  <a:lnTo>
                    <a:pt x="189" y="1035"/>
                  </a:lnTo>
                  <a:lnTo>
                    <a:pt x="189" y="1035"/>
                  </a:lnTo>
                  <a:lnTo>
                    <a:pt x="186" y="1035"/>
                  </a:lnTo>
                  <a:lnTo>
                    <a:pt x="186" y="1035"/>
                  </a:lnTo>
                  <a:lnTo>
                    <a:pt x="182" y="1032"/>
                  </a:lnTo>
                  <a:lnTo>
                    <a:pt x="179" y="1032"/>
                  </a:lnTo>
                  <a:lnTo>
                    <a:pt x="177" y="1032"/>
                  </a:lnTo>
                  <a:lnTo>
                    <a:pt x="174" y="1037"/>
                  </a:lnTo>
                  <a:lnTo>
                    <a:pt x="174" y="1037"/>
                  </a:lnTo>
                  <a:lnTo>
                    <a:pt x="172" y="1037"/>
                  </a:lnTo>
                  <a:lnTo>
                    <a:pt x="172" y="1037"/>
                  </a:lnTo>
                  <a:lnTo>
                    <a:pt x="170" y="1037"/>
                  </a:lnTo>
                  <a:lnTo>
                    <a:pt x="167" y="1040"/>
                  </a:lnTo>
                  <a:lnTo>
                    <a:pt x="167" y="1040"/>
                  </a:lnTo>
                  <a:lnTo>
                    <a:pt x="167" y="1040"/>
                  </a:lnTo>
                  <a:lnTo>
                    <a:pt x="167" y="1040"/>
                  </a:lnTo>
                  <a:lnTo>
                    <a:pt x="167" y="1047"/>
                  </a:lnTo>
                  <a:lnTo>
                    <a:pt x="167" y="1049"/>
                  </a:lnTo>
                  <a:lnTo>
                    <a:pt x="167" y="1049"/>
                  </a:lnTo>
                  <a:lnTo>
                    <a:pt x="165" y="1049"/>
                  </a:lnTo>
                  <a:lnTo>
                    <a:pt x="163" y="1049"/>
                  </a:lnTo>
                  <a:lnTo>
                    <a:pt x="160" y="1049"/>
                  </a:lnTo>
                  <a:lnTo>
                    <a:pt x="158" y="1051"/>
                  </a:lnTo>
                  <a:lnTo>
                    <a:pt x="156" y="1051"/>
                  </a:lnTo>
                  <a:lnTo>
                    <a:pt x="156" y="1054"/>
                  </a:lnTo>
                  <a:lnTo>
                    <a:pt x="156" y="1056"/>
                  </a:lnTo>
                  <a:lnTo>
                    <a:pt x="153" y="1056"/>
                  </a:lnTo>
                  <a:lnTo>
                    <a:pt x="153" y="1056"/>
                  </a:lnTo>
                  <a:lnTo>
                    <a:pt x="148" y="1061"/>
                  </a:lnTo>
                  <a:lnTo>
                    <a:pt x="148" y="1063"/>
                  </a:lnTo>
                  <a:lnTo>
                    <a:pt x="148" y="1063"/>
                  </a:lnTo>
                  <a:lnTo>
                    <a:pt x="148" y="1066"/>
                  </a:lnTo>
                  <a:lnTo>
                    <a:pt x="144" y="1068"/>
                  </a:lnTo>
                  <a:lnTo>
                    <a:pt x="144" y="1066"/>
                  </a:lnTo>
                  <a:lnTo>
                    <a:pt x="144" y="1066"/>
                  </a:lnTo>
                  <a:lnTo>
                    <a:pt x="139" y="1068"/>
                  </a:lnTo>
                  <a:lnTo>
                    <a:pt x="139" y="1068"/>
                  </a:lnTo>
                  <a:lnTo>
                    <a:pt x="137" y="1068"/>
                  </a:lnTo>
                  <a:lnTo>
                    <a:pt x="137" y="1068"/>
                  </a:lnTo>
                  <a:lnTo>
                    <a:pt x="134" y="1073"/>
                  </a:lnTo>
                  <a:lnTo>
                    <a:pt x="130" y="1068"/>
                  </a:lnTo>
                  <a:lnTo>
                    <a:pt x="130" y="1066"/>
                  </a:lnTo>
                  <a:lnTo>
                    <a:pt x="127" y="1066"/>
                  </a:lnTo>
                  <a:lnTo>
                    <a:pt x="125" y="1066"/>
                  </a:lnTo>
                  <a:lnTo>
                    <a:pt x="125" y="1066"/>
                  </a:lnTo>
                  <a:lnTo>
                    <a:pt x="122" y="1066"/>
                  </a:lnTo>
                  <a:lnTo>
                    <a:pt x="120" y="1063"/>
                  </a:lnTo>
                  <a:lnTo>
                    <a:pt x="120" y="1063"/>
                  </a:lnTo>
                  <a:lnTo>
                    <a:pt x="118" y="1061"/>
                  </a:lnTo>
                  <a:lnTo>
                    <a:pt x="118" y="1061"/>
                  </a:lnTo>
                  <a:lnTo>
                    <a:pt x="115" y="1058"/>
                  </a:lnTo>
                  <a:lnTo>
                    <a:pt x="115" y="1058"/>
                  </a:lnTo>
                  <a:lnTo>
                    <a:pt x="111" y="1061"/>
                  </a:lnTo>
                  <a:lnTo>
                    <a:pt x="111" y="1058"/>
                  </a:lnTo>
                  <a:lnTo>
                    <a:pt x="108" y="1058"/>
                  </a:lnTo>
                  <a:lnTo>
                    <a:pt x="106" y="1058"/>
                  </a:lnTo>
                  <a:lnTo>
                    <a:pt x="99" y="1058"/>
                  </a:lnTo>
                  <a:lnTo>
                    <a:pt x="99" y="1058"/>
                  </a:lnTo>
                  <a:lnTo>
                    <a:pt x="99" y="1058"/>
                  </a:lnTo>
                  <a:lnTo>
                    <a:pt x="96" y="1056"/>
                  </a:lnTo>
                  <a:lnTo>
                    <a:pt x="94" y="1056"/>
                  </a:lnTo>
                  <a:lnTo>
                    <a:pt x="92" y="1056"/>
                  </a:lnTo>
                  <a:lnTo>
                    <a:pt x="92" y="1051"/>
                  </a:lnTo>
                  <a:lnTo>
                    <a:pt x="92" y="1051"/>
                  </a:lnTo>
                  <a:lnTo>
                    <a:pt x="89" y="1049"/>
                  </a:lnTo>
                  <a:lnTo>
                    <a:pt x="85" y="1049"/>
                  </a:lnTo>
                  <a:lnTo>
                    <a:pt x="80" y="1047"/>
                  </a:lnTo>
                  <a:lnTo>
                    <a:pt x="78" y="1037"/>
                  </a:lnTo>
                  <a:lnTo>
                    <a:pt x="78" y="1037"/>
                  </a:lnTo>
                  <a:lnTo>
                    <a:pt x="78" y="1037"/>
                  </a:lnTo>
                  <a:lnTo>
                    <a:pt x="75" y="1035"/>
                  </a:lnTo>
                  <a:lnTo>
                    <a:pt x="75" y="1035"/>
                  </a:lnTo>
                  <a:lnTo>
                    <a:pt x="73" y="1032"/>
                  </a:lnTo>
                  <a:lnTo>
                    <a:pt x="73" y="1032"/>
                  </a:lnTo>
                  <a:lnTo>
                    <a:pt x="70" y="1032"/>
                  </a:lnTo>
                  <a:lnTo>
                    <a:pt x="70" y="1032"/>
                  </a:lnTo>
                  <a:lnTo>
                    <a:pt x="70" y="1030"/>
                  </a:lnTo>
                  <a:lnTo>
                    <a:pt x="70" y="1025"/>
                  </a:lnTo>
                  <a:lnTo>
                    <a:pt x="68" y="1023"/>
                  </a:lnTo>
                  <a:lnTo>
                    <a:pt x="70" y="1021"/>
                  </a:lnTo>
                  <a:lnTo>
                    <a:pt x="70" y="1018"/>
                  </a:lnTo>
                  <a:lnTo>
                    <a:pt x="68" y="1016"/>
                  </a:lnTo>
                  <a:lnTo>
                    <a:pt x="70" y="1014"/>
                  </a:lnTo>
                  <a:lnTo>
                    <a:pt x="73" y="1011"/>
                  </a:lnTo>
                  <a:lnTo>
                    <a:pt x="75" y="1009"/>
                  </a:lnTo>
                  <a:lnTo>
                    <a:pt x="75" y="1009"/>
                  </a:lnTo>
                  <a:lnTo>
                    <a:pt x="70" y="1004"/>
                  </a:lnTo>
                  <a:lnTo>
                    <a:pt x="70" y="1002"/>
                  </a:lnTo>
                  <a:lnTo>
                    <a:pt x="70" y="999"/>
                  </a:lnTo>
                  <a:lnTo>
                    <a:pt x="70" y="997"/>
                  </a:lnTo>
                  <a:lnTo>
                    <a:pt x="66" y="995"/>
                  </a:lnTo>
                  <a:lnTo>
                    <a:pt x="66" y="990"/>
                  </a:lnTo>
                  <a:lnTo>
                    <a:pt x="63" y="990"/>
                  </a:lnTo>
                  <a:lnTo>
                    <a:pt x="63" y="990"/>
                  </a:lnTo>
                  <a:lnTo>
                    <a:pt x="61" y="988"/>
                  </a:lnTo>
                  <a:lnTo>
                    <a:pt x="59" y="985"/>
                  </a:lnTo>
                  <a:lnTo>
                    <a:pt x="59" y="983"/>
                  </a:lnTo>
                  <a:lnTo>
                    <a:pt x="59" y="981"/>
                  </a:lnTo>
                  <a:lnTo>
                    <a:pt x="54" y="978"/>
                  </a:lnTo>
                  <a:lnTo>
                    <a:pt x="54" y="976"/>
                  </a:lnTo>
                  <a:lnTo>
                    <a:pt x="54" y="973"/>
                  </a:lnTo>
                  <a:lnTo>
                    <a:pt x="54" y="971"/>
                  </a:lnTo>
                  <a:lnTo>
                    <a:pt x="54" y="969"/>
                  </a:lnTo>
                  <a:lnTo>
                    <a:pt x="52" y="966"/>
                  </a:lnTo>
                  <a:lnTo>
                    <a:pt x="49" y="964"/>
                  </a:lnTo>
                  <a:lnTo>
                    <a:pt x="49" y="964"/>
                  </a:lnTo>
                  <a:lnTo>
                    <a:pt x="44" y="966"/>
                  </a:lnTo>
                  <a:lnTo>
                    <a:pt x="42" y="966"/>
                  </a:lnTo>
                  <a:lnTo>
                    <a:pt x="40" y="969"/>
                  </a:lnTo>
                  <a:lnTo>
                    <a:pt x="37" y="971"/>
                  </a:lnTo>
                  <a:lnTo>
                    <a:pt x="35" y="971"/>
                  </a:lnTo>
                  <a:lnTo>
                    <a:pt x="35" y="971"/>
                  </a:lnTo>
                  <a:lnTo>
                    <a:pt x="33" y="971"/>
                  </a:lnTo>
                  <a:lnTo>
                    <a:pt x="33" y="973"/>
                  </a:lnTo>
                  <a:lnTo>
                    <a:pt x="33" y="973"/>
                  </a:lnTo>
                  <a:lnTo>
                    <a:pt x="33" y="976"/>
                  </a:lnTo>
                  <a:lnTo>
                    <a:pt x="33" y="981"/>
                  </a:lnTo>
                  <a:lnTo>
                    <a:pt x="30" y="981"/>
                  </a:lnTo>
                  <a:lnTo>
                    <a:pt x="26" y="985"/>
                  </a:lnTo>
                  <a:lnTo>
                    <a:pt x="19" y="983"/>
                  </a:lnTo>
                  <a:lnTo>
                    <a:pt x="14" y="981"/>
                  </a:lnTo>
                  <a:lnTo>
                    <a:pt x="7" y="983"/>
                  </a:lnTo>
                  <a:lnTo>
                    <a:pt x="4" y="98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 cap="flat">
              <a:solidFill>
                <a:schemeClr val="bg2">
                  <a:lumMod val="7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>
                <a:solidFill>
                  <a:srgbClr val="000000"/>
                </a:solidFill>
              </a:endParaRPr>
            </a:p>
          </p:txBody>
        </p:sp>
        <p:sp>
          <p:nvSpPr>
            <p:cNvPr id="29" name="Freeform 30"/>
            <p:cNvSpPr>
              <a:spLocks/>
            </p:cNvSpPr>
            <p:nvPr/>
          </p:nvSpPr>
          <p:spPr bwMode="gray">
            <a:xfrm>
              <a:off x="3815595" y="3395260"/>
              <a:ext cx="370084" cy="245982"/>
            </a:xfrm>
            <a:custGeom>
              <a:avLst/>
              <a:gdLst/>
              <a:ahLst/>
              <a:cxnLst>
                <a:cxn ang="0">
                  <a:pos x="9" y="177"/>
                </a:cxn>
                <a:cxn ang="0">
                  <a:pos x="23" y="159"/>
                </a:cxn>
                <a:cxn ang="0">
                  <a:pos x="35" y="163"/>
                </a:cxn>
                <a:cxn ang="0">
                  <a:pos x="52" y="147"/>
                </a:cxn>
                <a:cxn ang="0">
                  <a:pos x="66" y="121"/>
                </a:cxn>
                <a:cxn ang="0">
                  <a:pos x="71" y="99"/>
                </a:cxn>
                <a:cxn ang="0">
                  <a:pos x="87" y="81"/>
                </a:cxn>
                <a:cxn ang="0">
                  <a:pos x="99" y="59"/>
                </a:cxn>
                <a:cxn ang="0">
                  <a:pos x="108" y="31"/>
                </a:cxn>
                <a:cxn ang="0">
                  <a:pos x="170" y="3"/>
                </a:cxn>
                <a:cxn ang="0">
                  <a:pos x="196" y="17"/>
                </a:cxn>
                <a:cxn ang="0">
                  <a:pos x="227" y="26"/>
                </a:cxn>
                <a:cxn ang="0">
                  <a:pos x="248" y="33"/>
                </a:cxn>
                <a:cxn ang="0">
                  <a:pos x="276" y="31"/>
                </a:cxn>
                <a:cxn ang="0">
                  <a:pos x="314" y="31"/>
                </a:cxn>
                <a:cxn ang="0">
                  <a:pos x="352" y="31"/>
                </a:cxn>
                <a:cxn ang="0">
                  <a:pos x="375" y="36"/>
                </a:cxn>
                <a:cxn ang="0">
                  <a:pos x="406" y="59"/>
                </a:cxn>
                <a:cxn ang="0">
                  <a:pos x="420" y="85"/>
                </a:cxn>
                <a:cxn ang="0">
                  <a:pos x="425" y="104"/>
                </a:cxn>
                <a:cxn ang="0">
                  <a:pos x="430" y="125"/>
                </a:cxn>
                <a:cxn ang="0">
                  <a:pos x="437" y="149"/>
                </a:cxn>
                <a:cxn ang="0">
                  <a:pos x="442" y="177"/>
                </a:cxn>
                <a:cxn ang="0">
                  <a:pos x="449" y="194"/>
                </a:cxn>
                <a:cxn ang="0">
                  <a:pos x="458" y="215"/>
                </a:cxn>
                <a:cxn ang="0">
                  <a:pos x="439" y="220"/>
                </a:cxn>
                <a:cxn ang="0">
                  <a:pos x="420" y="222"/>
                </a:cxn>
                <a:cxn ang="0">
                  <a:pos x="394" y="215"/>
                </a:cxn>
                <a:cxn ang="0">
                  <a:pos x="385" y="215"/>
                </a:cxn>
                <a:cxn ang="0">
                  <a:pos x="373" y="213"/>
                </a:cxn>
                <a:cxn ang="0">
                  <a:pos x="345" y="215"/>
                </a:cxn>
                <a:cxn ang="0">
                  <a:pos x="319" y="206"/>
                </a:cxn>
                <a:cxn ang="0">
                  <a:pos x="300" y="210"/>
                </a:cxn>
                <a:cxn ang="0">
                  <a:pos x="290" y="192"/>
                </a:cxn>
                <a:cxn ang="0">
                  <a:pos x="260" y="213"/>
                </a:cxn>
                <a:cxn ang="0">
                  <a:pos x="271" y="234"/>
                </a:cxn>
                <a:cxn ang="0">
                  <a:pos x="257" y="248"/>
                </a:cxn>
                <a:cxn ang="0">
                  <a:pos x="255" y="262"/>
                </a:cxn>
                <a:cxn ang="0">
                  <a:pos x="234" y="279"/>
                </a:cxn>
                <a:cxn ang="0">
                  <a:pos x="208" y="253"/>
                </a:cxn>
                <a:cxn ang="0">
                  <a:pos x="196" y="251"/>
                </a:cxn>
                <a:cxn ang="0">
                  <a:pos x="165" y="253"/>
                </a:cxn>
                <a:cxn ang="0">
                  <a:pos x="139" y="241"/>
                </a:cxn>
                <a:cxn ang="0">
                  <a:pos x="144" y="222"/>
                </a:cxn>
                <a:cxn ang="0">
                  <a:pos x="153" y="201"/>
                </a:cxn>
                <a:cxn ang="0">
                  <a:pos x="170" y="182"/>
                </a:cxn>
                <a:cxn ang="0">
                  <a:pos x="179" y="166"/>
                </a:cxn>
                <a:cxn ang="0">
                  <a:pos x="165" y="161"/>
                </a:cxn>
                <a:cxn ang="0">
                  <a:pos x="142" y="168"/>
                </a:cxn>
                <a:cxn ang="0">
                  <a:pos x="125" y="175"/>
                </a:cxn>
                <a:cxn ang="0">
                  <a:pos x="101" y="182"/>
                </a:cxn>
                <a:cxn ang="0">
                  <a:pos x="97" y="194"/>
                </a:cxn>
                <a:cxn ang="0">
                  <a:pos x="87" y="206"/>
                </a:cxn>
                <a:cxn ang="0">
                  <a:pos x="71" y="210"/>
                </a:cxn>
                <a:cxn ang="0">
                  <a:pos x="66" y="213"/>
                </a:cxn>
                <a:cxn ang="0">
                  <a:pos x="47" y="215"/>
                </a:cxn>
                <a:cxn ang="0">
                  <a:pos x="28" y="213"/>
                </a:cxn>
                <a:cxn ang="0">
                  <a:pos x="16" y="203"/>
                </a:cxn>
                <a:cxn ang="0">
                  <a:pos x="7" y="199"/>
                </a:cxn>
                <a:cxn ang="0">
                  <a:pos x="0" y="189"/>
                </a:cxn>
              </a:cxnLst>
              <a:rect l="0" t="0" r="r" b="b"/>
              <a:pathLst>
                <a:path w="458" h="281">
                  <a:moveTo>
                    <a:pt x="0" y="189"/>
                  </a:moveTo>
                  <a:lnTo>
                    <a:pt x="0" y="189"/>
                  </a:lnTo>
                  <a:lnTo>
                    <a:pt x="2" y="187"/>
                  </a:lnTo>
                  <a:lnTo>
                    <a:pt x="2" y="187"/>
                  </a:lnTo>
                  <a:lnTo>
                    <a:pt x="5" y="184"/>
                  </a:lnTo>
                  <a:lnTo>
                    <a:pt x="5" y="184"/>
                  </a:lnTo>
                  <a:lnTo>
                    <a:pt x="7" y="184"/>
                  </a:lnTo>
                  <a:lnTo>
                    <a:pt x="7" y="182"/>
                  </a:lnTo>
                  <a:lnTo>
                    <a:pt x="7" y="182"/>
                  </a:lnTo>
                  <a:lnTo>
                    <a:pt x="7" y="182"/>
                  </a:lnTo>
                  <a:lnTo>
                    <a:pt x="7" y="177"/>
                  </a:lnTo>
                  <a:lnTo>
                    <a:pt x="9" y="177"/>
                  </a:lnTo>
                  <a:lnTo>
                    <a:pt x="9" y="175"/>
                  </a:lnTo>
                  <a:lnTo>
                    <a:pt x="14" y="173"/>
                  </a:lnTo>
                  <a:lnTo>
                    <a:pt x="14" y="173"/>
                  </a:lnTo>
                  <a:lnTo>
                    <a:pt x="14" y="170"/>
                  </a:lnTo>
                  <a:lnTo>
                    <a:pt x="14" y="168"/>
                  </a:lnTo>
                  <a:lnTo>
                    <a:pt x="16" y="168"/>
                  </a:lnTo>
                  <a:lnTo>
                    <a:pt x="16" y="166"/>
                  </a:lnTo>
                  <a:lnTo>
                    <a:pt x="16" y="163"/>
                  </a:lnTo>
                  <a:lnTo>
                    <a:pt x="19" y="163"/>
                  </a:lnTo>
                  <a:lnTo>
                    <a:pt x="21" y="161"/>
                  </a:lnTo>
                  <a:lnTo>
                    <a:pt x="21" y="161"/>
                  </a:lnTo>
                  <a:lnTo>
                    <a:pt x="23" y="159"/>
                  </a:lnTo>
                  <a:lnTo>
                    <a:pt x="23" y="161"/>
                  </a:lnTo>
                  <a:lnTo>
                    <a:pt x="23" y="159"/>
                  </a:lnTo>
                  <a:lnTo>
                    <a:pt x="23" y="161"/>
                  </a:lnTo>
                  <a:lnTo>
                    <a:pt x="26" y="161"/>
                  </a:lnTo>
                  <a:lnTo>
                    <a:pt x="26" y="161"/>
                  </a:lnTo>
                  <a:lnTo>
                    <a:pt x="26" y="163"/>
                  </a:lnTo>
                  <a:lnTo>
                    <a:pt x="26" y="166"/>
                  </a:lnTo>
                  <a:lnTo>
                    <a:pt x="31" y="163"/>
                  </a:lnTo>
                  <a:lnTo>
                    <a:pt x="31" y="161"/>
                  </a:lnTo>
                  <a:lnTo>
                    <a:pt x="31" y="163"/>
                  </a:lnTo>
                  <a:lnTo>
                    <a:pt x="33" y="163"/>
                  </a:lnTo>
                  <a:lnTo>
                    <a:pt x="35" y="163"/>
                  </a:lnTo>
                  <a:lnTo>
                    <a:pt x="35" y="161"/>
                  </a:lnTo>
                  <a:lnTo>
                    <a:pt x="38" y="161"/>
                  </a:lnTo>
                  <a:lnTo>
                    <a:pt x="38" y="161"/>
                  </a:lnTo>
                  <a:lnTo>
                    <a:pt x="40" y="159"/>
                  </a:lnTo>
                  <a:lnTo>
                    <a:pt x="40" y="159"/>
                  </a:lnTo>
                  <a:lnTo>
                    <a:pt x="42" y="159"/>
                  </a:lnTo>
                  <a:lnTo>
                    <a:pt x="42" y="154"/>
                  </a:lnTo>
                  <a:lnTo>
                    <a:pt x="42" y="151"/>
                  </a:lnTo>
                  <a:lnTo>
                    <a:pt x="47" y="149"/>
                  </a:lnTo>
                  <a:lnTo>
                    <a:pt x="49" y="147"/>
                  </a:lnTo>
                  <a:lnTo>
                    <a:pt x="49" y="147"/>
                  </a:lnTo>
                  <a:lnTo>
                    <a:pt x="52" y="147"/>
                  </a:lnTo>
                  <a:lnTo>
                    <a:pt x="52" y="147"/>
                  </a:lnTo>
                  <a:lnTo>
                    <a:pt x="52" y="144"/>
                  </a:lnTo>
                  <a:lnTo>
                    <a:pt x="52" y="142"/>
                  </a:lnTo>
                  <a:lnTo>
                    <a:pt x="54" y="142"/>
                  </a:lnTo>
                  <a:lnTo>
                    <a:pt x="54" y="140"/>
                  </a:lnTo>
                  <a:lnTo>
                    <a:pt x="56" y="137"/>
                  </a:lnTo>
                  <a:lnTo>
                    <a:pt x="59" y="133"/>
                  </a:lnTo>
                  <a:lnTo>
                    <a:pt x="59" y="130"/>
                  </a:lnTo>
                  <a:lnTo>
                    <a:pt x="59" y="130"/>
                  </a:lnTo>
                  <a:lnTo>
                    <a:pt x="59" y="128"/>
                  </a:lnTo>
                  <a:lnTo>
                    <a:pt x="64" y="123"/>
                  </a:lnTo>
                  <a:lnTo>
                    <a:pt x="66" y="121"/>
                  </a:lnTo>
                  <a:lnTo>
                    <a:pt x="68" y="118"/>
                  </a:lnTo>
                  <a:lnTo>
                    <a:pt x="66" y="118"/>
                  </a:lnTo>
                  <a:lnTo>
                    <a:pt x="66" y="116"/>
                  </a:lnTo>
                  <a:lnTo>
                    <a:pt x="64" y="116"/>
                  </a:lnTo>
                  <a:lnTo>
                    <a:pt x="61" y="118"/>
                  </a:lnTo>
                  <a:lnTo>
                    <a:pt x="61" y="116"/>
                  </a:lnTo>
                  <a:lnTo>
                    <a:pt x="64" y="114"/>
                  </a:lnTo>
                  <a:lnTo>
                    <a:pt x="64" y="109"/>
                  </a:lnTo>
                  <a:lnTo>
                    <a:pt x="64" y="109"/>
                  </a:lnTo>
                  <a:lnTo>
                    <a:pt x="66" y="107"/>
                  </a:lnTo>
                  <a:lnTo>
                    <a:pt x="68" y="104"/>
                  </a:lnTo>
                  <a:lnTo>
                    <a:pt x="71" y="99"/>
                  </a:lnTo>
                  <a:lnTo>
                    <a:pt x="73" y="99"/>
                  </a:lnTo>
                  <a:lnTo>
                    <a:pt x="73" y="97"/>
                  </a:lnTo>
                  <a:lnTo>
                    <a:pt x="73" y="95"/>
                  </a:lnTo>
                  <a:lnTo>
                    <a:pt x="73" y="95"/>
                  </a:lnTo>
                  <a:lnTo>
                    <a:pt x="78" y="92"/>
                  </a:lnTo>
                  <a:lnTo>
                    <a:pt x="80" y="92"/>
                  </a:lnTo>
                  <a:lnTo>
                    <a:pt x="82" y="88"/>
                  </a:lnTo>
                  <a:lnTo>
                    <a:pt x="82" y="88"/>
                  </a:lnTo>
                  <a:lnTo>
                    <a:pt x="85" y="88"/>
                  </a:lnTo>
                  <a:lnTo>
                    <a:pt x="87" y="85"/>
                  </a:lnTo>
                  <a:lnTo>
                    <a:pt x="87" y="85"/>
                  </a:lnTo>
                  <a:lnTo>
                    <a:pt x="87" y="81"/>
                  </a:lnTo>
                  <a:lnTo>
                    <a:pt x="87" y="81"/>
                  </a:lnTo>
                  <a:lnTo>
                    <a:pt x="87" y="78"/>
                  </a:lnTo>
                  <a:lnTo>
                    <a:pt x="90" y="76"/>
                  </a:lnTo>
                  <a:lnTo>
                    <a:pt x="92" y="73"/>
                  </a:lnTo>
                  <a:lnTo>
                    <a:pt x="90" y="71"/>
                  </a:lnTo>
                  <a:lnTo>
                    <a:pt x="92" y="69"/>
                  </a:lnTo>
                  <a:lnTo>
                    <a:pt x="92" y="69"/>
                  </a:lnTo>
                  <a:lnTo>
                    <a:pt x="92" y="66"/>
                  </a:lnTo>
                  <a:lnTo>
                    <a:pt x="94" y="66"/>
                  </a:lnTo>
                  <a:lnTo>
                    <a:pt x="97" y="64"/>
                  </a:lnTo>
                  <a:lnTo>
                    <a:pt x="99" y="62"/>
                  </a:lnTo>
                  <a:lnTo>
                    <a:pt x="99" y="59"/>
                  </a:lnTo>
                  <a:lnTo>
                    <a:pt x="101" y="59"/>
                  </a:lnTo>
                  <a:lnTo>
                    <a:pt x="101" y="59"/>
                  </a:lnTo>
                  <a:lnTo>
                    <a:pt x="99" y="57"/>
                  </a:lnTo>
                  <a:lnTo>
                    <a:pt x="99" y="57"/>
                  </a:lnTo>
                  <a:lnTo>
                    <a:pt x="101" y="55"/>
                  </a:lnTo>
                  <a:lnTo>
                    <a:pt x="101" y="52"/>
                  </a:lnTo>
                  <a:lnTo>
                    <a:pt x="99" y="50"/>
                  </a:lnTo>
                  <a:lnTo>
                    <a:pt x="99" y="50"/>
                  </a:lnTo>
                  <a:lnTo>
                    <a:pt x="101" y="47"/>
                  </a:lnTo>
                  <a:lnTo>
                    <a:pt x="104" y="40"/>
                  </a:lnTo>
                  <a:lnTo>
                    <a:pt x="106" y="36"/>
                  </a:lnTo>
                  <a:lnTo>
                    <a:pt x="108" y="31"/>
                  </a:lnTo>
                  <a:lnTo>
                    <a:pt x="108" y="31"/>
                  </a:lnTo>
                  <a:lnTo>
                    <a:pt x="108" y="31"/>
                  </a:lnTo>
                  <a:lnTo>
                    <a:pt x="113" y="29"/>
                  </a:lnTo>
                  <a:lnTo>
                    <a:pt x="116" y="22"/>
                  </a:lnTo>
                  <a:lnTo>
                    <a:pt x="118" y="17"/>
                  </a:lnTo>
                  <a:lnTo>
                    <a:pt x="118" y="12"/>
                  </a:lnTo>
                  <a:lnTo>
                    <a:pt x="142" y="7"/>
                  </a:lnTo>
                  <a:lnTo>
                    <a:pt x="144" y="7"/>
                  </a:lnTo>
                  <a:lnTo>
                    <a:pt x="156" y="3"/>
                  </a:lnTo>
                  <a:lnTo>
                    <a:pt x="168" y="0"/>
                  </a:lnTo>
                  <a:lnTo>
                    <a:pt x="168" y="0"/>
                  </a:lnTo>
                  <a:lnTo>
                    <a:pt x="170" y="3"/>
                  </a:lnTo>
                  <a:lnTo>
                    <a:pt x="172" y="7"/>
                  </a:lnTo>
                  <a:lnTo>
                    <a:pt x="172" y="7"/>
                  </a:lnTo>
                  <a:lnTo>
                    <a:pt x="177" y="12"/>
                  </a:lnTo>
                  <a:lnTo>
                    <a:pt x="179" y="12"/>
                  </a:lnTo>
                  <a:lnTo>
                    <a:pt x="179" y="12"/>
                  </a:lnTo>
                  <a:lnTo>
                    <a:pt x="182" y="14"/>
                  </a:lnTo>
                  <a:lnTo>
                    <a:pt x="184" y="12"/>
                  </a:lnTo>
                  <a:lnTo>
                    <a:pt x="186" y="12"/>
                  </a:lnTo>
                  <a:lnTo>
                    <a:pt x="189" y="12"/>
                  </a:lnTo>
                  <a:lnTo>
                    <a:pt x="189" y="12"/>
                  </a:lnTo>
                  <a:lnTo>
                    <a:pt x="194" y="14"/>
                  </a:lnTo>
                  <a:lnTo>
                    <a:pt x="196" y="17"/>
                  </a:lnTo>
                  <a:lnTo>
                    <a:pt x="196" y="14"/>
                  </a:lnTo>
                  <a:lnTo>
                    <a:pt x="201" y="12"/>
                  </a:lnTo>
                  <a:lnTo>
                    <a:pt x="203" y="12"/>
                  </a:lnTo>
                  <a:lnTo>
                    <a:pt x="203" y="12"/>
                  </a:lnTo>
                  <a:lnTo>
                    <a:pt x="205" y="12"/>
                  </a:lnTo>
                  <a:lnTo>
                    <a:pt x="205" y="12"/>
                  </a:lnTo>
                  <a:lnTo>
                    <a:pt x="210" y="14"/>
                  </a:lnTo>
                  <a:lnTo>
                    <a:pt x="212" y="17"/>
                  </a:lnTo>
                  <a:lnTo>
                    <a:pt x="215" y="17"/>
                  </a:lnTo>
                  <a:lnTo>
                    <a:pt x="217" y="19"/>
                  </a:lnTo>
                  <a:lnTo>
                    <a:pt x="219" y="22"/>
                  </a:lnTo>
                  <a:lnTo>
                    <a:pt x="227" y="26"/>
                  </a:lnTo>
                  <a:lnTo>
                    <a:pt x="229" y="29"/>
                  </a:lnTo>
                  <a:lnTo>
                    <a:pt x="234" y="31"/>
                  </a:lnTo>
                  <a:lnTo>
                    <a:pt x="234" y="29"/>
                  </a:lnTo>
                  <a:lnTo>
                    <a:pt x="234" y="31"/>
                  </a:lnTo>
                  <a:lnTo>
                    <a:pt x="236" y="31"/>
                  </a:lnTo>
                  <a:lnTo>
                    <a:pt x="236" y="31"/>
                  </a:lnTo>
                  <a:lnTo>
                    <a:pt x="236" y="31"/>
                  </a:lnTo>
                  <a:lnTo>
                    <a:pt x="238" y="31"/>
                  </a:lnTo>
                  <a:lnTo>
                    <a:pt x="238" y="33"/>
                  </a:lnTo>
                  <a:lnTo>
                    <a:pt x="238" y="33"/>
                  </a:lnTo>
                  <a:lnTo>
                    <a:pt x="243" y="33"/>
                  </a:lnTo>
                  <a:lnTo>
                    <a:pt x="248" y="33"/>
                  </a:lnTo>
                  <a:lnTo>
                    <a:pt x="248" y="31"/>
                  </a:lnTo>
                  <a:lnTo>
                    <a:pt x="250" y="33"/>
                  </a:lnTo>
                  <a:lnTo>
                    <a:pt x="250" y="31"/>
                  </a:lnTo>
                  <a:lnTo>
                    <a:pt x="253" y="31"/>
                  </a:lnTo>
                  <a:lnTo>
                    <a:pt x="253" y="31"/>
                  </a:lnTo>
                  <a:lnTo>
                    <a:pt x="255" y="33"/>
                  </a:lnTo>
                  <a:lnTo>
                    <a:pt x="257" y="31"/>
                  </a:lnTo>
                  <a:lnTo>
                    <a:pt x="260" y="31"/>
                  </a:lnTo>
                  <a:lnTo>
                    <a:pt x="262" y="31"/>
                  </a:lnTo>
                  <a:lnTo>
                    <a:pt x="264" y="31"/>
                  </a:lnTo>
                  <a:lnTo>
                    <a:pt x="271" y="31"/>
                  </a:lnTo>
                  <a:lnTo>
                    <a:pt x="276" y="31"/>
                  </a:lnTo>
                  <a:lnTo>
                    <a:pt x="281" y="33"/>
                  </a:lnTo>
                  <a:lnTo>
                    <a:pt x="283" y="33"/>
                  </a:lnTo>
                  <a:lnTo>
                    <a:pt x="283" y="33"/>
                  </a:lnTo>
                  <a:lnTo>
                    <a:pt x="286" y="33"/>
                  </a:lnTo>
                  <a:lnTo>
                    <a:pt x="288" y="36"/>
                  </a:lnTo>
                  <a:lnTo>
                    <a:pt x="288" y="36"/>
                  </a:lnTo>
                  <a:lnTo>
                    <a:pt x="290" y="33"/>
                  </a:lnTo>
                  <a:lnTo>
                    <a:pt x="293" y="33"/>
                  </a:lnTo>
                  <a:lnTo>
                    <a:pt x="297" y="36"/>
                  </a:lnTo>
                  <a:lnTo>
                    <a:pt x="307" y="36"/>
                  </a:lnTo>
                  <a:lnTo>
                    <a:pt x="312" y="33"/>
                  </a:lnTo>
                  <a:lnTo>
                    <a:pt x="314" y="31"/>
                  </a:lnTo>
                  <a:lnTo>
                    <a:pt x="316" y="31"/>
                  </a:lnTo>
                  <a:lnTo>
                    <a:pt x="319" y="31"/>
                  </a:lnTo>
                  <a:lnTo>
                    <a:pt x="321" y="29"/>
                  </a:lnTo>
                  <a:lnTo>
                    <a:pt x="326" y="29"/>
                  </a:lnTo>
                  <a:lnTo>
                    <a:pt x="326" y="29"/>
                  </a:lnTo>
                  <a:lnTo>
                    <a:pt x="328" y="29"/>
                  </a:lnTo>
                  <a:lnTo>
                    <a:pt x="333" y="29"/>
                  </a:lnTo>
                  <a:lnTo>
                    <a:pt x="338" y="29"/>
                  </a:lnTo>
                  <a:lnTo>
                    <a:pt x="342" y="31"/>
                  </a:lnTo>
                  <a:lnTo>
                    <a:pt x="345" y="31"/>
                  </a:lnTo>
                  <a:lnTo>
                    <a:pt x="349" y="31"/>
                  </a:lnTo>
                  <a:lnTo>
                    <a:pt x="352" y="31"/>
                  </a:lnTo>
                  <a:lnTo>
                    <a:pt x="354" y="31"/>
                  </a:lnTo>
                  <a:lnTo>
                    <a:pt x="354" y="31"/>
                  </a:lnTo>
                  <a:lnTo>
                    <a:pt x="357" y="33"/>
                  </a:lnTo>
                  <a:lnTo>
                    <a:pt x="357" y="33"/>
                  </a:lnTo>
                  <a:lnTo>
                    <a:pt x="364" y="36"/>
                  </a:lnTo>
                  <a:lnTo>
                    <a:pt x="364" y="36"/>
                  </a:lnTo>
                  <a:lnTo>
                    <a:pt x="366" y="36"/>
                  </a:lnTo>
                  <a:lnTo>
                    <a:pt x="373" y="38"/>
                  </a:lnTo>
                  <a:lnTo>
                    <a:pt x="373" y="38"/>
                  </a:lnTo>
                  <a:lnTo>
                    <a:pt x="373" y="38"/>
                  </a:lnTo>
                  <a:lnTo>
                    <a:pt x="375" y="38"/>
                  </a:lnTo>
                  <a:lnTo>
                    <a:pt x="375" y="36"/>
                  </a:lnTo>
                  <a:lnTo>
                    <a:pt x="382" y="40"/>
                  </a:lnTo>
                  <a:lnTo>
                    <a:pt x="385" y="40"/>
                  </a:lnTo>
                  <a:lnTo>
                    <a:pt x="390" y="43"/>
                  </a:lnTo>
                  <a:lnTo>
                    <a:pt x="392" y="43"/>
                  </a:lnTo>
                  <a:lnTo>
                    <a:pt x="394" y="45"/>
                  </a:lnTo>
                  <a:lnTo>
                    <a:pt x="394" y="47"/>
                  </a:lnTo>
                  <a:lnTo>
                    <a:pt x="397" y="47"/>
                  </a:lnTo>
                  <a:lnTo>
                    <a:pt x="401" y="50"/>
                  </a:lnTo>
                  <a:lnTo>
                    <a:pt x="404" y="55"/>
                  </a:lnTo>
                  <a:lnTo>
                    <a:pt x="404" y="57"/>
                  </a:lnTo>
                  <a:lnTo>
                    <a:pt x="406" y="57"/>
                  </a:lnTo>
                  <a:lnTo>
                    <a:pt x="406" y="59"/>
                  </a:lnTo>
                  <a:lnTo>
                    <a:pt x="408" y="66"/>
                  </a:lnTo>
                  <a:lnTo>
                    <a:pt x="408" y="69"/>
                  </a:lnTo>
                  <a:lnTo>
                    <a:pt x="411" y="71"/>
                  </a:lnTo>
                  <a:lnTo>
                    <a:pt x="413" y="71"/>
                  </a:lnTo>
                  <a:lnTo>
                    <a:pt x="413" y="73"/>
                  </a:lnTo>
                  <a:lnTo>
                    <a:pt x="413" y="76"/>
                  </a:lnTo>
                  <a:lnTo>
                    <a:pt x="416" y="78"/>
                  </a:lnTo>
                  <a:lnTo>
                    <a:pt x="418" y="78"/>
                  </a:lnTo>
                  <a:lnTo>
                    <a:pt x="418" y="83"/>
                  </a:lnTo>
                  <a:lnTo>
                    <a:pt x="418" y="83"/>
                  </a:lnTo>
                  <a:lnTo>
                    <a:pt x="420" y="85"/>
                  </a:lnTo>
                  <a:lnTo>
                    <a:pt x="420" y="85"/>
                  </a:lnTo>
                  <a:lnTo>
                    <a:pt x="420" y="85"/>
                  </a:lnTo>
                  <a:lnTo>
                    <a:pt x="420" y="88"/>
                  </a:lnTo>
                  <a:lnTo>
                    <a:pt x="420" y="90"/>
                  </a:lnTo>
                  <a:lnTo>
                    <a:pt x="420" y="90"/>
                  </a:lnTo>
                  <a:lnTo>
                    <a:pt x="423" y="90"/>
                  </a:lnTo>
                  <a:lnTo>
                    <a:pt x="423" y="92"/>
                  </a:lnTo>
                  <a:lnTo>
                    <a:pt x="423" y="95"/>
                  </a:lnTo>
                  <a:lnTo>
                    <a:pt x="423" y="97"/>
                  </a:lnTo>
                  <a:lnTo>
                    <a:pt x="425" y="97"/>
                  </a:lnTo>
                  <a:lnTo>
                    <a:pt x="425" y="99"/>
                  </a:lnTo>
                  <a:lnTo>
                    <a:pt x="425" y="102"/>
                  </a:lnTo>
                  <a:lnTo>
                    <a:pt x="425" y="104"/>
                  </a:lnTo>
                  <a:lnTo>
                    <a:pt x="427" y="104"/>
                  </a:lnTo>
                  <a:lnTo>
                    <a:pt x="427" y="109"/>
                  </a:lnTo>
                  <a:lnTo>
                    <a:pt x="427" y="111"/>
                  </a:lnTo>
                  <a:lnTo>
                    <a:pt x="427" y="111"/>
                  </a:lnTo>
                  <a:lnTo>
                    <a:pt x="430" y="111"/>
                  </a:lnTo>
                  <a:lnTo>
                    <a:pt x="430" y="114"/>
                  </a:lnTo>
                  <a:lnTo>
                    <a:pt x="427" y="118"/>
                  </a:lnTo>
                  <a:lnTo>
                    <a:pt x="427" y="121"/>
                  </a:lnTo>
                  <a:lnTo>
                    <a:pt x="430" y="121"/>
                  </a:lnTo>
                  <a:lnTo>
                    <a:pt x="430" y="123"/>
                  </a:lnTo>
                  <a:lnTo>
                    <a:pt x="430" y="125"/>
                  </a:lnTo>
                  <a:lnTo>
                    <a:pt x="430" y="125"/>
                  </a:lnTo>
                  <a:lnTo>
                    <a:pt x="430" y="128"/>
                  </a:lnTo>
                  <a:lnTo>
                    <a:pt x="430" y="135"/>
                  </a:lnTo>
                  <a:lnTo>
                    <a:pt x="432" y="137"/>
                  </a:lnTo>
                  <a:lnTo>
                    <a:pt x="432" y="137"/>
                  </a:lnTo>
                  <a:lnTo>
                    <a:pt x="434" y="137"/>
                  </a:lnTo>
                  <a:lnTo>
                    <a:pt x="434" y="137"/>
                  </a:lnTo>
                  <a:lnTo>
                    <a:pt x="434" y="140"/>
                  </a:lnTo>
                  <a:lnTo>
                    <a:pt x="434" y="142"/>
                  </a:lnTo>
                  <a:lnTo>
                    <a:pt x="434" y="142"/>
                  </a:lnTo>
                  <a:lnTo>
                    <a:pt x="434" y="144"/>
                  </a:lnTo>
                  <a:lnTo>
                    <a:pt x="434" y="149"/>
                  </a:lnTo>
                  <a:lnTo>
                    <a:pt x="437" y="149"/>
                  </a:lnTo>
                  <a:lnTo>
                    <a:pt x="439" y="151"/>
                  </a:lnTo>
                  <a:lnTo>
                    <a:pt x="439" y="151"/>
                  </a:lnTo>
                  <a:lnTo>
                    <a:pt x="439" y="151"/>
                  </a:lnTo>
                  <a:lnTo>
                    <a:pt x="439" y="154"/>
                  </a:lnTo>
                  <a:lnTo>
                    <a:pt x="439" y="156"/>
                  </a:lnTo>
                  <a:lnTo>
                    <a:pt x="439" y="159"/>
                  </a:lnTo>
                  <a:lnTo>
                    <a:pt x="439" y="161"/>
                  </a:lnTo>
                  <a:lnTo>
                    <a:pt x="442" y="161"/>
                  </a:lnTo>
                  <a:lnTo>
                    <a:pt x="442" y="163"/>
                  </a:lnTo>
                  <a:lnTo>
                    <a:pt x="442" y="170"/>
                  </a:lnTo>
                  <a:lnTo>
                    <a:pt x="442" y="170"/>
                  </a:lnTo>
                  <a:lnTo>
                    <a:pt x="442" y="177"/>
                  </a:lnTo>
                  <a:lnTo>
                    <a:pt x="442" y="175"/>
                  </a:lnTo>
                  <a:lnTo>
                    <a:pt x="444" y="177"/>
                  </a:lnTo>
                  <a:lnTo>
                    <a:pt x="444" y="177"/>
                  </a:lnTo>
                  <a:lnTo>
                    <a:pt x="444" y="180"/>
                  </a:lnTo>
                  <a:lnTo>
                    <a:pt x="444" y="182"/>
                  </a:lnTo>
                  <a:lnTo>
                    <a:pt x="446" y="182"/>
                  </a:lnTo>
                  <a:lnTo>
                    <a:pt x="446" y="182"/>
                  </a:lnTo>
                  <a:lnTo>
                    <a:pt x="449" y="182"/>
                  </a:lnTo>
                  <a:lnTo>
                    <a:pt x="449" y="184"/>
                  </a:lnTo>
                  <a:lnTo>
                    <a:pt x="449" y="192"/>
                  </a:lnTo>
                  <a:lnTo>
                    <a:pt x="449" y="194"/>
                  </a:lnTo>
                  <a:lnTo>
                    <a:pt x="449" y="194"/>
                  </a:lnTo>
                  <a:lnTo>
                    <a:pt x="449" y="196"/>
                  </a:lnTo>
                  <a:lnTo>
                    <a:pt x="451" y="201"/>
                  </a:lnTo>
                  <a:lnTo>
                    <a:pt x="451" y="201"/>
                  </a:lnTo>
                  <a:lnTo>
                    <a:pt x="453" y="201"/>
                  </a:lnTo>
                  <a:lnTo>
                    <a:pt x="453" y="201"/>
                  </a:lnTo>
                  <a:lnTo>
                    <a:pt x="453" y="201"/>
                  </a:lnTo>
                  <a:lnTo>
                    <a:pt x="456" y="201"/>
                  </a:lnTo>
                  <a:lnTo>
                    <a:pt x="456" y="206"/>
                  </a:lnTo>
                  <a:lnTo>
                    <a:pt x="458" y="210"/>
                  </a:lnTo>
                  <a:lnTo>
                    <a:pt x="458" y="213"/>
                  </a:lnTo>
                  <a:lnTo>
                    <a:pt x="458" y="215"/>
                  </a:lnTo>
                  <a:lnTo>
                    <a:pt x="458" y="215"/>
                  </a:lnTo>
                  <a:lnTo>
                    <a:pt x="456" y="218"/>
                  </a:lnTo>
                  <a:lnTo>
                    <a:pt x="456" y="218"/>
                  </a:lnTo>
                  <a:lnTo>
                    <a:pt x="453" y="220"/>
                  </a:lnTo>
                  <a:lnTo>
                    <a:pt x="451" y="220"/>
                  </a:lnTo>
                  <a:lnTo>
                    <a:pt x="451" y="220"/>
                  </a:lnTo>
                  <a:lnTo>
                    <a:pt x="449" y="220"/>
                  </a:lnTo>
                  <a:lnTo>
                    <a:pt x="446" y="222"/>
                  </a:lnTo>
                  <a:lnTo>
                    <a:pt x="446" y="222"/>
                  </a:lnTo>
                  <a:lnTo>
                    <a:pt x="442" y="218"/>
                  </a:lnTo>
                  <a:lnTo>
                    <a:pt x="442" y="218"/>
                  </a:lnTo>
                  <a:lnTo>
                    <a:pt x="439" y="220"/>
                  </a:lnTo>
                  <a:lnTo>
                    <a:pt x="439" y="220"/>
                  </a:lnTo>
                  <a:lnTo>
                    <a:pt x="439" y="222"/>
                  </a:lnTo>
                  <a:lnTo>
                    <a:pt x="437" y="222"/>
                  </a:lnTo>
                  <a:lnTo>
                    <a:pt x="434" y="225"/>
                  </a:lnTo>
                  <a:lnTo>
                    <a:pt x="434" y="225"/>
                  </a:lnTo>
                  <a:lnTo>
                    <a:pt x="432" y="225"/>
                  </a:lnTo>
                  <a:lnTo>
                    <a:pt x="430" y="225"/>
                  </a:lnTo>
                  <a:lnTo>
                    <a:pt x="427" y="225"/>
                  </a:lnTo>
                  <a:lnTo>
                    <a:pt x="427" y="222"/>
                  </a:lnTo>
                  <a:lnTo>
                    <a:pt x="427" y="220"/>
                  </a:lnTo>
                  <a:lnTo>
                    <a:pt x="425" y="220"/>
                  </a:lnTo>
                  <a:lnTo>
                    <a:pt x="425" y="222"/>
                  </a:lnTo>
                  <a:lnTo>
                    <a:pt x="420" y="222"/>
                  </a:lnTo>
                  <a:lnTo>
                    <a:pt x="418" y="225"/>
                  </a:lnTo>
                  <a:lnTo>
                    <a:pt x="411" y="225"/>
                  </a:lnTo>
                  <a:lnTo>
                    <a:pt x="411" y="222"/>
                  </a:lnTo>
                  <a:lnTo>
                    <a:pt x="408" y="220"/>
                  </a:lnTo>
                  <a:lnTo>
                    <a:pt x="406" y="220"/>
                  </a:lnTo>
                  <a:lnTo>
                    <a:pt x="404" y="218"/>
                  </a:lnTo>
                  <a:lnTo>
                    <a:pt x="401" y="218"/>
                  </a:lnTo>
                  <a:lnTo>
                    <a:pt x="399" y="215"/>
                  </a:lnTo>
                  <a:lnTo>
                    <a:pt x="399" y="215"/>
                  </a:lnTo>
                  <a:lnTo>
                    <a:pt x="399" y="215"/>
                  </a:lnTo>
                  <a:lnTo>
                    <a:pt x="397" y="215"/>
                  </a:lnTo>
                  <a:lnTo>
                    <a:pt x="394" y="215"/>
                  </a:lnTo>
                  <a:lnTo>
                    <a:pt x="394" y="215"/>
                  </a:lnTo>
                  <a:lnTo>
                    <a:pt x="394" y="215"/>
                  </a:lnTo>
                  <a:lnTo>
                    <a:pt x="392" y="215"/>
                  </a:lnTo>
                  <a:lnTo>
                    <a:pt x="392" y="215"/>
                  </a:lnTo>
                  <a:lnTo>
                    <a:pt x="392" y="215"/>
                  </a:lnTo>
                  <a:lnTo>
                    <a:pt x="392" y="215"/>
                  </a:lnTo>
                  <a:lnTo>
                    <a:pt x="390" y="215"/>
                  </a:lnTo>
                  <a:lnTo>
                    <a:pt x="390" y="215"/>
                  </a:lnTo>
                  <a:lnTo>
                    <a:pt x="387" y="215"/>
                  </a:lnTo>
                  <a:lnTo>
                    <a:pt x="387" y="215"/>
                  </a:lnTo>
                  <a:lnTo>
                    <a:pt x="387" y="215"/>
                  </a:lnTo>
                  <a:lnTo>
                    <a:pt x="385" y="215"/>
                  </a:lnTo>
                  <a:lnTo>
                    <a:pt x="385" y="215"/>
                  </a:lnTo>
                  <a:lnTo>
                    <a:pt x="385" y="215"/>
                  </a:lnTo>
                  <a:lnTo>
                    <a:pt x="382" y="218"/>
                  </a:lnTo>
                  <a:lnTo>
                    <a:pt x="382" y="218"/>
                  </a:lnTo>
                  <a:lnTo>
                    <a:pt x="382" y="215"/>
                  </a:lnTo>
                  <a:lnTo>
                    <a:pt x="380" y="215"/>
                  </a:lnTo>
                  <a:lnTo>
                    <a:pt x="380" y="215"/>
                  </a:lnTo>
                  <a:lnTo>
                    <a:pt x="380" y="215"/>
                  </a:lnTo>
                  <a:lnTo>
                    <a:pt x="378" y="213"/>
                  </a:lnTo>
                  <a:lnTo>
                    <a:pt x="375" y="213"/>
                  </a:lnTo>
                  <a:lnTo>
                    <a:pt x="375" y="213"/>
                  </a:lnTo>
                  <a:lnTo>
                    <a:pt x="373" y="213"/>
                  </a:lnTo>
                  <a:lnTo>
                    <a:pt x="371" y="210"/>
                  </a:lnTo>
                  <a:lnTo>
                    <a:pt x="371" y="210"/>
                  </a:lnTo>
                  <a:lnTo>
                    <a:pt x="371" y="213"/>
                  </a:lnTo>
                  <a:lnTo>
                    <a:pt x="368" y="213"/>
                  </a:lnTo>
                  <a:lnTo>
                    <a:pt x="366" y="210"/>
                  </a:lnTo>
                  <a:lnTo>
                    <a:pt x="364" y="213"/>
                  </a:lnTo>
                  <a:lnTo>
                    <a:pt x="364" y="215"/>
                  </a:lnTo>
                  <a:lnTo>
                    <a:pt x="364" y="215"/>
                  </a:lnTo>
                  <a:lnTo>
                    <a:pt x="361" y="215"/>
                  </a:lnTo>
                  <a:lnTo>
                    <a:pt x="357" y="215"/>
                  </a:lnTo>
                  <a:lnTo>
                    <a:pt x="354" y="215"/>
                  </a:lnTo>
                  <a:lnTo>
                    <a:pt x="345" y="215"/>
                  </a:lnTo>
                  <a:lnTo>
                    <a:pt x="335" y="218"/>
                  </a:lnTo>
                  <a:lnTo>
                    <a:pt x="331" y="215"/>
                  </a:lnTo>
                  <a:lnTo>
                    <a:pt x="331" y="215"/>
                  </a:lnTo>
                  <a:lnTo>
                    <a:pt x="326" y="215"/>
                  </a:lnTo>
                  <a:lnTo>
                    <a:pt x="326" y="215"/>
                  </a:lnTo>
                  <a:lnTo>
                    <a:pt x="326" y="213"/>
                  </a:lnTo>
                  <a:lnTo>
                    <a:pt x="326" y="213"/>
                  </a:lnTo>
                  <a:lnTo>
                    <a:pt x="321" y="210"/>
                  </a:lnTo>
                  <a:lnTo>
                    <a:pt x="321" y="210"/>
                  </a:lnTo>
                  <a:lnTo>
                    <a:pt x="319" y="206"/>
                  </a:lnTo>
                  <a:lnTo>
                    <a:pt x="319" y="206"/>
                  </a:lnTo>
                  <a:lnTo>
                    <a:pt x="319" y="206"/>
                  </a:lnTo>
                  <a:lnTo>
                    <a:pt x="319" y="206"/>
                  </a:lnTo>
                  <a:lnTo>
                    <a:pt x="316" y="206"/>
                  </a:lnTo>
                  <a:lnTo>
                    <a:pt x="316" y="206"/>
                  </a:lnTo>
                  <a:lnTo>
                    <a:pt x="314" y="208"/>
                  </a:lnTo>
                  <a:lnTo>
                    <a:pt x="314" y="208"/>
                  </a:lnTo>
                  <a:lnTo>
                    <a:pt x="312" y="208"/>
                  </a:lnTo>
                  <a:lnTo>
                    <a:pt x="312" y="208"/>
                  </a:lnTo>
                  <a:lnTo>
                    <a:pt x="309" y="208"/>
                  </a:lnTo>
                  <a:lnTo>
                    <a:pt x="309" y="208"/>
                  </a:lnTo>
                  <a:lnTo>
                    <a:pt x="305" y="210"/>
                  </a:lnTo>
                  <a:lnTo>
                    <a:pt x="300" y="210"/>
                  </a:lnTo>
                  <a:lnTo>
                    <a:pt x="300" y="210"/>
                  </a:lnTo>
                  <a:lnTo>
                    <a:pt x="295" y="210"/>
                  </a:lnTo>
                  <a:lnTo>
                    <a:pt x="295" y="206"/>
                  </a:lnTo>
                  <a:lnTo>
                    <a:pt x="293" y="206"/>
                  </a:lnTo>
                  <a:lnTo>
                    <a:pt x="290" y="203"/>
                  </a:lnTo>
                  <a:lnTo>
                    <a:pt x="290" y="203"/>
                  </a:lnTo>
                  <a:lnTo>
                    <a:pt x="290" y="203"/>
                  </a:lnTo>
                  <a:lnTo>
                    <a:pt x="290" y="201"/>
                  </a:lnTo>
                  <a:lnTo>
                    <a:pt x="290" y="201"/>
                  </a:lnTo>
                  <a:lnTo>
                    <a:pt x="290" y="199"/>
                  </a:lnTo>
                  <a:lnTo>
                    <a:pt x="290" y="194"/>
                  </a:lnTo>
                  <a:lnTo>
                    <a:pt x="290" y="194"/>
                  </a:lnTo>
                  <a:lnTo>
                    <a:pt x="290" y="192"/>
                  </a:lnTo>
                  <a:lnTo>
                    <a:pt x="288" y="189"/>
                  </a:lnTo>
                  <a:lnTo>
                    <a:pt x="283" y="192"/>
                  </a:lnTo>
                  <a:lnTo>
                    <a:pt x="281" y="194"/>
                  </a:lnTo>
                  <a:lnTo>
                    <a:pt x="276" y="192"/>
                  </a:lnTo>
                  <a:lnTo>
                    <a:pt x="271" y="201"/>
                  </a:lnTo>
                  <a:lnTo>
                    <a:pt x="269" y="201"/>
                  </a:lnTo>
                  <a:lnTo>
                    <a:pt x="264" y="199"/>
                  </a:lnTo>
                  <a:lnTo>
                    <a:pt x="262" y="203"/>
                  </a:lnTo>
                  <a:lnTo>
                    <a:pt x="262" y="206"/>
                  </a:lnTo>
                  <a:lnTo>
                    <a:pt x="260" y="210"/>
                  </a:lnTo>
                  <a:lnTo>
                    <a:pt x="260" y="210"/>
                  </a:lnTo>
                  <a:lnTo>
                    <a:pt x="260" y="213"/>
                  </a:lnTo>
                  <a:lnTo>
                    <a:pt x="260" y="215"/>
                  </a:lnTo>
                  <a:lnTo>
                    <a:pt x="260" y="218"/>
                  </a:lnTo>
                  <a:lnTo>
                    <a:pt x="262" y="218"/>
                  </a:lnTo>
                  <a:lnTo>
                    <a:pt x="264" y="220"/>
                  </a:lnTo>
                  <a:lnTo>
                    <a:pt x="264" y="220"/>
                  </a:lnTo>
                  <a:lnTo>
                    <a:pt x="267" y="222"/>
                  </a:lnTo>
                  <a:lnTo>
                    <a:pt x="267" y="225"/>
                  </a:lnTo>
                  <a:lnTo>
                    <a:pt x="269" y="225"/>
                  </a:lnTo>
                  <a:lnTo>
                    <a:pt x="269" y="225"/>
                  </a:lnTo>
                  <a:lnTo>
                    <a:pt x="271" y="225"/>
                  </a:lnTo>
                  <a:lnTo>
                    <a:pt x="271" y="232"/>
                  </a:lnTo>
                  <a:lnTo>
                    <a:pt x="271" y="234"/>
                  </a:lnTo>
                  <a:lnTo>
                    <a:pt x="271" y="234"/>
                  </a:lnTo>
                  <a:lnTo>
                    <a:pt x="269" y="234"/>
                  </a:lnTo>
                  <a:lnTo>
                    <a:pt x="269" y="234"/>
                  </a:lnTo>
                  <a:lnTo>
                    <a:pt x="267" y="232"/>
                  </a:lnTo>
                  <a:lnTo>
                    <a:pt x="262" y="232"/>
                  </a:lnTo>
                  <a:lnTo>
                    <a:pt x="262" y="229"/>
                  </a:lnTo>
                  <a:lnTo>
                    <a:pt x="260" y="232"/>
                  </a:lnTo>
                  <a:lnTo>
                    <a:pt x="262" y="232"/>
                  </a:lnTo>
                  <a:lnTo>
                    <a:pt x="257" y="239"/>
                  </a:lnTo>
                  <a:lnTo>
                    <a:pt x="257" y="244"/>
                  </a:lnTo>
                  <a:lnTo>
                    <a:pt x="255" y="246"/>
                  </a:lnTo>
                  <a:lnTo>
                    <a:pt x="257" y="248"/>
                  </a:lnTo>
                  <a:lnTo>
                    <a:pt x="260" y="248"/>
                  </a:lnTo>
                  <a:lnTo>
                    <a:pt x="260" y="248"/>
                  </a:lnTo>
                  <a:lnTo>
                    <a:pt x="260" y="251"/>
                  </a:lnTo>
                  <a:lnTo>
                    <a:pt x="262" y="251"/>
                  </a:lnTo>
                  <a:lnTo>
                    <a:pt x="262" y="251"/>
                  </a:lnTo>
                  <a:lnTo>
                    <a:pt x="262" y="251"/>
                  </a:lnTo>
                  <a:lnTo>
                    <a:pt x="264" y="255"/>
                  </a:lnTo>
                  <a:lnTo>
                    <a:pt x="262" y="260"/>
                  </a:lnTo>
                  <a:lnTo>
                    <a:pt x="262" y="260"/>
                  </a:lnTo>
                  <a:lnTo>
                    <a:pt x="260" y="260"/>
                  </a:lnTo>
                  <a:lnTo>
                    <a:pt x="257" y="262"/>
                  </a:lnTo>
                  <a:lnTo>
                    <a:pt x="255" y="262"/>
                  </a:lnTo>
                  <a:lnTo>
                    <a:pt x="255" y="265"/>
                  </a:lnTo>
                  <a:lnTo>
                    <a:pt x="255" y="265"/>
                  </a:lnTo>
                  <a:lnTo>
                    <a:pt x="255" y="267"/>
                  </a:lnTo>
                  <a:lnTo>
                    <a:pt x="255" y="267"/>
                  </a:lnTo>
                  <a:lnTo>
                    <a:pt x="250" y="274"/>
                  </a:lnTo>
                  <a:lnTo>
                    <a:pt x="248" y="274"/>
                  </a:lnTo>
                  <a:lnTo>
                    <a:pt x="245" y="274"/>
                  </a:lnTo>
                  <a:lnTo>
                    <a:pt x="243" y="274"/>
                  </a:lnTo>
                  <a:lnTo>
                    <a:pt x="238" y="274"/>
                  </a:lnTo>
                  <a:lnTo>
                    <a:pt x="236" y="281"/>
                  </a:lnTo>
                  <a:lnTo>
                    <a:pt x="236" y="281"/>
                  </a:lnTo>
                  <a:lnTo>
                    <a:pt x="234" y="279"/>
                  </a:lnTo>
                  <a:lnTo>
                    <a:pt x="229" y="274"/>
                  </a:lnTo>
                  <a:lnTo>
                    <a:pt x="231" y="272"/>
                  </a:lnTo>
                  <a:lnTo>
                    <a:pt x="231" y="270"/>
                  </a:lnTo>
                  <a:lnTo>
                    <a:pt x="234" y="267"/>
                  </a:lnTo>
                  <a:lnTo>
                    <a:pt x="234" y="262"/>
                  </a:lnTo>
                  <a:lnTo>
                    <a:pt x="229" y="262"/>
                  </a:lnTo>
                  <a:lnTo>
                    <a:pt x="229" y="255"/>
                  </a:lnTo>
                  <a:lnTo>
                    <a:pt x="219" y="248"/>
                  </a:lnTo>
                  <a:lnTo>
                    <a:pt x="217" y="251"/>
                  </a:lnTo>
                  <a:lnTo>
                    <a:pt x="212" y="251"/>
                  </a:lnTo>
                  <a:lnTo>
                    <a:pt x="210" y="251"/>
                  </a:lnTo>
                  <a:lnTo>
                    <a:pt x="208" y="253"/>
                  </a:lnTo>
                  <a:lnTo>
                    <a:pt x="205" y="255"/>
                  </a:lnTo>
                  <a:lnTo>
                    <a:pt x="205" y="255"/>
                  </a:lnTo>
                  <a:lnTo>
                    <a:pt x="205" y="255"/>
                  </a:lnTo>
                  <a:lnTo>
                    <a:pt x="205" y="255"/>
                  </a:lnTo>
                  <a:lnTo>
                    <a:pt x="205" y="253"/>
                  </a:lnTo>
                  <a:lnTo>
                    <a:pt x="203" y="251"/>
                  </a:lnTo>
                  <a:lnTo>
                    <a:pt x="203" y="251"/>
                  </a:lnTo>
                  <a:lnTo>
                    <a:pt x="203" y="248"/>
                  </a:lnTo>
                  <a:lnTo>
                    <a:pt x="201" y="246"/>
                  </a:lnTo>
                  <a:lnTo>
                    <a:pt x="201" y="246"/>
                  </a:lnTo>
                  <a:lnTo>
                    <a:pt x="196" y="248"/>
                  </a:lnTo>
                  <a:lnTo>
                    <a:pt x="196" y="251"/>
                  </a:lnTo>
                  <a:lnTo>
                    <a:pt x="191" y="251"/>
                  </a:lnTo>
                  <a:lnTo>
                    <a:pt x="191" y="251"/>
                  </a:lnTo>
                  <a:lnTo>
                    <a:pt x="184" y="253"/>
                  </a:lnTo>
                  <a:lnTo>
                    <a:pt x="184" y="253"/>
                  </a:lnTo>
                  <a:lnTo>
                    <a:pt x="182" y="258"/>
                  </a:lnTo>
                  <a:lnTo>
                    <a:pt x="175" y="260"/>
                  </a:lnTo>
                  <a:lnTo>
                    <a:pt x="170" y="260"/>
                  </a:lnTo>
                  <a:lnTo>
                    <a:pt x="168" y="258"/>
                  </a:lnTo>
                  <a:lnTo>
                    <a:pt x="168" y="258"/>
                  </a:lnTo>
                  <a:lnTo>
                    <a:pt x="168" y="255"/>
                  </a:lnTo>
                  <a:lnTo>
                    <a:pt x="168" y="255"/>
                  </a:lnTo>
                  <a:lnTo>
                    <a:pt x="165" y="253"/>
                  </a:lnTo>
                  <a:lnTo>
                    <a:pt x="165" y="251"/>
                  </a:lnTo>
                  <a:lnTo>
                    <a:pt x="165" y="248"/>
                  </a:lnTo>
                  <a:lnTo>
                    <a:pt x="165" y="248"/>
                  </a:lnTo>
                  <a:lnTo>
                    <a:pt x="163" y="246"/>
                  </a:lnTo>
                  <a:lnTo>
                    <a:pt x="163" y="244"/>
                  </a:lnTo>
                  <a:lnTo>
                    <a:pt x="160" y="244"/>
                  </a:lnTo>
                  <a:lnTo>
                    <a:pt x="156" y="244"/>
                  </a:lnTo>
                  <a:lnTo>
                    <a:pt x="151" y="244"/>
                  </a:lnTo>
                  <a:lnTo>
                    <a:pt x="149" y="244"/>
                  </a:lnTo>
                  <a:lnTo>
                    <a:pt x="139" y="246"/>
                  </a:lnTo>
                  <a:lnTo>
                    <a:pt x="142" y="241"/>
                  </a:lnTo>
                  <a:lnTo>
                    <a:pt x="139" y="241"/>
                  </a:lnTo>
                  <a:lnTo>
                    <a:pt x="142" y="239"/>
                  </a:lnTo>
                  <a:lnTo>
                    <a:pt x="139" y="236"/>
                  </a:lnTo>
                  <a:lnTo>
                    <a:pt x="139" y="234"/>
                  </a:lnTo>
                  <a:lnTo>
                    <a:pt x="139" y="232"/>
                  </a:lnTo>
                  <a:lnTo>
                    <a:pt x="139" y="232"/>
                  </a:lnTo>
                  <a:lnTo>
                    <a:pt x="139" y="229"/>
                  </a:lnTo>
                  <a:lnTo>
                    <a:pt x="139" y="227"/>
                  </a:lnTo>
                  <a:lnTo>
                    <a:pt x="139" y="225"/>
                  </a:lnTo>
                  <a:lnTo>
                    <a:pt x="139" y="225"/>
                  </a:lnTo>
                  <a:lnTo>
                    <a:pt x="142" y="222"/>
                  </a:lnTo>
                  <a:lnTo>
                    <a:pt x="142" y="222"/>
                  </a:lnTo>
                  <a:lnTo>
                    <a:pt x="144" y="222"/>
                  </a:lnTo>
                  <a:lnTo>
                    <a:pt x="144" y="222"/>
                  </a:lnTo>
                  <a:lnTo>
                    <a:pt x="146" y="222"/>
                  </a:lnTo>
                  <a:lnTo>
                    <a:pt x="151" y="220"/>
                  </a:lnTo>
                  <a:lnTo>
                    <a:pt x="151" y="213"/>
                  </a:lnTo>
                  <a:lnTo>
                    <a:pt x="151" y="210"/>
                  </a:lnTo>
                  <a:lnTo>
                    <a:pt x="151" y="208"/>
                  </a:lnTo>
                  <a:lnTo>
                    <a:pt x="151" y="206"/>
                  </a:lnTo>
                  <a:lnTo>
                    <a:pt x="151" y="206"/>
                  </a:lnTo>
                  <a:lnTo>
                    <a:pt x="151" y="203"/>
                  </a:lnTo>
                  <a:lnTo>
                    <a:pt x="151" y="203"/>
                  </a:lnTo>
                  <a:lnTo>
                    <a:pt x="151" y="203"/>
                  </a:lnTo>
                  <a:lnTo>
                    <a:pt x="153" y="201"/>
                  </a:lnTo>
                  <a:lnTo>
                    <a:pt x="153" y="196"/>
                  </a:lnTo>
                  <a:lnTo>
                    <a:pt x="153" y="194"/>
                  </a:lnTo>
                  <a:lnTo>
                    <a:pt x="153" y="194"/>
                  </a:lnTo>
                  <a:lnTo>
                    <a:pt x="158" y="194"/>
                  </a:lnTo>
                  <a:lnTo>
                    <a:pt x="158" y="192"/>
                  </a:lnTo>
                  <a:lnTo>
                    <a:pt x="160" y="189"/>
                  </a:lnTo>
                  <a:lnTo>
                    <a:pt x="160" y="189"/>
                  </a:lnTo>
                  <a:lnTo>
                    <a:pt x="163" y="189"/>
                  </a:lnTo>
                  <a:lnTo>
                    <a:pt x="165" y="189"/>
                  </a:lnTo>
                  <a:lnTo>
                    <a:pt x="165" y="184"/>
                  </a:lnTo>
                  <a:lnTo>
                    <a:pt x="168" y="182"/>
                  </a:lnTo>
                  <a:lnTo>
                    <a:pt x="170" y="182"/>
                  </a:lnTo>
                  <a:lnTo>
                    <a:pt x="170" y="182"/>
                  </a:lnTo>
                  <a:lnTo>
                    <a:pt x="172" y="180"/>
                  </a:lnTo>
                  <a:lnTo>
                    <a:pt x="175" y="180"/>
                  </a:lnTo>
                  <a:lnTo>
                    <a:pt x="175" y="177"/>
                  </a:lnTo>
                  <a:lnTo>
                    <a:pt x="175" y="177"/>
                  </a:lnTo>
                  <a:lnTo>
                    <a:pt x="179" y="175"/>
                  </a:lnTo>
                  <a:lnTo>
                    <a:pt x="179" y="175"/>
                  </a:lnTo>
                  <a:lnTo>
                    <a:pt x="179" y="173"/>
                  </a:lnTo>
                  <a:lnTo>
                    <a:pt x="179" y="173"/>
                  </a:lnTo>
                  <a:lnTo>
                    <a:pt x="177" y="173"/>
                  </a:lnTo>
                  <a:lnTo>
                    <a:pt x="179" y="168"/>
                  </a:lnTo>
                  <a:lnTo>
                    <a:pt x="179" y="166"/>
                  </a:lnTo>
                  <a:lnTo>
                    <a:pt x="179" y="163"/>
                  </a:lnTo>
                  <a:lnTo>
                    <a:pt x="177" y="159"/>
                  </a:lnTo>
                  <a:lnTo>
                    <a:pt x="179" y="159"/>
                  </a:lnTo>
                  <a:lnTo>
                    <a:pt x="175" y="159"/>
                  </a:lnTo>
                  <a:lnTo>
                    <a:pt x="175" y="159"/>
                  </a:lnTo>
                  <a:lnTo>
                    <a:pt x="172" y="159"/>
                  </a:lnTo>
                  <a:lnTo>
                    <a:pt x="170" y="156"/>
                  </a:lnTo>
                  <a:lnTo>
                    <a:pt x="170" y="156"/>
                  </a:lnTo>
                  <a:lnTo>
                    <a:pt x="168" y="156"/>
                  </a:lnTo>
                  <a:lnTo>
                    <a:pt x="168" y="156"/>
                  </a:lnTo>
                  <a:lnTo>
                    <a:pt x="165" y="159"/>
                  </a:lnTo>
                  <a:lnTo>
                    <a:pt x="165" y="161"/>
                  </a:lnTo>
                  <a:lnTo>
                    <a:pt x="163" y="161"/>
                  </a:lnTo>
                  <a:lnTo>
                    <a:pt x="163" y="159"/>
                  </a:lnTo>
                  <a:lnTo>
                    <a:pt x="160" y="161"/>
                  </a:lnTo>
                  <a:lnTo>
                    <a:pt x="158" y="161"/>
                  </a:lnTo>
                  <a:lnTo>
                    <a:pt x="156" y="163"/>
                  </a:lnTo>
                  <a:lnTo>
                    <a:pt x="153" y="163"/>
                  </a:lnTo>
                  <a:lnTo>
                    <a:pt x="151" y="163"/>
                  </a:lnTo>
                  <a:lnTo>
                    <a:pt x="151" y="168"/>
                  </a:lnTo>
                  <a:lnTo>
                    <a:pt x="149" y="168"/>
                  </a:lnTo>
                  <a:lnTo>
                    <a:pt x="146" y="168"/>
                  </a:lnTo>
                  <a:lnTo>
                    <a:pt x="144" y="168"/>
                  </a:lnTo>
                  <a:lnTo>
                    <a:pt x="142" y="168"/>
                  </a:lnTo>
                  <a:lnTo>
                    <a:pt x="142" y="173"/>
                  </a:lnTo>
                  <a:lnTo>
                    <a:pt x="139" y="173"/>
                  </a:lnTo>
                  <a:lnTo>
                    <a:pt x="137" y="173"/>
                  </a:lnTo>
                  <a:lnTo>
                    <a:pt x="137" y="173"/>
                  </a:lnTo>
                  <a:lnTo>
                    <a:pt x="137" y="173"/>
                  </a:lnTo>
                  <a:lnTo>
                    <a:pt x="134" y="173"/>
                  </a:lnTo>
                  <a:lnTo>
                    <a:pt x="132" y="173"/>
                  </a:lnTo>
                  <a:lnTo>
                    <a:pt x="132" y="175"/>
                  </a:lnTo>
                  <a:lnTo>
                    <a:pt x="130" y="175"/>
                  </a:lnTo>
                  <a:lnTo>
                    <a:pt x="127" y="173"/>
                  </a:lnTo>
                  <a:lnTo>
                    <a:pt x="125" y="175"/>
                  </a:lnTo>
                  <a:lnTo>
                    <a:pt x="125" y="175"/>
                  </a:lnTo>
                  <a:lnTo>
                    <a:pt x="123" y="175"/>
                  </a:lnTo>
                  <a:lnTo>
                    <a:pt x="118" y="175"/>
                  </a:lnTo>
                  <a:lnTo>
                    <a:pt x="118" y="177"/>
                  </a:lnTo>
                  <a:lnTo>
                    <a:pt x="113" y="177"/>
                  </a:lnTo>
                  <a:lnTo>
                    <a:pt x="111" y="177"/>
                  </a:lnTo>
                  <a:lnTo>
                    <a:pt x="111" y="175"/>
                  </a:lnTo>
                  <a:lnTo>
                    <a:pt x="108" y="175"/>
                  </a:lnTo>
                  <a:lnTo>
                    <a:pt x="106" y="177"/>
                  </a:lnTo>
                  <a:lnTo>
                    <a:pt x="104" y="180"/>
                  </a:lnTo>
                  <a:lnTo>
                    <a:pt x="104" y="182"/>
                  </a:lnTo>
                  <a:lnTo>
                    <a:pt x="104" y="182"/>
                  </a:lnTo>
                  <a:lnTo>
                    <a:pt x="101" y="182"/>
                  </a:lnTo>
                  <a:lnTo>
                    <a:pt x="104" y="184"/>
                  </a:lnTo>
                  <a:lnTo>
                    <a:pt x="101" y="184"/>
                  </a:lnTo>
                  <a:lnTo>
                    <a:pt x="104" y="187"/>
                  </a:lnTo>
                  <a:lnTo>
                    <a:pt x="104" y="187"/>
                  </a:lnTo>
                  <a:lnTo>
                    <a:pt x="104" y="189"/>
                  </a:lnTo>
                  <a:lnTo>
                    <a:pt x="104" y="192"/>
                  </a:lnTo>
                  <a:lnTo>
                    <a:pt x="104" y="192"/>
                  </a:lnTo>
                  <a:lnTo>
                    <a:pt x="101" y="192"/>
                  </a:lnTo>
                  <a:lnTo>
                    <a:pt x="99" y="192"/>
                  </a:lnTo>
                  <a:lnTo>
                    <a:pt x="97" y="192"/>
                  </a:lnTo>
                  <a:lnTo>
                    <a:pt x="97" y="194"/>
                  </a:lnTo>
                  <a:lnTo>
                    <a:pt x="97" y="194"/>
                  </a:lnTo>
                  <a:lnTo>
                    <a:pt x="97" y="194"/>
                  </a:lnTo>
                  <a:lnTo>
                    <a:pt x="94" y="194"/>
                  </a:lnTo>
                  <a:lnTo>
                    <a:pt x="92" y="196"/>
                  </a:lnTo>
                  <a:lnTo>
                    <a:pt x="94" y="196"/>
                  </a:lnTo>
                  <a:lnTo>
                    <a:pt x="92" y="199"/>
                  </a:lnTo>
                  <a:lnTo>
                    <a:pt x="92" y="201"/>
                  </a:lnTo>
                  <a:lnTo>
                    <a:pt x="92" y="201"/>
                  </a:lnTo>
                  <a:lnTo>
                    <a:pt x="90" y="201"/>
                  </a:lnTo>
                  <a:lnTo>
                    <a:pt x="87" y="201"/>
                  </a:lnTo>
                  <a:lnTo>
                    <a:pt x="87" y="203"/>
                  </a:lnTo>
                  <a:lnTo>
                    <a:pt x="87" y="203"/>
                  </a:lnTo>
                  <a:lnTo>
                    <a:pt x="87" y="206"/>
                  </a:lnTo>
                  <a:lnTo>
                    <a:pt x="85" y="206"/>
                  </a:lnTo>
                  <a:lnTo>
                    <a:pt x="82" y="206"/>
                  </a:lnTo>
                  <a:lnTo>
                    <a:pt x="82" y="208"/>
                  </a:lnTo>
                  <a:lnTo>
                    <a:pt x="80" y="208"/>
                  </a:lnTo>
                  <a:lnTo>
                    <a:pt x="78" y="206"/>
                  </a:lnTo>
                  <a:lnTo>
                    <a:pt x="78" y="206"/>
                  </a:lnTo>
                  <a:lnTo>
                    <a:pt x="78" y="206"/>
                  </a:lnTo>
                  <a:lnTo>
                    <a:pt x="78" y="208"/>
                  </a:lnTo>
                  <a:lnTo>
                    <a:pt x="75" y="208"/>
                  </a:lnTo>
                  <a:lnTo>
                    <a:pt x="71" y="208"/>
                  </a:lnTo>
                  <a:lnTo>
                    <a:pt x="73" y="210"/>
                  </a:lnTo>
                  <a:lnTo>
                    <a:pt x="71" y="210"/>
                  </a:lnTo>
                  <a:lnTo>
                    <a:pt x="71" y="213"/>
                  </a:lnTo>
                  <a:lnTo>
                    <a:pt x="71" y="213"/>
                  </a:lnTo>
                  <a:lnTo>
                    <a:pt x="71" y="215"/>
                  </a:lnTo>
                  <a:lnTo>
                    <a:pt x="68" y="215"/>
                  </a:lnTo>
                  <a:lnTo>
                    <a:pt x="68" y="215"/>
                  </a:lnTo>
                  <a:lnTo>
                    <a:pt x="68" y="213"/>
                  </a:lnTo>
                  <a:lnTo>
                    <a:pt x="68" y="213"/>
                  </a:lnTo>
                  <a:lnTo>
                    <a:pt x="68" y="210"/>
                  </a:lnTo>
                  <a:lnTo>
                    <a:pt x="66" y="210"/>
                  </a:lnTo>
                  <a:lnTo>
                    <a:pt x="66" y="213"/>
                  </a:lnTo>
                  <a:lnTo>
                    <a:pt x="66" y="213"/>
                  </a:lnTo>
                  <a:lnTo>
                    <a:pt x="66" y="213"/>
                  </a:lnTo>
                  <a:lnTo>
                    <a:pt x="64" y="213"/>
                  </a:lnTo>
                  <a:lnTo>
                    <a:pt x="64" y="213"/>
                  </a:lnTo>
                  <a:lnTo>
                    <a:pt x="64" y="215"/>
                  </a:lnTo>
                  <a:lnTo>
                    <a:pt x="61" y="218"/>
                  </a:lnTo>
                  <a:lnTo>
                    <a:pt x="61" y="220"/>
                  </a:lnTo>
                  <a:lnTo>
                    <a:pt x="59" y="220"/>
                  </a:lnTo>
                  <a:lnTo>
                    <a:pt x="59" y="220"/>
                  </a:lnTo>
                  <a:lnTo>
                    <a:pt x="56" y="220"/>
                  </a:lnTo>
                  <a:lnTo>
                    <a:pt x="54" y="218"/>
                  </a:lnTo>
                  <a:lnTo>
                    <a:pt x="52" y="218"/>
                  </a:lnTo>
                  <a:lnTo>
                    <a:pt x="49" y="218"/>
                  </a:lnTo>
                  <a:lnTo>
                    <a:pt x="47" y="215"/>
                  </a:lnTo>
                  <a:lnTo>
                    <a:pt x="45" y="215"/>
                  </a:lnTo>
                  <a:lnTo>
                    <a:pt x="42" y="215"/>
                  </a:lnTo>
                  <a:lnTo>
                    <a:pt x="42" y="215"/>
                  </a:lnTo>
                  <a:lnTo>
                    <a:pt x="40" y="215"/>
                  </a:lnTo>
                  <a:lnTo>
                    <a:pt x="35" y="220"/>
                  </a:lnTo>
                  <a:lnTo>
                    <a:pt x="35" y="215"/>
                  </a:lnTo>
                  <a:lnTo>
                    <a:pt x="33" y="215"/>
                  </a:lnTo>
                  <a:lnTo>
                    <a:pt x="33" y="215"/>
                  </a:lnTo>
                  <a:lnTo>
                    <a:pt x="31" y="213"/>
                  </a:lnTo>
                  <a:lnTo>
                    <a:pt x="31" y="213"/>
                  </a:lnTo>
                  <a:lnTo>
                    <a:pt x="31" y="213"/>
                  </a:lnTo>
                  <a:lnTo>
                    <a:pt x="28" y="213"/>
                  </a:lnTo>
                  <a:lnTo>
                    <a:pt x="28" y="213"/>
                  </a:lnTo>
                  <a:lnTo>
                    <a:pt x="26" y="213"/>
                  </a:lnTo>
                  <a:lnTo>
                    <a:pt x="26" y="213"/>
                  </a:lnTo>
                  <a:lnTo>
                    <a:pt x="26" y="210"/>
                  </a:lnTo>
                  <a:lnTo>
                    <a:pt x="26" y="210"/>
                  </a:lnTo>
                  <a:lnTo>
                    <a:pt x="23" y="208"/>
                  </a:lnTo>
                  <a:lnTo>
                    <a:pt x="23" y="206"/>
                  </a:lnTo>
                  <a:lnTo>
                    <a:pt x="23" y="206"/>
                  </a:lnTo>
                  <a:lnTo>
                    <a:pt x="21" y="206"/>
                  </a:lnTo>
                  <a:lnTo>
                    <a:pt x="19" y="206"/>
                  </a:lnTo>
                  <a:lnTo>
                    <a:pt x="16" y="206"/>
                  </a:lnTo>
                  <a:lnTo>
                    <a:pt x="16" y="203"/>
                  </a:lnTo>
                  <a:lnTo>
                    <a:pt x="14" y="203"/>
                  </a:lnTo>
                  <a:lnTo>
                    <a:pt x="12" y="206"/>
                  </a:lnTo>
                  <a:lnTo>
                    <a:pt x="12" y="203"/>
                  </a:lnTo>
                  <a:lnTo>
                    <a:pt x="12" y="201"/>
                  </a:lnTo>
                  <a:lnTo>
                    <a:pt x="14" y="199"/>
                  </a:lnTo>
                  <a:lnTo>
                    <a:pt x="14" y="196"/>
                  </a:lnTo>
                  <a:lnTo>
                    <a:pt x="14" y="196"/>
                  </a:lnTo>
                  <a:lnTo>
                    <a:pt x="12" y="196"/>
                  </a:lnTo>
                  <a:lnTo>
                    <a:pt x="12" y="196"/>
                  </a:lnTo>
                  <a:lnTo>
                    <a:pt x="9" y="199"/>
                  </a:lnTo>
                  <a:lnTo>
                    <a:pt x="7" y="199"/>
                  </a:lnTo>
                  <a:lnTo>
                    <a:pt x="7" y="199"/>
                  </a:lnTo>
                  <a:lnTo>
                    <a:pt x="5" y="196"/>
                  </a:lnTo>
                  <a:lnTo>
                    <a:pt x="5" y="196"/>
                  </a:lnTo>
                  <a:lnTo>
                    <a:pt x="5" y="199"/>
                  </a:lnTo>
                  <a:lnTo>
                    <a:pt x="5" y="199"/>
                  </a:lnTo>
                  <a:lnTo>
                    <a:pt x="2" y="199"/>
                  </a:lnTo>
                  <a:lnTo>
                    <a:pt x="0" y="199"/>
                  </a:lnTo>
                  <a:lnTo>
                    <a:pt x="0" y="196"/>
                  </a:lnTo>
                  <a:lnTo>
                    <a:pt x="0" y="194"/>
                  </a:lnTo>
                  <a:lnTo>
                    <a:pt x="0" y="192"/>
                  </a:lnTo>
                  <a:lnTo>
                    <a:pt x="0" y="192"/>
                  </a:lnTo>
                  <a:lnTo>
                    <a:pt x="0" y="189"/>
                  </a:lnTo>
                  <a:lnTo>
                    <a:pt x="0" y="189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 cap="flat">
              <a:solidFill>
                <a:schemeClr val="bg2">
                  <a:lumMod val="7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>
                <a:solidFill>
                  <a:srgbClr val="000000"/>
                </a:solidFill>
              </a:endParaRPr>
            </a:p>
          </p:txBody>
        </p:sp>
        <p:sp>
          <p:nvSpPr>
            <p:cNvPr id="30" name="Freeform 37"/>
            <p:cNvSpPr>
              <a:spLocks/>
            </p:cNvSpPr>
            <p:nvPr/>
          </p:nvSpPr>
          <p:spPr bwMode="gray">
            <a:xfrm>
              <a:off x="3849533" y="3930993"/>
              <a:ext cx="189082" cy="235477"/>
            </a:xfrm>
            <a:custGeom>
              <a:avLst/>
              <a:gdLst/>
              <a:ahLst/>
              <a:cxnLst>
                <a:cxn ang="0">
                  <a:pos x="5" y="156"/>
                </a:cxn>
                <a:cxn ang="0">
                  <a:pos x="17" y="156"/>
                </a:cxn>
                <a:cxn ang="0">
                  <a:pos x="26" y="158"/>
                </a:cxn>
                <a:cxn ang="0">
                  <a:pos x="52" y="139"/>
                </a:cxn>
                <a:cxn ang="0">
                  <a:pos x="55" y="135"/>
                </a:cxn>
                <a:cxn ang="0">
                  <a:pos x="50" y="118"/>
                </a:cxn>
                <a:cxn ang="0">
                  <a:pos x="55" y="113"/>
                </a:cxn>
                <a:cxn ang="0">
                  <a:pos x="64" y="106"/>
                </a:cxn>
                <a:cxn ang="0">
                  <a:pos x="55" y="71"/>
                </a:cxn>
                <a:cxn ang="0">
                  <a:pos x="40" y="61"/>
                </a:cxn>
                <a:cxn ang="0">
                  <a:pos x="31" y="52"/>
                </a:cxn>
                <a:cxn ang="0">
                  <a:pos x="36" y="40"/>
                </a:cxn>
                <a:cxn ang="0">
                  <a:pos x="26" y="28"/>
                </a:cxn>
                <a:cxn ang="0">
                  <a:pos x="31" y="19"/>
                </a:cxn>
                <a:cxn ang="0">
                  <a:pos x="26" y="12"/>
                </a:cxn>
                <a:cxn ang="0">
                  <a:pos x="29" y="5"/>
                </a:cxn>
                <a:cxn ang="0">
                  <a:pos x="45" y="5"/>
                </a:cxn>
                <a:cxn ang="0">
                  <a:pos x="55" y="12"/>
                </a:cxn>
                <a:cxn ang="0">
                  <a:pos x="74" y="19"/>
                </a:cxn>
                <a:cxn ang="0">
                  <a:pos x="104" y="33"/>
                </a:cxn>
                <a:cxn ang="0">
                  <a:pos x="121" y="40"/>
                </a:cxn>
                <a:cxn ang="0">
                  <a:pos x="133" y="50"/>
                </a:cxn>
                <a:cxn ang="0">
                  <a:pos x="159" y="61"/>
                </a:cxn>
                <a:cxn ang="0">
                  <a:pos x="163" y="71"/>
                </a:cxn>
                <a:cxn ang="0">
                  <a:pos x="173" y="83"/>
                </a:cxn>
                <a:cxn ang="0">
                  <a:pos x="182" y="92"/>
                </a:cxn>
                <a:cxn ang="0">
                  <a:pos x="192" y="97"/>
                </a:cxn>
                <a:cxn ang="0">
                  <a:pos x="203" y="97"/>
                </a:cxn>
                <a:cxn ang="0">
                  <a:pos x="213" y="106"/>
                </a:cxn>
                <a:cxn ang="0">
                  <a:pos x="220" y="118"/>
                </a:cxn>
                <a:cxn ang="0">
                  <a:pos x="229" y="118"/>
                </a:cxn>
                <a:cxn ang="0">
                  <a:pos x="234" y="132"/>
                </a:cxn>
                <a:cxn ang="0">
                  <a:pos x="182" y="156"/>
                </a:cxn>
                <a:cxn ang="0">
                  <a:pos x="152" y="194"/>
                </a:cxn>
                <a:cxn ang="0">
                  <a:pos x="116" y="250"/>
                </a:cxn>
                <a:cxn ang="0">
                  <a:pos x="104" y="260"/>
                </a:cxn>
                <a:cxn ang="0">
                  <a:pos x="88" y="267"/>
                </a:cxn>
                <a:cxn ang="0">
                  <a:pos x="85" y="265"/>
                </a:cxn>
                <a:cxn ang="0">
                  <a:pos x="76" y="262"/>
                </a:cxn>
                <a:cxn ang="0">
                  <a:pos x="74" y="269"/>
                </a:cxn>
                <a:cxn ang="0">
                  <a:pos x="66" y="267"/>
                </a:cxn>
                <a:cxn ang="0">
                  <a:pos x="57" y="262"/>
                </a:cxn>
                <a:cxn ang="0">
                  <a:pos x="50" y="255"/>
                </a:cxn>
                <a:cxn ang="0">
                  <a:pos x="50" y="253"/>
                </a:cxn>
                <a:cxn ang="0">
                  <a:pos x="45" y="253"/>
                </a:cxn>
                <a:cxn ang="0">
                  <a:pos x="40" y="248"/>
                </a:cxn>
                <a:cxn ang="0">
                  <a:pos x="38" y="248"/>
                </a:cxn>
                <a:cxn ang="0">
                  <a:pos x="36" y="243"/>
                </a:cxn>
                <a:cxn ang="0">
                  <a:pos x="31" y="236"/>
                </a:cxn>
                <a:cxn ang="0">
                  <a:pos x="31" y="229"/>
                </a:cxn>
                <a:cxn ang="0">
                  <a:pos x="33" y="224"/>
                </a:cxn>
                <a:cxn ang="0">
                  <a:pos x="31" y="220"/>
                </a:cxn>
                <a:cxn ang="0">
                  <a:pos x="22" y="210"/>
                </a:cxn>
                <a:cxn ang="0">
                  <a:pos x="22" y="203"/>
                </a:cxn>
                <a:cxn ang="0">
                  <a:pos x="19" y="198"/>
                </a:cxn>
                <a:cxn ang="0">
                  <a:pos x="12" y="194"/>
                </a:cxn>
                <a:cxn ang="0">
                  <a:pos x="5" y="184"/>
                </a:cxn>
                <a:cxn ang="0">
                  <a:pos x="3" y="175"/>
                </a:cxn>
              </a:cxnLst>
              <a:rect l="0" t="0" r="r" b="b"/>
              <a:pathLst>
                <a:path w="234" h="269">
                  <a:moveTo>
                    <a:pt x="0" y="168"/>
                  </a:moveTo>
                  <a:lnTo>
                    <a:pt x="3" y="168"/>
                  </a:lnTo>
                  <a:lnTo>
                    <a:pt x="3" y="165"/>
                  </a:lnTo>
                  <a:lnTo>
                    <a:pt x="3" y="163"/>
                  </a:lnTo>
                  <a:lnTo>
                    <a:pt x="3" y="161"/>
                  </a:lnTo>
                  <a:lnTo>
                    <a:pt x="3" y="161"/>
                  </a:lnTo>
                  <a:lnTo>
                    <a:pt x="3" y="158"/>
                  </a:lnTo>
                  <a:lnTo>
                    <a:pt x="5" y="156"/>
                  </a:lnTo>
                  <a:lnTo>
                    <a:pt x="5" y="156"/>
                  </a:lnTo>
                  <a:lnTo>
                    <a:pt x="7" y="156"/>
                  </a:lnTo>
                  <a:lnTo>
                    <a:pt x="10" y="158"/>
                  </a:lnTo>
                  <a:lnTo>
                    <a:pt x="10" y="158"/>
                  </a:lnTo>
                  <a:lnTo>
                    <a:pt x="12" y="158"/>
                  </a:lnTo>
                  <a:lnTo>
                    <a:pt x="12" y="158"/>
                  </a:lnTo>
                  <a:lnTo>
                    <a:pt x="14" y="158"/>
                  </a:lnTo>
                  <a:lnTo>
                    <a:pt x="17" y="156"/>
                  </a:lnTo>
                  <a:lnTo>
                    <a:pt x="17" y="158"/>
                  </a:lnTo>
                  <a:lnTo>
                    <a:pt x="19" y="156"/>
                  </a:lnTo>
                  <a:lnTo>
                    <a:pt x="19" y="156"/>
                  </a:lnTo>
                  <a:lnTo>
                    <a:pt x="22" y="158"/>
                  </a:lnTo>
                  <a:lnTo>
                    <a:pt x="24" y="156"/>
                  </a:lnTo>
                  <a:lnTo>
                    <a:pt x="24" y="156"/>
                  </a:lnTo>
                  <a:lnTo>
                    <a:pt x="26" y="158"/>
                  </a:lnTo>
                  <a:lnTo>
                    <a:pt x="26" y="158"/>
                  </a:lnTo>
                  <a:lnTo>
                    <a:pt x="29" y="161"/>
                  </a:lnTo>
                  <a:lnTo>
                    <a:pt x="29" y="161"/>
                  </a:lnTo>
                  <a:lnTo>
                    <a:pt x="29" y="163"/>
                  </a:lnTo>
                  <a:lnTo>
                    <a:pt x="31" y="163"/>
                  </a:lnTo>
                  <a:lnTo>
                    <a:pt x="36" y="163"/>
                  </a:lnTo>
                  <a:lnTo>
                    <a:pt x="38" y="161"/>
                  </a:lnTo>
                  <a:lnTo>
                    <a:pt x="55" y="154"/>
                  </a:lnTo>
                  <a:lnTo>
                    <a:pt x="52" y="139"/>
                  </a:lnTo>
                  <a:lnTo>
                    <a:pt x="52" y="139"/>
                  </a:lnTo>
                  <a:lnTo>
                    <a:pt x="52" y="137"/>
                  </a:lnTo>
                  <a:lnTo>
                    <a:pt x="52" y="137"/>
                  </a:lnTo>
                  <a:lnTo>
                    <a:pt x="50" y="137"/>
                  </a:lnTo>
                  <a:lnTo>
                    <a:pt x="50" y="135"/>
                  </a:lnTo>
                  <a:lnTo>
                    <a:pt x="52" y="135"/>
                  </a:lnTo>
                  <a:lnTo>
                    <a:pt x="52" y="135"/>
                  </a:lnTo>
                  <a:lnTo>
                    <a:pt x="55" y="135"/>
                  </a:lnTo>
                  <a:lnTo>
                    <a:pt x="55" y="135"/>
                  </a:lnTo>
                  <a:lnTo>
                    <a:pt x="55" y="132"/>
                  </a:lnTo>
                  <a:lnTo>
                    <a:pt x="55" y="132"/>
                  </a:lnTo>
                  <a:lnTo>
                    <a:pt x="55" y="130"/>
                  </a:lnTo>
                  <a:lnTo>
                    <a:pt x="55" y="130"/>
                  </a:lnTo>
                  <a:lnTo>
                    <a:pt x="55" y="128"/>
                  </a:lnTo>
                  <a:lnTo>
                    <a:pt x="50" y="118"/>
                  </a:lnTo>
                  <a:lnTo>
                    <a:pt x="50" y="118"/>
                  </a:lnTo>
                  <a:lnTo>
                    <a:pt x="50" y="116"/>
                  </a:lnTo>
                  <a:lnTo>
                    <a:pt x="52" y="116"/>
                  </a:lnTo>
                  <a:lnTo>
                    <a:pt x="50" y="116"/>
                  </a:lnTo>
                  <a:lnTo>
                    <a:pt x="50" y="116"/>
                  </a:lnTo>
                  <a:lnTo>
                    <a:pt x="52" y="113"/>
                  </a:lnTo>
                  <a:lnTo>
                    <a:pt x="52" y="113"/>
                  </a:lnTo>
                  <a:lnTo>
                    <a:pt x="52" y="113"/>
                  </a:lnTo>
                  <a:lnTo>
                    <a:pt x="55" y="113"/>
                  </a:lnTo>
                  <a:lnTo>
                    <a:pt x="55" y="113"/>
                  </a:lnTo>
                  <a:lnTo>
                    <a:pt x="55" y="111"/>
                  </a:lnTo>
                  <a:lnTo>
                    <a:pt x="55" y="111"/>
                  </a:lnTo>
                  <a:lnTo>
                    <a:pt x="57" y="109"/>
                  </a:lnTo>
                  <a:lnTo>
                    <a:pt x="59" y="109"/>
                  </a:lnTo>
                  <a:lnTo>
                    <a:pt x="62" y="109"/>
                  </a:lnTo>
                  <a:lnTo>
                    <a:pt x="64" y="106"/>
                  </a:lnTo>
                  <a:lnTo>
                    <a:pt x="64" y="106"/>
                  </a:lnTo>
                  <a:lnTo>
                    <a:pt x="64" y="106"/>
                  </a:lnTo>
                  <a:lnTo>
                    <a:pt x="62" y="90"/>
                  </a:lnTo>
                  <a:lnTo>
                    <a:pt x="59" y="87"/>
                  </a:lnTo>
                  <a:lnTo>
                    <a:pt x="59" y="87"/>
                  </a:lnTo>
                  <a:lnTo>
                    <a:pt x="59" y="83"/>
                  </a:lnTo>
                  <a:lnTo>
                    <a:pt x="59" y="80"/>
                  </a:lnTo>
                  <a:lnTo>
                    <a:pt x="57" y="78"/>
                  </a:lnTo>
                  <a:lnTo>
                    <a:pt x="55" y="71"/>
                  </a:lnTo>
                  <a:lnTo>
                    <a:pt x="55" y="69"/>
                  </a:lnTo>
                  <a:lnTo>
                    <a:pt x="55" y="69"/>
                  </a:lnTo>
                  <a:lnTo>
                    <a:pt x="55" y="66"/>
                  </a:lnTo>
                  <a:lnTo>
                    <a:pt x="52" y="64"/>
                  </a:lnTo>
                  <a:lnTo>
                    <a:pt x="48" y="61"/>
                  </a:lnTo>
                  <a:lnTo>
                    <a:pt x="45" y="61"/>
                  </a:lnTo>
                  <a:lnTo>
                    <a:pt x="43" y="61"/>
                  </a:lnTo>
                  <a:lnTo>
                    <a:pt x="40" y="61"/>
                  </a:lnTo>
                  <a:lnTo>
                    <a:pt x="40" y="61"/>
                  </a:lnTo>
                  <a:lnTo>
                    <a:pt x="40" y="59"/>
                  </a:lnTo>
                  <a:lnTo>
                    <a:pt x="38" y="59"/>
                  </a:lnTo>
                  <a:lnTo>
                    <a:pt x="38" y="59"/>
                  </a:lnTo>
                  <a:lnTo>
                    <a:pt x="36" y="59"/>
                  </a:lnTo>
                  <a:lnTo>
                    <a:pt x="36" y="59"/>
                  </a:lnTo>
                  <a:lnTo>
                    <a:pt x="33" y="54"/>
                  </a:lnTo>
                  <a:lnTo>
                    <a:pt x="31" y="52"/>
                  </a:lnTo>
                  <a:lnTo>
                    <a:pt x="31" y="52"/>
                  </a:lnTo>
                  <a:lnTo>
                    <a:pt x="33" y="50"/>
                  </a:lnTo>
                  <a:lnTo>
                    <a:pt x="33" y="47"/>
                  </a:lnTo>
                  <a:lnTo>
                    <a:pt x="36" y="45"/>
                  </a:lnTo>
                  <a:lnTo>
                    <a:pt x="36" y="45"/>
                  </a:lnTo>
                  <a:lnTo>
                    <a:pt x="33" y="43"/>
                  </a:lnTo>
                  <a:lnTo>
                    <a:pt x="36" y="43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3" y="40"/>
                  </a:lnTo>
                  <a:lnTo>
                    <a:pt x="31" y="38"/>
                  </a:lnTo>
                  <a:lnTo>
                    <a:pt x="29" y="35"/>
                  </a:lnTo>
                  <a:lnTo>
                    <a:pt x="29" y="35"/>
                  </a:lnTo>
                  <a:lnTo>
                    <a:pt x="29" y="35"/>
                  </a:lnTo>
                  <a:lnTo>
                    <a:pt x="26" y="31"/>
                  </a:lnTo>
                  <a:lnTo>
                    <a:pt x="26" y="28"/>
                  </a:lnTo>
                  <a:lnTo>
                    <a:pt x="26" y="26"/>
                  </a:lnTo>
                  <a:lnTo>
                    <a:pt x="26" y="24"/>
                  </a:lnTo>
                  <a:lnTo>
                    <a:pt x="26" y="24"/>
                  </a:lnTo>
                  <a:lnTo>
                    <a:pt x="26" y="24"/>
                  </a:lnTo>
                  <a:lnTo>
                    <a:pt x="29" y="21"/>
                  </a:lnTo>
                  <a:lnTo>
                    <a:pt x="29" y="21"/>
                  </a:lnTo>
                  <a:lnTo>
                    <a:pt x="31" y="19"/>
                  </a:lnTo>
                  <a:lnTo>
                    <a:pt x="31" y="19"/>
                  </a:lnTo>
                  <a:lnTo>
                    <a:pt x="31" y="19"/>
                  </a:lnTo>
                  <a:lnTo>
                    <a:pt x="33" y="17"/>
                  </a:lnTo>
                  <a:lnTo>
                    <a:pt x="31" y="17"/>
                  </a:lnTo>
                  <a:lnTo>
                    <a:pt x="31" y="17"/>
                  </a:lnTo>
                  <a:lnTo>
                    <a:pt x="29" y="14"/>
                  </a:lnTo>
                  <a:lnTo>
                    <a:pt x="29" y="14"/>
                  </a:lnTo>
                  <a:lnTo>
                    <a:pt x="26" y="14"/>
                  </a:lnTo>
                  <a:lnTo>
                    <a:pt x="26" y="12"/>
                  </a:lnTo>
                  <a:lnTo>
                    <a:pt x="26" y="9"/>
                  </a:lnTo>
                  <a:lnTo>
                    <a:pt x="26" y="7"/>
                  </a:lnTo>
                  <a:lnTo>
                    <a:pt x="26" y="7"/>
                  </a:lnTo>
                  <a:lnTo>
                    <a:pt x="29" y="7"/>
                  </a:lnTo>
                  <a:lnTo>
                    <a:pt x="29" y="7"/>
                  </a:lnTo>
                  <a:lnTo>
                    <a:pt x="29" y="7"/>
                  </a:lnTo>
                  <a:lnTo>
                    <a:pt x="29" y="5"/>
                  </a:lnTo>
                  <a:lnTo>
                    <a:pt x="29" y="5"/>
                  </a:lnTo>
                  <a:lnTo>
                    <a:pt x="29" y="5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31" y="0"/>
                  </a:lnTo>
                  <a:lnTo>
                    <a:pt x="31" y="2"/>
                  </a:lnTo>
                  <a:lnTo>
                    <a:pt x="36" y="2"/>
                  </a:lnTo>
                  <a:lnTo>
                    <a:pt x="40" y="5"/>
                  </a:lnTo>
                  <a:lnTo>
                    <a:pt x="45" y="5"/>
                  </a:lnTo>
                  <a:lnTo>
                    <a:pt x="45" y="5"/>
                  </a:lnTo>
                  <a:lnTo>
                    <a:pt x="45" y="5"/>
                  </a:lnTo>
                  <a:lnTo>
                    <a:pt x="50" y="9"/>
                  </a:lnTo>
                  <a:lnTo>
                    <a:pt x="52" y="9"/>
                  </a:lnTo>
                  <a:lnTo>
                    <a:pt x="52" y="12"/>
                  </a:lnTo>
                  <a:lnTo>
                    <a:pt x="55" y="12"/>
                  </a:lnTo>
                  <a:lnTo>
                    <a:pt x="55" y="12"/>
                  </a:lnTo>
                  <a:lnTo>
                    <a:pt x="55" y="12"/>
                  </a:lnTo>
                  <a:lnTo>
                    <a:pt x="57" y="14"/>
                  </a:lnTo>
                  <a:lnTo>
                    <a:pt x="57" y="17"/>
                  </a:lnTo>
                  <a:lnTo>
                    <a:pt x="59" y="17"/>
                  </a:lnTo>
                  <a:lnTo>
                    <a:pt x="62" y="14"/>
                  </a:lnTo>
                  <a:lnTo>
                    <a:pt x="64" y="14"/>
                  </a:lnTo>
                  <a:lnTo>
                    <a:pt x="66" y="17"/>
                  </a:lnTo>
                  <a:lnTo>
                    <a:pt x="71" y="17"/>
                  </a:lnTo>
                  <a:lnTo>
                    <a:pt x="74" y="19"/>
                  </a:lnTo>
                  <a:lnTo>
                    <a:pt x="74" y="21"/>
                  </a:lnTo>
                  <a:lnTo>
                    <a:pt x="74" y="21"/>
                  </a:lnTo>
                  <a:lnTo>
                    <a:pt x="74" y="24"/>
                  </a:lnTo>
                  <a:lnTo>
                    <a:pt x="83" y="28"/>
                  </a:lnTo>
                  <a:lnTo>
                    <a:pt x="85" y="31"/>
                  </a:lnTo>
                  <a:lnTo>
                    <a:pt x="88" y="31"/>
                  </a:lnTo>
                  <a:lnTo>
                    <a:pt x="100" y="31"/>
                  </a:lnTo>
                  <a:lnTo>
                    <a:pt x="104" y="33"/>
                  </a:lnTo>
                  <a:lnTo>
                    <a:pt x="104" y="33"/>
                  </a:lnTo>
                  <a:lnTo>
                    <a:pt x="109" y="35"/>
                  </a:lnTo>
                  <a:lnTo>
                    <a:pt x="111" y="35"/>
                  </a:lnTo>
                  <a:lnTo>
                    <a:pt x="111" y="35"/>
                  </a:lnTo>
                  <a:lnTo>
                    <a:pt x="114" y="35"/>
                  </a:lnTo>
                  <a:lnTo>
                    <a:pt x="114" y="38"/>
                  </a:lnTo>
                  <a:lnTo>
                    <a:pt x="118" y="40"/>
                  </a:lnTo>
                  <a:lnTo>
                    <a:pt x="121" y="40"/>
                  </a:lnTo>
                  <a:lnTo>
                    <a:pt x="121" y="43"/>
                  </a:lnTo>
                  <a:lnTo>
                    <a:pt x="123" y="45"/>
                  </a:lnTo>
                  <a:lnTo>
                    <a:pt x="126" y="47"/>
                  </a:lnTo>
                  <a:lnTo>
                    <a:pt x="128" y="50"/>
                  </a:lnTo>
                  <a:lnTo>
                    <a:pt x="128" y="50"/>
                  </a:lnTo>
                  <a:lnTo>
                    <a:pt x="128" y="50"/>
                  </a:lnTo>
                  <a:lnTo>
                    <a:pt x="130" y="50"/>
                  </a:lnTo>
                  <a:lnTo>
                    <a:pt x="133" y="50"/>
                  </a:lnTo>
                  <a:lnTo>
                    <a:pt x="140" y="52"/>
                  </a:lnTo>
                  <a:lnTo>
                    <a:pt x="142" y="52"/>
                  </a:lnTo>
                  <a:lnTo>
                    <a:pt x="149" y="59"/>
                  </a:lnTo>
                  <a:lnTo>
                    <a:pt x="152" y="61"/>
                  </a:lnTo>
                  <a:lnTo>
                    <a:pt x="154" y="61"/>
                  </a:lnTo>
                  <a:lnTo>
                    <a:pt x="154" y="61"/>
                  </a:lnTo>
                  <a:lnTo>
                    <a:pt x="156" y="61"/>
                  </a:lnTo>
                  <a:lnTo>
                    <a:pt x="159" y="61"/>
                  </a:lnTo>
                  <a:lnTo>
                    <a:pt x="159" y="61"/>
                  </a:lnTo>
                  <a:lnTo>
                    <a:pt x="163" y="61"/>
                  </a:lnTo>
                  <a:lnTo>
                    <a:pt x="163" y="64"/>
                  </a:lnTo>
                  <a:lnTo>
                    <a:pt x="163" y="64"/>
                  </a:lnTo>
                  <a:lnTo>
                    <a:pt x="163" y="66"/>
                  </a:lnTo>
                  <a:lnTo>
                    <a:pt x="163" y="69"/>
                  </a:lnTo>
                  <a:lnTo>
                    <a:pt x="163" y="71"/>
                  </a:lnTo>
                  <a:lnTo>
                    <a:pt x="163" y="71"/>
                  </a:lnTo>
                  <a:lnTo>
                    <a:pt x="163" y="71"/>
                  </a:lnTo>
                  <a:lnTo>
                    <a:pt x="163" y="73"/>
                  </a:lnTo>
                  <a:lnTo>
                    <a:pt x="163" y="73"/>
                  </a:lnTo>
                  <a:lnTo>
                    <a:pt x="166" y="76"/>
                  </a:lnTo>
                  <a:lnTo>
                    <a:pt x="166" y="78"/>
                  </a:lnTo>
                  <a:lnTo>
                    <a:pt x="168" y="80"/>
                  </a:lnTo>
                  <a:lnTo>
                    <a:pt x="168" y="83"/>
                  </a:lnTo>
                  <a:lnTo>
                    <a:pt x="173" y="83"/>
                  </a:lnTo>
                  <a:lnTo>
                    <a:pt x="175" y="85"/>
                  </a:lnTo>
                  <a:lnTo>
                    <a:pt x="177" y="85"/>
                  </a:lnTo>
                  <a:lnTo>
                    <a:pt x="177" y="87"/>
                  </a:lnTo>
                  <a:lnTo>
                    <a:pt x="177" y="87"/>
                  </a:lnTo>
                  <a:lnTo>
                    <a:pt x="177" y="87"/>
                  </a:lnTo>
                  <a:lnTo>
                    <a:pt x="177" y="90"/>
                  </a:lnTo>
                  <a:lnTo>
                    <a:pt x="177" y="90"/>
                  </a:lnTo>
                  <a:lnTo>
                    <a:pt x="182" y="92"/>
                  </a:lnTo>
                  <a:lnTo>
                    <a:pt x="182" y="92"/>
                  </a:lnTo>
                  <a:lnTo>
                    <a:pt x="187" y="95"/>
                  </a:lnTo>
                  <a:lnTo>
                    <a:pt x="187" y="95"/>
                  </a:lnTo>
                  <a:lnTo>
                    <a:pt x="189" y="95"/>
                  </a:lnTo>
                  <a:lnTo>
                    <a:pt x="189" y="95"/>
                  </a:lnTo>
                  <a:lnTo>
                    <a:pt x="189" y="97"/>
                  </a:lnTo>
                  <a:lnTo>
                    <a:pt x="189" y="97"/>
                  </a:lnTo>
                  <a:lnTo>
                    <a:pt x="192" y="97"/>
                  </a:lnTo>
                  <a:lnTo>
                    <a:pt x="194" y="99"/>
                  </a:lnTo>
                  <a:lnTo>
                    <a:pt x="194" y="99"/>
                  </a:lnTo>
                  <a:lnTo>
                    <a:pt x="196" y="99"/>
                  </a:lnTo>
                  <a:lnTo>
                    <a:pt x="196" y="99"/>
                  </a:lnTo>
                  <a:lnTo>
                    <a:pt x="199" y="99"/>
                  </a:lnTo>
                  <a:lnTo>
                    <a:pt x="199" y="99"/>
                  </a:lnTo>
                  <a:lnTo>
                    <a:pt x="201" y="99"/>
                  </a:lnTo>
                  <a:lnTo>
                    <a:pt x="203" y="97"/>
                  </a:lnTo>
                  <a:lnTo>
                    <a:pt x="203" y="97"/>
                  </a:lnTo>
                  <a:lnTo>
                    <a:pt x="206" y="97"/>
                  </a:lnTo>
                  <a:lnTo>
                    <a:pt x="206" y="97"/>
                  </a:lnTo>
                  <a:lnTo>
                    <a:pt x="206" y="99"/>
                  </a:lnTo>
                  <a:lnTo>
                    <a:pt x="206" y="99"/>
                  </a:lnTo>
                  <a:lnTo>
                    <a:pt x="211" y="102"/>
                  </a:lnTo>
                  <a:lnTo>
                    <a:pt x="211" y="104"/>
                  </a:lnTo>
                  <a:lnTo>
                    <a:pt x="213" y="106"/>
                  </a:lnTo>
                  <a:lnTo>
                    <a:pt x="213" y="106"/>
                  </a:lnTo>
                  <a:lnTo>
                    <a:pt x="213" y="111"/>
                  </a:lnTo>
                  <a:lnTo>
                    <a:pt x="213" y="116"/>
                  </a:lnTo>
                  <a:lnTo>
                    <a:pt x="213" y="118"/>
                  </a:lnTo>
                  <a:lnTo>
                    <a:pt x="215" y="121"/>
                  </a:lnTo>
                  <a:lnTo>
                    <a:pt x="215" y="118"/>
                  </a:lnTo>
                  <a:lnTo>
                    <a:pt x="220" y="118"/>
                  </a:lnTo>
                  <a:lnTo>
                    <a:pt x="220" y="118"/>
                  </a:lnTo>
                  <a:lnTo>
                    <a:pt x="220" y="121"/>
                  </a:lnTo>
                  <a:lnTo>
                    <a:pt x="220" y="121"/>
                  </a:lnTo>
                  <a:lnTo>
                    <a:pt x="222" y="118"/>
                  </a:lnTo>
                  <a:lnTo>
                    <a:pt x="222" y="118"/>
                  </a:lnTo>
                  <a:lnTo>
                    <a:pt x="222" y="118"/>
                  </a:lnTo>
                  <a:lnTo>
                    <a:pt x="227" y="116"/>
                  </a:lnTo>
                  <a:lnTo>
                    <a:pt x="227" y="118"/>
                  </a:lnTo>
                  <a:lnTo>
                    <a:pt x="229" y="118"/>
                  </a:lnTo>
                  <a:lnTo>
                    <a:pt x="229" y="118"/>
                  </a:lnTo>
                  <a:lnTo>
                    <a:pt x="232" y="123"/>
                  </a:lnTo>
                  <a:lnTo>
                    <a:pt x="234" y="128"/>
                  </a:lnTo>
                  <a:lnTo>
                    <a:pt x="234" y="128"/>
                  </a:lnTo>
                  <a:lnTo>
                    <a:pt x="234" y="130"/>
                  </a:lnTo>
                  <a:lnTo>
                    <a:pt x="234" y="130"/>
                  </a:lnTo>
                  <a:lnTo>
                    <a:pt x="234" y="132"/>
                  </a:lnTo>
                  <a:lnTo>
                    <a:pt x="234" y="132"/>
                  </a:lnTo>
                  <a:lnTo>
                    <a:pt x="229" y="132"/>
                  </a:lnTo>
                  <a:lnTo>
                    <a:pt x="222" y="135"/>
                  </a:lnTo>
                  <a:lnTo>
                    <a:pt x="211" y="137"/>
                  </a:lnTo>
                  <a:lnTo>
                    <a:pt x="206" y="142"/>
                  </a:lnTo>
                  <a:lnTo>
                    <a:pt x="201" y="144"/>
                  </a:lnTo>
                  <a:lnTo>
                    <a:pt x="199" y="146"/>
                  </a:lnTo>
                  <a:lnTo>
                    <a:pt x="192" y="149"/>
                  </a:lnTo>
                  <a:lnTo>
                    <a:pt x="182" y="156"/>
                  </a:lnTo>
                  <a:lnTo>
                    <a:pt x="177" y="161"/>
                  </a:lnTo>
                  <a:lnTo>
                    <a:pt x="177" y="161"/>
                  </a:lnTo>
                  <a:lnTo>
                    <a:pt x="166" y="172"/>
                  </a:lnTo>
                  <a:lnTo>
                    <a:pt x="163" y="177"/>
                  </a:lnTo>
                  <a:lnTo>
                    <a:pt x="159" y="182"/>
                  </a:lnTo>
                  <a:lnTo>
                    <a:pt x="154" y="189"/>
                  </a:lnTo>
                  <a:lnTo>
                    <a:pt x="154" y="189"/>
                  </a:lnTo>
                  <a:lnTo>
                    <a:pt x="152" y="194"/>
                  </a:lnTo>
                  <a:lnTo>
                    <a:pt x="142" y="208"/>
                  </a:lnTo>
                  <a:lnTo>
                    <a:pt x="137" y="215"/>
                  </a:lnTo>
                  <a:lnTo>
                    <a:pt x="140" y="215"/>
                  </a:lnTo>
                  <a:lnTo>
                    <a:pt x="133" y="224"/>
                  </a:lnTo>
                  <a:lnTo>
                    <a:pt x="126" y="232"/>
                  </a:lnTo>
                  <a:lnTo>
                    <a:pt x="121" y="241"/>
                  </a:lnTo>
                  <a:lnTo>
                    <a:pt x="118" y="250"/>
                  </a:lnTo>
                  <a:lnTo>
                    <a:pt x="116" y="250"/>
                  </a:lnTo>
                  <a:lnTo>
                    <a:pt x="116" y="253"/>
                  </a:lnTo>
                  <a:lnTo>
                    <a:pt x="114" y="253"/>
                  </a:lnTo>
                  <a:lnTo>
                    <a:pt x="114" y="253"/>
                  </a:lnTo>
                  <a:lnTo>
                    <a:pt x="111" y="253"/>
                  </a:lnTo>
                  <a:lnTo>
                    <a:pt x="111" y="255"/>
                  </a:lnTo>
                  <a:lnTo>
                    <a:pt x="111" y="255"/>
                  </a:lnTo>
                  <a:lnTo>
                    <a:pt x="109" y="258"/>
                  </a:lnTo>
                  <a:lnTo>
                    <a:pt x="104" y="260"/>
                  </a:lnTo>
                  <a:lnTo>
                    <a:pt x="102" y="262"/>
                  </a:lnTo>
                  <a:lnTo>
                    <a:pt x="100" y="262"/>
                  </a:lnTo>
                  <a:lnTo>
                    <a:pt x="100" y="262"/>
                  </a:lnTo>
                  <a:lnTo>
                    <a:pt x="95" y="262"/>
                  </a:lnTo>
                  <a:lnTo>
                    <a:pt x="95" y="262"/>
                  </a:lnTo>
                  <a:lnTo>
                    <a:pt x="92" y="265"/>
                  </a:lnTo>
                  <a:lnTo>
                    <a:pt x="92" y="267"/>
                  </a:lnTo>
                  <a:lnTo>
                    <a:pt x="88" y="267"/>
                  </a:lnTo>
                  <a:lnTo>
                    <a:pt x="88" y="267"/>
                  </a:lnTo>
                  <a:lnTo>
                    <a:pt x="85" y="265"/>
                  </a:lnTo>
                  <a:lnTo>
                    <a:pt x="85" y="265"/>
                  </a:lnTo>
                  <a:lnTo>
                    <a:pt x="85" y="265"/>
                  </a:lnTo>
                  <a:lnTo>
                    <a:pt x="85" y="267"/>
                  </a:lnTo>
                  <a:lnTo>
                    <a:pt x="85" y="267"/>
                  </a:lnTo>
                  <a:lnTo>
                    <a:pt x="83" y="265"/>
                  </a:lnTo>
                  <a:lnTo>
                    <a:pt x="85" y="265"/>
                  </a:lnTo>
                  <a:lnTo>
                    <a:pt x="83" y="265"/>
                  </a:lnTo>
                  <a:lnTo>
                    <a:pt x="83" y="265"/>
                  </a:lnTo>
                  <a:lnTo>
                    <a:pt x="81" y="265"/>
                  </a:lnTo>
                  <a:lnTo>
                    <a:pt x="81" y="265"/>
                  </a:lnTo>
                  <a:lnTo>
                    <a:pt x="81" y="265"/>
                  </a:lnTo>
                  <a:lnTo>
                    <a:pt x="78" y="265"/>
                  </a:lnTo>
                  <a:lnTo>
                    <a:pt x="78" y="262"/>
                  </a:lnTo>
                  <a:lnTo>
                    <a:pt x="76" y="262"/>
                  </a:lnTo>
                  <a:lnTo>
                    <a:pt x="76" y="262"/>
                  </a:lnTo>
                  <a:lnTo>
                    <a:pt x="76" y="262"/>
                  </a:lnTo>
                  <a:lnTo>
                    <a:pt x="76" y="265"/>
                  </a:lnTo>
                  <a:lnTo>
                    <a:pt x="74" y="265"/>
                  </a:lnTo>
                  <a:lnTo>
                    <a:pt x="74" y="265"/>
                  </a:lnTo>
                  <a:lnTo>
                    <a:pt x="74" y="265"/>
                  </a:lnTo>
                  <a:lnTo>
                    <a:pt x="74" y="267"/>
                  </a:lnTo>
                  <a:lnTo>
                    <a:pt x="74" y="269"/>
                  </a:lnTo>
                  <a:lnTo>
                    <a:pt x="74" y="269"/>
                  </a:lnTo>
                  <a:lnTo>
                    <a:pt x="71" y="269"/>
                  </a:lnTo>
                  <a:lnTo>
                    <a:pt x="69" y="269"/>
                  </a:lnTo>
                  <a:lnTo>
                    <a:pt x="71" y="265"/>
                  </a:lnTo>
                  <a:lnTo>
                    <a:pt x="69" y="265"/>
                  </a:lnTo>
                  <a:lnTo>
                    <a:pt x="66" y="267"/>
                  </a:lnTo>
                  <a:lnTo>
                    <a:pt x="66" y="267"/>
                  </a:lnTo>
                  <a:lnTo>
                    <a:pt x="66" y="267"/>
                  </a:lnTo>
                  <a:lnTo>
                    <a:pt x="66" y="265"/>
                  </a:lnTo>
                  <a:lnTo>
                    <a:pt x="64" y="265"/>
                  </a:lnTo>
                  <a:lnTo>
                    <a:pt x="62" y="262"/>
                  </a:lnTo>
                  <a:lnTo>
                    <a:pt x="62" y="265"/>
                  </a:lnTo>
                  <a:lnTo>
                    <a:pt x="59" y="262"/>
                  </a:lnTo>
                  <a:lnTo>
                    <a:pt x="57" y="262"/>
                  </a:lnTo>
                  <a:lnTo>
                    <a:pt x="57" y="262"/>
                  </a:lnTo>
                  <a:lnTo>
                    <a:pt x="57" y="262"/>
                  </a:lnTo>
                  <a:lnTo>
                    <a:pt x="55" y="262"/>
                  </a:lnTo>
                  <a:lnTo>
                    <a:pt x="55" y="260"/>
                  </a:lnTo>
                  <a:lnTo>
                    <a:pt x="55" y="260"/>
                  </a:lnTo>
                  <a:lnTo>
                    <a:pt x="55" y="260"/>
                  </a:lnTo>
                  <a:lnTo>
                    <a:pt x="55" y="260"/>
                  </a:lnTo>
                  <a:lnTo>
                    <a:pt x="52" y="258"/>
                  </a:lnTo>
                  <a:lnTo>
                    <a:pt x="50" y="258"/>
                  </a:lnTo>
                  <a:lnTo>
                    <a:pt x="50" y="255"/>
                  </a:lnTo>
                  <a:lnTo>
                    <a:pt x="50" y="255"/>
                  </a:lnTo>
                  <a:lnTo>
                    <a:pt x="48" y="255"/>
                  </a:lnTo>
                  <a:lnTo>
                    <a:pt x="48" y="255"/>
                  </a:lnTo>
                  <a:lnTo>
                    <a:pt x="48" y="253"/>
                  </a:lnTo>
                  <a:lnTo>
                    <a:pt x="50" y="253"/>
                  </a:lnTo>
                  <a:lnTo>
                    <a:pt x="50" y="253"/>
                  </a:lnTo>
                  <a:lnTo>
                    <a:pt x="50" y="253"/>
                  </a:lnTo>
                  <a:lnTo>
                    <a:pt x="50" y="253"/>
                  </a:lnTo>
                  <a:lnTo>
                    <a:pt x="48" y="253"/>
                  </a:lnTo>
                  <a:lnTo>
                    <a:pt x="48" y="253"/>
                  </a:lnTo>
                  <a:lnTo>
                    <a:pt x="45" y="250"/>
                  </a:lnTo>
                  <a:lnTo>
                    <a:pt x="48" y="250"/>
                  </a:lnTo>
                  <a:lnTo>
                    <a:pt x="48" y="250"/>
                  </a:lnTo>
                  <a:lnTo>
                    <a:pt x="48" y="250"/>
                  </a:lnTo>
                  <a:lnTo>
                    <a:pt x="45" y="250"/>
                  </a:lnTo>
                  <a:lnTo>
                    <a:pt x="45" y="253"/>
                  </a:lnTo>
                  <a:lnTo>
                    <a:pt x="45" y="250"/>
                  </a:lnTo>
                  <a:lnTo>
                    <a:pt x="45" y="253"/>
                  </a:lnTo>
                  <a:lnTo>
                    <a:pt x="43" y="250"/>
                  </a:lnTo>
                  <a:lnTo>
                    <a:pt x="43" y="250"/>
                  </a:lnTo>
                  <a:lnTo>
                    <a:pt x="43" y="248"/>
                  </a:lnTo>
                  <a:lnTo>
                    <a:pt x="43" y="248"/>
                  </a:lnTo>
                  <a:lnTo>
                    <a:pt x="40" y="248"/>
                  </a:lnTo>
                  <a:lnTo>
                    <a:pt x="40" y="248"/>
                  </a:lnTo>
                  <a:lnTo>
                    <a:pt x="40" y="248"/>
                  </a:lnTo>
                  <a:lnTo>
                    <a:pt x="38" y="248"/>
                  </a:lnTo>
                  <a:lnTo>
                    <a:pt x="38" y="250"/>
                  </a:lnTo>
                  <a:lnTo>
                    <a:pt x="38" y="250"/>
                  </a:lnTo>
                  <a:lnTo>
                    <a:pt x="38" y="250"/>
                  </a:lnTo>
                  <a:lnTo>
                    <a:pt x="38" y="248"/>
                  </a:lnTo>
                  <a:lnTo>
                    <a:pt x="36" y="248"/>
                  </a:lnTo>
                  <a:lnTo>
                    <a:pt x="38" y="248"/>
                  </a:lnTo>
                  <a:lnTo>
                    <a:pt x="38" y="246"/>
                  </a:lnTo>
                  <a:lnTo>
                    <a:pt x="36" y="246"/>
                  </a:lnTo>
                  <a:lnTo>
                    <a:pt x="36" y="248"/>
                  </a:lnTo>
                  <a:lnTo>
                    <a:pt x="36" y="246"/>
                  </a:lnTo>
                  <a:lnTo>
                    <a:pt x="33" y="246"/>
                  </a:lnTo>
                  <a:lnTo>
                    <a:pt x="33" y="246"/>
                  </a:lnTo>
                  <a:lnTo>
                    <a:pt x="36" y="243"/>
                  </a:lnTo>
                  <a:lnTo>
                    <a:pt x="36" y="243"/>
                  </a:lnTo>
                  <a:lnTo>
                    <a:pt x="33" y="243"/>
                  </a:lnTo>
                  <a:lnTo>
                    <a:pt x="33" y="241"/>
                  </a:lnTo>
                  <a:lnTo>
                    <a:pt x="33" y="239"/>
                  </a:lnTo>
                  <a:lnTo>
                    <a:pt x="31" y="241"/>
                  </a:lnTo>
                  <a:lnTo>
                    <a:pt x="31" y="239"/>
                  </a:lnTo>
                  <a:lnTo>
                    <a:pt x="31" y="239"/>
                  </a:lnTo>
                  <a:lnTo>
                    <a:pt x="33" y="239"/>
                  </a:lnTo>
                  <a:lnTo>
                    <a:pt x="31" y="236"/>
                  </a:lnTo>
                  <a:lnTo>
                    <a:pt x="31" y="236"/>
                  </a:lnTo>
                  <a:lnTo>
                    <a:pt x="31" y="236"/>
                  </a:lnTo>
                  <a:lnTo>
                    <a:pt x="31" y="234"/>
                  </a:lnTo>
                  <a:lnTo>
                    <a:pt x="31" y="232"/>
                  </a:lnTo>
                  <a:lnTo>
                    <a:pt x="31" y="232"/>
                  </a:lnTo>
                  <a:lnTo>
                    <a:pt x="31" y="229"/>
                  </a:lnTo>
                  <a:lnTo>
                    <a:pt x="33" y="229"/>
                  </a:lnTo>
                  <a:lnTo>
                    <a:pt x="31" y="229"/>
                  </a:lnTo>
                  <a:lnTo>
                    <a:pt x="33" y="227"/>
                  </a:lnTo>
                  <a:lnTo>
                    <a:pt x="33" y="227"/>
                  </a:lnTo>
                  <a:lnTo>
                    <a:pt x="31" y="227"/>
                  </a:lnTo>
                  <a:lnTo>
                    <a:pt x="31" y="227"/>
                  </a:lnTo>
                  <a:lnTo>
                    <a:pt x="33" y="227"/>
                  </a:lnTo>
                  <a:lnTo>
                    <a:pt x="31" y="224"/>
                  </a:lnTo>
                  <a:lnTo>
                    <a:pt x="33" y="224"/>
                  </a:lnTo>
                  <a:lnTo>
                    <a:pt x="33" y="224"/>
                  </a:lnTo>
                  <a:lnTo>
                    <a:pt x="33" y="222"/>
                  </a:lnTo>
                  <a:lnTo>
                    <a:pt x="33" y="222"/>
                  </a:lnTo>
                  <a:lnTo>
                    <a:pt x="33" y="220"/>
                  </a:lnTo>
                  <a:lnTo>
                    <a:pt x="36" y="220"/>
                  </a:lnTo>
                  <a:lnTo>
                    <a:pt x="33" y="220"/>
                  </a:lnTo>
                  <a:lnTo>
                    <a:pt x="33" y="220"/>
                  </a:lnTo>
                  <a:lnTo>
                    <a:pt x="31" y="220"/>
                  </a:lnTo>
                  <a:lnTo>
                    <a:pt x="31" y="220"/>
                  </a:lnTo>
                  <a:lnTo>
                    <a:pt x="29" y="217"/>
                  </a:lnTo>
                  <a:lnTo>
                    <a:pt x="26" y="217"/>
                  </a:lnTo>
                  <a:lnTo>
                    <a:pt x="26" y="217"/>
                  </a:lnTo>
                  <a:lnTo>
                    <a:pt x="24" y="215"/>
                  </a:lnTo>
                  <a:lnTo>
                    <a:pt x="22" y="215"/>
                  </a:lnTo>
                  <a:lnTo>
                    <a:pt x="22" y="215"/>
                  </a:lnTo>
                  <a:lnTo>
                    <a:pt x="22" y="213"/>
                  </a:lnTo>
                  <a:lnTo>
                    <a:pt x="22" y="210"/>
                  </a:lnTo>
                  <a:lnTo>
                    <a:pt x="22" y="210"/>
                  </a:lnTo>
                  <a:lnTo>
                    <a:pt x="22" y="210"/>
                  </a:lnTo>
                  <a:lnTo>
                    <a:pt x="19" y="210"/>
                  </a:lnTo>
                  <a:lnTo>
                    <a:pt x="19" y="208"/>
                  </a:lnTo>
                  <a:lnTo>
                    <a:pt x="19" y="208"/>
                  </a:lnTo>
                  <a:lnTo>
                    <a:pt x="19" y="208"/>
                  </a:lnTo>
                  <a:lnTo>
                    <a:pt x="22" y="206"/>
                  </a:lnTo>
                  <a:lnTo>
                    <a:pt x="22" y="203"/>
                  </a:lnTo>
                  <a:lnTo>
                    <a:pt x="19" y="203"/>
                  </a:lnTo>
                  <a:lnTo>
                    <a:pt x="19" y="201"/>
                  </a:lnTo>
                  <a:lnTo>
                    <a:pt x="19" y="201"/>
                  </a:lnTo>
                  <a:lnTo>
                    <a:pt x="19" y="201"/>
                  </a:lnTo>
                  <a:lnTo>
                    <a:pt x="19" y="201"/>
                  </a:lnTo>
                  <a:lnTo>
                    <a:pt x="17" y="201"/>
                  </a:lnTo>
                  <a:lnTo>
                    <a:pt x="17" y="198"/>
                  </a:lnTo>
                  <a:lnTo>
                    <a:pt x="19" y="198"/>
                  </a:lnTo>
                  <a:lnTo>
                    <a:pt x="17" y="198"/>
                  </a:lnTo>
                  <a:lnTo>
                    <a:pt x="17" y="196"/>
                  </a:lnTo>
                  <a:lnTo>
                    <a:pt x="17" y="196"/>
                  </a:lnTo>
                  <a:lnTo>
                    <a:pt x="14" y="196"/>
                  </a:lnTo>
                  <a:lnTo>
                    <a:pt x="14" y="196"/>
                  </a:lnTo>
                  <a:lnTo>
                    <a:pt x="14" y="196"/>
                  </a:lnTo>
                  <a:lnTo>
                    <a:pt x="12" y="196"/>
                  </a:lnTo>
                  <a:lnTo>
                    <a:pt x="12" y="194"/>
                  </a:lnTo>
                  <a:lnTo>
                    <a:pt x="10" y="191"/>
                  </a:lnTo>
                  <a:lnTo>
                    <a:pt x="7" y="191"/>
                  </a:lnTo>
                  <a:lnTo>
                    <a:pt x="7" y="189"/>
                  </a:lnTo>
                  <a:lnTo>
                    <a:pt x="7" y="189"/>
                  </a:lnTo>
                  <a:lnTo>
                    <a:pt x="7" y="187"/>
                  </a:lnTo>
                  <a:lnTo>
                    <a:pt x="5" y="187"/>
                  </a:lnTo>
                  <a:lnTo>
                    <a:pt x="5" y="184"/>
                  </a:lnTo>
                  <a:lnTo>
                    <a:pt x="5" y="184"/>
                  </a:lnTo>
                  <a:lnTo>
                    <a:pt x="3" y="187"/>
                  </a:lnTo>
                  <a:lnTo>
                    <a:pt x="3" y="184"/>
                  </a:lnTo>
                  <a:lnTo>
                    <a:pt x="3" y="184"/>
                  </a:lnTo>
                  <a:lnTo>
                    <a:pt x="3" y="182"/>
                  </a:lnTo>
                  <a:lnTo>
                    <a:pt x="0" y="180"/>
                  </a:lnTo>
                  <a:lnTo>
                    <a:pt x="0" y="177"/>
                  </a:lnTo>
                  <a:lnTo>
                    <a:pt x="0" y="175"/>
                  </a:lnTo>
                  <a:lnTo>
                    <a:pt x="3" y="175"/>
                  </a:lnTo>
                  <a:lnTo>
                    <a:pt x="0" y="172"/>
                  </a:lnTo>
                  <a:lnTo>
                    <a:pt x="0" y="172"/>
                  </a:lnTo>
                  <a:lnTo>
                    <a:pt x="0" y="170"/>
                  </a:lnTo>
                  <a:lnTo>
                    <a:pt x="0" y="168"/>
                  </a:lnTo>
                  <a:lnTo>
                    <a:pt x="0" y="168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 cap="flat">
              <a:solidFill>
                <a:schemeClr val="bg2">
                  <a:lumMod val="7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>
                <a:solidFill>
                  <a:srgbClr val="000000"/>
                </a:solidFill>
              </a:endParaRPr>
            </a:p>
          </p:txBody>
        </p:sp>
        <p:sp>
          <p:nvSpPr>
            <p:cNvPr id="32" name="Freeform 11"/>
            <p:cNvSpPr>
              <a:spLocks/>
            </p:cNvSpPr>
            <p:nvPr/>
          </p:nvSpPr>
          <p:spPr bwMode="gray">
            <a:xfrm>
              <a:off x="185052" y="3656165"/>
              <a:ext cx="755522" cy="463077"/>
            </a:xfrm>
            <a:custGeom>
              <a:avLst/>
              <a:gdLst/>
              <a:ahLst/>
              <a:cxnLst>
                <a:cxn ang="0">
                  <a:pos x="460" y="135"/>
                </a:cxn>
                <a:cxn ang="0">
                  <a:pos x="879" y="340"/>
                </a:cxn>
                <a:cxn ang="0">
                  <a:pos x="930" y="371"/>
                </a:cxn>
                <a:cxn ang="0">
                  <a:pos x="914" y="380"/>
                </a:cxn>
                <a:cxn ang="0">
                  <a:pos x="902" y="392"/>
                </a:cxn>
                <a:cxn ang="0">
                  <a:pos x="893" y="401"/>
                </a:cxn>
                <a:cxn ang="0">
                  <a:pos x="886" y="411"/>
                </a:cxn>
                <a:cxn ang="0">
                  <a:pos x="874" y="416"/>
                </a:cxn>
                <a:cxn ang="0">
                  <a:pos x="850" y="420"/>
                </a:cxn>
                <a:cxn ang="0">
                  <a:pos x="838" y="427"/>
                </a:cxn>
                <a:cxn ang="0">
                  <a:pos x="819" y="442"/>
                </a:cxn>
                <a:cxn ang="0">
                  <a:pos x="793" y="470"/>
                </a:cxn>
                <a:cxn ang="0">
                  <a:pos x="779" y="463"/>
                </a:cxn>
                <a:cxn ang="0">
                  <a:pos x="760" y="463"/>
                </a:cxn>
                <a:cxn ang="0">
                  <a:pos x="746" y="475"/>
                </a:cxn>
                <a:cxn ang="0">
                  <a:pos x="734" y="494"/>
                </a:cxn>
                <a:cxn ang="0">
                  <a:pos x="718" y="510"/>
                </a:cxn>
                <a:cxn ang="0">
                  <a:pos x="692" y="522"/>
                </a:cxn>
                <a:cxn ang="0">
                  <a:pos x="666" y="512"/>
                </a:cxn>
                <a:cxn ang="0">
                  <a:pos x="659" y="510"/>
                </a:cxn>
                <a:cxn ang="0">
                  <a:pos x="649" y="510"/>
                </a:cxn>
                <a:cxn ang="0">
                  <a:pos x="635" y="510"/>
                </a:cxn>
                <a:cxn ang="0">
                  <a:pos x="619" y="505"/>
                </a:cxn>
                <a:cxn ang="0">
                  <a:pos x="602" y="501"/>
                </a:cxn>
                <a:cxn ang="0">
                  <a:pos x="590" y="503"/>
                </a:cxn>
                <a:cxn ang="0">
                  <a:pos x="576" y="503"/>
                </a:cxn>
                <a:cxn ang="0">
                  <a:pos x="560" y="501"/>
                </a:cxn>
                <a:cxn ang="0">
                  <a:pos x="538" y="503"/>
                </a:cxn>
                <a:cxn ang="0">
                  <a:pos x="524" y="501"/>
                </a:cxn>
                <a:cxn ang="0">
                  <a:pos x="505" y="505"/>
                </a:cxn>
                <a:cxn ang="0">
                  <a:pos x="493" y="508"/>
                </a:cxn>
                <a:cxn ang="0">
                  <a:pos x="482" y="515"/>
                </a:cxn>
                <a:cxn ang="0">
                  <a:pos x="460" y="517"/>
                </a:cxn>
                <a:cxn ang="0">
                  <a:pos x="441" y="503"/>
                </a:cxn>
                <a:cxn ang="0">
                  <a:pos x="439" y="347"/>
                </a:cxn>
                <a:cxn ang="0">
                  <a:pos x="432" y="323"/>
                </a:cxn>
                <a:cxn ang="0">
                  <a:pos x="437" y="316"/>
                </a:cxn>
                <a:cxn ang="0">
                  <a:pos x="444" y="305"/>
                </a:cxn>
                <a:cxn ang="0">
                  <a:pos x="432" y="305"/>
                </a:cxn>
                <a:cxn ang="0">
                  <a:pos x="425" y="314"/>
                </a:cxn>
                <a:cxn ang="0">
                  <a:pos x="413" y="319"/>
                </a:cxn>
                <a:cxn ang="0">
                  <a:pos x="406" y="331"/>
                </a:cxn>
                <a:cxn ang="0">
                  <a:pos x="390" y="345"/>
                </a:cxn>
                <a:cxn ang="0">
                  <a:pos x="371" y="354"/>
                </a:cxn>
                <a:cxn ang="0">
                  <a:pos x="340" y="375"/>
                </a:cxn>
                <a:cxn ang="0">
                  <a:pos x="231" y="364"/>
                </a:cxn>
                <a:cxn ang="0">
                  <a:pos x="219" y="342"/>
                </a:cxn>
                <a:cxn ang="0">
                  <a:pos x="205" y="316"/>
                </a:cxn>
                <a:cxn ang="0">
                  <a:pos x="193" y="309"/>
                </a:cxn>
                <a:cxn ang="0">
                  <a:pos x="179" y="309"/>
                </a:cxn>
                <a:cxn ang="0">
                  <a:pos x="167" y="307"/>
                </a:cxn>
                <a:cxn ang="0">
                  <a:pos x="99" y="300"/>
                </a:cxn>
                <a:cxn ang="0">
                  <a:pos x="123" y="276"/>
                </a:cxn>
                <a:cxn ang="0">
                  <a:pos x="132" y="248"/>
                </a:cxn>
                <a:cxn ang="0">
                  <a:pos x="111" y="212"/>
                </a:cxn>
                <a:cxn ang="0">
                  <a:pos x="90" y="198"/>
                </a:cxn>
                <a:cxn ang="0">
                  <a:pos x="71" y="170"/>
                </a:cxn>
                <a:cxn ang="0">
                  <a:pos x="52" y="139"/>
                </a:cxn>
                <a:cxn ang="0">
                  <a:pos x="30" y="111"/>
                </a:cxn>
                <a:cxn ang="0">
                  <a:pos x="33" y="83"/>
                </a:cxn>
                <a:cxn ang="0">
                  <a:pos x="9" y="49"/>
                </a:cxn>
                <a:cxn ang="0">
                  <a:pos x="23" y="28"/>
                </a:cxn>
                <a:cxn ang="0">
                  <a:pos x="26" y="2"/>
                </a:cxn>
              </a:cxnLst>
              <a:rect l="0" t="0" r="r" b="b"/>
              <a:pathLst>
                <a:path w="935" h="529">
                  <a:moveTo>
                    <a:pt x="23" y="0"/>
                  </a:moveTo>
                  <a:lnTo>
                    <a:pt x="33" y="5"/>
                  </a:lnTo>
                  <a:lnTo>
                    <a:pt x="85" y="28"/>
                  </a:lnTo>
                  <a:lnTo>
                    <a:pt x="144" y="54"/>
                  </a:lnTo>
                  <a:lnTo>
                    <a:pt x="165" y="66"/>
                  </a:lnTo>
                  <a:lnTo>
                    <a:pt x="170" y="68"/>
                  </a:lnTo>
                  <a:lnTo>
                    <a:pt x="229" y="80"/>
                  </a:lnTo>
                  <a:lnTo>
                    <a:pt x="231" y="80"/>
                  </a:lnTo>
                  <a:lnTo>
                    <a:pt x="250" y="87"/>
                  </a:lnTo>
                  <a:lnTo>
                    <a:pt x="253" y="87"/>
                  </a:lnTo>
                  <a:lnTo>
                    <a:pt x="255" y="87"/>
                  </a:lnTo>
                  <a:lnTo>
                    <a:pt x="307" y="99"/>
                  </a:lnTo>
                  <a:lnTo>
                    <a:pt x="316" y="101"/>
                  </a:lnTo>
                  <a:lnTo>
                    <a:pt x="349" y="109"/>
                  </a:lnTo>
                  <a:lnTo>
                    <a:pt x="387" y="118"/>
                  </a:lnTo>
                  <a:lnTo>
                    <a:pt x="434" y="127"/>
                  </a:lnTo>
                  <a:lnTo>
                    <a:pt x="449" y="132"/>
                  </a:lnTo>
                  <a:lnTo>
                    <a:pt x="460" y="135"/>
                  </a:lnTo>
                  <a:lnTo>
                    <a:pt x="470" y="142"/>
                  </a:lnTo>
                  <a:lnTo>
                    <a:pt x="491" y="151"/>
                  </a:lnTo>
                  <a:lnTo>
                    <a:pt x="538" y="177"/>
                  </a:lnTo>
                  <a:lnTo>
                    <a:pt x="564" y="191"/>
                  </a:lnTo>
                  <a:lnTo>
                    <a:pt x="578" y="201"/>
                  </a:lnTo>
                  <a:lnTo>
                    <a:pt x="612" y="217"/>
                  </a:lnTo>
                  <a:lnTo>
                    <a:pt x="635" y="229"/>
                  </a:lnTo>
                  <a:lnTo>
                    <a:pt x="661" y="243"/>
                  </a:lnTo>
                  <a:lnTo>
                    <a:pt x="666" y="246"/>
                  </a:lnTo>
                  <a:lnTo>
                    <a:pt x="668" y="248"/>
                  </a:lnTo>
                  <a:lnTo>
                    <a:pt x="682" y="253"/>
                  </a:lnTo>
                  <a:lnTo>
                    <a:pt x="737" y="276"/>
                  </a:lnTo>
                  <a:lnTo>
                    <a:pt x="767" y="290"/>
                  </a:lnTo>
                  <a:lnTo>
                    <a:pt x="845" y="326"/>
                  </a:lnTo>
                  <a:lnTo>
                    <a:pt x="867" y="333"/>
                  </a:lnTo>
                  <a:lnTo>
                    <a:pt x="869" y="335"/>
                  </a:lnTo>
                  <a:lnTo>
                    <a:pt x="874" y="338"/>
                  </a:lnTo>
                  <a:lnTo>
                    <a:pt x="879" y="340"/>
                  </a:lnTo>
                  <a:lnTo>
                    <a:pt x="912" y="354"/>
                  </a:lnTo>
                  <a:lnTo>
                    <a:pt x="935" y="364"/>
                  </a:lnTo>
                  <a:lnTo>
                    <a:pt x="935" y="364"/>
                  </a:lnTo>
                  <a:lnTo>
                    <a:pt x="935" y="366"/>
                  </a:lnTo>
                  <a:lnTo>
                    <a:pt x="933" y="366"/>
                  </a:lnTo>
                  <a:lnTo>
                    <a:pt x="935" y="368"/>
                  </a:lnTo>
                  <a:lnTo>
                    <a:pt x="933" y="368"/>
                  </a:lnTo>
                  <a:lnTo>
                    <a:pt x="933" y="368"/>
                  </a:lnTo>
                  <a:lnTo>
                    <a:pt x="935" y="368"/>
                  </a:lnTo>
                  <a:lnTo>
                    <a:pt x="935" y="368"/>
                  </a:lnTo>
                  <a:lnTo>
                    <a:pt x="933" y="368"/>
                  </a:lnTo>
                  <a:lnTo>
                    <a:pt x="933" y="371"/>
                  </a:lnTo>
                  <a:lnTo>
                    <a:pt x="933" y="371"/>
                  </a:lnTo>
                  <a:lnTo>
                    <a:pt x="930" y="368"/>
                  </a:lnTo>
                  <a:lnTo>
                    <a:pt x="930" y="371"/>
                  </a:lnTo>
                  <a:lnTo>
                    <a:pt x="930" y="368"/>
                  </a:lnTo>
                  <a:lnTo>
                    <a:pt x="930" y="371"/>
                  </a:lnTo>
                  <a:lnTo>
                    <a:pt x="930" y="371"/>
                  </a:lnTo>
                  <a:lnTo>
                    <a:pt x="930" y="373"/>
                  </a:lnTo>
                  <a:lnTo>
                    <a:pt x="928" y="373"/>
                  </a:lnTo>
                  <a:lnTo>
                    <a:pt x="928" y="373"/>
                  </a:lnTo>
                  <a:lnTo>
                    <a:pt x="926" y="373"/>
                  </a:lnTo>
                  <a:lnTo>
                    <a:pt x="923" y="375"/>
                  </a:lnTo>
                  <a:lnTo>
                    <a:pt x="923" y="375"/>
                  </a:lnTo>
                  <a:lnTo>
                    <a:pt x="921" y="375"/>
                  </a:lnTo>
                  <a:lnTo>
                    <a:pt x="921" y="375"/>
                  </a:lnTo>
                  <a:lnTo>
                    <a:pt x="921" y="375"/>
                  </a:lnTo>
                  <a:lnTo>
                    <a:pt x="921" y="378"/>
                  </a:lnTo>
                  <a:lnTo>
                    <a:pt x="919" y="378"/>
                  </a:lnTo>
                  <a:lnTo>
                    <a:pt x="919" y="378"/>
                  </a:lnTo>
                  <a:lnTo>
                    <a:pt x="916" y="378"/>
                  </a:lnTo>
                  <a:lnTo>
                    <a:pt x="916" y="378"/>
                  </a:lnTo>
                  <a:lnTo>
                    <a:pt x="916" y="378"/>
                  </a:lnTo>
                  <a:lnTo>
                    <a:pt x="916" y="380"/>
                  </a:lnTo>
                  <a:lnTo>
                    <a:pt x="916" y="380"/>
                  </a:lnTo>
                  <a:lnTo>
                    <a:pt x="914" y="380"/>
                  </a:lnTo>
                  <a:lnTo>
                    <a:pt x="914" y="383"/>
                  </a:lnTo>
                  <a:lnTo>
                    <a:pt x="912" y="383"/>
                  </a:lnTo>
                  <a:lnTo>
                    <a:pt x="912" y="383"/>
                  </a:lnTo>
                  <a:lnTo>
                    <a:pt x="912" y="385"/>
                  </a:lnTo>
                  <a:lnTo>
                    <a:pt x="912" y="385"/>
                  </a:lnTo>
                  <a:lnTo>
                    <a:pt x="909" y="385"/>
                  </a:lnTo>
                  <a:lnTo>
                    <a:pt x="907" y="385"/>
                  </a:lnTo>
                  <a:lnTo>
                    <a:pt x="907" y="387"/>
                  </a:lnTo>
                  <a:lnTo>
                    <a:pt x="907" y="390"/>
                  </a:lnTo>
                  <a:lnTo>
                    <a:pt x="907" y="390"/>
                  </a:lnTo>
                  <a:lnTo>
                    <a:pt x="907" y="390"/>
                  </a:lnTo>
                  <a:lnTo>
                    <a:pt x="904" y="390"/>
                  </a:lnTo>
                  <a:lnTo>
                    <a:pt x="904" y="390"/>
                  </a:lnTo>
                  <a:lnTo>
                    <a:pt x="902" y="390"/>
                  </a:lnTo>
                  <a:lnTo>
                    <a:pt x="904" y="390"/>
                  </a:lnTo>
                  <a:lnTo>
                    <a:pt x="904" y="392"/>
                  </a:lnTo>
                  <a:lnTo>
                    <a:pt x="902" y="390"/>
                  </a:lnTo>
                  <a:lnTo>
                    <a:pt x="902" y="392"/>
                  </a:lnTo>
                  <a:lnTo>
                    <a:pt x="902" y="392"/>
                  </a:lnTo>
                  <a:lnTo>
                    <a:pt x="902" y="392"/>
                  </a:lnTo>
                  <a:lnTo>
                    <a:pt x="902" y="392"/>
                  </a:lnTo>
                  <a:lnTo>
                    <a:pt x="900" y="392"/>
                  </a:lnTo>
                  <a:lnTo>
                    <a:pt x="900" y="394"/>
                  </a:lnTo>
                  <a:lnTo>
                    <a:pt x="900" y="394"/>
                  </a:lnTo>
                  <a:lnTo>
                    <a:pt x="897" y="394"/>
                  </a:lnTo>
                  <a:lnTo>
                    <a:pt x="897" y="394"/>
                  </a:lnTo>
                  <a:lnTo>
                    <a:pt x="897" y="394"/>
                  </a:lnTo>
                  <a:lnTo>
                    <a:pt x="897" y="394"/>
                  </a:lnTo>
                  <a:lnTo>
                    <a:pt x="897" y="397"/>
                  </a:lnTo>
                  <a:lnTo>
                    <a:pt x="897" y="397"/>
                  </a:lnTo>
                  <a:lnTo>
                    <a:pt x="897" y="397"/>
                  </a:lnTo>
                  <a:lnTo>
                    <a:pt x="895" y="397"/>
                  </a:lnTo>
                  <a:lnTo>
                    <a:pt x="895" y="399"/>
                  </a:lnTo>
                  <a:lnTo>
                    <a:pt x="895" y="399"/>
                  </a:lnTo>
                  <a:lnTo>
                    <a:pt x="895" y="399"/>
                  </a:lnTo>
                  <a:lnTo>
                    <a:pt x="893" y="401"/>
                  </a:lnTo>
                  <a:lnTo>
                    <a:pt x="893" y="404"/>
                  </a:lnTo>
                  <a:lnTo>
                    <a:pt x="893" y="401"/>
                  </a:lnTo>
                  <a:lnTo>
                    <a:pt x="893" y="404"/>
                  </a:lnTo>
                  <a:lnTo>
                    <a:pt x="890" y="404"/>
                  </a:lnTo>
                  <a:lnTo>
                    <a:pt x="890" y="401"/>
                  </a:lnTo>
                  <a:lnTo>
                    <a:pt x="890" y="404"/>
                  </a:lnTo>
                  <a:lnTo>
                    <a:pt x="890" y="404"/>
                  </a:lnTo>
                  <a:lnTo>
                    <a:pt x="890" y="404"/>
                  </a:lnTo>
                  <a:lnTo>
                    <a:pt x="888" y="404"/>
                  </a:lnTo>
                  <a:lnTo>
                    <a:pt x="888" y="404"/>
                  </a:lnTo>
                  <a:lnTo>
                    <a:pt x="888" y="406"/>
                  </a:lnTo>
                  <a:lnTo>
                    <a:pt x="888" y="406"/>
                  </a:lnTo>
                  <a:lnTo>
                    <a:pt x="888" y="406"/>
                  </a:lnTo>
                  <a:lnTo>
                    <a:pt x="888" y="409"/>
                  </a:lnTo>
                  <a:lnTo>
                    <a:pt x="888" y="409"/>
                  </a:lnTo>
                  <a:lnTo>
                    <a:pt x="888" y="409"/>
                  </a:lnTo>
                  <a:lnTo>
                    <a:pt x="886" y="409"/>
                  </a:lnTo>
                  <a:lnTo>
                    <a:pt x="886" y="411"/>
                  </a:lnTo>
                  <a:lnTo>
                    <a:pt x="886" y="411"/>
                  </a:lnTo>
                  <a:lnTo>
                    <a:pt x="886" y="411"/>
                  </a:lnTo>
                  <a:lnTo>
                    <a:pt x="886" y="411"/>
                  </a:lnTo>
                  <a:lnTo>
                    <a:pt x="886" y="411"/>
                  </a:lnTo>
                  <a:lnTo>
                    <a:pt x="883" y="411"/>
                  </a:lnTo>
                  <a:lnTo>
                    <a:pt x="883" y="413"/>
                  </a:lnTo>
                  <a:lnTo>
                    <a:pt x="883" y="411"/>
                  </a:lnTo>
                  <a:lnTo>
                    <a:pt x="883" y="413"/>
                  </a:lnTo>
                  <a:lnTo>
                    <a:pt x="881" y="413"/>
                  </a:lnTo>
                  <a:lnTo>
                    <a:pt x="881" y="413"/>
                  </a:lnTo>
                  <a:lnTo>
                    <a:pt x="881" y="413"/>
                  </a:lnTo>
                  <a:lnTo>
                    <a:pt x="879" y="416"/>
                  </a:lnTo>
                  <a:lnTo>
                    <a:pt x="876" y="416"/>
                  </a:lnTo>
                  <a:lnTo>
                    <a:pt x="876" y="416"/>
                  </a:lnTo>
                  <a:lnTo>
                    <a:pt x="876" y="416"/>
                  </a:lnTo>
                  <a:lnTo>
                    <a:pt x="876" y="416"/>
                  </a:lnTo>
                  <a:lnTo>
                    <a:pt x="874" y="416"/>
                  </a:lnTo>
                  <a:lnTo>
                    <a:pt x="874" y="416"/>
                  </a:lnTo>
                  <a:lnTo>
                    <a:pt x="871" y="416"/>
                  </a:lnTo>
                  <a:lnTo>
                    <a:pt x="869" y="418"/>
                  </a:lnTo>
                  <a:lnTo>
                    <a:pt x="869" y="418"/>
                  </a:lnTo>
                  <a:lnTo>
                    <a:pt x="871" y="420"/>
                  </a:lnTo>
                  <a:lnTo>
                    <a:pt x="869" y="420"/>
                  </a:lnTo>
                  <a:lnTo>
                    <a:pt x="869" y="420"/>
                  </a:lnTo>
                  <a:lnTo>
                    <a:pt x="869" y="420"/>
                  </a:lnTo>
                  <a:lnTo>
                    <a:pt x="867" y="420"/>
                  </a:lnTo>
                  <a:lnTo>
                    <a:pt x="867" y="423"/>
                  </a:lnTo>
                  <a:lnTo>
                    <a:pt x="864" y="423"/>
                  </a:lnTo>
                  <a:lnTo>
                    <a:pt x="862" y="420"/>
                  </a:lnTo>
                  <a:lnTo>
                    <a:pt x="860" y="420"/>
                  </a:lnTo>
                  <a:lnTo>
                    <a:pt x="860" y="420"/>
                  </a:lnTo>
                  <a:lnTo>
                    <a:pt x="857" y="420"/>
                  </a:lnTo>
                  <a:lnTo>
                    <a:pt x="857" y="420"/>
                  </a:lnTo>
                  <a:lnTo>
                    <a:pt x="855" y="420"/>
                  </a:lnTo>
                  <a:lnTo>
                    <a:pt x="853" y="420"/>
                  </a:lnTo>
                  <a:lnTo>
                    <a:pt x="850" y="420"/>
                  </a:lnTo>
                  <a:lnTo>
                    <a:pt x="850" y="420"/>
                  </a:lnTo>
                  <a:lnTo>
                    <a:pt x="850" y="420"/>
                  </a:lnTo>
                  <a:lnTo>
                    <a:pt x="850" y="420"/>
                  </a:lnTo>
                  <a:lnTo>
                    <a:pt x="848" y="420"/>
                  </a:lnTo>
                  <a:lnTo>
                    <a:pt x="848" y="420"/>
                  </a:lnTo>
                  <a:lnTo>
                    <a:pt x="845" y="420"/>
                  </a:lnTo>
                  <a:lnTo>
                    <a:pt x="848" y="423"/>
                  </a:lnTo>
                  <a:lnTo>
                    <a:pt x="848" y="425"/>
                  </a:lnTo>
                  <a:lnTo>
                    <a:pt x="848" y="427"/>
                  </a:lnTo>
                  <a:lnTo>
                    <a:pt x="848" y="427"/>
                  </a:lnTo>
                  <a:lnTo>
                    <a:pt x="848" y="427"/>
                  </a:lnTo>
                  <a:lnTo>
                    <a:pt x="845" y="427"/>
                  </a:lnTo>
                  <a:lnTo>
                    <a:pt x="845" y="427"/>
                  </a:lnTo>
                  <a:lnTo>
                    <a:pt x="843" y="427"/>
                  </a:lnTo>
                  <a:lnTo>
                    <a:pt x="843" y="430"/>
                  </a:lnTo>
                  <a:lnTo>
                    <a:pt x="841" y="427"/>
                  </a:lnTo>
                  <a:lnTo>
                    <a:pt x="838" y="427"/>
                  </a:lnTo>
                  <a:lnTo>
                    <a:pt x="838" y="427"/>
                  </a:lnTo>
                  <a:lnTo>
                    <a:pt x="836" y="427"/>
                  </a:lnTo>
                  <a:lnTo>
                    <a:pt x="836" y="427"/>
                  </a:lnTo>
                  <a:lnTo>
                    <a:pt x="834" y="430"/>
                  </a:lnTo>
                  <a:lnTo>
                    <a:pt x="836" y="430"/>
                  </a:lnTo>
                  <a:lnTo>
                    <a:pt x="836" y="435"/>
                  </a:lnTo>
                  <a:lnTo>
                    <a:pt x="834" y="435"/>
                  </a:lnTo>
                  <a:lnTo>
                    <a:pt x="834" y="435"/>
                  </a:lnTo>
                  <a:lnTo>
                    <a:pt x="831" y="435"/>
                  </a:lnTo>
                  <a:lnTo>
                    <a:pt x="831" y="437"/>
                  </a:lnTo>
                  <a:lnTo>
                    <a:pt x="831" y="437"/>
                  </a:lnTo>
                  <a:lnTo>
                    <a:pt x="829" y="439"/>
                  </a:lnTo>
                  <a:lnTo>
                    <a:pt x="827" y="439"/>
                  </a:lnTo>
                  <a:lnTo>
                    <a:pt x="824" y="439"/>
                  </a:lnTo>
                  <a:lnTo>
                    <a:pt x="824" y="439"/>
                  </a:lnTo>
                  <a:lnTo>
                    <a:pt x="822" y="439"/>
                  </a:lnTo>
                  <a:lnTo>
                    <a:pt x="822" y="442"/>
                  </a:lnTo>
                  <a:lnTo>
                    <a:pt x="819" y="442"/>
                  </a:lnTo>
                  <a:lnTo>
                    <a:pt x="819" y="442"/>
                  </a:lnTo>
                  <a:lnTo>
                    <a:pt x="817" y="442"/>
                  </a:lnTo>
                  <a:lnTo>
                    <a:pt x="815" y="444"/>
                  </a:lnTo>
                  <a:lnTo>
                    <a:pt x="812" y="444"/>
                  </a:lnTo>
                  <a:lnTo>
                    <a:pt x="810" y="449"/>
                  </a:lnTo>
                  <a:lnTo>
                    <a:pt x="810" y="451"/>
                  </a:lnTo>
                  <a:lnTo>
                    <a:pt x="808" y="453"/>
                  </a:lnTo>
                  <a:lnTo>
                    <a:pt x="805" y="456"/>
                  </a:lnTo>
                  <a:lnTo>
                    <a:pt x="803" y="458"/>
                  </a:lnTo>
                  <a:lnTo>
                    <a:pt x="801" y="456"/>
                  </a:lnTo>
                  <a:lnTo>
                    <a:pt x="798" y="472"/>
                  </a:lnTo>
                  <a:lnTo>
                    <a:pt x="796" y="470"/>
                  </a:lnTo>
                  <a:lnTo>
                    <a:pt x="796" y="472"/>
                  </a:lnTo>
                  <a:lnTo>
                    <a:pt x="796" y="470"/>
                  </a:lnTo>
                  <a:lnTo>
                    <a:pt x="796" y="472"/>
                  </a:lnTo>
                  <a:lnTo>
                    <a:pt x="793" y="472"/>
                  </a:lnTo>
                  <a:lnTo>
                    <a:pt x="793" y="470"/>
                  </a:lnTo>
                  <a:lnTo>
                    <a:pt x="793" y="472"/>
                  </a:lnTo>
                  <a:lnTo>
                    <a:pt x="793" y="470"/>
                  </a:lnTo>
                  <a:lnTo>
                    <a:pt x="793" y="468"/>
                  </a:lnTo>
                  <a:lnTo>
                    <a:pt x="791" y="468"/>
                  </a:lnTo>
                  <a:lnTo>
                    <a:pt x="791" y="468"/>
                  </a:lnTo>
                  <a:lnTo>
                    <a:pt x="791" y="468"/>
                  </a:lnTo>
                  <a:lnTo>
                    <a:pt x="789" y="468"/>
                  </a:lnTo>
                  <a:lnTo>
                    <a:pt x="789" y="468"/>
                  </a:lnTo>
                  <a:lnTo>
                    <a:pt x="786" y="468"/>
                  </a:lnTo>
                  <a:lnTo>
                    <a:pt x="786" y="465"/>
                  </a:lnTo>
                  <a:lnTo>
                    <a:pt x="786" y="468"/>
                  </a:lnTo>
                  <a:lnTo>
                    <a:pt x="786" y="465"/>
                  </a:lnTo>
                  <a:lnTo>
                    <a:pt x="784" y="465"/>
                  </a:lnTo>
                  <a:lnTo>
                    <a:pt x="784" y="465"/>
                  </a:lnTo>
                  <a:lnTo>
                    <a:pt x="784" y="465"/>
                  </a:lnTo>
                  <a:lnTo>
                    <a:pt x="784" y="465"/>
                  </a:lnTo>
                  <a:lnTo>
                    <a:pt x="784" y="463"/>
                  </a:lnTo>
                  <a:lnTo>
                    <a:pt x="782" y="463"/>
                  </a:lnTo>
                  <a:lnTo>
                    <a:pt x="782" y="463"/>
                  </a:lnTo>
                  <a:lnTo>
                    <a:pt x="779" y="463"/>
                  </a:lnTo>
                  <a:lnTo>
                    <a:pt x="779" y="463"/>
                  </a:lnTo>
                  <a:lnTo>
                    <a:pt x="777" y="460"/>
                  </a:lnTo>
                  <a:lnTo>
                    <a:pt x="777" y="460"/>
                  </a:lnTo>
                  <a:lnTo>
                    <a:pt x="775" y="460"/>
                  </a:lnTo>
                  <a:lnTo>
                    <a:pt x="775" y="463"/>
                  </a:lnTo>
                  <a:lnTo>
                    <a:pt x="775" y="460"/>
                  </a:lnTo>
                  <a:lnTo>
                    <a:pt x="772" y="460"/>
                  </a:lnTo>
                  <a:lnTo>
                    <a:pt x="772" y="463"/>
                  </a:lnTo>
                  <a:lnTo>
                    <a:pt x="770" y="463"/>
                  </a:lnTo>
                  <a:lnTo>
                    <a:pt x="770" y="463"/>
                  </a:lnTo>
                  <a:lnTo>
                    <a:pt x="767" y="463"/>
                  </a:lnTo>
                  <a:lnTo>
                    <a:pt x="767" y="463"/>
                  </a:lnTo>
                  <a:lnTo>
                    <a:pt x="767" y="463"/>
                  </a:lnTo>
                  <a:lnTo>
                    <a:pt x="765" y="463"/>
                  </a:lnTo>
                  <a:lnTo>
                    <a:pt x="763" y="465"/>
                  </a:lnTo>
                  <a:lnTo>
                    <a:pt x="763" y="463"/>
                  </a:lnTo>
                  <a:lnTo>
                    <a:pt x="760" y="463"/>
                  </a:lnTo>
                  <a:lnTo>
                    <a:pt x="760" y="463"/>
                  </a:lnTo>
                  <a:lnTo>
                    <a:pt x="758" y="463"/>
                  </a:lnTo>
                  <a:lnTo>
                    <a:pt x="758" y="463"/>
                  </a:lnTo>
                  <a:lnTo>
                    <a:pt x="758" y="463"/>
                  </a:lnTo>
                  <a:lnTo>
                    <a:pt x="758" y="463"/>
                  </a:lnTo>
                  <a:lnTo>
                    <a:pt x="756" y="463"/>
                  </a:lnTo>
                  <a:lnTo>
                    <a:pt x="756" y="465"/>
                  </a:lnTo>
                  <a:lnTo>
                    <a:pt x="756" y="465"/>
                  </a:lnTo>
                  <a:lnTo>
                    <a:pt x="753" y="465"/>
                  </a:lnTo>
                  <a:lnTo>
                    <a:pt x="753" y="465"/>
                  </a:lnTo>
                  <a:lnTo>
                    <a:pt x="753" y="468"/>
                  </a:lnTo>
                  <a:lnTo>
                    <a:pt x="751" y="468"/>
                  </a:lnTo>
                  <a:lnTo>
                    <a:pt x="751" y="468"/>
                  </a:lnTo>
                  <a:lnTo>
                    <a:pt x="749" y="470"/>
                  </a:lnTo>
                  <a:lnTo>
                    <a:pt x="749" y="470"/>
                  </a:lnTo>
                  <a:lnTo>
                    <a:pt x="749" y="470"/>
                  </a:lnTo>
                  <a:lnTo>
                    <a:pt x="746" y="472"/>
                  </a:lnTo>
                  <a:lnTo>
                    <a:pt x="746" y="472"/>
                  </a:lnTo>
                  <a:lnTo>
                    <a:pt x="746" y="475"/>
                  </a:lnTo>
                  <a:lnTo>
                    <a:pt x="749" y="475"/>
                  </a:lnTo>
                  <a:lnTo>
                    <a:pt x="749" y="475"/>
                  </a:lnTo>
                  <a:lnTo>
                    <a:pt x="749" y="477"/>
                  </a:lnTo>
                  <a:lnTo>
                    <a:pt x="749" y="477"/>
                  </a:lnTo>
                  <a:lnTo>
                    <a:pt x="746" y="477"/>
                  </a:lnTo>
                  <a:lnTo>
                    <a:pt x="749" y="479"/>
                  </a:lnTo>
                  <a:lnTo>
                    <a:pt x="746" y="479"/>
                  </a:lnTo>
                  <a:lnTo>
                    <a:pt x="746" y="482"/>
                  </a:lnTo>
                  <a:lnTo>
                    <a:pt x="744" y="482"/>
                  </a:lnTo>
                  <a:lnTo>
                    <a:pt x="741" y="484"/>
                  </a:lnTo>
                  <a:lnTo>
                    <a:pt x="741" y="484"/>
                  </a:lnTo>
                  <a:lnTo>
                    <a:pt x="741" y="484"/>
                  </a:lnTo>
                  <a:lnTo>
                    <a:pt x="739" y="486"/>
                  </a:lnTo>
                  <a:lnTo>
                    <a:pt x="739" y="486"/>
                  </a:lnTo>
                  <a:lnTo>
                    <a:pt x="737" y="491"/>
                  </a:lnTo>
                  <a:lnTo>
                    <a:pt x="737" y="491"/>
                  </a:lnTo>
                  <a:lnTo>
                    <a:pt x="734" y="494"/>
                  </a:lnTo>
                  <a:lnTo>
                    <a:pt x="734" y="494"/>
                  </a:lnTo>
                  <a:lnTo>
                    <a:pt x="734" y="494"/>
                  </a:lnTo>
                  <a:lnTo>
                    <a:pt x="734" y="496"/>
                  </a:lnTo>
                  <a:lnTo>
                    <a:pt x="732" y="496"/>
                  </a:lnTo>
                  <a:lnTo>
                    <a:pt x="732" y="498"/>
                  </a:lnTo>
                  <a:lnTo>
                    <a:pt x="732" y="501"/>
                  </a:lnTo>
                  <a:lnTo>
                    <a:pt x="732" y="501"/>
                  </a:lnTo>
                  <a:lnTo>
                    <a:pt x="730" y="503"/>
                  </a:lnTo>
                  <a:lnTo>
                    <a:pt x="730" y="503"/>
                  </a:lnTo>
                  <a:lnTo>
                    <a:pt x="727" y="505"/>
                  </a:lnTo>
                  <a:lnTo>
                    <a:pt x="727" y="505"/>
                  </a:lnTo>
                  <a:lnTo>
                    <a:pt x="725" y="508"/>
                  </a:lnTo>
                  <a:lnTo>
                    <a:pt x="725" y="508"/>
                  </a:lnTo>
                  <a:lnTo>
                    <a:pt x="723" y="508"/>
                  </a:lnTo>
                  <a:lnTo>
                    <a:pt x="720" y="508"/>
                  </a:lnTo>
                  <a:lnTo>
                    <a:pt x="720" y="508"/>
                  </a:lnTo>
                  <a:lnTo>
                    <a:pt x="720" y="510"/>
                  </a:lnTo>
                  <a:lnTo>
                    <a:pt x="718" y="510"/>
                  </a:lnTo>
                  <a:lnTo>
                    <a:pt x="718" y="510"/>
                  </a:lnTo>
                  <a:lnTo>
                    <a:pt x="716" y="510"/>
                  </a:lnTo>
                  <a:lnTo>
                    <a:pt x="711" y="510"/>
                  </a:lnTo>
                  <a:lnTo>
                    <a:pt x="711" y="512"/>
                  </a:lnTo>
                  <a:lnTo>
                    <a:pt x="711" y="512"/>
                  </a:lnTo>
                  <a:lnTo>
                    <a:pt x="711" y="515"/>
                  </a:lnTo>
                  <a:lnTo>
                    <a:pt x="711" y="515"/>
                  </a:lnTo>
                  <a:lnTo>
                    <a:pt x="711" y="515"/>
                  </a:lnTo>
                  <a:lnTo>
                    <a:pt x="708" y="515"/>
                  </a:lnTo>
                  <a:lnTo>
                    <a:pt x="708" y="515"/>
                  </a:lnTo>
                  <a:lnTo>
                    <a:pt x="708" y="515"/>
                  </a:lnTo>
                  <a:lnTo>
                    <a:pt x="706" y="512"/>
                  </a:lnTo>
                  <a:lnTo>
                    <a:pt x="704" y="515"/>
                  </a:lnTo>
                  <a:lnTo>
                    <a:pt x="699" y="515"/>
                  </a:lnTo>
                  <a:lnTo>
                    <a:pt x="697" y="517"/>
                  </a:lnTo>
                  <a:lnTo>
                    <a:pt x="697" y="520"/>
                  </a:lnTo>
                  <a:lnTo>
                    <a:pt x="694" y="520"/>
                  </a:lnTo>
                  <a:lnTo>
                    <a:pt x="692" y="522"/>
                  </a:lnTo>
                  <a:lnTo>
                    <a:pt x="692" y="522"/>
                  </a:lnTo>
                  <a:lnTo>
                    <a:pt x="682" y="524"/>
                  </a:lnTo>
                  <a:lnTo>
                    <a:pt x="671" y="529"/>
                  </a:lnTo>
                  <a:lnTo>
                    <a:pt x="671" y="524"/>
                  </a:lnTo>
                  <a:lnTo>
                    <a:pt x="668" y="524"/>
                  </a:lnTo>
                  <a:lnTo>
                    <a:pt x="671" y="522"/>
                  </a:lnTo>
                  <a:lnTo>
                    <a:pt x="668" y="522"/>
                  </a:lnTo>
                  <a:lnTo>
                    <a:pt x="666" y="522"/>
                  </a:lnTo>
                  <a:lnTo>
                    <a:pt x="666" y="522"/>
                  </a:lnTo>
                  <a:lnTo>
                    <a:pt x="666" y="520"/>
                  </a:lnTo>
                  <a:lnTo>
                    <a:pt x="664" y="520"/>
                  </a:lnTo>
                  <a:lnTo>
                    <a:pt x="664" y="520"/>
                  </a:lnTo>
                  <a:lnTo>
                    <a:pt x="664" y="517"/>
                  </a:lnTo>
                  <a:lnTo>
                    <a:pt x="664" y="515"/>
                  </a:lnTo>
                  <a:lnTo>
                    <a:pt x="664" y="515"/>
                  </a:lnTo>
                  <a:lnTo>
                    <a:pt x="664" y="512"/>
                  </a:lnTo>
                  <a:lnTo>
                    <a:pt x="666" y="512"/>
                  </a:lnTo>
                  <a:lnTo>
                    <a:pt x="666" y="512"/>
                  </a:lnTo>
                  <a:lnTo>
                    <a:pt x="666" y="512"/>
                  </a:lnTo>
                  <a:lnTo>
                    <a:pt x="666" y="510"/>
                  </a:lnTo>
                  <a:lnTo>
                    <a:pt x="666" y="510"/>
                  </a:lnTo>
                  <a:lnTo>
                    <a:pt x="664" y="510"/>
                  </a:lnTo>
                  <a:lnTo>
                    <a:pt x="664" y="510"/>
                  </a:lnTo>
                  <a:lnTo>
                    <a:pt x="664" y="510"/>
                  </a:lnTo>
                  <a:lnTo>
                    <a:pt x="664" y="510"/>
                  </a:lnTo>
                  <a:lnTo>
                    <a:pt x="664" y="510"/>
                  </a:lnTo>
                  <a:lnTo>
                    <a:pt x="661" y="510"/>
                  </a:lnTo>
                  <a:lnTo>
                    <a:pt x="661" y="508"/>
                  </a:lnTo>
                  <a:lnTo>
                    <a:pt x="661" y="510"/>
                  </a:lnTo>
                  <a:lnTo>
                    <a:pt x="661" y="510"/>
                  </a:lnTo>
                  <a:lnTo>
                    <a:pt x="661" y="510"/>
                  </a:lnTo>
                  <a:lnTo>
                    <a:pt x="659" y="508"/>
                  </a:lnTo>
                  <a:lnTo>
                    <a:pt x="659" y="508"/>
                  </a:lnTo>
                  <a:lnTo>
                    <a:pt x="659" y="508"/>
                  </a:lnTo>
                  <a:lnTo>
                    <a:pt x="659" y="508"/>
                  </a:lnTo>
                  <a:lnTo>
                    <a:pt x="656" y="508"/>
                  </a:lnTo>
                  <a:lnTo>
                    <a:pt x="659" y="510"/>
                  </a:lnTo>
                  <a:lnTo>
                    <a:pt x="656" y="510"/>
                  </a:lnTo>
                  <a:lnTo>
                    <a:pt x="656" y="510"/>
                  </a:lnTo>
                  <a:lnTo>
                    <a:pt x="656" y="510"/>
                  </a:lnTo>
                  <a:lnTo>
                    <a:pt x="654" y="510"/>
                  </a:lnTo>
                  <a:lnTo>
                    <a:pt x="656" y="508"/>
                  </a:lnTo>
                  <a:lnTo>
                    <a:pt x="654" y="508"/>
                  </a:lnTo>
                  <a:lnTo>
                    <a:pt x="654" y="510"/>
                  </a:lnTo>
                  <a:lnTo>
                    <a:pt x="654" y="508"/>
                  </a:lnTo>
                  <a:lnTo>
                    <a:pt x="654" y="508"/>
                  </a:lnTo>
                  <a:lnTo>
                    <a:pt x="654" y="508"/>
                  </a:lnTo>
                  <a:lnTo>
                    <a:pt x="652" y="510"/>
                  </a:lnTo>
                  <a:lnTo>
                    <a:pt x="652" y="510"/>
                  </a:lnTo>
                  <a:lnTo>
                    <a:pt x="649" y="510"/>
                  </a:lnTo>
                  <a:lnTo>
                    <a:pt x="649" y="510"/>
                  </a:lnTo>
                  <a:lnTo>
                    <a:pt x="649" y="510"/>
                  </a:lnTo>
                  <a:lnTo>
                    <a:pt x="647" y="510"/>
                  </a:lnTo>
                  <a:lnTo>
                    <a:pt x="649" y="510"/>
                  </a:lnTo>
                  <a:lnTo>
                    <a:pt x="649" y="510"/>
                  </a:lnTo>
                  <a:lnTo>
                    <a:pt x="649" y="512"/>
                  </a:lnTo>
                  <a:lnTo>
                    <a:pt x="649" y="512"/>
                  </a:lnTo>
                  <a:lnTo>
                    <a:pt x="647" y="510"/>
                  </a:lnTo>
                  <a:lnTo>
                    <a:pt x="647" y="510"/>
                  </a:lnTo>
                  <a:lnTo>
                    <a:pt x="647" y="510"/>
                  </a:lnTo>
                  <a:lnTo>
                    <a:pt x="645" y="512"/>
                  </a:lnTo>
                  <a:lnTo>
                    <a:pt x="645" y="510"/>
                  </a:lnTo>
                  <a:lnTo>
                    <a:pt x="642" y="510"/>
                  </a:lnTo>
                  <a:lnTo>
                    <a:pt x="640" y="510"/>
                  </a:lnTo>
                  <a:lnTo>
                    <a:pt x="640" y="510"/>
                  </a:lnTo>
                  <a:lnTo>
                    <a:pt x="640" y="510"/>
                  </a:lnTo>
                  <a:lnTo>
                    <a:pt x="640" y="508"/>
                  </a:lnTo>
                  <a:lnTo>
                    <a:pt x="638" y="508"/>
                  </a:lnTo>
                  <a:lnTo>
                    <a:pt x="638" y="508"/>
                  </a:lnTo>
                  <a:lnTo>
                    <a:pt x="635" y="508"/>
                  </a:lnTo>
                  <a:lnTo>
                    <a:pt x="635" y="508"/>
                  </a:lnTo>
                  <a:lnTo>
                    <a:pt x="635" y="510"/>
                  </a:lnTo>
                  <a:lnTo>
                    <a:pt x="635" y="510"/>
                  </a:lnTo>
                  <a:lnTo>
                    <a:pt x="635" y="510"/>
                  </a:lnTo>
                  <a:lnTo>
                    <a:pt x="633" y="510"/>
                  </a:lnTo>
                  <a:lnTo>
                    <a:pt x="633" y="510"/>
                  </a:lnTo>
                  <a:lnTo>
                    <a:pt x="630" y="510"/>
                  </a:lnTo>
                  <a:lnTo>
                    <a:pt x="633" y="508"/>
                  </a:lnTo>
                  <a:lnTo>
                    <a:pt x="633" y="508"/>
                  </a:lnTo>
                  <a:lnTo>
                    <a:pt x="630" y="508"/>
                  </a:lnTo>
                  <a:lnTo>
                    <a:pt x="630" y="505"/>
                  </a:lnTo>
                  <a:lnTo>
                    <a:pt x="630" y="505"/>
                  </a:lnTo>
                  <a:lnTo>
                    <a:pt x="628" y="505"/>
                  </a:lnTo>
                  <a:lnTo>
                    <a:pt x="628" y="505"/>
                  </a:lnTo>
                  <a:lnTo>
                    <a:pt x="628" y="505"/>
                  </a:lnTo>
                  <a:lnTo>
                    <a:pt x="626" y="505"/>
                  </a:lnTo>
                  <a:lnTo>
                    <a:pt x="626" y="503"/>
                  </a:lnTo>
                  <a:lnTo>
                    <a:pt x="623" y="505"/>
                  </a:lnTo>
                  <a:lnTo>
                    <a:pt x="623" y="505"/>
                  </a:lnTo>
                  <a:lnTo>
                    <a:pt x="621" y="505"/>
                  </a:lnTo>
                  <a:lnTo>
                    <a:pt x="619" y="505"/>
                  </a:lnTo>
                  <a:lnTo>
                    <a:pt x="619" y="505"/>
                  </a:lnTo>
                  <a:lnTo>
                    <a:pt x="619" y="505"/>
                  </a:lnTo>
                  <a:lnTo>
                    <a:pt x="616" y="505"/>
                  </a:lnTo>
                  <a:lnTo>
                    <a:pt x="616" y="503"/>
                  </a:lnTo>
                  <a:lnTo>
                    <a:pt x="616" y="505"/>
                  </a:lnTo>
                  <a:lnTo>
                    <a:pt x="614" y="505"/>
                  </a:lnTo>
                  <a:lnTo>
                    <a:pt x="616" y="503"/>
                  </a:lnTo>
                  <a:lnTo>
                    <a:pt x="614" y="503"/>
                  </a:lnTo>
                  <a:lnTo>
                    <a:pt x="614" y="503"/>
                  </a:lnTo>
                  <a:lnTo>
                    <a:pt x="612" y="503"/>
                  </a:lnTo>
                  <a:lnTo>
                    <a:pt x="612" y="503"/>
                  </a:lnTo>
                  <a:lnTo>
                    <a:pt x="609" y="503"/>
                  </a:lnTo>
                  <a:lnTo>
                    <a:pt x="609" y="503"/>
                  </a:lnTo>
                  <a:lnTo>
                    <a:pt x="607" y="503"/>
                  </a:lnTo>
                  <a:lnTo>
                    <a:pt x="607" y="503"/>
                  </a:lnTo>
                  <a:lnTo>
                    <a:pt x="604" y="501"/>
                  </a:lnTo>
                  <a:lnTo>
                    <a:pt x="602" y="503"/>
                  </a:lnTo>
                  <a:lnTo>
                    <a:pt x="602" y="501"/>
                  </a:lnTo>
                  <a:lnTo>
                    <a:pt x="602" y="501"/>
                  </a:lnTo>
                  <a:lnTo>
                    <a:pt x="602" y="501"/>
                  </a:lnTo>
                  <a:lnTo>
                    <a:pt x="600" y="501"/>
                  </a:lnTo>
                  <a:lnTo>
                    <a:pt x="600" y="503"/>
                  </a:lnTo>
                  <a:lnTo>
                    <a:pt x="600" y="503"/>
                  </a:lnTo>
                  <a:lnTo>
                    <a:pt x="600" y="503"/>
                  </a:lnTo>
                  <a:lnTo>
                    <a:pt x="597" y="501"/>
                  </a:lnTo>
                  <a:lnTo>
                    <a:pt x="597" y="501"/>
                  </a:lnTo>
                  <a:lnTo>
                    <a:pt x="597" y="503"/>
                  </a:lnTo>
                  <a:lnTo>
                    <a:pt x="597" y="501"/>
                  </a:lnTo>
                  <a:lnTo>
                    <a:pt x="595" y="503"/>
                  </a:lnTo>
                  <a:lnTo>
                    <a:pt x="593" y="501"/>
                  </a:lnTo>
                  <a:lnTo>
                    <a:pt x="593" y="501"/>
                  </a:lnTo>
                  <a:lnTo>
                    <a:pt x="593" y="503"/>
                  </a:lnTo>
                  <a:lnTo>
                    <a:pt x="590" y="503"/>
                  </a:lnTo>
                  <a:lnTo>
                    <a:pt x="590" y="501"/>
                  </a:lnTo>
                  <a:lnTo>
                    <a:pt x="590" y="503"/>
                  </a:lnTo>
                  <a:lnTo>
                    <a:pt x="590" y="503"/>
                  </a:lnTo>
                  <a:lnTo>
                    <a:pt x="590" y="501"/>
                  </a:lnTo>
                  <a:lnTo>
                    <a:pt x="588" y="501"/>
                  </a:lnTo>
                  <a:lnTo>
                    <a:pt x="588" y="501"/>
                  </a:lnTo>
                  <a:lnTo>
                    <a:pt x="588" y="501"/>
                  </a:lnTo>
                  <a:lnTo>
                    <a:pt x="586" y="503"/>
                  </a:lnTo>
                  <a:lnTo>
                    <a:pt x="586" y="501"/>
                  </a:lnTo>
                  <a:lnTo>
                    <a:pt x="586" y="501"/>
                  </a:lnTo>
                  <a:lnTo>
                    <a:pt x="583" y="501"/>
                  </a:lnTo>
                  <a:lnTo>
                    <a:pt x="583" y="501"/>
                  </a:lnTo>
                  <a:lnTo>
                    <a:pt x="583" y="501"/>
                  </a:lnTo>
                  <a:lnTo>
                    <a:pt x="583" y="501"/>
                  </a:lnTo>
                  <a:lnTo>
                    <a:pt x="583" y="501"/>
                  </a:lnTo>
                  <a:lnTo>
                    <a:pt x="581" y="501"/>
                  </a:lnTo>
                  <a:lnTo>
                    <a:pt x="581" y="498"/>
                  </a:lnTo>
                  <a:lnTo>
                    <a:pt x="581" y="498"/>
                  </a:lnTo>
                  <a:lnTo>
                    <a:pt x="578" y="501"/>
                  </a:lnTo>
                  <a:lnTo>
                    <a:pt x="576" y="501"/>
                  </a:lnTo>
                  <a:lnTo>
                    <a:pt x="576" y="503"/>
                  </a:lnTo>
                  <a:lnTo>
                    <a:pt x="576" y="501"/>
                  </a:lnTo>
                  <a:lnTo>
                    <a:pt x="576" y="503"/>
                  </a:lnTo>
                  <a:lnTo>
                    <a:pt x="574" y="503"/>
                  </a:lnTo>
                  <a:lnTo>
                    <a:pt x="574" y="501"/>
                  </a:lnTo>
                  <a:lnTo>
                    <a:pt x="574" y="503"/>
                  </a:lnTo>
                  <a:lnTo>
                    <a:pt x="574" y="503"/>
                  </a:lnTo>
                  <a:lnTo>
                    <a:pt x="571" y="503"/>
                  </a:lnTo>
                  <a:lnTo>
                    <a:pt x="571" y="503"/>
                  </a:lnTo>
                  <a:lnTo>
                    <a:pt x="571" y="501"/>
                  </a:lnTo>
                  <a:lnTo>
                    <a:pt x="569" y="501"/>
                  </a:lnTo>
                  <a:lnTo>
                    <a:pt x="567" y="501"/>
                  </a:lnTo>
                  <a:lnTo>
                    <a:pt x="564" y="501"/>
                  </a:lnTo>
                  <a:lnTo>
                    <a:pt x="564" y="503"/>
                  </a:lnTo>
                  <a:lnTo>
                    <a:pt x="564" y="503"/>
                  </a:lnTo>
                  <a:lnTo>
                    <a:pt x="564" y="503"/>
                  </a:lnTo>
                  <a:lnTo>
                    <a:pt x="564" y="501"/>
                  </a:lnTo>
                  <a:lnTo>
                    <a:pt x="560" y="501"/>
                  </a:lnTo>
                  <a:lnTo>
                    <a:pt x="560" y="501"/>
                  </a:lnTo>
                  <a:lnTo>
                    <a:pt x="560" y="503"/>
                  </a:lnTo>
                  <a:lnTo>
                    <a:pt x="557" y="501"/>
                  </a:lnTo>
                  <a:lnTo>
                    <a:pt x="555" y="501"/>
                  </a:lnTo>
                  <a:lnTo>
                    <a:pt x="555" y="503"/>
                  </a:lnTo>
                  <a:lnTo>
                    <a:pt x="555" y="503"/>
                  </a:lnTo>
                  <a:lnTo>
                    <a:pt x="553" y="503"/>
                  </a:lnTo>
                  <a:lnTo>
                    <a:pt x="550" y="503"/>
                  </a:lnTo>
                  <a:lnTo>
                    <a:pt x="548" y="503"/>
                  </a:lnTo>
                  <a:lnTo>
                    <a:pt x="548" y="503"/>
                  </a:lnTo>
                  <a:lnTo>
                    <a:pt x="545" y="503"/>
                  </a:lnTo>
                  <a:lnTo>
                    <a:pt x="545" y="505"/>
                  </a:lnTo>
                  <a:lnTo>
                    <a:pt x="545" y="503"/>
                  </a:lnTo>
                  <a:lnTo>
                    <a:pt x="543" y="505"/>
                  </a:lnTo>
                  <a:lnTo>
                    <a:pt x="543" y="503"/>
                  </a:lnTo>
                  <a:lnTo>
                    <a:pt x="541" y="505"/>
                  </a:lnTo>
                  <a:lnTo>
                    <a:pt x="538" y="505"/>
                  </a:lnTo>
                  <a:lnTo>
                    <a:pt x="541" y="503"/>
                  </a:lnTo>
                  <a:lnTo>
                    <a:pt x="538" y="503"/>
                  </a:lnTo>
                  <a:lnTo>
                    <a:pt x="538" y="503"/>
                  </a:lnTo>
                  <a:lnTo>
                    <a:pt x="538" y="501"/>
                  </a:lnTo>
                  <a:lnTo>
                    <a:pt x="536" y="501"/>
                  </a:lnTo>
                  <a:lnTo>
                    <a:pt x="536" y="501"/>
                  </a:lnTo>
                  <a:lnTo>
                    <a:pt x="536" y="501"/>
                  </a:lnTo>
                  <a:lnTo>
                    <a:pt x="536" y="501"/>
                  </a:lnTo>
                  <a:lnTo>
                    <a:pt x="534" y="501"/>
                  </a:lnTo>
                  <a:lnTo>
                    <a:pt x="534" y="501"/>
                  </a:lnTo>
                  <a:lnTo>
                    <a:pt x="534" y="501"/>
                  </a:lnTo>
                  <a:lnTo>
                    <a:pt x="534" y="498"/>
                  </a:lnTo>
                  <a:lnTo>
                    <a:pt x="531" y="498"/>
                  </a:lnTo>
                  <a:lnTo>
                    <a:pt x="531" y="501"/>
                  </a:lnTo>
                  <a:lnTo>
                    <a:pt x="529" y="501"/>
                  </a:lnTo>
                  <a:lnTo>
                    <a:pt x="527" y="501"/>
                  </a:lnTo>
                  <a:lnTo>
                    <a:pt x="527" y="498"/>
                  </a:lnTo>
                  <a:lnTo>
                    <a:pt x="524" y="501"/>
                  </a:lnTo>
                  <a:lnTo>
                    <a:pt x="524" y="498"/>
                  </a:lnTo>
                  <a:lnTo>
                    <a:pt x="524" y="501"/>
                  </a:lnTo>
                  <a:lnTo>
                    <a:pt x="522" y="498"/>
                  </a:lnTo>
                  <a:lnTo>
                    <a:pt x="519" y="498"/>
                  </a:lnTo>
                  <a:lnTo>
                    <a:pt x="517" y="498"/>
                  </a:lnTo>
                  <a:lnTo>
                    <a:pt x="517" y="501"/>
                  </a:lnTo>
                  <a:lnTo>
                    <a:pt x="517" y="498"/>
                  </a:lnTo>
                  <a:lnTo>
                    <a:pt x="515" y="498"/>
                  </a:lnTo>
                  <a:lnTo>
                    <a:pt x="512" y="498"/>
                  </a:lnTo>
                  <a:lnTo>
                    <a:pt x="512" y="501"/>
                  </a:lnTo>
                  <a:lnTo>
                    <a:pt x="512" y="501"/>
                  </a:lnTo>
                  <a:lnTo>
                    <a:pt x="510" y="501"/>
                  </a:lnTo>
                  <a:lnTo>
                    <a:pt x="510" y="503"/>
                  </a:lnTo>
                  <a:lnTo>
                    <a:pt x="510" y="501"/>
                  </a:lnTo>
                  <a:lnTo>
                    <a:pt x="508" y="503"/>
                  </a:lnTo>
                  <a:lnTo>
                    <a:pt x="508" y="503"/>
                  </a:lnTo>
                  <a:lnTo>
                    <a:pt x="508" y="503"/>
                  </a:lnTo>
                  <a:lnTo>
                    <a:pt x="508" y="503"/>
                  </a:lnTo>
                  <a:lnTo>
                    <a:pt x="505" y="503"/>
                  </a:lnTo>
                  <a:lnTo>
                    <a:pt x="505" y="505"/>
                  </a:lnTo>
                  <a:lnTo>
                    <a:pt x="503" y="505"/>
                  </a:lnTo>
                  <a:lnTo>
                    <a:pt x="503" y="505"/>
                  </a:lnTo>
                  <a:lnTo>
                    <a:pt x="503" y="505"/>
                  </a:lnTo>
                  <a:lnTo>
                    <a:pt x="503" y="505"/>
                  </a:lnTo>
                  <a:lnTo>
                    <a:pt x="501" y="505"/>
                  </a:lnTo>
                  <a:lnTo>
                    <a:pt x="501" y="505"/>
                  </a:lnTo>
                  <a:lnTo>
                    <a:pt x="501" y="505"/>
                  </a:lnTo>
                  <a:lnTo>
                    <a:pt x="501" y="505"/>
                  </a:lnTo>
                  <a:lnTo>
                    <a:pt x="498" y="505"/>
                  </a:lnTo>
                  <a:lnTo>
                    <a:pt x="498" y="508"/>
                  </a:lnTo>
                  <a:lnTo>
                    <a:pt x="498" y="508"/>
                  </a:lnTo>
                  <a:lnTo>
                    <a:pt x="498" y="508"/>
                  </a:lnTo>
                  <a:lnTo>
                    <a:pt x="496" y="508"/>
                  </a:lnTo>
                  <a:lnTo>
                    <a:pt x="496" y="505"/>
                  </a:lnTo>
                  <a:lnTo>
                    <a:pt x="496" y="508"/>
                  </a:lnTo>
                  <a:lnTo>
                    <a:pt x="496" y="505"/>
                  </a:lnTo>
                  <a:lnTo>
                    <a:pt x="496" y="508"/>
                  </a:lnTo>
                  <a:lnTo>
                    <a:pt x="493" y="508"/>
                  </a:lnTo>
                  <a:lnTo>
                    <a:pt x="496" y="508"/>
                  </a:lnTo>
                  <a:lnTo>
                    <a:pt x="493" y="508"/>
                  </a:lnTo>
                  <a:lnTo>
                    <a:pt x="493" y="510"/>
                  </a:lnTo>
                  <a:lnTo>
                    <a:pt x="493" y="510"/>
                  </a:lnTo>
                  <a:lnTo>
                    <a:pt x="491" y="510"/>
                  </a:lnTo>
                  <a:lnTo>
                    <a:pt x="491" y="510"/>
                  </a:lnTo>
                  <a:lnTo>
                    <a:pt x="491" y="510"/>
                  </a:lnTo>
                  <a:lnTo>
                    <a:pt x="491" y="512"/>
                  </a:lnTo>
                  <a:lnTo>
                    <a:pt x="489" y="512"/>
                  </a:lnTo>
                  <a:lnTo>
                    <a:pt x="489" y="512"/>
                  </a:lnTo>
                  <a:lnTo>
                    <a:pt x="486" y="512"/>
                  </a:lnTo>
                  <a:lnTo>
                    <a:pt x="486" y="515"/>
                  </a:lnTo>
                  <a:lnTo>
                    <a:pt x="486" y="512"/>
                  </a:lnTo>
                  <a:lnTo>
                    <a:pt x="486" y="515"/>
                  </a:lnTo>
                  <a:lnTo>
                    <a:pt x="484" y="515"/>
                  </a:lnTo>
                  <a:lnTo>
                    <a:pt x="484" y="512"/>
                  </a:lnTo>
                  <a:lnTo>
                    <a:pt x="484" y="515"/>
                  </a:lnTo>
                  <a:lnTo>
                    <a:pt x="482" y="515"/>
                  </a:lnTo>
                  <a:lnTo>
                    <a:pt x="482" y="515"/>
                  </a:lnTo>
                  <a:lnTo>
                    <a:pt x="482" y="515"/>
                  </a:lnTo>
                  <a:lnTo>
                    <a:pt x="479" y="515"/>
                  </a:lnTo>
                  <a:lnTo>
                    <a:pt x="479" y="515"/>
                  </a:lnTo>
                  <a:lnTo>
                    <a:pt x="477" y="515"/>
                  </a:lnTo>
                  <a:lnTo>
                    <a:pt x="477" y="515"/>
                  </a:lnTo>
                  <a:lnTo>
                    <a:pt x="475" y="515"/>
                  </a:lnTo>
                  <a:lnTo>
                    <a:pt x="472" y="515"/>
                  </a:lnTo>
                  <a:lnTo>
                    <a:pt x="472" y="517"/>
                  </a:lnTo>
                  <a:lnTo>
                    <a:pt x="472" y="515"/>
                  </a:lnTo>
                  <a:lnTo>
                    <a:pt x="470" y="515"/>
                  </a:lnTo>
                  <a:lnTo>
                    <a:pt x="470" y="517"/>
                  </a:lnTo>
                  <a:lnTo>
                    <a:pt x="467" y="517"/>
                  </a:lnTo>
                  <a:lnTo>
                    <a:pt x="465" y="517"/>
                  </a:lnTo>
                  <a:lnTo>
                    <a:pt x="463" y="517"/>
                  </a:lnTo>
                  <a:lnTo>
                    <a:pt x="463" y="517"/>
                  </a:lnTo>
                  <a:lnTo>
                    <a:pt x="463" y="515"/>
                  </a:lnTo>
                  <a:lnTo>
                    <a:pt x="460" y="517"/>
                  </a:lnTo>
                  <a:lnTo>
                    <a:pt x="458" y="515"/>
                  </a:lnTo>
                  <a:lnTo>
                    <a:pt x="458" y="515"/>
                  </a:lnTo>
                  <a:lnTo>
                    <a:pt x="458" y="515"/>
                  </a:lnTo>
                  <a:lnTo>
                    <a:pt x="456" y="515"/>
                  </a:lnTo>
                  <a:lnTo>
                    <a:pt x="456" y="515"/>
                  </a:lnTo>
                  <a:lnTo>
                    <a:pt x="456" y="515"/>
                  </a:lnTo>
                  <a:lnTo>
                    <a:pt x="453" y="512"/>
                  </a:lnTo>
                  <a:lnTo>
                    <a:pt x="453" y="515"/>
                  </a:lnTo>
                  <a:lnTo>
                    <a:pt x="451" y="512"/>
                  </a:lnTo>
                  <a:lnTo>
                    <a:pt x="451" y="512"/>
                  </a:lnTo>
                  <a:lnTo>
                    <a:pt x="451" y="512"/>
                  </a:lnTo>
                  <a:lnTo>
                    <a:pt x="451" y="510"/>
                  </a:lnTo>
                  <a:lnTo>
                    <a:pt x="446" y="508"/>
                  </a:lnTo>
                  <a:lnTo>
                    <a:pt x="446" y="505"/>
                  </a:lnTo>
                  <a:lnTo>
                    <a:pt x="444" y="503"/>
                  </a:lnTo>
                  <a:lnTo>
                    <a:pt x="444" y="503"/>
                  </a:lnTo>
                  <a:lnTo>
                    <a:pt x="444" y="503"/>
                  </a:lnTo>
                  <a:lnTo>
                    <a:pt x="441" y="503"/>
                  </a:lnTo>
                  <a:lnTo>
                    <a:pt x="441" y="501"/>
                  </a:lnTo>
                  <a:lnTo>
                    <a:pt x="439" y="501"/>
                  </a:lnTo>
                  <a:lnTo>
                    <a:pt x="427" y="508"/>
                  </a:lnTo>
                  <a:lnTo>
                    <a:pt x="427" y="472"/>
                  </a:lnTo>
                  <a:lnTo>
                    <a:pt x="427" y="439"/>
                  </a:lnTo>
                  <a:lnTo>
                    <a:pt x="427" y="425"/>
                  </a:lnTo>
                  <a:lnTo>
                    <a:pt x="427" y="387"/>
                  </a:lnTo>
                  <a:lnTo>
                    <a:pt x="427" y="373"/>
                  </a:lnTo>
                  <a:lnTo>
                    <a:pt x="427" y="354"/>
                  </a:lnTo>
                  <a:lnTo>
                    <a:pt x="427" y="354"/>
                  </a:lnTo>
                  <a:lnTo>
                    <a:pt x="430" y="352"/>
                  </a:lnTo>
                  <a:lnTo>
                    <a:pt x="432" y="352"/>
                  </a:lnTo>
                  <a:lnTo>
                    <a:pt x="432" y="352"/>
                  </a:lnTo>
                  <a:lnTo>
                    <a:pt x="432" y="349"/>
                  </a:lnTo>
                  <a:lnTo>
                    <a:pt x="434" y="349"/>
                  </a:lnTo>
                  <a:lnTo>
                    <a:pt x="437" y="349"/>
                  </a:lnTo>
                  <a:lnTo>
                    <a:pt x="437" y="349"/>
                  </a:lnTo>
                  <a:lnTo>
                    <a:pt x="439" y="347"/>
                  </a:lnTo>
                  <a:lnTo>
                    <a:pt x="439" y="345"/>
                  </a:lnTo>
                  <a:lnTo>
                    <a:pt x="439" y="345"/>
                  </a:lnTo>
                  <a:lnTo>
                    <a:pt x="439" y="342"/>
                  </a:lnTo>
                  <a:lnTo>
                    <a:pt x="441" y="342"/>
                  </a:lnTo>
                  <a:lnTo>
                    <a:pt x="439" y="340"/>
                  </a:lnTo>
                  <a:lnTo>
                    <a:pt x="441" y="340"/>
                  </a:lnTo>
                  <a:lnTo>
                    <a:pt x="439" y="340"/>
                  </a:lnTo>
                  <a:lnTo>
                    <a:pt x="437" y="335"/>
                  </a:lnTo>
                  <a:lnTo>
                    <a:pt x="437" y="335"/>
                  </a:lnTo>
                  <a:lnTo>
                    <a:pt x="437" y="335"/>
                  </a:lnTo>
                  <a:lnTo>
                    <a:pt x="434" y="335"/>
                  </a:lnTo>
                  <a:lnTo>
                    <a:pt x="434" y="333"/>
                  </a:lnTo>
                  <a:lnTo>
                    <a:pt x="434" y="331"/>
                  </a:lnTo>
                  <a:lnTo>
                    <a:pt x="432" y="331"/>
                  </a:lnTo>
                  <a:lnTo>
                    <a:pt x="432" y="326"/>
                  </a:lnTo>
                  <a:lnTo>
                    <a:pt x="432" y="326"/>
                  </a:lnTo>
                  <a:lnTo>
                    <a:pt x="432" y="323"/>
                  </a:lnTo>
                  <a:lnTo>
                    <a:pt x="432" y="323"/>
                  </a:lnTo>
                  <a:lnTo>
                    <a:pt x="432" y="323"/>
                  </a:lnTo>
                  <a:lnTo>
                    <a:pt x="432" y="321"/>
                  </a:lnTo>
                  <a:lnTo>
                    <a:pt x="432" y="321"/>
                  </a:lnTo>
                  <a:lnTo>
                    <a:pt x="432" y="319"/>
                  </a:lnTo>
                  <a:lnTo>
                    <a:pt x="432" y="319"/>
                  </a:lnTo>
                  <a:lnTo>
                    <a:pt x="432" y="321"/>
                  </a:lnTo>
                  <a:lnTo>
                    <a:pt x="432" y="321"/>
                  </a:lnTo>
                  <a:lnTo>
                    <a:pt x="434" y="321"/>
                  </a:lnTo>
                  <a:lnTo>
                    <a:pt x="434" y="321"/>
                  </a:lnTo>
                  <a:lnTo>
                    <a:pt x="437" y="321"/>
                  </a:lnTo>
                  <a:lnTo>
                    <a:pt x="437" y="321"/>
                  </a:lnTo>
                  <a:lnTo>
                    <a:pt x="437" y="319"/>
                  </a:lnTo>
                  <a:lnTo>
                    <a:pt x="434" y="319"/>
                  </a:lnTo>
                  <a:lnTo>
                    <a:pt x="434" y="319"/>
                  </a:lnTo>
                  <a:lnTo>
                    <a:pt x="434" y="319"/>
                  </a:lnTo>
                  <a:lnTo>
                    <a:pt x="434" y="316"/>
                  </a:lnTo>
                  <a:lnTo>
                    <a:pt x="434" y="316"/>
                  </a:lnTo>
                  <a:lnTo>
                    <a:pt x="437" y="316"/>
                  </a:lnTo>
                  <a:lnTo>
                    <a:pt x="437" y="316"/>
                  </a:lnTo>
                  <a:lnTo>
                    <a:pt x="439" y="316"/>
                  </a:lnTo>
                  <a:lnTo>
                    <a:pt x="439" y="316"/>
                  </a:lnTo>
                  <a:lnTo>
                    <a:pt x="437" y="316"/>
                  </a:lnTo>
                  <a:lnTo>
                    <a:pt x="437" y="314"/>
                  </a:lnTo>
                  <a:lnTo>
                    <a:pt x="439" y="314"/>
                  </a:lnTo>
                  <a:lnTo>
                    <a:pt x="439" y="312"/>
                  </a:lnTo>
                  <a:lnTo>
                    <a:pt x="441" y="312"/>
                  </a:lnTo>
                  <a:lnTo>
                    <a:pt x="441" y="312"/>
                  </a:lnTo>
                  <a:lnTo>
                    <a:pt x="444" y="312"/>
                  </a:lnTo>
                  <a:lnTo>
                    <a:pt x="444" y="312"/>
                  </a:lnTo>
                  <a:lnTo>
                    <a:pt x="441" y="309"/>
                  </a:lnTo>
                  <a:lnTo>
                    <a:pt x="441" y="307"/>
                  </a:lnTo>
                  <a:lnTo>
                    <a:pt x="441" y="307"/>
                  </a:lnTo>
                  <a:lnTo>
                    <a:pt x="441" y="307"/>
                  </a:lnTo>
                  <a:lnTo>
                    <a:pt x="444" y="307"/>
                  </a:lnTo>
                  <a:lnTo>
                    <a:pt x="441" y="305"/>
                  </a:lnTo>
                  <a:lnTo>
                    <a:pt x="444" y="305"/>
                  </a:lnTo>
                  <a:lnTo>
                    <a:pt x="444" y="305"/>
                  </a:lnTo>
                  <a:lnTo>
                    <a:pt x="444" y="302"/>
                  </a:lnTo>
                  <a:lnTo>
                    <a:pt x="444" y="302"/>
                  </a:lnTo>
                  <a:lnTo>
                    <a:pt x="444" y="302"/>
                  </a:lnTo>
                  <a:lnTo>
                    <a:pt x="441" y="302"/>
                  </a:lnTo>
                  <a:lnTo>
                    <a:pt x="441" y="305"/>
                  </a:lnTo>
                  <a:lnTo>
                    <a:pt x="441" y="305"/>
                  </a:lnTo>
                  <a:lnTo>
                    <a:pt x="441" y="302"/>
                  </a:lnTo>
                  <a:lnTo>
                    <a:pt x="439" y="305"/>
                  </a:lnTo>
                  <a:lnTo>
                    <a:pt x="439" y="302"/>
                  </a:lnTo>
                  <a:lnTo>
                    <a:pt x="437" y="302"/>
                  </a:lnTo>
                  <a:lnTo>
                    <a:pt x="437" y="305"/>
                  </a:lnTo>
                  <a:lnTo>
                    <a:pt x="437" y="305"/>
                  </a:lnTo>
                  <a:lnTo>
                    <a:pt x="437" y="302"/>
                  </a:lnTo>
                  <a:lnTo>
                    <a:pt x="434" y="302"/>
                  </a:lnTo>
                  <a:lnTo>
                    <a:pt x="434" y="302"/>
                  </a:lnTo>
                  <a:lnTo>
                    <a:pt x="434" y="305"/>
                  </a:lnTo>
                  <a:lnTo>
                    <a:pt x="432" y="305"/>
                  </a:lnTo>
                  <a:lnTo>
                    <a:pt x="432" y="305"/>
                  </a:lnTo>
                  <a:lnTo>
                    <a:pt x="432" y="307"/>
                  </a:lnTo>
                  <a:lnTo>
                    <a:pt x="430" y="307"/>
                  </a:lnTo>
                  <a:lnTo>
                    <a:pt x="430" y="307"/>
                  </a:lnTo>
                  <a:lnTo>
                    <a:pt x="430" y="309"/>
                  </a:lnTo>
                  <a:lnTo>
                    <a:pt x="430" y="309"/>
                  </a:lnTo>
                  <a:lnTo>
                    <a:pt x="427" y="309"/>
                  </a:lnTo>
                  <a:lnTo>
                    <a:pt x="427" y="309"/>
                  </a:lnTo>
                  <a:lnTo>
                    <a:pt x="427" y="309"/>
                  </a:lnTo>
                  <a:lnTo>
                    <a:pt x="427" y="312"/>
                  </a:lnTo>
                  <a:lnTo>
                    <a:pt x="427" y="312"/>
                  </a:lnTo>
                  <a:lnTo>
                    <a:pt x="427" y="312"/>
                  </a:lnTo>
                  <a:lnTo>
                    <a:pt x="425" y="312"/>
                  </a:lnTo>
                  <a:lnTo>
                    <a:pt x="425" y="312"/>
                  </a:lnTo>
                  <a:lnTo>
                    <a:pt x="425" y="312"/>
                  </a:lnTo>
                  <a:lnTo>
                    <a:pt x="425" y="314"/>
                  </a:lnTo>
                  <a:lnTo>
                    <a:pt x="425" y="314"/>
                  </a:lnTo>
                  <a:lnTo>
                    <a:pt x="425" y="314"/>
                  </a:lnTo>
                  <a:lnTo>
                    <a:pt x="423" y="314"/>
                  </a:lnTo>
                  <a:lnTo>
                    <a:pt x="425" y="314"/>
                  </a:lnTo>
                  <a:lnTo>
                    <a:pt x="423" y="314"/>
                  </a:lnTo>
                  <a:lnTo>
                    <a:pt x="423" y="316"/>
                  </a:lnTo>
                  <a:lnTo>
                    <a:pt x="423" y="314"/>
                  </a:lnTo>
                  <a:lnTo>
                    <a:pt x="423" y="316"/>
                  </a:lnTo>
                  <a:lnTo>
                    <a:pt x="420" y="316"/>
                  </a:lnTo>
                  <a:lnTo>
                    <a:pt x="420" y="316"/>
                  </a:lnTo>
                  <a:lnTo>
                    <a:pt x="420" y="316"/>
                  </a:lnTo>
                  <a:lnTo>
                    <a:pt x="418" y="319"/>
                  </a:lnTo>
                  <a:lnTo>
                    <a:pt x="418" y="319"/>
                  </a:lnTo>
                  <a:lnTo>
                    <a:pt x="416" y="319"/>
                  </a:lnTo>
                  <a:lnTo>
                    <a:pt x="416" y="319"/>
                  </a:lnTo>
                  <a:lnTo>
                    <a:pt x="416" y="319"/>
                  </a:lnTo>
                  <a:lnTo>
                    <a:pt x="416" y="319"/>
                  </a:lnTo>
                  <a:lnTo>
                    <a:pt x="416" y="321"/>
                  </a:lnTo>
                  <a:lnTo>
                    <a:pt x="416" y="321"/>
                  </a:lnTo>
                  <a:lnTo>
                    <a:pt x="413" y="319"/>
                  </a:lnTo>
                  <a:lnTo>
                    <a:pt x="413" y="321"/>
                  </a:lnTo>
                  <a:lnTo>
                    <a:pt x="411" y="321"/>
                  </a:lnTo>
                  <a:lnTo>
                    <a:pt x="413" y="321"/>
                  </a:lnTo>
                  <a:lnTo>
                    <a:pt x="411" y="321"/>
                  </a:lnTo>
                  <a:lnTo>
                    <a:pt x="411" y="323"/>
                  </a:lnTo>
                  <a:lnTo>
                    <a:pt x="411" y="321"/>
                  </a:lnTo>
                  <a:lnTo>
                    <a:pt x="411" y="323"/>
                  </a:lnTo>
                  <a:lnTo>
                    <a:pt x="411" y="323"/>
                  </a:lnTo>
                  <a:lnTo>
                    <a:pt x="411" y="323"/>
                  </a:lnTo>
                  <a:lnTo>
                    <a:pt x="411" y="326"/>
                  </a:lnTo>
                  <a:lnTo>
                    <a:pt x="411" y="326"/>
                  </a:lnTo>
                  <a:lnTo>
                    <a:pt x="408" y="326"/>
                  </a:lnTo>
                  <a:lnTo>
                    <a:pt x="408" y="326"/>
                  </a:lnTo>
                  <a:lnTo>
                    <a:pt x="406" y="328"/>
                  </a:lnTo>
                  <a:lnTo>
                    <a:pt x="406" y="328"/>
                  </a:lnTo>
                  <a:lnTo>
                    <a:pt x="408" y="328"/>
                  </a:lnTo>
                  <a:lnTo>
                    <a:pt x="406" y="328"/>
                  </a:lnTo>
                  <a:lnTo>
                    <a:pt x="406" y="331"/>
                  </a:lnTo>
                  <a:lnTo>
                    <a:pt x="406" y="331"/>
                  </a:lnTo>
                  <a:lnTo>
                    <a:pt x="404" y="331"/>
                  </a:lnTo>
                  <a:lnTo>
                    <a:pt x="401" y="331"/>
                  </a:lnTo>
                  <a:lnTo>
                    <a:pt x="401" y="331"/>
                  </a:lnTo>
                  <a:lnTo>
                    <a:pt x="401" y="331"/>
                  </a:lnTo>
                  <a:lnTo>
                    <a:pt x="401" y="331"/>
                  </a:lnTo>
                  <a:lnTo>
                    <a:pt x="401" y="333"/>
                  </a:lnTo>
                  <a:lnTo>
                    <a:pt x="399" y="333"/>
                  </a:lnTo>
                  <a:lnTo>
                    <a:pt x="399" y="333"/>
                  </a:lnTo>
                  <a:lnTo>
                    <a:pt x="397" y="335"/>
                  </a:lnTo>
                  <a:lnTo>
                    <a:pt x="394" y="335"/>
                  </a:lnTo>
                  <a:lnTo>
                    <a:pt x="394" y="338"/>
                  </a:lnTo>
                  <a:lnTo>
                    <a:pt x="394" y="338"/>
                  </a:lnTo>
                  <a:lnTo>
                    <a:pt x="392" y="340"/>
                  </a:lnTo>
                  <a:lnTo>
                    <a:pt x="392" y="340"/>
                  </a:lnTo>
                  <a:lnTo>
                    <a:pt x="392" y="342"/>
                  </a:lnTo>
                  <a:lnTo>
                    <a:pt x="390" y="342"/>
                  </a:lnTo>
                  <a:lnTo>
                    <a:pt x="390" y="345"/>
                  </a:lnTo>
                  <a:lnTo>
                    <a:pt x="387" y="345"/>
                  </a:lnTo>
                  <a:lnTo>
                    <a:pt x="387" y="345"/>
                  </a:lnTo>
                  <a:lnTo>
                    <a:pt x="387" y="345"/>
                  </a:lnTo>
                  <a:lnTo>
                    <a:pt x="385" y="345"/>
                  </a:lnTo>
                  <a:lnTo>
                    <a:pt x="385" y="345"/>
                  </a:lnTo>
                  <a:lnTo>
                    <a:pt x="385" y="345"/>
                  </a:lnTo>
                  <a:lnTo>
                    <a:pt x="382" y="347"/>
                  </a:lnTo>
                  <a:lnTo>
                    <a:pt x="382" y="349"/>
                  </a:lnTo>
                  <a:lnTo>
                    <a:pt x="380" y="349"/>
                  </a:lnTo>
                  <a:lnTo>
                    <a:pt x="380" y="352"/>
                  </a:lnTo>
                  <a:lnTo>
                    <a:pt x="380" y="354"/>
                  </a:lnTo>
                  <a:lnTo>
                    <a:pt x="380" y="354"/>
                  </a:lnTo>
                  <a:lnTo>
                    <a:pt x="378" y="354"/>
                  </a:lnTo>
                  <a:lnTo>
                    <a:pt x="375" y="354"/>
                  </a:lnTo>
                  <a:lnTo>
                    <a:pt x="375" y="354"/>
                  </a:lnTo>
                  <a:lnTo>
                    <a:pt x="373" y="354"/>
                  </a:lnTo>
                  <a:lnTo>
                    <a:pt x="373" y="354"/>
                  </a:lnTo>
                  <a:lnTo>
                    <a:pt x="371" y="354"/>
                  </a:lnTo>
                  <a:lnTo>
                    <a:pt x="368" y="357"/>
                  </a:lnTo>
                  <a:lnTo>
                    <a:pt x="366" y="359"/>
                  </a:lnTo>
                  <a:lnTo>
                    <a:pt x="361" y="359"/>
                  </a:lnTo>
                  <a:lnTo>
                    <a:pt x="359" y="361"/>
                  </a:lnTo>
                  <a:lnTo>
                    <a:pt x="359" y="364"/>
                  </a:lnTo>
                  <a:lnTo>
                    <a:pt x="359" y="364"/>
                  </a:lnTo>
                  <a:lnTo>
                    <a:pt x="356" y="366"/>
                  </a:lnTo>
                  <a:lnTo>
                    <a:pt x="356" y="368"/>
                  </a:lnTo>
                  <a:lnTo>
                    <a:pt x="354" y="368"/>
                  </a:lnTo>
                  <a:lnTo>
                    <a:pt x="354" y="371"/>
                  </a:lnTo>
                  <a:lnTo>
                    <a:pt x="354" y="373"/>
                  </a:lnTo>
                  <a:lnTo>
                    <a:pt x="352" y="373"/>
                  </a:lnTo>
                  <a:lnTo>
                    <a:pt x="349" y="373"/>
                  </a:lnTo>
                  <a:lnTo>
                    <a:pt x="347" y="373"/>
                  </a:lnTo>
                  <a:lnTo>
                    <a:pt x="347" y="375"/>
                  </a:lnTo>
                  <a:lnTo>
                    <a:pt x="345" y="375"/>
                  </a:lnTo>
                  <a:lnTo>
                    <a:pt x="340" y="375"/>
                  </a:lnTo>
                  <a:lnTo>
                    <a:pt x="340" y="375"/>
                  </a:lnTo>
                  <a:lnTo>
                    <a:pt x="338" y="373"/>
                  </a:lnTo>
                  <a:lnTo>
                    <a:pt x="335" y="375"/>
                  </a:lnTo>
                  <a:lnTo>
                    <a:pt x="335" y="375"/>
                  </a:lnTo>
                  <a:lnTo>
                    <a:pt x="335" y="375"/>
                  </a:lnTo>
                  <a:lnTo>
                    <a:pt x="333" y="375"/>
                  </a:lnTo>
                  <a:lnTo>
                    <a:pt x="333" y="378"/>
                  </a:lnTo>
                  <a:lnTo>
                    <a:pt x="297" y="378"/>
                  </a:lnTo>
                  <a:lnTo>
                    <a:pt x="227" y="378"/>
                  </a:lnTo>
                  <a:lnTo>
                    <a:pt x="227" y="375"/>
                  </a:lnTo>
                  <a:lnTo>
                    <a:pt x="231" y="375"/>
                  </a:lnTo>
                  <a:lnTo>
                    <a:pt x="231" y="373"/>
                  </a:lnTo>
                  <a:lnTo>
                    <a:pt x="231" y="373"/>
                  </a:lnTo>
                  <a:lnTo>
                    <a:pt x="231" y="371"/>
                  </a:lnTo>
                  <a:lnTo>
                    <a:pt x="229" y="368"/>
                  </a:lnTo>
                  <a:lnTo>
                    <a:pt x="229" y="368"/>
                  </a:lnTo>
                  <a:lnTo>
                    <a:pt x="229" y="366"/>
                  </a:lnTo>
                  <a:lnTo>
                    <a:pt x="231" y="366"/>
                  </a:lnTo>
                  <a:lnTo>
                    <a:pt x="231" y="364"/>
                  </a:lnTo>
                  <a:lnTo>
                    <a:pt x="234" y="364"/>
                  </a:lnTo>
                  <a:lnTo>
                    <a:pt x="234" y="361"/>
                  </a:lnTo>
                  <a:lnTo>
                    <a:pt x="231" y="359"/>
                  </a:lnTo>
                  <a:lnTo>
                    <a:pt x="231" y="357"/>
                  </a:lnTo>
                  <a:lnTo>
                    <a:pt x="231" y="357"/>
                  </a:lnTo>
                  <a:lnTo>
                    <a:pt x="231" y="354"/>
                  </a:lnTo>
                  <a:lnTo>
                    <a:pt x="234" y="352"/>
                  </a:lnTo>
                  <a:lnTo>
                    <a:pt x="234" y="352"/>
                  </a:lnTo>
                  <a:lnTo>
                    <a:pt x="231" y="349"/>
                  </a:lnTo>
                  <a:lnTo>
                    <a:pt x="227" y="347"/>
                  </a:lnTo>
                  <a:lnTo>
                    <a:pt x="227" y="347"/>
                  </a:lnTo>
                  <a:lnTo>
                    <a:pt x="224" y="347"/>
                  </a:lnTo>
                  <a:lnTo>
                    <a:pt x="224" y="347"/>
                  </a:lnTo>
                  <a:lnTo>
                    <a:pt x="222" y="347"/>
                  </a:lnTo>
                  <a:lnTo>
                    <a:pt x="222" y="345"/>
                  </a:lnTo>
                  <a:lnTo>
                    <a:pt x="219" y="345"/>
                  </a:lnTo>
                  <a:lnTo>
                    <a:pt x="219" y="345"/>
                  </a:lnTo>
                  <a:lnTo>
                    <a:pt x="219" y="342"/>
                  </a:lnTo>
                  <a:lnTo>
                    <a:pt x="219" y="340"/>
                  </a:lnTo>
                  <a:lnTo>
                    <a:pt x="222" y="338"/>
                  </a:lnTo>
                  <a:lnTo>
                    <a:pt x="222" y="335"/>
                  </a:lnTo>
                  <a:lnTo>
                    <a:pt x="222" y="333"/>
                  </a:lnTo>
                  <a:lnTo>
                    <a:pt x="219" y="331"/>
                  </a:lnTo>
                  <a:lnTo>
                    <a:pt x="222" y="328"/>
                  </a:lnTo>
                  <a:lnTo>
                    <a:pt x="219" y="328"/>
                  </a:lnTo>
                  <a:lnTo>
                    <a:pt x="219" y="328"/>
                  </a:lnTo>
                  <a:lnTo>
                    <a:pt x="217" y="326"/>
                  </a:lnTo>
                  <a:lnTo>
                    <a:pt x="217" y="319"/>
                  </a:lnTo>
                  <a:lnTo>
                    <a:pt x="215" y="316"/>
                  </a:lnTo>
                  <a:lnTo>
                    <a:pt x="212" y="319"/>
                  </a:lnTo>
                  <a:lnTo>
                    <a:pt x="212" y="316"/>
                  </a:lnTo>
                  <a:lnTo>
                    <a:pt x="210" y="319"/>
                  </a:lnTo>
                  <a:lnTo>
                    <a:pt x="208" y="319"/>
                  </a:lnTo>
                  <a:lnTo>
                    <a:pt x="208" y="316"/>
                  </a:lnTo>
                  <a:lnTo>
                    <a:pt x="208" y="316"/>
                  </a:lnTo>
                  <a:lnTo>
                    <a:pt x="205" y="316"/>
                  </a:lnTo>
                  <a:lnTo>
                    <a:pt x="205" y="314"/>
                  </a:lnTo>
                  <a:lnTo>
                    <a:pt x="205" y="312"/>
                  </a:lnTo>
                  <a:lnTo>
                    <a:pt x="205" y="312"/>
                  </a:lnTo>
                  <a:lnTo>
                    <a:pt x="205" y="312"/>
                  </a:lnTo>
                  <a:lnTo>
                    <a:pt x="203" y="312"/>
                  </a:lnTo>
                  <a:lnTo>
                    <a:pt x="203" y="312"/>
                  </a:lnTo>
                  <a:lnTo>
                    <a:pt x="203" y="312"/>
                  </a:lnTo>
                  <a:lnTo>
                    <a:pt x="201" y="312"/>
                  </a:lnTo>
                  <a:lnTo>
                    <a:pt x="201" y="312"/>
                  </a:lnTo>
                  <a:lnTo>
                    <a:pt x="198" y="312"/>
                  </a:lnTo>
                  <a:lnTo>
                    <a:pt x="198" y="309"/>
                  </a:lnTo>
                  <a:lnTo>
                    <a:pt x="196" y="309"/>
                  </a:lnTo>
                  <a:lnTo>
                    <a:pt x="196" y="309"/>
                  </a:lnTo>
                  <a:lnTo>
                    <a:pt x="196" y="309"/>
                  </a:lnTo>
                  <a:lnTo>
                    <a:pt x="193" y="309"/>
                  </a:lnTo>
                  <a:lnTo>
                    <a:pt x="193" y="309"/>
                  </a:lnTo>
                  <a:lnTo>
                    <a:pt x="193" y="309"/>
                  </a:lnTo>
                  <a:lnTo>
                    <a:pt x="193" y="309"/>
                  </a:lnTo>
                  <a:lnTo>
                    <a:pt x="193" y="309"/>
                  </a:lnTo>
                  <a:lnTo>
                    <a:pt x="191" y="312"/>
                  </a:lnTo>
                  <a:lnTo>
                    <a:pt x="189" y="309"/>
                  </a:lnTo>
                  <a:lnTo>
                    <a:pt x="189" y="312"/>
                  </a:lnTo>
                  <a:lnTo>
                    <a:pt x="189" y="309"/>
                  </a:lnTo>
                  <a:lnTo>
                    <a:pt x="186" y="309"/>
                  </a:lnTo>
                  <a:lnTo>
                    <a:pt x="184" y="312"/>
                  </a:lnTo>
                  <a:lnTo>
                    <a:pt x="184" y="312"/>
                  </a:lnTo>
                  <a:lnTo>
                    <a:pt x="182" y="309"/>
                  </a:lnTo>
                  <a:lnTo>
                    <a:pt x="184" y="309"/>
                  </a:lnTo>
                  <a:lnTo>
                    <a:pt x="182" y="309"/>
                  </a:lnTo>
                  <a:lnTo>
                    <a:pt x="182" y="309"/>
                  </a:lnTo>
                  <a:lnTo>
                    <a:pt x="182" y="309"/>
                  </a:lnTo>
                  <a:lnTo>
                    <a:pt x="182" y="309"/>
                  </a:lnTo>
                  <a:lnTo>
                    <a:pt x="182" y="309"/>
                  </a:lnTo>
                  <a:lnTo>
                    <a:pt x="179" y="309"/>
                  </a:lnTo>
                  <a:lnTo>
                    <a:pt x="179" y="309"/>
                  </a:lnTo>
                  <a:lnTo>
                    <a:pt x="179" y="309"/>
                  </a:lnTo>
                  <a:lnTo>
                    <a:pt x="179" y="309"/>
                  </a:lnTo>
                  <a:lnTo>
                    <a:pt x="179" y="307"/>
                  </a:lnTo>
                  <a:lnTo>
                    <a:pt x="177" y="309"/>
                  </a:lnTo>
                  <a:lnTo>
                    <a:pt x="177" y="307"/>
                  </a:lnTo>
                  <a:lnTo>
                    <a:pt x="177" y="307"/>
                  </a:lnTo>
                  <a:lnTo>
                    <a:pt x="177" y="307"/>
                  </a:lnTo>
                  <a:lnTo>
                    <a:pt x="177" y="307"/>
                  </a:lnTo>
                  <a:lnTo>
                    <a:pt x="175" y="307"/>
                  </a:lnTo>
                  <a:lnTo>
                    <a:pt x="172" y="307"/>
                  </a:lnTo>
                  <a:lnTo>
                    <a:pt x="172" y="307"/>
                  </a:lnTo>
                  <a:lnTo>
                    <a:pt x="170" y="307"/>
                  </a:lnTo>
                  <a:lnTo>
                    <a:pt x="170" y="307"/>
                  </a:lnTo>
                  <a:lnTo>
                    <a:pt x="170" y="307"/>
                  </a:lnTo>
                  <a:lnTo>
                    <a:pt x="170" y="305"/>
                  </a:lnTo>
                  <a:lnTo>
                    <a:pt x="170" y="307"/>
                  </a:lnTo>
                  <a:lnTo>
                    <a:pt x="167" y="305"/>
                  </a:lnTo>
                  <a:lnTo>
                    <a:pt x="167" y="307"/>
                  </a:lnTo>
                  <a:lnTo>
                    <a:pt x="167" y="307"/>
                  </a:lnTo>
                  <a:lnTo>
                    <a:pt x="165" y="307"/>
                  </a:lnTo>
                  <a:lnTo>
                    <a:pt x="165" y="305"/>
                  </a:lnTo>
                  <a:lnTo>
                    <a:pt x="165" y="305"/>
                  </a:lnTo>
                  <a:lnTo>
                    <a:pt x="163" y="305"/>
                  </a:lnTo>
                  <a:lnTo>
                    <a:pt x="163" y="305"/>
                  </a:lnTo>
                  <a:lnTo>
                    <a:pt x="163" y="305"/>
                  </a:lnTo>
                  <a:lnTo>
                    <a:pt x="160" y="305"/>
                  </a:lnTo>
                  <a:lnTo>
                    <a:pt x="160" y="305"/>
                  </a:lnTo>
                  <a:lnTo>
                    <a:pt x="160" y="305"/>
                  </a:lnTo>
                  <a:lnTo>
                    <a:pt x="160" y="302"/>
                  </a:lnTo>
                  <a:lnTo>
                    <a:pt x="160" y="305"/>
                  </a:lnTo>
                  <a:lnTo>
                    <a:pt x="158" y="302"/>
                  </a:lnTo>
                  <a:lnTo>
                    <a:pt x="158" y="302"/>
                  </a:lnTo>
                  <a:lnTo>
                    <a:pt x="158" y="302"/>
                  </a:lnTo>
                  <a:lnTo>
                    <a:pt x="158" y="300"/>
                  </a:lnTo>
                  <a:lnTo>
                    <a:pt x="158" y="300"/>
                  </a:lnTo>
                  <a:lnTo>
                    <a:pt x="149" y="300"/>
                  </a:lnTo>
                  <a:lnTo>
                    <a:pt x="99" y="300"/>
                  </a:lnTo>
                  <a:lnTo>
                    <a:pt x="101" y="300"/>
                  </a:lnTo>
                  <a:lnTo>
                    <a:pt x="101" y="295"/>
                  </a:lnTo>
                  <a:lnTo>
                    <a:pt x="101" y="295"/>
                  </a:lnTo>
                  <a:lnTo>
                    <a:pt x="104" y="293"/>
                  </a:lnTo>
                  <a:lnTo>
                    <a:pt x="106" y="293"/>
                  </a:lnTo>
                  <a:lnTo>
                    <a:pt x="106" y="290"/>
                  </a:lnTo>
                  <a:lnTo>
                    <a:pt x="108" y="290"/>
                  </a:lnTo>
                  <a:lnTo>
                    <a:pt x="111" y="288"/>
                  </a:lnTo>
                  <a:lnTo>
                    <a:pt x="113" y="286"/>
                  </a:lnTo>
                  <a:lnTo>
                    <a:pt x="113" y="286"/>
                  </a:lnTo>
                  <a:lnTo>
                    <a:pt x="113" y="283"/>
                  </a:lnTo>
                  <a:lnTo>
                    <a:pt x="111" y="283"/>
                  </a:lnTo>
                  <a:lnTo>
                    <a:pt x="113" y="283"/>
                  </a:lnTo>
                  <a:lnTo>
                    <a:pt x="115" y="279"/>
                  </a:lnTo>
                  <a:lnTo>
                    <a:pt x="120" y="276"/>
                  </a:lnTo>
                  <a:lnTo>
                    <a:pt x="120" y="279"/>
                  </a:lnTo>
                  <a:lnTo>
                    <a:pt x="120" y="279"/>
                  </a:lnTo>
                  <a:lnTo>
                    <a:pt x="123" y="276"/>
                  </a:lnTo>
                  <a:lnTo>
                    <a:pt x="123" y="276"/>
                  </a:lnTo>
                  <a:lnTo>
                    <a:pt x="125" y="274"/>
                  </a:lnTo>
                  <a:lnTo>
                    <a:pt x="125" y="274"/>
                  </a:lnTo>
                  <a:lnTo>
                    <a:pt x="127" y="274"/>
                  </a:lnTo>
                  <a:lnTo>
                    <a:pt x="127" y="272"/>
                  </a:lnTo>
                  <a:lnTo>
                    <a:pt x="125" y="272"/>
                  </a:lnTo>
                  <a:lnTo>
                    <a:pt x="123" y="272"/>
                  </a:lnTo>
                  <a:lnTo>
                    <a:pt x="125" y="269"/>
                  </a:lnTo>
                  <a:lnTo>
                    <a:pt x="130" y="267"/>
                  </a:lnTo>
                  <a:lnTo>
                    <a:pt x="132" y="264"/>
                  </a:lnTo>
                  <a:lnTo>
                    <a:pt x="132" y="262"/>
                  </a:lnTo>
                  <a:lnTo>
                    <a:pt x="132" y="257"/>
                  </a:lnTo>
                  <a:lnTo>
                    <a:pt x="134" y="255"/>
                  </a:lnTo>
                  <a:lnTo>
                    <a:pt x="132" y="255"/>
                  </a:lnTo>
                  <a:lnTo>
                    <a:pt x="132" y="250"/>
                  </a:lnTo>
                  <a:lnTo>
                    <a:pt x="132" y="248"/>
                  </a:lnTo>
                  <a:lnTo>
                    <a:pt x="132" y="248"/>
                  </a:lnTo>
                  <a:lnTo>
                    <a:pt x="132" y="248"/>
                  </a:lnTo>
                  <a:lnTo>
                    <a:pt x="134" y="246"/>
                  </a:lnTo>
                  <a:lnTo>
                    <a:pt x="130" y="246"/>
                  </a:lnTo>
                  <a:lnTo>
                    <a:pt x="127" y="236"/>
                  </a:lnTo>
                  <a:lnTo>
                    <a:pt x="125" y="236"/>
                  </a:lnTo>
                  <a:lnTo>
                    <a:pt x="123" y="236"/>
                  </a:lnTo>
                  <a:lnTo>
                    <a:pt x="123" y="234"/>
                  </a:lnTo>
                  <a:lnTo>
                    <a:pt x="123" y="236"/>
                  </a:lnTo>
                  <a:lnTo>
                    <a:pt x="123" y="236"/>
                  </a:lnTo>
                  <a:lnTo>
                    <a:pt x="120" y="234"/>
                  </a:lnTo>
                  <a:lnTo>
                    <a:pt x="120" y="231"/>
                  </a:lnTo>
                  <a:lnTo>
                    <a:pt x="120" y="229"/>
                  </a:lnTo>
                  <a:lnTo>
                    <a:pt x="118" y="229"/>
                  </a:lnTo>
                  <a:lnTo>
                    <a:pt x="118" y="227"/>
                  </a:lnTo>
                  <a:lnTo>
                    <a:pt x="115" y="227"/>
                  </a:lnTo>
                  <a:lnTo>
                    <a:pt x="115" y="224"/>
                  </a:lnTo>
                  <a:lnTo>
                    <a:pt x="115" y="220"/>
                  </a:lnTo>
                  <a:lnTo>
                    <a:pt x="113" y="217"/>
                  </a:lnTo>
                  <a:lnTo>
                    <a:pt x="111" y="212"/>
                  </a:lnTo>
                  <a:lnTo>
                    <a:pt x="111" y="210"/>
                  </a:lnTo>
                  <a:lnTo>
                    <a:pt x="108" y="208"/>
                  </a:lnTo>
                  <a:lnTo>
                    <a:pt x="106" y="205"/>
                  </a:lnTo>
                  <a:lnTo>
                    <a:pt x="106" y="205"/>
                  </a:lnTo>
                  <a:lnTo>
                    <a:pt x="104" y="205"/>
                  </a:lnTo>
                  <a:lnTo>
                    <a:pt x="101" y="205"/>
                  </a:lnTo>
                  <a:lnTo>
                    <a:pt x="99" y="205"/>
                  </a:lnTo>
                  <a:lnTo>
                    <a:pt x="99" y="205"/>
                  </a:lnTo>
                  <a:lnTo>
                    <a:pt x="97" y="205"/>
                  </a:lnTo>
                  <a:lnTo>
                    <a:pt x="97" y="203"/>
                  </a:lnTo>
                  <a:lnTo>
                    <a:pt x="97" y="203"/>
                  </a:lnTo>
                  <a:lnTo>
                    <a:pt x="94" y="201"/>
                  </a:lnTo>
                  <a:lnTo>
                    <a:pt x="94" y="198"/>
                  </a:lnTo>
                  <a:lnTo>
                    <a:pt x="94" y="198"/>
                  </a:lnTo>
                  <a:lnTo>
                    <a:pt x="92" y="198"/>
                  </a:lnTo>
                  <a:lnTo>
                    <a:pt x="92" y="198"/>
                  </a:lnTo>
                  <a:lnTo>
                    <a:pt x="92" y="196"/>
                  </a:lnTo>
                  <a:lnTo>
                    <a:pt x="90" y="198"/>
                  </a:lnTo>
                  <a:lnTo>
                    <a:pt x="90" y="194"/>
                  </a:lnTo>
                  <a:lnTo>
                    <a:pt x="90" y="194"/>
                  </a:lnTo>
                  <a:lnTo>
                    <a:pt x="92" y="189"/>
                  </a:lnTo>
                  <a:lnTo>
                    <a:pt x="90" y="182"/>
                  </a:lnTo>
                  <a:lnTo>
                    <a:pt x="87" y="179"/>
                  </a:lnTo>
                  <a:lnTo>
                    <a:pt x="85" y="179"/>
                  </a:lnTo>
                  <a:lnTo>
                    <a:pt x="85" y="177"/>
                  </a:lnTo>
                  <a:lnTo>
                    <a:pt x="82" y="177"/>
                  </a:lnTo>
                  <a:lnTo>
                    <a:pt x="80" y="177"/>
                  </a:lnTo>
                  <a:lnTo>
                    <a:pt x="78" y="177"/>
                  </a:lnTo>
                  <a:lnTo>
                    <a:pt x="78" y="177"/>
                  </a:lnTo>
                  <a:lnTo>
                    <a:pt x="78" y="177"/>
                  </a:lnTo>
                  <a:lnTo>
                    <a:pt x="75" y="175"/>
                  </a:lnTo>
                  <a:lnTo>
                    <a:pt x="75" y="172"/>
                  </a:lnTo>
                  <a:lnTo>
                    <a:pt x="73" y="170"/>
                  </a:lnTo>
                  <a:lnTo>
                    <a:pt x="73" y="170"/>
                  </a:lnTo>
                  <a:lnTo>
                    <a:pt x="73" y="170"/>
                  </a:lnTo>
                  <a:lnTo>
                    <a:pt x="71" y="170"/>
                  </a:lnTo>
                  <a:lnTo>
                    <a:pt x="68" y="168"/>
                  </a:lnTo>
                  <a:lnTo>
                    <a:pt x="66" y="168"/>
                  </a:lnTo>
                  <a:lnTo>
                    <a:pt x="64" y="168"/>
                  </a:lnTo>
                  <a:lnTo>
                    <a:pt x="64" y="165"/>
                  </a:lnTo>
                  <a:lnTo>
                    <a:pt x="61" y="165"/>
                  </a:lnTo>
                  <a:lnTo>
                    <a:pt x="61" y="165"/>
                  </a:lnTo>
                  <a:lnTo>
                    <a:pt x="59" y="161"/>
                  </a:lnTo>
                  <a:lnTo>
                    <a:pt x="59" y="156"/>
                  </a:lnTo>
                  <a:lnTo>
                    <a:pt x="56" y="156"/>
                  </a:lnTo>
                  <a:lnTo>
                    <a:pt x="59" y="151"/>
                  </a:lnTo>
                  <a:lnTo>
                    <a:pt x="56" y="149"/>
                  </a:lnTo>
                  <a:lnTo>
                    <a:pt x="56" y="149"/>
                  </a:lnTo>
                  <a:lnTo>
                    <a:pt x="56" y="146"/>
                  </a:lnTo>
                  <a:lnTo>
                    <a:pt x="54" y="146"/>
                  </a:lnTo>
                  <a:lnTo>
                    <a:pt x="52" y="144"/>
                  </a:lnTo>
                  <a:lnTo>
                    <a:pt x="52" y="144"/>
                  </a:lnTo>
                  <a:lnTo>
                    <a:pt x="52" y="142"/>
                  </a:lnTo>
                  <a:lnTo>
                    <a:pt x="52" y="139"/>
                  </a:lnTo>
                  <a:lnTo>
                    <a:pt x="52" y="135"/>
                  </a:lnTo>
                  <a:lnTo>
                    <a:pt x="52" y="132"/>
                  </a:lnTo>
                  <a:lnTo>
                    <a:pt x="52" y="130"/>
                  </a:lnTo>
                  <a:lnTo>
                    <a:pt x="49" y="127"/>
                  </a:lnTo>
                  <a:lnTo>
                    <a:pt x="47" y="125"/>
                  </a:lnTo>
                  <a:lnTo>
                    <a:pt x="47" y="125"/>
                  </a:lnTo>
                  <a:lnTo>
                    <a:pt x="47" y="120"/>
                  </a:lnTo>
                  <a:lnTo>
                    <a:pt x="47" y="118"/>
                  </a:lnTo>
                  <a:lnTo>
                    <a:pt x="45" y="116"/>
                  </a:lnTo>
                  <a:lnTo>
                    <a:pt x="42" y="118"/>
                  </a:lnTo>
                  <a:lnTo>
                    <a:pt x="40" y="118"/>
                  </a:lnTo>
                  <a:lnTo>
                    <a:pt x="40" y="113"/>
                  </a:lnTo>
                  <a:lnTo>
                    <a:pt x="38" y="111"/>
                  </a:lnTo>
                  <a:lnTo>
                    <a:pt x="35" y="111"/>
                  </a:lnTo>
                  <a:lnTo>
                    <a:pt x="33" y="111"/>
                  </a:lnTo>
                  <a:lnTo>
                    <a:pt x="33" y="111"/>
                  </a:lnTo>
                  <a:lnTo>
                    <a:pt x="33" y="111"/>
                  </a:lnTo>
                  <a:lnTo>
                    <a:pt x="30" y="111"/>
                  </a:lnTo>
                  <a:lnTo>
                    <a:pt x="30" y="109"/>
                  </a:lnTo>
                  <a:lnTo>
                    <a:pt x="30" y="106"/>
                  </a:lnTo>
                  <a:lnTo>
                    <a:pt x="28" y="104"/>
                  </a:lnTo>
                  <a:lnTo>
                    <a:pt x="28" y="101"/>
                  </a:lnTo>
                  <a:lnTo>
                    <a:pt x="30" y="101"/>
                  </a:lnTo>
                  <a:lnTo>
                    <a:pt x="28" y="99"/>
                  </a:lnTo>
                  <a:lnTo>
                    <a:pt x="30" y="97"/>
                  </a:lnTo>
                  <a:lnTo>
                    <a:pt x="30" y="97"/>
                  </a:lnTo>
                  <a:lnTo>
                    <a:pt x="33" y="99"/>
                  </a:lnTo>
                  <a:lnTo>
                    <a:pt x="35" y="99"/>
                  </a:lnTo>
                  <a:lnTo>
                    <a:pt x="38" y="99"/>
                  </a:lnTo>
                  <a:lnTo>
                    <a:pt x="38" y="97"/>
                  </a:lnTo>
                  <a:lnTo>
                    <a:pt x="40" y="97"/>
                  </a:lnTo>
                  <a:lnTo>
                    <a:pt x="40" y="92"/>
                  </a:lnTo>
                  <a:lnTo>
                    <a:pt x="40" y="90"/>
                  </a:lnTo>
                  <a:lnTo>
                    <a:pt x="40" y="87"/>
                  </a:lnTo>
                  <a:lnTo>
                    <a:pt x="38" y="85"/>
                  </a:lnTo>
                  <a:lnTo>
                    <a:pt x="33" y="83"/>
                  </a:lnTo>
                  <a:lnTo>
                    <a:pt x="33" y="83"/>
                  </a:lnTo>
                  <a:lnTo>
                    <a:pt x="26" y="80"/>
                  </a:lnTo>
                  <a:lnTo>
                    <a:pt x="23" y="80"/>
                  </a:lnTo>
                  <a:lnTo>
                    <a:pt x="21" y="80"/>
                  </a:lnTo>
                  <a:lnTo>
                    <a:pt x="21" y="78"/>
                  </a:lnTo>
                  <a:lnTo>
                    <a:pt x="19" y="73"/>
                  </a:lnTo>
                  <a:lnTo>
                    <a:pt x="16" y="73"/>
                  </a:lnTo>
                  <a:lnTo>
                    <a:pt x="14" y="71"/>
                  </a:lnTo>
                  <a:lnTo>
                    <a:pt x="14" y="68"/>
                  </a:lnTo>
                  <a:lnTo>
                    <a:pt x="12" y="68"/>
                  </a:lnTo>
                  <a:lnTo>
                    <a:pt x="9" y="64"/>
                  </a:lnTo>
                  <a:lnTo>
                    <a:pt x="2" y="59"/>
                  </a:lnTo>
                  <a:lnTo>
                    <a:pt x="2" y="59"/>
                  </a:lnTo>
                  <a:lnTo>
                    <a:pt x="0" y="54"/>
                  </a:lnTo>
                  <a:lnTo>
                    <a:pt x="2" y="54"/>
                  </a:lnTo>
                  <a:lnTo>
                    <a:pt x="2" y="54"/>
                  </a:lnTo>
                  <a:lnTo>
                    <a:pt x="4" y="54"/>
                  </a:lnTo>
                  <a:lnTo>
                    <a:pt x="9" y="49"/>
                  </a:lnTo>
                  <a:lnTo>
                    <a:pt x="9" y="49"/>
                  </a:lnTo>
                  <a:lnTo>
                    <a:pt x="9" y="47"/>
                  </a:lnTo>
                  <a:lnTo>
                    <a:pt x="9" y="45"/>
                  </a:lnTo>
                  <a:lnTo>
                    <a:pt x="9" y="40"/>
                  </a:lnTo>
                  <a:lnTo>
                    <a:pt x="7" y="40"/>
                  </a:lnTo>
                  <a:lnTo>
                    <a:pt x="4" y="33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7" y="33"/>
                  </a:lnTo>
                  <a:lnTo>
                    <a:pt x="7" y="33"/>
                  </a:lnTo>
                  <a:lnTo>
                    <a:pt x="9" y="33"/>
                  </a:lnTo>
                  <a:lnTo>
                    <a:pt x="12" y="35"/>
                  </a:lnTo>
                  <a:lnTo>
                    <a:pt x="16" y="35"/>
                  </a:lnTo>
                  <a:lnTo>
                    <a:pt x="16" y="33"/>
                  </a:lnTo>
                  <a:lnTo>
                    <a:pt x="19" y="31"/>
                  </a:lnTo>
                  <a:lnTo>
                    <a:pt x="21" y="28"/>
                  </a:lnTo>
                  <a:lnTo>
                    <a:pt x="23" y="28"/>
                  </a:lnTo>
                  <a:lnTo>
                    <a:pt x="26" y="31"/>
                  </a:lnTo>
                  <a:lnTo>
                    <a:pt x="28" y="28"/>
                  </a:lnTo>
                  <a:lnTo>
                    <a:pt x="30" y="28"/>
                  </a:lnTo>
                  <a:lnTo>
                    <a:pt x="30" y="28"/>
                  </a:lnTo>
                  <a:lnTo>
                    <a:pt x="30" y="31"/>
                  </a:lnTo>
                  <a:lnTo>
                    <a:pt x="30" y="31"/>
                  </a:lnTo>
                  <a:lnTo>
                    <a:pt x="35" y="28"/>
                  </a:lnTo>
                  <a:lnTo>
                    <a:pt x="38" y="26"/>
                  </a:lnTo>
                  <a:lnTo>
                    <a:pt x="38" y="23"/>
                  </a:lnTo>
                  <a:lnTo>
                    <a:pt x="35" y="21"/>
                  </a:lnTo>
                  <a:lnTo>
                    <a:pt x="35" y="16"/>
                  </a:lnTo>
                  <a:lnTo>
                    <a:pt x="33" y="14"/>
                  </a:lnTo>
                  <a:lnTo>
                    <a:pt x="30" y="14"/>
                  </a:lnTo>
                  <a:lnTo>
                    <a:pt x="30" y="12"/>
                  </a:lnTo>
                  <a:lnTo>
                    <a:pt x="30" y="7"/>
                  </a:lnTo>
                  <a:lnTo>
                    <a:pt x="28" y="7"/>
                  </a:lnTo>
                  <a:lnTo>
                    <a:pt x="28" y="5"/>
                  </a:lnTo>
                  <a:lnTo>
                    <a:pt x="26" y="2"/>
                  </a:lnTo>
                  <a:lnTo>
                    <a:pt x="26" y="2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 cap="flat">
              <a:solidFill>
                <a:schemeClr val="bg2">
                  <a:lumMod val="7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>
                <a:solidFill>
                  <a:srgbClr val="000000"/>
                </a:solidFill>
              </a:endParaRPr>
            </a:p>
          </p:txBody>
        </p:sp>
        <p:sp>
          <p:nvSpPr>
            <p:cNvPr id="33" name="Freeform 13"/>
            <p:cNvSpPr>
              <a:spLocks/>
            </p:cNvSpPr>
            <p:nvPr/>
          </p:nvSpPr>
          <p:spPr bwMode="gray">
            <a:xfrm>
              <a:off x="2145368" y="2334340"/>
              <a:ext cx="511493" cy="649532"/>
            </a:xfrm>
            <a:custGeom>
              <a:avLst/>
              <a:gdLst/>
              <a:ahLst/>
              <a:cxnLst>
                <a:cxn ang="0">
                  <a:pos x="120" y="284"/>
                </a:cxn>
                <a:cxn ang="0">
                  <a:pos x="130" y="277"/>
                </a:cxn>
                <a:cxn ang="0">
                  <a:pos x="144" y="270"/>
                </a:cxn>
                <a:cxn ang="0">
                  <a:pos x="151" y="279"/>
                </a:cxn>
                <a:cxn ang="0">
                  <a:pos x="175" y="284"/>
                </a:cxn>
                <a:cxn ang="0">
                  <a:pos x="191" y="272"/>
                </a:cxn>
                <a:cxn ang="0">
                  <a:pos x="205" y="289"/>
                </a:cxn>
                <a:cxn ang="0">
                  <a:pos x="210" y="293"/>
                </a:cxn>
                <a:cxn ang="0">
                  <a:pos x="245" y="293"/>
                </a:cxn>
                <a:cxn ang="0">
                  <a:pos x="264" y="277"/>
                </a:cxn>
                <a:cxn ang="0">
                  <a:pos x="288" y="258"/>
                </a:cxn>
                <a:cxn ang="0">
                  <a:pos x="295" y="234"/>
                </a:cxn>
                <a:cxn ang="0">
                  <a:pos x="316" y="199"/>
                </a:cxn>
                <a:cxn ang="0">
                  <a:pos x="319" y="173"/>
                </a:cxn>
                <a:cxn ang="0">
                  <a:pos x="333" y="156"/>
                </a:cxn>
                <a:cxn ang="0">
                  <a:pos x="366" y="100"/>
                </a:cxn>
                <a:cxn ang="0">
                  <a:pos x="387" y="74"/>
                </a:cxn>
                <a:cxn ang="0">
                  <a:pos x="413" y="38"/>
                </a:cxn>
                <a:cxn ang="0">
                  <a:pos x="463" y="36"/>
                </a:cxn>
                <a:cxn ang="0">
                  <a:pos x="482" y="85"/>
                </a:cxn>
                <a:cxn ang="0">
                  <a:pos x="486" y="166"/>
                </a:cxn>
                <a:cxn ang="0">
                  <a:pos x="498" y="208"/>
                </a:cxn>
                <a:cxn ang="0">
                  <a:pos x="510" y="241"/>
                </a:cxn>
                <a:cxn ang="0">
                  <a:pos x="520" y="265"/>
                </a:cxn>
                <a:cxn ang="0">
                  <a:pos x="529" y="300"/>
                </a:cxn>
                <a:cxn ang="0">
                  <a:pos x="574" y="308"/>
                </a:cxn>
                <a:cxn ang="0">
                  <a:pos x="619" y="350"/>
                </a:cxn>
                <a:cxn ang="0">
                  <a:pos x="631" y="421"/>
                </a:cxn>
                <a:cxn ang="0">
                  <a:pos x="612" y="468"/>
                </a:cxn>
                <a:cxn ang="0">
                  <a:pos x="597" y="487"/>
                </a:cxn>
                <a:cxn ang="0">
                  <a:pos x="545" y="544"/>
                </a:cxn>
                <a:cxn ang="0">
                  <a:pos x="484" y="586"/>
                </a:cxn>
                <a:cxn ang="0">
                  <a:pos x="437" y="636"/>
                </a:cxn>
                <a:cxn ang="0">
                  <a:pos x="404" y="714"/>
                </a:cxn>
                <a:cxn ang="0">
                  <a:pos x="366" y="726"/>
                </a:cxn>
                <a:cxn ang="0">
                  <a:pos x="349" y="737"/>
                </a:cxn>
                <a:cxn ang="0">
                  <a:pos x="309" y="716"/>
                </a:cxn>
                <a:cxn ang="0">
                  <a:pos x="305" y="690"/>
                </a:cxn>
                <a:cxn ang="0">
                  <a:pos x="300" y="667"/>
                </a:cxn>
                <a:cxn ang="0">
                  <a:pos x="279" y="636"/>
                </a:cxn>
                <a:cxn ang="0">
                  <a:pos x="245" y="598"/>
                </a:cxn>
                <a:cxn ang="0">
                  <a:pos x="224" y="551"/>
                </a:cxn>
                <a:cxn ang="0">
                  <a:pos x="217" y="511"/>
                </a:cxn>
                <a:cxn ang="0">
                  <a:pos x="212" y="478"/>
                </a:cxn>
                <a:cxn ang="0">
                  <a:pos x="182" y="442"/>
                </a:cxn>
                <a:cxn ang="0">
                  <a:pos x="184" y="416"/>
                </a:cxn>
                <a:cxn ang="0">
                  <a:pos x="168" y="404"/>
                </a:cxn>
                <a:cxn ang="0">
                  <a:pos x="151" y="397"/>
                </a:cxn>
                <a:cxn ang="0">
                  <a:pos x="134" y="395"/>
                </a:cxn>
                <a:cxn ang="0">
                  <a:pos x="125" y="393"/>
                </a:cxn>
                <a:cxn ang="0">
                  <a:pos x="111" y="385"/>
                </a:cxn>
                <a:cxn ang="0">
                  <a:pos x="99" y="376"/>
                </a:cxn>
                <a:cxn ang="0">
                  <a:pos x="92" y="367"/>
                </a:cxn>
                <a:cxn ang="0">
                  <a:pos x="78" y="357"/>
                </a:cxn>
                <a:cxn ang="0">
                  <a:pos x="66" y="352"/>
                </a:cxn>
                <a:cxn ang="0">
                  <a:pos x="45" y="350"/>
                </a:cxn>
                <a:cxn ang="0">
                  <a:pos x="16" y="348"/>
                </a:cxn>
                <a:cxn ang="0">
                  <a:pos x="14" y="324"/>
                </a:cxn>
                <a:cxn ang="0">
                  <a:pos x="7" y="303"/>
                </a:cxn>
                <a:cxn ang="0">
                  <a:pos x="9" y="282"/>
                </a:cxn>
              </a:cxnLst>
              <a:rect l="0" t="0" r="r" b="b"/>
              <a:pathLst>
                <a:path w="633" h="742">
                  <a:moveTo>
                    <a:pt x="0" y="260"/>
                  </a:moveTo>
                  <a:lnTo>
                    <a:pt x="9" y="260"/>
                  </a:lnTo>
                  <a:lnTo>
                    <a:pt x="16" y="258"/>
                  </a:lnTo>
                  <a:lnTo>
                    <a:pt x="23" y="260"/>
                  </a:lnTo>
                  <a:lnTo>
                    <a:pt x="23" y="272"/>
                  </a:lnTo>
                  <a:lnTo>
                    <a:pt x="28" y="277"/>
                  </a:lnTo>
                  <a:lnTo>
                    <a:pt x="33" y="274"/>
                  </a:lnTo>
                  <a:lnTo>
                    <a:pt x="56" y="291"/>
                  </a:lnTo>
                  <a:lnTo>
                    <a:pt x="87" y="296"/>
                  </a:lnTo>
                  <a:lnTo>
                    <a:pt x="111" y="289"/>
                  </a:lnTo>
                  <a:lnTo>
                    <a:pt x="113" y="286"/>
                  </a:lnTo>
                  <a:lnTo>
                    <a:pt x="113" y="289"/>
                  </a:lnTo>
                  <a:lnTo>
                    <a:pt x="116" y="286"/>
                  </a:lnTo>
                  <a:lnTo>
                    <a:pt x="116" y="286"/>
                  </a:lnTo>
                  <a:lnTo>
                    <a:pt x="118" y="286"/>
                  </a:lnTo>
                  <a:lnTo>
                    <a:pt x="118" y="286"/>
                  </a:lnTo>
                  <a:lnTo>
                    <a:pt x="118" y="286"/>
                  </a:lnTo>
                  <a:lnTo>
                    <a:pt x="120" y="284"/>
                  </a:lnTo>
                  <a:lnTo>
                    <a:pt x="118" y="282"/>
                  </a:lnTo>
                  <a:lnTo>
                    <a:pt x="118" y="282"/>
                  </a:lnTo>
                  <a:lnTo>
                    <a:pt x="118" y="282"/>
                  </a:lnTo>
                  <a:lnTo>
                    <a:pt x="120" y="279"/>
                  </a:lnTo>
                  <a:lnTo>
                    <a:pt x="120" y="282"/>
                  </a:lnTo>
                  <a:lnTo>
                    <a:pt x="120" y="282"/>
                  </a:lnTo>
                  <a:lnTo>
                    <a:pt x="120" y="282"/>
                  </a:lnTo>
                  <a:lnTo>
                    <a:pt x="123" y="284"/>
                  </a:lnTo>
                  <a:lnTo>
                    <a:pt x="123" y="282"/>
                  </a:lnTo>
                  <a:lnTo>
                    <a:pt x="125" y="282"/>
                  </a:lnTo>
                  <a:lnTo>
                    <a:pt x="125" y="282"/>
                  </a:lnTo>
                  <a:lnTo>
                    <a:pt x="125" y="279"/>
                  </a:lnTo>
                  <a:lnTo>
                    <a:pt x="125" y="279"/>
                  </a:lnTo>
                  <a:lnTo>
                    <a:pt x="125" y="277"/>
                  </a:lnTo>
                  <a:lnTo>
                    <a:pt x="127" y="277"/>
                  </a:lnTo>
                  <a:lnTo>
                    <a:pt x="127" y="277"/>
                  </a:lnTo>
                  <a:lnTo>
                    <a:pt x="130" y="277"/>
                  </a:lnTo>
                  <a:lnTo>
                    <a:pt x="130" y="277"/>
                  </a:lnTo>
                  <a:lnTo>
                    <a:pt x="130" y="277"/>
                  </a:lnTo>
                  <a:lnTo>
                    <a:pt x="132" y="277"/>
                  </a:lnTo>
                  <a:lnTo>
                    <a:pt x="134" y="277"/>
                  </a:lnTo>
                  <a:lnTo>
                    <a:pt x="132" y="274"/>
                  </a:lnTo>
                  <a:lnTo>
                    <a:pt x="132" y="274"/>
                  </a:lnTo>
                  <a:lnTo>
                    <a:pt x="132" y="274"/>
                  </a:lnTo>
                  <a:lnTo>
                    <a:pt x="134" y="274"/>
                  </a:lnTo>
                  <a:lnTo>
                    <a:pt x="134" y="272"/>
                  </a:lnTo>
                  <a:lnTo>
                    <a:pt x="134" y="272"/>
                  </a:lnTo>
                  <a:lnTo>
                    <a:pt x="137" y="272"/>
                  </a:lnTo>
                  <a:lnTo>
                    <a:pt x="137" y="272"/>
                  </a:lnTo>
                  <a:lnTo>
                    <a:pt x="139" y="270"/>
                  </a:lnTo>
                  <a:lnTo>
                    <a:pt x="139" y="270"/>
                  </a:lnTo>
                  <a:lnTo>
                    <a:pt x="139" y="270"/>
                  </a:lnTo>
                  <a:lnTo>
                    <a:pt x="142" y="270"/>
                  </a:lnTo>
                  <a:lnTo>
                    <a:pt x="144" y="270"/>
                  </a:lnTo>
                  <a:lnTo>
                    <a:pt x="144" y="270"/>
                  </a:lnTo>
                  <a:lnTo>
                    <a:pt x="144" y="270"/>
                  </a:lnTo>
                  <a:lnTo>
                    <a:pt x="142" y="272"/>
                  </a:lnTo>
                  <a:lnTo>
                    <a:pt x="144" y="272"/>
                  </a:lnTo>
                  <a:lnTo>
                    <a:pt x="144" y="272"/>
                  </a:lnTo>
                  <a:lnTo>
                    <a:pt x="144" y="272"/>
                  </a:lnTo>
                  <a:lnTo>
                    <a:pt x="146" y="272"/>
                  </a:lnTo>
                  <a:lnTo>
                    <a:pt x="144" y="274"/>
                  </a:lnTo>
                  <a:lnTo>
                    <a:pt x="144" y="274"/>
                  </a:lnTo>
                  <a:lnTo>
                    <a:pt x="144" y="277"/>
                  </a:lnTo>
                  <a:lnTo>
                    <a:pt x="144" y="277"/>
                  </a:lnTo>
                  <a:lnTo>
                    <a:pt x="142" y="277"/>
                  </a:lnTo>
                  <a:lnTo>
                    <a:pt x="142" y="277"/>
                  </a:lnTo>
                  <a:lnTo>
                    <a:pt x="144" y="277"/>
                  </a:lnTo>
                  <a:lnTo>
                    <a:pt x="144" y="277"/>
                  </a:lnTo>
                  <a:lnTo>
                    <a:pt x="149" y="277"/>
                  </a:lnTo>
                  <a:lnTo>
                    <a:pt x="149" y="277"/>
                  </a:lnTo>
                  <a:lnTo>
                    <a:pt x="151" y="279"/>
                  </a:lnTo>
                  <a:lnTo>
                    <a:pt x="151" y="279"/>
                  </a:lnTo>
                  <a:lnTo>
                    <a:pt x="151" y="279"/>
                  </a:lnTo>
                  <a:lnTo>
                    <a:pt x="153" y="279"/>
                  </a:lnTo>
                  <a:lnTo>
                    <a:pt x="153" y="279"/>
                  </a:lnTo>
                  <a:lnTo>
                    <a:pt x="153" y="279"/>
                  </a:lnTo>
                  <a:lnTo>
                    <a:pt x="153" y="282"/>
                  </a:lnTo>
                  <a:lnTo>
                    <a:pt x="158" y="282"/>
                  </a:lnTo>
                  <a:lnTo>
                    <a:pt x="158" y="282"/>
                  </a:lnTo>
                  <a:lnTo>
                    <a:pt x="158" y="282"/>
                  </a:lnTo>
                  <a:lnTo>
                    <a:pt x="160" y="282"/>
                  </a:lnTo>
                  <a:lnTo>
                    <a:pt x="160" y="282"/>
                  </a:lnTo>
                  <a:lnTo>
                    <a:pt x="160" y="282"/>
                  </a:lnTo>
                  <a:lnTo>
                    <a:pt x="163" y="284"/>
                  </a:lnTo>
                  <a:lnTo>
                    <a:pt x="163" y="284"/>
                  </a:lnTo>
                  <a:lnTo>
                    <a:pt x="165" y="284"/>
                  </a:lnTo>
                  <a:lnTo>
                    <a:pt x="168" y="284"/>
                  </a:lnTo>
                  <a:lnTo>
                    <a:pt x="170" y="284"/>
                  </a:lnTo>
                  <a:lnTo>
                    <a:pt x="172" y="284"/>
                  </a:lnTo>
                  <a:lnTo>
                    <a:pt x="172" y="284"/>
                  </a:lnTo>
                  <a:lnTo>
                    <a:pt x="175" y="284"/>
                  </a:lnTo>
                  <a:lnTo>
                    <a:pt x="177" y="284"/>
                  </a:lnTo>
                  <a:lnTo>
                    <a:pt x="177" y="284"/>
                  </a:lnTo>
                  <a:lnTo>
                    <a:pt x="179" y="284"/>
                  </a:lnTo>
                  <a:lnTo>
                    <a:pt x="179" y="284"/>
                  </a:lnTo>
                  <a:lnTo>
                    <a:pt x="179" y="282"/>
                  </a:lnTo>
                  <a:lnTo>
                    <a:pt x="177" y="282"/>
                  </a:lnTo>
                  <a:lnTo>
                    <a:pt x="179" y="282"/>
                  </a:lnTo>
                  <a:lnTo>
                    <a:pt x="182" y="282"/>
                  </a:lnTo>
                  <a:lnTo>
                    <a:pt x="182" y="282"/>
                  </a:lnTo>
                  <a:lnTo>
                    <a:pt x="184" y="282"/>
                  </a:lnTo>
                  <a:lnTo>
                    <a:pt x="184" y="279"/>
                  </a:lnTo>
                  <a:lnTo>
                    <a:pt x="186" y="279"/>
                  </a:lnTo>
                  <a:lnTo>
                    <a:pt x="186" y="277"/>
                  </a:lnTo>
                  <a:lnTo>
                    <a:pt x="189" y="277"/>
                  </a:lnTo>
                  <a:lnTo>
                    <a:pt x="189" y="277"/>
                  </a:lnTo>
                  <a:lnTo>
                    <a:pt x="191" y="277"/>
                  </a:lnTo>
                  <a:lnTo>
                    <a:pt x="191" y="274"/>
                  </a:lnTo>
                  <a:lnTo>
                    <a:pt x="191" y="272"/>
                  </a:lnTo>
                  <a:lnTo>
                    <a:pt x="194" y="272"/>
                  </a:lnTo>
                  <a:lnTo>
                    <a:pt x="196" y="272"/>
                  </a:lnTo>
                  <a:lnTo>
                    <a:pt x="196" y="274"/>
                  </a:lnTo>
                  <a:lnTo>
                    <a:pt x="196" y="272"/>
                  </a:lnTo>
                  <a:lnTo>
                    <a:pt x="198" y="274"/>
                  </a:lnTo>
                  <a:lnTo>
                    <a:pt x="198" y="277"/>
                  </a:lnTo>
                  <a:lnTo>
                    <a:pt x="198" y="277"/>
                  </a:lnTo>
                  <a:lnTo>
                    <a:pt x="201" y="277"/>
                  </a:lnTo>
                  <a:lnTo>
                    <a:pt x="203" y="277"/>
                  </a:lnTo>
                  <a:lnTo>
                    <a:pt x="203" y="279"/>
                  </a:lnTo>
                  <a:lnTo>
                    <a:pt x="205" y="282"/>
                  </a:lnTo>
                  <a:lnTo>
                    <a:pt x="205" y="282"/>
                  </a:lnTo>
                  <a:lnTo>
                    <a:pt x="205" y="284"/>
                  </a:lnTo>
                  <a:lnTo>
                    <a:pt x="208" y="282"/>
                  </a:lnTo>
                  <a:lnTo>
                    <a:pt x="208" y="284"/>
                  </a:lnTo>
                  <a:lnTo>
                    <a:pt x="205" y="286"/>
                  </a:lnTo>
                  <a:lnTo>
                    <a:pt x="205" y="286"/>
                  </a:lnTo>
                  <a:lnTo>
                    <a:pt x="205" y="289"/>
                  </a:lnTo>
                  <a:lnTo>
                    <a:pt x="203" y="289"/>
                  </a:lnTo>
                  <a:lnTo>
                    <a:pt x="203" y="289"/>
                  </a:lnTo>
                  <a:lnTo>
                    <a:pt x="203" y="291"/>
                  </a:lnTo>
                  <a:lnTo>
                    <a:pt x="203" y="291"/>
                  </a:lnTo>
                  <a:lnTo>
                    <a:pt x="201" y="293"/>
                  </a:lnTo>
                  <a:lnTo>
                    <a:pt x="201" y="293"/>
                  </a:lnTo>
                  <a:lnTo>
                    <a:pt x="203" y="293"/>
                  </a:lnTo>
                  <a:lnTo>
                    <a:pt x="203" y="293"/>
                  </a:lnTo>
                  <a:lnTo>
                    <a:pt x="203" y="293"/>
                  </a:lnTo>
                  <a:lnTo>
                    <a:pt x="203" y="293"/>
                  </a:lnTo>
                  <a:lnTo>
                    <a:pt x="203" y="293"/>
                  </a:lnTo>
                  <a:lnTo>
                    <a:pt x="205" y="293"/>
                  </a:lnTo>
                  <a:lnTo>
                    <a:pt x="205" y="293"/>
                  </a:lnTo>
                  <a:lnTo>
                    <a:pt x="205" y="293"/>
                  </a:lnTo>
                  <a:lnTo>
                    <a:pt x="208" y="291"/>
                  </a:lnTo>
                  <a:lnTo>
                    <a:pt x="208" y="291"/>
                  </a:lnTo>
                  <a:lnTo>
                    <a:pt x="208" y="293"/>
                  </a:lnTo>
                  <a:lnTo>
                    <a:pt x="210" y="293"/>
                  </a:lnTo>
                  <a:lnTo>
                    <a:pt x="210" y="293"/>
                  </a:lnTo>
                  <a:lnTo>
                    <a:pt x="210" y="293"/>
                  </a:lnTo>
                  <a:lnTo>
                    <a:pt x="212" y="293"/>
                  </a:lnTo>
                  <a:lnTo>
                    <a:pt x="215" y="293"/>
                  </a:lnTo>
                  <a:lnTo>
                    <a:pt x="215" y="291"/>
                  </a:lnTo>
                  <a:lnTo>
                    <a:pt x="219" y="291"/>
                  </a:lnTo>
                  <a:lnTo>
                    <a:pt x="224" y="291"/>
                  </a:lnTo>
                  <a:lnTo>
                    <a:pt x="227" y="291"/>
                  </a:lnTo>
                  <a:lnTo>
                    <a:pt x="229" y="293"/>
                  </a:lnTo>
                  <a:lnTo>
                    <a:pt x="229" y="293"/>
                  </a:lnTo>
                  <a:lnTo>
                    <a:pt x="231" y="296"/>
                  </a:lnTo>
                  <a:lnTo>
                    <a:pt x="231" y="296"/>
                  </a:lnTo>
                  <a:lnTo>
                    <a:pt x="236" y="296"/>
                  </a:lnTo>
                  <a:lnTo>
                    <a:pt x="241" y="298"/>
                  </a:lnTo>
                  <a:lnTo>
                    <a:pt x="245" y="296"/>
                  </a:lnTo>
                  <a:lnTo>
                    <a:pt x="245" y="293"/>
                  </a:lnTo>
                  <a:lnTo>
                    <a:pt x="245" y="293"/>
                  </a:lnTo>
                  <a:lnTo>
                    <a:pt x="245" y="293"/>
                  </a:lnTo>
                  <a:lnTo>
                    <a:pt x="245" y="293"/>
                  </a:lnTo>
                  <a:lnTo>
                    <a:pt x="245" y="293"/>
                  </a:lnTo>
                  <a:lnTo>
                    <a:pt x="248" y="293"/>
                  </a:lnTo>
                  <a:lnTo>
                    <a:pt x="250" y="293"/>
                  </a:lnTo>
                  <a:lnTo>
                    <a:pt x="250" y="293"/>
                  </a:lnTo>
                  <a:lnTo>
                    <a:pt x="250" y="291"/>
                  </a:lnTo>
                  <a:lnTo>
                    <a:pt x="253" y="291"/>
                  </a:lnTo>
                  <a:lnTo>
                    <a:pt x="253" y="289"/>
                  </a:lnTo>
                  <a:lnTo>
                    <a:pt x="253" y="286"/>
                  </a:lnTo>
                  <a:lnTo>
                    <a:pt x="253" y="284"/>
                  </a:lnTo>
                  <a:lnTo>
                    <a:pt x="255" y="284"/>
                  </a:lnTo>
                  <a:lnTo>
                    <a:pt x="255" y="284"/>
                  </a:lnTo>
                  <a:lnTo>
                    <a:pt x="255" y="282"/>
                  </a:lnTo>
                  <a:lnTo>
                    <a:pt x="257" y="282"/>
                  </a:lnTo>
                  <a:lnTo>
                    <a:pt x="257" y="282"/>
                  </a:lnTo>
                  <a:lnTo>
                    <a:pt x="260" y="282"/>
                  </a:lnTo>
                  <a:lnTo>
                    <a:pt x="262" y="279"/>
                  </a:lnTo>
                  <a:lnTo>
                    <a:pt x="264" y="277"/>
                  </a:lnTo>
                  <a:lnTo>
                    <a:pt x="264" y="279"/>
                  </a:lnTo>
                  <a:lnTo>
                    <a:pt x="264" y="277"/>
                  </a:lnTo>
                  <a:lnTo>
                    <a:pt x="267" y="277"/>
                  </a:lnTo>
                  <a:lnTo>
                    <a:pt x="267" y="277"/>
                  </a:lnTo>
                  <a:lnTo>
                    <a:pt x="269" y="277"/>
                  </a:lnTo>
                  <a:lnTo>
                    <a:pt x="271" y="274"/>
                  </a:lnTo>
                  <a:lnTo>
                    <a:pt x="271" y="274"/>
                  </a:lnTo>
                  <a:lnTo>
                    <a:pt x="274" y="274"/>
                  </a:lnTo>
                  <a:lnTo>
                    <a:pt x="274" y="274"/>
                  </a:lnTo>
                  <a:lnTo>
                    <a:pt x="281" y="267"/>
                  </a:lnTo>
                  <a:lnTo>
                    <a:pt x="281" y="267"/>
                  </a:lnTo>
                  <a:lnTo>
                    <a:pt x="281" y="265"/>
                  </a:lnTo>
                  <a:lnTo>
                    <a:pt x="283" y="263"/>
                  </a:lnTo>
                  <a:lnTo>
                    <a:pt x="283" y="260"/>
                  </a:lnTo>
                  <a:lnTo>
                    <a:pt x="283" y="260"/>
                  </a:lnTo>
                  <a:lnTo>
                    <a:pt x="283" y="260"/>
                  </a:lnTo>
                  <a:lnTo>
                    <a:pt x="286" y="260"/>
                  </a:lnTo>
                  <a:lnTo>
                    <a:pt x="288" y="258"/>
                  </a:lnTo>
                  <a:lnTo>
                    <a:pt x="286" y="258"/>
                  </a:lnTo>
                  <a:lnTo>
                    <a:pt x="288" y="256"/>
                  </a:lnTo>
                  <a:lnTo>
                    <a:pt x="290" y="256"/>
                  </a:lnTo>
                  <a:lnTo>
                    <a:pt x="290" y="253"/>
                  </a:lnTo>
                  <a:lnTo>
                    <a:pt x="293" y="251"/>
                  </a:lnTo>
                  <a:lnTo>
                    <a:pt x="295" y="251"/>
                  </a:lnTo>
                  <a:lnTo>
                    <a:pt x="295" y="248"/>
                  </a:lnTo>
                  <a:lnTo>
                    <a:pt x="293" y="246"/>
                  </a:lnTo>
                  <a:lnTo>
                    <a:pt x="295" y="246"/>
                  </a:lnTo>
                  <a:lnTo>
                    <a:pt x="295" y="246"/>
                  </a:lnTo>
                  <a:lnTo>
                    <a:pt x="295" y="246"/>
                  </a:lnTo>
                  <a:lnTo>
                    <a:pt x="297" y="244"/>
                  </a:lnTo>
                  <a:lnTo>
                    <a:pt x="297" y="244"/>
                  </a:lnTo>
                  <a:lnTo>
                    <a:pt x="297" y="241"/>
                  </a:lnTo>
                  <a:lnTo>
                    <a:pt x="295" y="239"/>
                  </a:lnTo>
                  <a:lnTo>
                    <a:pt x="295" y="237"/>
                  </a:lnTo>
                  <a:lnTo>
                    <a:pt x="293" y="237"/>
                  </a:lnTo>
                  <a:lnTo>
                    <a:pt x="295" y="234"/>
                  </a:lnTo>
                  <a:lnTo>
                    <a:pt x="295" y="232"/>
                  </a:lnTo>
                  <a:lnTo>
                    <a:pt x="297" y="234"/>
                  </a:lnTo>
                  <a:lnTo>
                    <a:pt x="297" y="230"/>
                  </a:lnTo>
                  <a:lnTo>
                    <a:pt x="300" y="227"/>
                  </a:lnTo>
                  <a:lnTo>
                    <a:pt x="300" y="225"/>
                  </a:lnTo>
                  <a:lnTo>
                    <a:pt x="302" y="220"/>
                  </a:lnTo>
                  <a:lnTo>
                    <a:pt x="302" y="220"/>
                  </a:lnTo>
                  <a:lnTo>
                    <a:pt x="305" y="218"/>
                  </a:lnTo>
                  <a:lnTo>
                    <a:pt x="302" y="218"/>
                  </a:lnTo>
                  <a:lnTo>
                    <a:pt x="305" y="215"/>
                  </a:lnTo>
                  <a:lnTo>
                    <a:pt x="307" y="211"/>
                  </a:lnTo>
                  <a:lnTo>
                    <a:pt x="307" y="208"/>
                  </a:lnTo>
                  <a:lnTo>
                    <a:pt x="309" y="204"/>
                  </a:lnTo>
                  <a:lnTo>
                    <a:pt x="312" y="201"/>
                  </a:lnTo>
                  <a:lnTo>
                    <a:pt x="314" y="201"/>
                  </a:lnTo>
                  <a:lnTo>
                    <a:pt x="314" y="201"/>
                  </a:lnTo>
                  <a:lnTo>
                    <a:pt x="316" y="199"/>
                  </a:lnTo>
                  <a:lnTo>
                    <a:pt x="316" y="199"/>
                  </a:lnTo>
                  <a:lnTo>
                    <a:pt x="314" y="199"/>
                  </a:lnTo>
                  <a:lnTo>
                    <a:pt x="314" y="199"/>
                  </a:lnTo>
                  <a:lnTo>
                    <a:pt x="314" y="197"/>
                  </a:lnTo>
                  <a:lnTo>
                    <a:pt x="314" y="194"/>
                  </a:lnTo>
                  <a:lnTo>
                    <a:pt x="314" y="194"/>
                  </a:lnTo>
                  <a:lnTo>
                    <a:pt x="316" y="194"/>
                  </a:lnTo>
                  <a:lnTo>
                    <a:pt x="316" y="189"/>
                  </a:lnTo>
                  <a:lnTo>
                    <a:pt x="316" y="189"/>
                  </a:lnTo>
                  <a:lnTo>
                    <a:pt x="316" y="187"/>
                  </a:lnTo>
                  <a:lnTo>
                    <a:pt x="319" y="185"/>
                  </a:lnTo>
                  <a:lnTo>
                    <a:pt x="319" y="185"/>
                  </a:lnTo>
                  <a:lnTo>
                    <a:pt x="321" y="180"/>
                  </a:lnTo>
                  <a:lnTo>
                    <a:pt x="323" y="178"/>
                  </a:lnTo>
                  <a:lnTo>
                    <a:pt x="319" y="175"/>
                  </a:lnTo>
                  <a:lnTo>
                    <a:pt x="321" y="173"/>
                  </a:lnTo>
                  <a:lnTo>
                    <a:pt x="321" y="173"/>
                  </a:lnTo>
                  <a:lnTo>
                    <a:pt x="321" y="171"/>
                  </a:lnTo>
                  <a:lnTo>
                    <a:pt x="319" y="173"/>
                  </a:lnTo>
                  <a:lnTo>
                    <a:pt x="319" y="171"/>
                  </a:lnTo>
                  <a:lnTo>
                    <a:pt x="319" y="168"/>
                  </a:lnTo>
                  <a:lnTo>
                    <a:pt x="321" y="171"/>
                  </a:lnTo>
                  <a:lnTo>
                    <a:pt x="321" y="168"/>
                  </a:lnTo>
                  <a:lnTo>
                    <a:pt x="321" y="168"/>
                  </a:lnTo>
                  <a:lnTo>
                    <a:pt x="321" y="166"/>
                  </a:lnTo>
                  <a:lnTo>
                    <a:pt x="323" y="166"/>
                  </a:lnTo>
                  <a:lnTo>
                    <a:pt x="323" y="163"/>
                  </a:lnTo>
                  <a:lnTo>
                    <a:pt x="326" y="166"/>
                  </a:lnTo>
                  <a:lnTo>
                    <a:pt x="326" y="161"/>
                  </a:lnTo>
                  <a:lnTo>
                    <a:pt x="326" y="159"/>
                  </a:lnTo>
                  <a:lnTo>
                    <a:pt x="326" y="156"/>
                  </a:lnTo>
                  <a:lnTo>
                    <a:pt x="328" y="156"/>
                  </a:lnTo>
                  <a:lnTo>
                    <a:pt x="331" y="156"/>
                  </a:lnTo>
                  <a:lnTo>
                    <a:pt x="331" y="154"/>
                  </a:lnTo>
                  <a:lnTo>
                    <a:pt x="331" y="154"/>
                  </a:lnTo>
                  <a:lnTo>
                    <a:pt x="333" y="154"/>
                  </a:lnTo>
                  <a:lnTo>
                    <a:pt x="333" y="156"/>
                  </a:lnTo>
                  <a:lnTo>
                    <a:pt x="335" y="156"/>
                  </a:lnTo>
                  <a:lnTo>
                    <a:pt x="335" y="154"/>
                  </a:lnTo>
                  <a:lnTo>
                    <a:pt x="338" y="149"/>
                  </a:lnTo>
                  <a:lnTo>
                    <a:pt x="340" y="149"/>
                  </a:lnTo>
                  <a:lnTo>
                    <a:pt x="340" y="147"/>
                  </a:lnTo>
                  <a:lnTo>
                    <a:pt x="345" y="142"/>
                  </a:lnTo>
                  <a:lnTo>
                    <a:pt x="345" y="140"/>
                  </a:lnTo>
                  <a:lnTo>
                    <a:pt x="349" y="128"/>
                  </a:lnTo>
                  <a:lnTo>
                    <a:pt x="352" y="128"/>
                  </a:lnTo>
                  <a:lnTo>
                    <a:pt x="352" y="123"/>
                  </a:lnTo>
                  <a:lnTo>
                    <a:pt x="354" y="123"/>
                  </a:lnTo>
                  <a:lnTo>
                    <a:pt x="354" y="121"/>
                  </a:lnTo>
                  <a:lnTo>
                    <a:pt x="354" y="121"/>
                  </a:lnTo>
                  <a:lnTo>
                    <a:pt x="357" y="119"/>
                  </a:lnTo>
                  <a:lnTo>
                    <a:pt x="361" y="109"/>
                  </a:lnTo>
                  <a:lnTo>
                    <a:pt x="364" y="107"/>
                  </a:lnTo>
                  <a:lnTo>
                    <a:pt x="364" y="107"/>
                  </a:lnTo>
                  <a:lnTo>
                    <a:pt x="366" y="100"/>
                  </a:lnTo>
                  <a:lnTo>
                    <a:pt x="366" y="100"/>
                  </a:lnTo>
                  <a:lnTo>
                    <a:pt x="366" y="97"/>
                  </a:lnTo>
                  <a:lnTo>
                    <a:pt x="368" y="93"/>
                  </a:lnTo>
                  <a:lnTo>
                    <a:pt x="371" y="93"/>
                  </a:lnTo>
                  <a:lnTo>
                    <a:pt x="373" y="93"/>
                  </a:lnTo>
                  <a:lnTo>
                    <a:pt x="373" y="90"/>
                  </a:lnTo>
                  <a:lnTo>
                    <a:pt x="373" y="85"/>
                  </a:lnTo>
                  <a:lnTo>
                    <a:pt x="373" y="85"/>
                  </a:lnTo>
                  <a:lnTo>
                    <a:pt x="375" y="83"/>
                  </a:lnTo>
                  <a:lnTo>
                    <a:pt x="378" y="83"/>
                  </a:lnTo>
                  <a:lnTo>
                    <a:pt x="378" y="83"/>
                  </a:lnTo>
                  <a:lnTo>
                    <a:pt x="380" y="83"/>
                  </a:lnTo>
                  <a:lnTo>
                    <a:pt x="382" y="81"/>
                  </a:lnTo>
                  <a:lnTo>
                    <a:pt x="382" y="78"/>
                  </a:lnTo>
                  <a:lnTo>
                    <a:pt x="382" y="78"/>
                  </a:lnTo>
                  <a:lnTo>
                    <a:pt x="382" y="76"/>
                  </a:lnTo>
                  <a:lnTo>
                    <a:pt x="387" y="76"/>
                  </a:lnTo>
                  <a:lnTo>
                    <a:pt x="387" y="74"/>
                  </a:lnTo>
                  <a:lnTo>
                    <a:pt x="387" y="74"/>
                  </a:lnTo>
                  <a:lnTo>
                    <a:pt x="390" y="71"/>
                  </a:lnTo>
                  <a:lnTo>
                    <a:pt x="392" y="69"/>
                  </a:lnTo>
                  <a:lnTo>
                    <a:pt x="392" y="67"/>
                  </a:lnTo>
                  <a:lnTo>
                    <a:pt x="392" y="64"/>
                  </a:lnTo>
                  <a:lnTo>
                    <a:pt x="392" y="62"/>
                  </a:lnTo>
                  <a:lnTo>
                    <a:pt x="392" y="62"/>
                  </a:lnTo>
                  <a:lnTo>
                    <a:pt x="397" y="57"/>
                  </a:lnTo>
                  <a:lnTo>
                    <a:pt x="397" y="57"/>
                  </a:lnTo>
                  <a:lnTo>
                    <a:pt x="401" y="57"/>
                  </a:lnTo>
                  <a:lnTo>
                    <a:pt x="401" y="55"/>
                  </a:lnTo>
                  <a:lnTo>
                    <a:pt x="404" y="55"/>
                  </a:lnTo>
                  <a:lnTo>
                    <a:pt x="406" y="52"/>
                  </a:lnTo>
                  <a:lnTo>
                    <a:pt x="408" y="52"/>
                  </a:lnTo>
                  <a:lnTo>
                    <a:pt x="408" y="48"/>
                  </a:lnTo>
                  <a:lnTo>
                    <a:pt x="408" y="48"/>
                  </a:lnTo>
                  <a:lnTo>
                    <a:pt x="411" y="45"/>
                  </a:lnTo>
                  <a:lnTo>
                    <a:pt x="413" y="38"/>
                  </a:lnTo>
                  <a:lnTo>
                    <a:pt x="416" y="36"/>
                  </a:lnTo>
                  <a:lnTo>
                    <a:pt x="416" y="31"/>
                  </a:lnTo>
                  <a:lnTo>
                    <a:pt x="416" y="26"/>
                  </a:lnTo>
                  <a:lnTo>
                    <a:pt x="416" y="26"/>
                  </a:lnTo>
                  <a:lnTo>
                    <a:pt x="418" y="24"/>
                  </a:lnTo>
                  <a:lnTo>
                    <a:pt x="418" y="12"/>
                  </a:lnTo>
                  <a:lnTo>
                    <a:pt x="420" y="3"/>
                  </a:lnTo>
                  <a:lnTo>
                    <a:pt x="420" y="0"/>
                  </a:lnTo>
                  <a:lnTo>
                    <a:pt x="423" y="0"/>
                  </a:lnTo>
                  <a:lnTo>
                    <a:pt x="425" y="0"/>
                  </a:lnTo>
                  <a:lnTo>
                    <a:pt x="427" y="0"/>
                  </a:lnTo>
                  <a:lnTo>
                    <a:pt x="430" y="0"/>
                  </a:lnTo>
                  <a:lnTo>
                    <a:pt x="434" y="5"/>
                  </a:lnTo>
                  <a:lnTo>
                    <a:pt x="437" y="8"/>
                  </a:lnTo>
                  <a:lnTo>
                    <a:pt x="446" y="19"/>
                  </a:lnTo>
                  <a:lnTo>
                    <a:pt x="460" y="31"/>
                  </a:lnTo>
                  <a:lnTo>
                    <a:pt x="460" y="34"/>
                  </a:lnTo>
                  <a:lnTo>
                    <a:pt x="463" y="36"/>
                  </a:lnTo>
                  <a:lnTo>
                    <a:pt x="463" y="38"/>
                  </a:lnTo>
                  <a:lnTo>
                    <a:pt x="465" y="41"/>
                  </a:lnTo>
                  <a:lnTo>
                    <a:pt x="468" y="48"/>
                  </a:lnTo>
                  <a:lnTo>
                    <a:pt x="468" y="50"/>
                  </a:lnTo>
                  <a:lnTo>
                    <a:pt x="468" y="50"/>
                  </a:lnTo>
                  <a:lnTo>
                    <a:pt x="468" y="55"/>
                  </a:lnTo>
                  <a:lnTo>
                    <a:pt x="470" y="57"/>
                  </a:lnTo>
                  <a:lnTo>
                    <a:pt x="470" y="62"/>
                  </a:lnTo>
                  <a:lnTo>
                    <a:pt x="470" y="64"/>
                  </a:lnTo>
                  <a:lnTo>
                    <a:pt x="470" y="64"/>
                  </a:lnTo>
                  <a:lnTo>
                    <a:pt x="475" y="69"/>
                  </a:lnTo>
                  <a:lnTo>
                    <a:pt x="479" y="69"/>
                  </a:lnTo>
                  <a:lnTo>
                    <a:pt x="482" y="71"/>
                  </a:lnTo>
                  <a:lnTo>
                    <a:pt x="482" y="71"/>
                  </a:lnTo>
                  <a:lnTo>
                    <a:pt x="482" y="71"/>
                  </a:lnTo>
                  <a:lnTo>
                    <a:pt x="482" y="76"/>
                  </a:lnTo>
                  <a:lnTo>
                    <a:pt x="482" y="78"/>
                  </a:lnTo>
                  <a:lnTo>
                    <a:pt x="482" y="85"/>
                  </a:lnTo>
                  <a:lnTo>
                    <a:pt x="482" y="85"/>
                  </a:lnTo>
                  <a:lnTo>
                    <a:pt x="482" y="88"/>
                  </a:lnTo>
                  <a:lnTo>
                    <a:pt x="479" y="90"/>
                  </a:lnTo>
                  <a:lnTo>
                    <a:pt x="482" y="93"/>
                  </a:lnTo>
                  <a:lnTo>
                    <a:pt x="479" y="93"/>
                  </a:lnTo>
                  <a:lnTo>
                    <a:pt x="479" y="95"/>
                  </a:lnTo>
                  <a:lnTo>
                    <a:pt x="479" y="100"/>
                  </a:lnTo>
                  <a:lnTo>
                    <a:pt x="482" y="104"/>
                  </a:lnTo>
                  <a:lnTo>
                    <a:pt x="482" y="123"/>
                  </a:lnTo>
                  <a:lnTo>
                    <a:pt x="482" y="128"/>
                  </a:lnTo>
                  <a:lnTo>
                    <a:pt x="482" y="128"/>
                  </a:lnTo>
                  <a:lnTo>
                    <a:pt x="479" y="128"/>
                  </a:lnTo>
                  <a:lnTo>
                    <a:pt x="479" y="128"/>
                  </a:lnTo>
                  <a:lnTo>
                    <a:pt x="479" y="137"/>
                  </a:lnTo>
                  <a:lnTo>
                    <a:pt x="482" y="140"/>
                  </a:lnTo>
                  <a:lnTo>
                    <a:pt x="489" y="161"/>
                  </a:lnTo>
                  <a:lnTo>
                    <a:pt x="489" y="163"/>
                  </a:lnTo>
                  <a:lnTo>
                    <a:pt x="486" y="166"/>
                  </a:lnTo>
                  <a:lnTo>
                    <a:pt x="486" y="168"/>
                  </a:lnTo>
                  <a:lnTo>
                    <a:pt x="486" y="168"/>
                  </a:lnTo>
                  <a:lnTo>
                    <a:pt x="489" y="173"/>
                  </a:lnTo>
                  <a:lnTo>
                    <a:pt x="491" y="175"/>
                  </a:lnTo>
                  <a:lnTo>
                    <a:pt x="491" y="178"/>
                  </a:lnTo>
                  <a:lnTo>
                    <a:pt x="489" y="178"/>
                  </a:lnTo>
                  <a:lnTo>
                    <a:pt x="489" y="182"/>
                  </a:lnTo>
                  <a:lnTo>
                    <a:pt x="491" y="182"/>
                  </a:lnTo>
                  <a:lnTo>
                    <a:pt x="491" y="185"/>
                  </a:lnTo>
                  <a:lnTo>
                    <a:pt x="494" y="187"/>
                  </a:lnTo>
                  <a:lnTo>
                    <a:pt x="494" y="192"/>
                  </a:lnTo>
                  <a:lnTo>
                    <a:pt x="494" y="192"/>
                  </a:lnTo>
                  <a:lnTo>
                    <a:pt x="494" y="197"/>
                  </a:lnTo>
                  <a:lnTo>
                    <a:pt x="494" y="199"/>
                  </a:lnTo>
                  <a:lnTo>
                    <a:pt x="496" y="201"/>
                  </a:lnTo>
                  <a:lnTo>
                    <a:pt x="498" y="204"/>
                  </a:lnTo>
                  <a:lnTo>
                    <a:pt x="498" y="206"/>
                  </a:lnTo>
                  <a:lnTo>
                    <a:pt x="498" y="208"/>
                  </a:lnTo>
                  <a:lnTo>
                    <a:pt x="498" y="211"/>
                  </a:lnTo>
                  <a:lnTo>
                    <a:pt x="498" y="213"/>
                  </a:lnTo>
                  <a:lnTo>
                    <a:pt x="501" y="213"/>
                  </a:lnTo>
                  <a:lnTo>
                    <a:pt x="503" y="213"/>
                  </a:lnTo>
                  <a:lnTo>
                    <a:pt x="503" y="213"/>
                  </a:lnTo>
                  <a:lnTo>
                    <a:pt x="503" y="215"/>
                  </a:lnTo>
                  <a:lnTo>
                    <a:pt x="503" y="218"/>
                  </a:lnTo>
                  <a:lnTo>
                    <a:pt x="503" y="220"/>
                  </a:lnTo>
                  <a:lnTo>
                    <a:pt x="505" y="220"/>
                  </a:lnTo>
                  <a:lnTo>
                    <a:pt x="505" y="222"/>
                  </a:lnTo>
                  <a:lnTo>
                    <a:pt x="505" y="230"/>
                  </a:lnTo>
                  <a:lnTo>
                    <a:pt x="508" y="230"/>
                  </a:lnTo>
                  <a:lnTo>
                    <a:pt x="510" y="232"/>
                  </a:lnTo>
                  <a:lnTo>
                    <a:pt x="510" y="234"/>
                  </a:lnTo>
                  <a:lnTo>
                    <a:pt x="510" y="234"/>
                  </a:lnTo>
                  <a:lnTo>
                    <a:pt x="510" y="239"/>
                  </a:lnTo>
                  <a:lnTo>
                    <a:pt x="510" y="241"/>
                  </a:lnTo>
                  <a:lnTo>
                    <a:pt x="510" y="241"/>
                  </a:lnTo>
                  <a:lnTo>
                    <a:pt x="512" y="244"/>
                  </a:lnTo>
                  <a:lnTo>
                    <a:pt x="512" y="248"/>
                  </a:lnTo>
                  <a:lnTo>
                    <a:pt x="512" y="251"/>
                  </a:lnTo>
                  <a:lnTo>
                    <a:pt x="510" y="253"/>
                  </a:lnTo>
                  <a:lnTo>
                    <a:pt x="510" y="256"/>
                  </a:lnTo>
                  <a:lnTo>
                    <a:pt x="510" y="256"/>
                  </a:lnTo>
                  <a:lnTo>
                    <a:pt x="510" y="253"/>
                  </a:lnTo>
                  <a:lnTo>
                    <a:pt x="510" y="253"/>
                  </a:lnTo>
                  <a:lnTo>
                    <a:pt x="512" y="253"/>
                  </a:lnTo>
                  <a:lnTo>
                    <a:pt x="515" y="251"/>
                  </a:lnTo>
                  <a:lnTo>
                    <a:pt x="517" y="251"/>
                  </a:lnTo>
                  <a:lnTo>
                    <a:pt x="517" y="253"/>
                  </a:lnTo>
                  <a:lnTo>
                    <a:pt x="520" y="256"/>
                  </a:lnTo>
                  <a:lnTo>
                    <a:pt x="520" y="256"/>
                  </a:lnTo>
                  <a:lnTo>
                    <a:pt x="520" y="258"/>
                  </a:lnTo>
                  <a:lnTo>
                    <a:pt x="522" y="260"/>
                  </a:lnTo>
                  <a:lnTo>
                    <a:pt x="522" y="263"/>
                  </a:lnTo>
                  <a:lnTo>
                    <a:pt x="520" y="265"/>
                  </a:lnTo>
                  <a:lnTo>
                    <a:pt x="522" y="267"/>
                  </a:lnTo>
                  <a:lnTo>
                    <a:pt x="522" y="267"/>
                  </a:lnTo>
                  <a:lnTo>
                    <a:pt x="522" y="272"/>
                  </a:lnTo>
                  <a:lnTo>
                    <a:pt x="522" y="272"/>
                  </a:lnTo>
                  <a:lnTo>
                    <a:pt x="524" y="274"/>
                  </a:lnTo>
                  <a:lnTo>
                    <a:pt x="524" y="277"/>
                  </a:lnTo>
                  <a:lnTo>
                    <a:pt x="524" y="279"/>
                  </a:lnTo>
                  <a:lnTo>
                    <a:pt x="527" y="282"/>
                  </a:lnTo>
                  <a:lnTo>
                    <a:pt x="527" y="284"/>
                  </a:lnTo>
                  <a:lnTo>
                    <a:pt x="527" y="286"/>
                  </a:lnTo>
                  <a:lnTo>
                    <a:pt x="527" y="286"/>
                  </a:lnTo>
                  <a:lnTo>
                    <a:pt x="529" y="289"/>
                  </a:lnTo>
                  <a:lnTo>
                    <a:pt x="529" y="291"/>
                  </a:lnTo>
                  <a:lnTo>
                    <a:pt x="531" y="293"/>
                  </a:lnTo>
                  <a:lnTo>
                    <a:pt x="531" y="296"/>
                  </a:lnTo>
                  <a:lnTo>
                    <a:pt x="531" y="298"/>
                  </a:lnTo>
                  <a:lnTo>
                    <a:pt x="531" y="300"/>
                  </a:lnTo>
                  <a:lnTo>
                    <a:pt x="529" y="300"/>
                  </a:lnTo>
                  <a:lnTo>
                    <a:pt x="529" y="300"/>
                  </a:lnTo>
                  <a:lnTo>
                    <a:pt x="534" y="298"/>
                  </a:lnTo>
                  <a:lnTo>
                    <a:pt x="543" y="296"/>
                  </a:lnTo>
                  <a:lnTo>
                    <a:pt x="545" y="293"/>
                  </a:lnTo>
                  <a:lnTo>
                    <a:pt x="553" y="291"/>
                  </a:lnTo>
                  <a:lnTo>
                    <a:pt x="557" y="291"/>
                  </a:lnTo>
                  <a:lnTo>
                    <a:pt x="560" y="291"/>
                  </a:lnTo>
                  <a:lnTo>
                    <a:pt x="562" y="293"/>
                  </a:lnTo>
                  <a:lnTo>
                    <a:pt x="562" y="293"/>
                  </a:lnTo>
                  <a:lnTo>
                    <a:pt x="562" y="293"/>
                  </a:lnTo>
                  <a:lnTo>
                    <a:pt x="564" y="296"/>
                  </a:lnTo>
                  <a:lnTo>
                    <a:pt x="564" y="298"/>
                  </a:lnTo>
                  <a:lnTo>
                    <a:pt x="569" y="303"/>
                  </a:lnTo>
                  <a:lnTo>
                    <a:pt x="569" y="303"/>
                  </a:lnTo>
                  <a:lnTo>
                    <a:pt x="569" y="303"/>
                  </a:lnTo>
                  <a:lnTo>
                    <a:pt x="571" y="305"/>
                  </a:lnTo>
                  <a:lnTo>
                    <a:pt x="571" y="305"/>
                  </a:lnTo>
                  <a:lnTo>
                    <a:pt x="574" y="308"/>
                  </a:lnTo>
                  <a:lnTo>
                    <a:pt x="574" y="308"/>
                  </a:lnTo>
                  <a:lnTo>
                    <a:pt x="574" y="310"/>
                  </a:lnTo>
                  <a:lnTo>
                    <a:pt x="574" y="310"/>
                  </a:lnTo>
                  <a:lnTo>
                    <a:pt x="574" y="312"/>
                  </a:lnTo>
                  <a:lnTo>
                    <a:pt x="576" y="315"/>
                  </a:lnTo>
                  <a:lnTo>
                    <a:pt x="576" y="315"/>
                  </a:lnTo>
                  <a:lnTo>
                    <a:pt x="579" y="317"/>
                  </a:lnTo>
                  <a:lnTo>
                    <a:pt x="579" y="322"/>
                  </a:lnTo>
                  <a:lnTo>
                    <a:pt x="579" y="322"/>
                  </a:lnTo>
                  <a:lnTo>
                    <a:pt x="581" y="324"/>
                  </a:lnTo>
                  <a:lnTo>
                    <a:pt x="583" y="334"/>
                  </a:lnTo>
                  <a:lnTo>
                    <a:pt x="588" y="343"/>
                  </a:lnTo>
                  <a:lnTo>
                    <a:pt x="595" y="343"/>
                  </a:lnTo>
                  <a:lnTo>
                    <a:pt x="605" y="345"/>
                  </a:lnTo>
                  <a:lnTo>
                    <a:pt x="607" y="345"/>
                  </a:lnTo>
                  <a:lnTo>
                    <a:pt x="612" y="348"/>
                  </a:lnTo>
                  <a:lnTo>
                    <a:pt x="614" y="348"/>
                  </a:lnTo>
                  <a:lnTo>
                    <a:pt x="619" y="350"/>
                  </a:lnTo>
                  <a:lnTo>
                    <a:pt x="628" y="357"/>
                  </a:lnTo>
                  <a:lnTo>
                    <a:pt x="628" y="357"/>
                  </a:lnTo>
                  <a:lnTo>
                    <a:pt x="628" y="360"/>
                  </a:lnTo>
                  <a:lnTo>
                    <a:pt x="628" y="360"/>
                  </a:lnTo>
                  <a:lnTo>
                    <a:pt x="628" y="362"/>
                  </a:lnTo>
                  <a:lnTo>
                    <a:pt x="631" y="362"/>
                  </a:lnTo>
                  <a:lnTo>
                    <a:pt x="631" y="367"/>
                  </a:lnTo>
                  <a:lnTo>
                    <a:pt x="633" y="378"/>
                  </a:lnTo>
                  <a:lnTo>
                    <a:pt x="633" y="385"/>
                  </a:lnTo>
                  <a:lnTo>
                    <a:pt x="633" y="388"/>
                  </a:lnTo>
                  <a:lnTo>
                    <a:pt x="633" y="390"/>
                  </a:lnTo>
                  <a:lnTo>
                    <a:pt x="633" y="397"/>
                  </a:lnTo>
                  <a:lnTo>
                    <a:pt x="633" y="397"/>
                  </a:lnTo>
                  <a:lnTo>
                    <a:pt x="631" y="407"/>
                  </a:lnTo>
                  <a:lnTo>
                    <a:pt x="628" y="411"/>
                  </a:lnTo>
                  <a:lnTo>
                    <a:pt x="631" y="414"/>
                  </a:lnTo>
                  <a:lnTo>
                    <a:pt x="631" y="419"/>
                  </a:lnTo>
                  <a:lnTo>
                    <a:pt x="631" y="421"/>
                  </a:lnTo>
                  <a:lnTo>
                    <a:pt x="631" y="423"/>
                  </a:lnTo>
                  <a:lnTo>
                    <a:pt x="628" y="428"/>
                  </a:lnTo>
                  <a:lnTo>
                    <a:pt x="628" y="430"/>
                  </a:lnTo>
                  <a:lnTo>
                    <a:pt x="626" y="435"/>
                  </a:lnTo>
                  <a:lnTo>
                    <a:pt x="626" y="435"/>
                  </a:lnTo>
                  <a:lnTo>
                    <a:pt x="626" y="435"/>
                  </a:lnTo>
                  <a:lnTo>
                    <a:pt x="626" y="435"/>
                  </a:lnTo>
                  <a:lnTo>
                    <a:pt x="626" y="445"/>
                  </a:lnTo>
                  <a:lnTo>
                    <a:pt x="626" y="445"/>
                  </a:lnTo>
                  <a:lnTo>
                    <a:pt x="626" y="449"/>
                  </a:lnTo>
                  <a:lnTo>
                    <a:pt x="626" y="449"/>
                  </a:lnTo>
                  <a:lnTo>
                    <a:pt x="626" y="452"/>
                  </a:lnTo>
                  <a:lnTo>
                    <a:pt x="621" y="454"/>
                  </a:lnTo>
                  <a:lnTo>
                    <a:pt x="621" y="454"/>
                  </a:lnTo>
                  <a:lnTo>
                    <a:pt x="619" y="459"/>
                  </a:lnTo>
                  <a:lnTo>
                    <a:pt x="619" y="461"/>
                  </a:lnTo>
                  <a:lnTo>
                    <a:pt x="614" y="466"/>
                  </a:lnTo>
                  <a:lnTo>
                    <a:pt x="612" y="468"/>
                  </a:lnTo>
                  <a:lnTo>
                    <a:pt x="612" y="468"/>
                  </a:lnTo>
                  <a:lnTo>
                    <a:pt x="612" y="468"/>
                  </a:lnTo>
                  <a:lnTo>
                    <a:pt x="612" y="468"/>
                  </a:lnTo>
                  <a:lnTo>
                    <a:pt x="612" y="468"/>
                  </a:lnTo>
                  <a:lnTo>
                    <a:pt x="612" y="471"/>
                  </a:lnTo>
                  <a:lnTo>
                    <a:pt x="612" y="471"/>
                  </a:lnTo>
                  <a:lnTo>
                    <a:pt x="609" y="473"/>
                  </a:lnTo>
                  <a:lnTo>
                    <a:pt x="612" y="473"/>
                  </a:lnTo>
                  <a:lnTo>
                    <a:pt x="612" y="475"/>
                  </a:lnTo>
                  <a:lnTo>
                    <a:pt x="612" y="475"/>
                  </a:lnTo>
                  <a:lnTo>
                    <a:pt x="609" y="475"/>
                  </a:lnTo>
                  <a:lnTo>
                    <a:pt x="609" y="475"/>
                  </a:lnTo>
                  <a:lnTo>
                    <a:pt x="609" y="478"/>
                  </a:lnTo>
                  <a:lnTo>
                    <a:pt x="607" y="478"/>
                  </a:lnTo>
                  <a:lnTo>
                    <a:pt x="607" y="478"/>
                  </a:lnTo>
                  <a:lnTo>
                    <a:pt x="607" y="478"/>
                  </a:lnTo>
                  <a:lnTo>
                    <a:pt x="605" y="487"/>
                  </a:lnTo>
                  <a:lnTo>
                    <a:pt x="597" y="487"/>
                  </a:lnTo>
                  <a:lnTo>
                    <a:pt x="593" y="487"/>
                  </a:lnTo>
                  <a:lnTo>
                    <a:pt x="588" y="489"/>
                  </a:lnTo>
                  <a:lnTo>
                    <a:pt x="586" y="489"/>
                  </a:lnTo>
                  <a:lnTo>
                    <a:pt x="579" y="492"/>
                  </a:lnTo>
                  <a:lnTo>
                    <a:pt x="574" y="494"/>
                  </a:lnTo>
                  <a:lnTo>
                    <a:pt x="567" y="497"/>
                  </a:lnTo>
                  <a:lnTo>
                    <a:pt x="567" y="499"/>
                  </a:lnTo>
                  <a:lnTo>
                    <a:pt x="567" y="499"/>
                  </a:lnTo>
                  <a:lnTo>
                    <a:pt x="562" y="501"/>
                  </a:lnTo>
                  <a:lnTo>
                    <a:pt x="562" y="506"/>
                  </a:lnTo>
                  <a:lnTo>
                    <a:pt x="557" y="511"/>
                  </a:lnTo>
                  <a:lnTo>
                    <a:pt x="557" y="518"/>
                  </a:lnTo>
                  <a:lnTo>
                    <a:pt x="557" y="520"/>
                  </a:lnTo>
                  <a:lnTo>
                    <a:pt x="555" y="522"/>
                  </a:lnTo>
                  <a:lnTo>
                    <a:pt x="553" y="532"/>
                  </a:lnTo>
                  <a:lnTo>
                    <a:pt x="550" y="534"/>
                  </a:lnTo>
                  <a:lnTo>
                    <a:pt x="548" y="539"/>
                  </a:lnTo>
                  <a:lnTo>
                    <a:pt x="545" y="544"/>
                  </a:lnTo>
                  <a:lnTo>
                    <a:pt x="543" y="548"/>
                  </a:lnTo>
                  <a:lnTo>
                    <a:pt x="538" y="551"/>
                  </a:lnTo>
                  <a:lnTo>
                    <a:pt x="536" y="553"/>
                  </a:lnTo>
                  <a:lnTo>
                    <a:pt x="534" y="556"/>
                  </a:lnTo>
                  <a:lnTo>
                    <a:pt x="524" y="563"/>
                  </a:lnTo>
                  <a:lnTo>
                    <a:pt x="520" y="565"/>
                  </a:lnTo>
                  <a:lnTo>
                    <a:pt x="515" y="567"/>
                  </a:lnTo>
                  <a:lnTo>
                    <a:pt x="503" y="570"/>
                  </a:lnTo>
                  <a:lnTo>
                    <a:pt x="501" y="570"/>
                  </a:lnTo>
                  <a:lnTo>
                    <a:pt x="501" y="570"/>
                  </a:lnTo>
                  <a:lnTo>
                    <a:pt x="494" y="574"/>
                  </a:lnTo>
                  <a:lnTo>
                    <a:pt x="494" y="577"/>
                  </a:lnTo>
                  <a:lnTo>
                    <a:pt x="491" y="579"/>
                  </a:lnTo>
                  <a:lnTo>
                    <a:pt x="491" y="579"/>
                  </a:lnTo>
                  <a:lnTo>
                    <a:pt x="491" y="579"/>
                  </a:lnTo>
                  <a:lnTo>
                    <a:pt x="489" y="584"/>
                  </a:lnTo>
                  <a:lnTo>
                    <a:pt x="486" y="584"/>
                  </a:lnTo>
                  <a:lnTo>
                    <a:pt x="484" y="586"/>
                  </a:lnTo>
                  <a:lnTo>
                    <a:pt x="482" y="589"/>
                  </a:lnTo>
                  <a:lnTo>
                    <a:pt x="479" y="591"/>
                  </a:lnTo>
                  <a:lnTo>
                    <a:pt x="479" y="591"/>
                  </a:lnTo>
                  <a:lnTo>
                    <a:pt x="477" y="593"/>
                  </a:lnTo>
                  <a:lnTo>
                    <a:pt x="470" y="593"/>
                  </a:lnTo>
                  <a:lnTo>
                    <a:pt x="463" y="596"/>
                  </a:lnTo>
                  <a:lnTo>
                    <a:pt x="460" y="603"/>
                  </a:lnTo>
                  <a:lnTo>
                    <a:pt x="458" y="605"/>
                  </a:lnTo>
                  <a:lnTo>
                    <a:pt x="453" y="610"/>
                  </a:lnTo>
                  <a:lnTo>
                    <a:pt x="453" y="612"/>
                  </a:lnTo>
                  <a:lnTo>
                    <a:pt x="449" y="615"/>
                  </a:lnTo>
                  <a:lnTo>
                    <a:pt x="449" y="617"/>
                  </a:lnTo>
                  <a:lnTo>
                    <a:pt x="446" y="619"/>
                  </a:lnTo>
                  <a:lnTo>
                    <a:pt x="446" y="622"/>
                  </a:lnTo>
                  <a:lnTo>
                    <a:pt x="446" y="622"/>
                  </a:lnTo>
                  <a:lnTo>
                    <a:pt x="446" y="629"/>
                  </a:lnTo>
                  <a:lnTo>
                    <a:pt x="439" y="634"/>
                  </a:lnTo>
                  <a:lnTo>
                    <a:pt x="437" y="636"/>
                  </a:lnTo>
                  <a:lnTo>
                    <a:pt x="437" y="643"/>
                  </a:lnTo>
                  <a:lnTo>
                    <a:pt x="434" y="648"/>
                  </a:lnTo>
                  <a:lnTo>
                    <a:pt x="430" y="652"/>
                  </a:lnTo>
                  <a:lnTo>
                    <a:pt x="425" y="655"/>
                  </a:lnTo>
                  <a:lnTo>
                    <a:pt x="425" y="655"/>
                  </a:lnTo>
                  <a:lnTo>
                    <a:pt x="418" y="662"/>
                  </a:lnTo>
                  <a:lnTo>
                    <a:pt x="416" y="664"/>
                  </a:lnTo>
                  <a:lnTo>
                    <a:pt x="406" y="681"/>
                  </a:lnTo>
                  <a:lnTo>
                    <a:pt x="406" y="681"/>
                  </a:lnTo>
                  <a:lnTo>
                    <a:pt x="406" y="683"/>
                  </a:lnTo>
                  <a:lnTo>
                    <a:pt x="404" y="683"/>
                  </a:lnTo>
                  <a:lnTo>
                    <a:pt x="404" y="683"/>
                  </a:lnTo>
                  <a:lnTo>
                    <a:pt x="404" y="688"/>
                  </a:lnTo>
                  <a:lnTo>
                    <a:pt x="404" y="697"/>
                  </a:lnTo>
                  <a:lnTo>
                    <a:pt x="404" y="700"/>
                  </a:lnTo>
                  <a:lnTo>
                    <a:pt x="401" y="700"/>
                  </a:lnTo>
                  <a:lnTo>
                    <a:pt x="404" y="709"/>
                  </a:lnTo>
                  <a:lnTo>
                    <a:pt x="404" y="714"/>
                  </a:lnTo>
                  <a:lnTo>
                    <a:pt x="404" y="716"/>
                  </a:lnTo>
                  <a:lnTo>
                    <a:pt x="404" y="716"/>
                  </a:lnTo>
                  <a:lnTo>
                    <a:pt x="401" y="719"/>
                  </a:lnTo>
                  <a:lnTo>
                    <a:pt x="392" y="728"/>
                  </a:lnTo>
                  <a:lnTo>
                    <a:pt x="390" y="733"/>
                  </a:lnTo>
                  <a:lnTo>
                    <a:pt x="378" y="733"/>
                  </a:lnTo>
                  <a:lnTo>
                    <a:pt x="378" y="733"/>
                  </a:lnTo>
                  <a:lnTo>
                    <a:pt x="373" y="728"/>
                  </a:lnTo>
                  <a:lnTo>
                    <a:pt x="373" y="728"/>
                  </a:lnTo>
                  <a:lnTo>
                    <a:pt x="371" y="733"/>
                  </a:lnTo>
                  <a:lnTo>
                    <a:pt x="371" y="733"/>
                  </a:lnTo>
                  <a:lnTo>
                    <a:pt x="371" y="733"/>
                  </a:lnTo>
                  <a:lnTo>
                    <a:pt x="368" y="733"/>
                  </a:lnTo>
                  <a:lnTo>
                    <a:pt x="368" y="733"/>
                  </a:lnTo>
                  <a:lnTo>
                    <a:pt x="368" y="728"/>
                  </a:lnTo>
                  <a:lnTo>
                    <a:pt x="368" y="728"/>
                  </a:lnTo>
                  <a:lnTo>
                    <a:pt x="366" y="726"/>
                  </a:lnTo>
                  <a:lnTo>
                    <a:pt x="366" y="726"/>
                  </a:lnTo>
                  <a:lnTo>
                    <a:pt x="366" y="728"/>
                  </a:lnTo>
                  <a:lnTo>
                    <a:pt x="366" y="733"/>
                  </a:lnTo>
                  <a:lnTo>
                    <a:pt x="366" y="733"/>
                  </a:lnTo>
                  <a:lnTo>
                    <a:pt x="366" y="733"/>
                  </a:lnTo>
                  <a:lnTo>
                    <a:pt x="364" y="733"/>
                  </a:lnTo>
                  <a:lnTo>
                    <a:pt x="359" y="733"/>
                  </a:lnTo>
                  <a:lnTo>
                    <a:pt x="357" y="735"/>
                  </a:lnTo>
                  <a:lnTo>
                    <a:pt x="357" y="735"/>
                  </a:lnTo>
                  <a:lnTo>
                    <a:pt x="357" y="735"/>
                  </a:lnTo>
                  <a:lnTo>
                    <a:pt x="357" y="737"/>
                  </a:lnTo>
                  <a:lnTo>
                    <a:pt x="359" y="737"/>
                  </a:lnTo>
                  <a:lnTo>
                    <a:pt x="359" y="740"/>
                  </a:lnTo>
                  <a:lnTo>
                    <a:pt x="357" y="742"/>
                  </a:lnTo>
                  <a:lnTo>
                    <a:pt x="354" y="742"/>
                  </a:lnTo>
                  <a:lnTo>
                    <a:pt x="352" y="740"/>
                  </a:lnTo>
                  <a:lnTo>
                    <a:pt x="352" y="740"/>
                  </a:lnTo>
                  <a:lnTo>
                    <a:pt x="349" y="740"/>
                  </a:lnTo>
                  <a:lnTo>
                    <a:pt x="349" y="737"/>
                  </a:lnTo>
                  <a:lnTo>
                    <a:pt x="352" y="735"/>
                  </a:lnTo>
                  <a:lnTo>
                    <a:pt x="349" y="730"/>
                  </a:lnTo>
                  <a:lnTo>
                    <a:pt x="349" y="730"/>
                  </a:lnTo>
                  <a:lnTo>
                    <a:pt x="345" y="730"/>
                  </a:lnTo>
                  <a:lnTo>
                    <a:pt x="345" y="728"/>
                  </a:lnTo>
                  <a:lnTo>
                    <a:pt x="342" y="728"/>
                  </a:lnTo>
                  <a:lnTo>
                    <a:pt x="335" y="728"/>
                  </a:lnTo>
                  <a:lnTo>
                    <a:pt x="335" y="728"/>
                  </a:lnTo>
                  <a:lnTo>
                    <a:pt x="328" y="728"/>
                  </a:lnTo>
                  <a:lnTo>
                    <a:pt x="326" y="726"/>
                  </a:lnTo>
                  <a:lnTo>
                    <a:pt x="323" y="726"/>
                  </a:lnTo>
                  <a:lnTo>
                    <a:pt x="319" y="719"/>
                  </a:lnTo>
                  <a:lnTo>
                    <a:pt x="319" y="719"/>
                  </a:lnTo>
                  <a:lnTo>
                    <a:pt x="316" y="719"/>
                  </a:lnTo>
                  <a:lnTo>
                    <a:pt x="314" y="716"/>
                  </a:lnTo>
                  <a:lnTo>
                    <a:pt x="312" y="719"/>
                  </a:lnTo>
                  <a:lnTo>
                    <a:pt x="309" y="716"/>
                  </a:lnTo>
                  <a:lnTo>
                    <a:pt x="309" y="716"/>
                  </a:lnTo>
                  <a:lnTo>
                    <a:pt x="312" y="714"/>
                  </a:lnTo>
                  <a:lnTo>
                    <a:pt x="312" y="711"/>
                  </a:lnTo>
                  <a:lnTo>
                    <a:pt x="312" y="711"/>
                  </a:lnTo>
                  <a:lnTo>
                    <a:pt x="312" y="707"/>
                  </a:lnTo>
                  <a:lnTo>
                    <a:pt x="309" y="704"/>
                  </a:lnTo>
                  <a:lnTo>
                    <a:pt x="309" y="702"/>
                  </a:lnTo>
                  <a:lnTo>
                    <a:pt x="309" y="702"/>
                  </a:lnTo>
                  <a:lnTo>
                    <a:pt x="309" y="700"/>
                  </a:lnTo>
                  <a:lnTo>
                    <a:pt x="309" y="700"/>
                  </a:lnTo>
                  <a:lnTo>
                    <a:pt x="312" y="700"/>
                  </a:lnTo>
                  <a:lnTo>
                    <a:pt x="314" y="700"/>
                  </a:lnTo>
                  <a:lnTo>
                    <a:pt x="314" y="697"/>
                  </a:lnTo>
                  <a:lnTo>
                    <a:pt x="314" y="695"/>
                  </a:lnTo>
                  <a:lnTo>
                    <a:pt x="312" y="693"/>
                  </a:lnTo>
                  <a:lnTo>
                    <a:pt x="309" y="690"/>
                  </a:lnTo>
                  <a:lnTo>
                    <a:pt x="307" y="690"/>
                  </a:lnTo>
                  <a:lnTo>
                    <a:pt x="307" y="688"/>
                  </a:lnTo>
                  <a:lnTo>
                    <a:pt x="305" y="690"/>
                  </a:lnTo>
                  <a:lnTo>
                    <a:pt x="305" y="690"/>
                  </a:lnTo>
                  <a:lnTo>
                    <a:pt x="302" y="690"/>
                  </a:lnTo>
                  <a:lnTo>
                    <a:pt x="300" y="693"/>
                  </a:lnTo>
                  <a:lnTo>
                    <a:pt x="297" y="693"/>
                  </a:lnTo>
                  <a:lnTo>
                    <a:pt x="295" y="693"/>
                  </a:lnTo>
                  <a:lnTo>
                    <a:pt x="297" y="690"/>
                  </a:lnTo>
                  <a:lnTo>
                    <a:pt x="300" y="685"/>
                  </a:lnTo>
                  <a:lnTo>
                    <a:pt x="297" y="685"/>
                  </a:lnTo>
                  <a:lnTo>
                    <a:pt x="297" y="683"/>
                  </a:lnTo>
                  <a:lnTo>
                    <a:pt x="297" y="681"/>
                  </a:lnTo>
                  <a:lnTo>
                    <a:pt x="300" y="678"/>
                  </a:lnTo>
                  <a:lnTo>
                    <a:pt x="300" y="676"/>
                  </a:lnTo>
                  <a:lnTo>
                    <a:pt x="300" y="674"/>
                  </a:lnTo>
                  <a:lnTo>
                    <a:pt x="300" y="674"/>
                  </a:lnTo>
                  <a:lnTo>
                    <a:pt x="300" y="674"/>
                  </a:lnTo>
                  <a:lnTo>
                    <a:pt x="300" y="671"/>
                  </a:lnTo>
                  <a:lnTo>
                    <a:pt x="300" y="669"/>
                  </a:lnTo>
                  <a:lnTo>
                    <a:pt x="300" y="667"/>
                  </a:lnTo>
                  <a:lnTo>
                    <a:pt x="300" y="667"/>
                  </a:lnTo>
                  <a:lnTo>
                    <a:pt x="300" y="664"/>
                  </a:lnTo>
                  <a:lnTo>
                    <a:pt x="300" y="662"/>
                  </a:lnTo>
                  <a:lnTo>
                    <a:pt x="297" y="657"/>
                  </a:lnTo>
                  <a:lnTo>
                    <a:pt x="297" y="655"/>
                  </a:lnTo>
                  <a:lnTo>
                    <a:pt x="293" y="655"/>
                  </a:lnTo>
                  <a:lnTo>
                    <a:pt x="288" y="655"/>
                  </a:lnTo>
                  <a:lnTo>
                    <a:pt x="286" y="657"/>
                  </a:lnTo>
                  <a:lnTo>
                    <a:pt x="283" y="657"/>
                  </a:lnTo>
                  <a:lnTo>
                    <a:pt x="283" y="657"/>
                  </a:lnTo>
                  <a:lnTo>
                    <a:pt x="279" y="652"/>
                  </a:lnTo>
                  <a:lnTo>
                    <a:pt x="279" y="650"/>
                  </a:lnTo>
                  <a:lnTo>
                    <a:pt x="279" y="650"/>
                  </a:lnTo>
                  <a:lnTo>
                    <a:pt x="279" y="648"/>
                  </a:lnTo>
                  <a:lnTo>
                    <a:pt x="276" y="645"/>
                  </a:lnTo>
                  <a:lnTo>
                    <a:pt x="276" y="643"/>
                  </a:lnTo>
                  <a:lnTo>
                    <a:pt x="274" y="641"/>
                  </a:lnTo>
                  <a:lnTo>
                    <a:pt x="279" y="636"/>
                  </a:lnTo>
                  <a:lnTo>
                    <a:pt x="279" y="634"/>
                  </a:lnTo>
                  <a:lnTo>
                    <a:pt x="276" y="631"/>
                  </a:lnTo>
                  <a:lnTo>
                    <a:pt x="276" y="629"/>
                  </a:lnTo>
                  <a:lnTo>
                    <a:pt x="279" y="624"/>
                  </a:lnTo>
                  <a:lnTo>
                    <a:pt x="279" y="622"/>
                  </a:lnTo>
                  <a:lnTo>
                    <a:pt x="276" y="619"/>
                  </a:lnTo>
                  <a:lnTo>
                    <a:pt x="274" y="617"/>
                  </a:lnTo>
                  <a:lnTo>
                    <a:pt x="274" y="617"/>
                  </a:lnTo>
                  <a:lnTo>
                    <a:pt x="271" y="617"/>
                  </a:lnTo>
                  <a:lnTo>
                    <a:pt x="269" y="615"/>
                  </a:lnTo>
                  <a:lnTo>
                    <a:pt x="269" y="612"/>
                  </a:lnTo>
                  <a:lnTo>
                    <a:pt x="260" y="605"/>
                  </a:lnTo>
                  <a:lnTo>
                    <a:pt x="257" y="603"/>
                  </a:lnTo>
                  <a:lnTo>
                    <a:pt x="257" y="600"/>
                  </a:lnTo>
                  <a:lnTo>
                    <a:pt x="255" y="600"/>
                  </a:lnTo>
                  <a:lnTo>
                    <a:pt x="253" y="598"/>
                  </a:lnTo>
                  <a:lnTo>
                    <a:pt x="250" y="600"/>
                  </a:lnTo>
                  <a:lnTo>
                    <a:pt x="245" y="598"/>
                  </a:lnTo>
                  <a:lnTo>
                    <a:pt x="245" y="598"/>
                  </a:lnTo>
                  <a:lnTo>
                    <a:pt x="243" y="589"/>
                  </a:lnTo>
                  <a:lnTo>
                    <a:pt x="241" y="586"/>
                  </a:lnTo>
                  <a:lnTo>
                    <a:pt x="241" y="582"/>
                  </a:lnTo>
                  <a:lnTo>
                    <a:pt x="241" y="577"/>
                  </a:lnTo>
                  <a:lnTo>
                    <a:pt x="241" y="577"/>
                  </a:lnTo>
                  <a:lnTo>
                    <a:pt x="236" y="574"/>
                  </a:lnTo>
                  <a:lnTo>
                    <a:pt x="236" y="572"/>
                  </a:lnTo>
                  <a:lnTo>
                    <a:pt x="236" y="567"/>
                  </a:lnTo>
                  <a:lnTo>
                    <a:pt x="234" y="567"/>
                  </a:lnTo>
                  <a:lnTo>
                    <a:pt x="234" y="565"/>
                  </a:lnTo>
                  <a:lnTo>
                    <a:pt x="234" y="563"/>
                  </a:lnTo>
                  <a:lnTo>
                    <a:pt x="231" y="560"/>
                  </a:lnTo>
                  <a:lnTo>
                    <a:pt x="231" y="560"/>
                  </a:lnTo>
                  <a:lnTo>
                    <a:pt x="229" y="558"/>
                  </a:lnTo>
                  <a:lnTo>
                    <a:pt x="227" y="556"/>
                  </a:lnTo>
                  <a:lnTo>
                    <a:pt x="224" y="553"/>
                  </a:lnTo>
                  <a:lnTo>
                    <a:pt x="224" y="551"/>
                  </a:lnTo>
                  <a:lnTo>
                    <a:pt x="224" y="548"/>
                  </a:lnTo>
                  <a:lnTo>
                    <a:pt x="227" y="546"/>
                  </a:lnTo>
                  <a:lnTo>
                    <a:pt x="224" y="541"/>
                  </a:lnTo>
                  <a:lnTo>
                    <a:pt x="222" y="541"/>
                  </a:lnTo>
                  <a:lnTo>
                    <a:pt x="219" y="537"/>
                  </a:lnTo>
                  <a:lnTo>
                    <a:pt x="219" y="534"/>
                  </a:lnTo>
                  <a:lnTo>
                    <a:pt x="217" y="532"/>
                  </a:lnTo>
                  <a:lnTo>
                    <a:pt x="215" y="530"/>
                  </a:lnTo>
                  <a:lnTo>
                    <a:pt x="217" y="527"/>
                  </a:lnTo>
                  <a:lnTo>
                    <a:pt x="217" y="527"/>
                  </a:lnTo>
                  <a:lnTo>
                    <a:pt x="217" y="525"/>
                  </a:lnTo>
                  <a:lnTo>
                    <a:pt x="217" y="522"/>
                  </a:lnTo>
                  <a:lnTo>
                    <a:pt x="217" y="518"/>
                  </a:lnTo>
                  <a:lnTo>
                    <a:pt x="217" y="515"/>
                  </a:lnTo>
                  <a:lnTo>
                    <a:pt x="215" y="515"/>
                  </a:lnTo>
                  <a:lnTo>
                    <a:pt x="217" y="513"/>
                  </a:lnTo>
                  <a:lnTo>
                    <a:pt x="217" y="513"/>
                  </a:lnTo>
                  <a:lnTo>
                    <a:pt x="217" y="511"/>
                  </a:lnTo>
                  <a:lnTo>
                    <a:pt x="219" y="508"/>
                  </a:lnTo>
                  <a:lnTo>
                    <a:pt x="219" y="508"/>
                  </a:lnTo>
                  <a:lnTo>
                    <a:pt x="217" y="506"/>
                  </a:lnTo>
                  <a:lnTo>
                    <a:pt x="217" y="504"/>
                  </a:lnTo>
                  <a:lnTo>
                    <a:pt x="219" y="501"/>
                  </a:lnTo>
                  <a:lnTo>
                    <a:pt x="222" y="497"/>
                  </a:lnTo>
                  <a:lnTo>
                    <a:pt x="224" y="492"/>
                  </a:lnTo>
                  <a:lnTo>
                    <a:pt x="224" y="492"/>
                  </a:lnTo>
                  <a:lnTo>
                    <a:pt x="224" y="489"/>
                  </a:lnTo>
                  <a:lnTo>
                    <a:pt x="222" y="489"/>
                  </a:lnTo>
                  <a:lnTo>
                    <a:pt x="219" y="489"/>
                  </a:lnTo>
                  <a:lnTo>
                    <a:pt x="219" y="489"/>
                  </a:lnTo>
                  <a:lnTo>
                    <a:pt x="217" y="487"/>
                  </a:lnTo>
                  <a:lnTo>
                    <a:pt x="217" y="485"/>
                  </a:lnTo>
                  <a:lnTo>
                    <a:pt x="215" y="482"/>
                  </a:lnTo>
                  <a:lnTo>
                    <a:pt x="212" y="480"/>
                  </a:lnTo>
                  <a:lnTo>
                    <a:pt x="212" y="478"/>
                  </a:lnTo>
                  <a:lnTo>
                    <a:pt x="212" y="478"/>
                  </a:lnTo>
                  <a:lnTo>
                    <a:pt x="210" y="478"/>
                  </a:lnTo>
                  <a:lnTo>
                    <a:pt x="205" y="475"/>
                  </a:lnTo>
                  <a:lnTo>
                    <a:pt x="203" y="473"/>
                  </a:lnTo>
                  <a:lnTo>
                    <a:pt x="201" y="468"/>
                  </a:lnTo>
                  <a:lnTo>
                    <a:pt x="198" y="468"/>
                  </a:lnTo>
                  <a:lnTo>
                    <a:pt x="191" y="463"/>
                  </a:lnTo>
                  <a:lnTo>
                    <a:pt x="191" y="463"/>
                  </a:lnTo>
                  <a:lnTo>
                    <a:pt x="186" y="459"/>
                  </a:lnTo>
                  <a:lnTo>
                    <a:pt x="184" y="456"/>
                  </a:lnTo>
                  <a:lnTo>
                    <a:pt x="186" y="456"/>
                  </a:lnTo>
                  <a:lnTo>
                    <a:pt x="186" y="452"/>
                  </a:lnTo>
                  <a:lnTo>
                    <a:pt x="184" y="452"/>
                  </a:lnTo>
                  <a:lnTo>
                    <a:pt x="184" y="449"/>
                  </a:lnTo>
                  <a:lnTo>
                    <a:pt x="182" y="447"/>
                  </a:lnTo>
                  <a:lnTo>
                    <a:pt x="182" y="447"/>
                  </a:lnTo>
                  <a:lnTo>
                    <a:pt x="184" y="447"/>
                  </a:lnTo>
                  <a:lnTo>
                    <a:pt x="184" y="445"/>
                  </a:lnTo>
                  <a:lnTo>
                    <a:pt x="182" y="442"/>
                  </a:lnTo>
                  <a:lnTo>
                    <a:pt x="182" y="442"/>
                  </a:lnTo>
                  <a:lnTo>
                    <a:pt x="182" y="442"/>
                  </a:lnTo>
                  <a:lnTo>
                    <a:pt x="179" y="440"/>
                  </a:lnTo>
                  <a:lnTo>
                    <a:pt x="179" y="440"/>
                  </a:lnTo>
                  <a:lnTo>
                    <a:pt x="179" y="435"/>
                  </a:lnTo>
                  <a:lnTo>
                    <a:pt x="179" y="433"/>
                  </a:lnTo>
                  <a:lnTo>
                    <a:pt x="179" y="430"/>
                  </a:lnTo>
                  <a:lnTo>
                    <a:pt x="182" y="430"/>
                  </a:lnTo>
                  <a:lnTo>
                    <a:pt x="182" y="430"/>
                  </a:lnTo>
                  <a:lnTo>
                    <a:pt x="184" y="430"/>
                  </a:lnTo>
                  <a:lnTo>
                    <a:pt x="186" y="430"/>
                  </a:lnTo>
                  <a:lnTo>
                    <a:pt x="186" y="430"/>
                  </a:lnTo>
                  <a:lnTo>
                    <a:pt x="186" y="428"/>
                  </a:lnTo>
                  <a:lnTo>
                    <a:pt x="186" y="426"/>
                  </a:lnTo>
                  <a:lnTo>
                    <a:pt x="186" y="423"/>
                  </a:lnTo>
                  <a:lnTo>
                    <a:pt x="184" y="423"/>
                  </a:lnTo>
                  <a:lnTo>
                    <a:pt x="184" y="421"/>
                  </a:lnTo>
                  <a:lnTo>
                    <a:pt x="184" y="416"/>
                  </a:lnTo>
                  <a:lnTo>
                    <a:pt x="182" y="416"/>
                  </a:lnTo>
                  <a:lnTo>
                    <a:pt x="182" y="419"/>
                  </a:lnTo>
                  <a:lnTo>
                    <a:pt x="182" y="419"/>
                  </a:lnTo>
                  <a:lnTo>
                    <a:pt x="177" y="419"/>
                  </a:lnTo>
                  <a:lnTo>
                    <a:pt x="170" y="421"/>
                  </a:lnTo>
                  <a:lnTo>
                    <a:pt x="170" y="421"/>
                  </a:lnTo>
                  <a:lnTo>
                    <a:pt x="168" y="421"/>
                  </a:lnTo>
                  <a:lnTo>
                    <a:pt x="168" y="419"/>
                  </a:lnTo>
                  <a:lnTo>
                    <a:pt x="170" y="416"/>
                  </a:lnTo>
                  <a:lnTo>
                    <a:pt x="170" y="414"/>
                  </a:lnTo>
                  <a:lnTo>
                    <a:pt x="170" y="414"/>
                  </a:lnTo>
                  <a:lnTo>
                    <a:pt x="168" y="411"/>
                  </a:lnTo>
                  <a:lnTo>
                    <a:pt x="168" y="411"/>
                  </a:lnTo>
                  <a:lnTo>
                    <a:pt x="168" y="409"/>
                  </a:lnTo>
                  <a:lnTo>
                    <a:pt x="168" y="407"/>
                  </a:lnTo>
                  <a:lnTo>
                    <a:pt x="170" y="407"/>
                  </a:lnTo>
                  <a:lnTo>
                    <a:pt x="170" y="404"/>
                  </a:lnTo>
                  <a:lnTo>
                    <a:pt x="168" y="404"/>
                  </a:lnTo>
                  <a:lnTo>
                    <a:pt x="165" y="404"/>
                  </a:lnTo>
                  <a:lnTo>
                    <a:pt x="165" y="404"/>
                  </a:lnTo>
                  <a:lnTo>
                    <a:pt x="165" y="404"/>
                  </a:lnTo>
                  <a:lnTo>
                    <a:pt x="163" y="402"/>
                  </a:lnTo>
                  <a:lnTo>
                    <a:pt x="158" y="404"/>
                  </a:lnTo>
                  <a:lnTo>
                    <a:pt x="156" y="404"/>
                  </a:lnTo>
                  <a:lnTo>
                    <a:pt x="153" y="404"/>
                  </a:lnTo>
                  <a:lnTo>
                    <a:pt x="153" y="404"/>
                  </a:lnTo>
                  <a:lnTo>
                    <a:pt x="156" y="402"/>
                  </a:lnTo>
                  <a:lnTo>
                    <a:pt x="156" y="402"/>
                  </a:lnTo>
                  <a:lnTo>
                    <a:pt x="156" y="400"/>
                  </a:lnTo>
                  <a:lnTo>
                    <a:pt x="156" y="397"/>
                  </a:lnTo>
                  <a:lnTo>
                    <a:pt x="156" y="395"/>
                  </a:lnTo>
                  <a:lnTo>
                    <a:pt x="153" y="397"/>
                  </a:lnTo>
                  <a:lnTo>
                    <a:pt x="153" y="400"/>
                  </a:lnTo>
                  <a:lnTo>
                    <a:pt x="151" y="400"/>
                  </a:lnTo>
                  <a:lnTo>
                    <a:pt x="151" y="400"/>
                  </a:lnTo>
                  <a:lnTo>
                    <a:pt x="151" y="397"/>
                  </a:lnTo>
                  <a:lnTo>
                    <a:pt x="149" y="400"/>
                  </a:lnTo>
                  <a:lnTo>
                    <a:pt x="149" y="400"/>
                  </a:lnTo>
                  <a:lnTo>
                    <a:pt x="146" y="397"/>
                  </a:lnTo>
                  <a:lnTo>
                    <a:pt x="149" y="395"/>
                  </a:lnTo>
                  <a:lnTo>
                    <a:pt x="149" y="395"/>
                  </a:lnTo>
                  <a:lnTo>
                    <a:pt x="146" y="393"/>
                  </a:lnTo>
                  <a:lnTo>
                    <a:pt x="146" y="393"/>
                  </a:lnTo>
                  <a:lnTo>
                    <a:pt x="146" y="395"/>
                  </a:lnTo>
                  <a:lnTo>
                    <a:pt x="146" y="395"/>
                  </a:lnTo>
                  <a:lnTo>
                    <a:pt x="144" y="397"/>
                  </a:lnTo>
                  <a:lnTo>
                    <a:pt x="144" y="397"/>
                  </a:lnTo>
                  <a:lnTo>
                    <a:pt x="142" y="397"/>
                  </a:lnTo>
                  <a:lnTo>
                    <a:pt x="142" y="395"/>
                  </a:lnTo>
                  <a:lnTo>
                    <a:pt x="139" y="397"/>
                  </a:lnTo>
                  <a:lnTo>
                    <a:pt x="139" y="397"/>
                  </a:lnTo>
                  <a:lnTo>
                    <a:pt x="139" y="397"/>
                  </a:lnTo>
                  <a:lnTo>
                    <a:pt x="137" y="395"/>
                  </a:lnTo>
                  <a:lnTo>
                    <a:pt x="134" y="395"/>
                  </a:lnTo>
                  <a:lnTo>
                    <a:pt x="134" y="395"/>
                  </a:lnTo>
                  <a:lnTo>
                    <a:pt x="132" y="395"/>
                  </a:lnTo>
                  <a:lnTo>
                    <a:pt x="134" y="397"/>
                  </a:lnTo>
                  <a:lnTo>
                    <a:pt x="134" y="397"/>
                  </a:lnTo>
                  <a:lnTo>
                    <a:pt x="134" y="397"/>
                  </a:lnTo>
                  <a:lnTo>
                    <a:pt x="132" y="397"/>
                  </a:lnTo>
                  <a:lnTo>
                    <a:pt x="132" y="397"/>
                  </a:lnTo>
                  <a:lnTo>
                    <a:pt x="130" y="397"/>
                  </a:lnTo>
                  <a:lnTo>
                    <a:pt x="130" y="397"/>
                  </a:lnTo>
                  <a:lnTo>
                    <a:pt x="130" y="397"/>
                  </a:lnTo>
                  <a:lnTo>
                    <a:pt x="130" y="395"/>
                  </a:lnTo>
                  <a:lnTo>
                    <a:pt x="130" y="397"/>
                  </a:lnTo>
                  <a:lnTo>
                    <a:pt x="125" y="395"/>
                  </a:lnTo>
                  <a:lnTo>
                    <a:pt x="125" y="397"/>
                  </a:lnTo>
                  <a:lnTo>
                    <a:pt x="125" y="395"/>
                  </a:lnTo>
                  <a:lnTo>
                    <a:pt x="125" y="393"/>
                  </a:lnTo>
                  <a:lnTo>
                    <a:pt x="125" y="393"/>
                  </a:lnTo>
                  <a:lnTo>
                    <a:pt x="125" y="393"/>
                  </a:lnTo>
                  <a:lnTo>
                    <a:pt x="123" y="390"/>
                  </a:lnTo>
                  <a:lnTo>
                    <a:pt x="120" y="390"/>
                  </a:lnTo>
                  <a:lnTo>
                    <a:pt x="120" y="393"/>
                  </a:lnTo>
                  <a:lnTo>
                    <a:pt x="120" y="393"/>
                  </a:lnTo>
                  <a:lnTo>
                    <a:pt x="118" y="393"/>
                  </a:lnTo>
                  <a:lnTo>
                    <a:pt x="118" y="393"/>
                  </a:lnTo>
                  <a:lnTo>
                    <a:pt x="120" y="390"/>
                  </a:lnTo>
                  <a:lnTo>
                    <a:pt x="120" y="390"/>
                  </a:lnTo>
                  <a:lnTo>
                    <a:pt x="120" y="388"/>
                  </a:lnTo>
                  <a:lnTo>
                    <a:pt x="120" y="388"/>
                  </a:lnTo>
                  <a:lnTo>
                    <a:pt x="118" y="388"/>
                  </a:lnTo>
                  <a:lnTo>
                    <a:pt x="116" y="388"/>
                  </a:lnTo>
                  <a:lnTo>
                    <a:pt x="116" y="385"/>
                  </a:lnTo>
                  <a:lnTo>
                    <a:pt x="116" y="385"/>
                  </a:lnTo>
                  <a:lnTo>
                    <a:pt x="113" y="388"/>
                  </a:lnTo>
                  <a:lnTo>
                    <a:pt x="113" y="385"/>
                  </a:lnTo>
                  <a:lnTo>
                    <a:pt x="111" y="388"/>
                  </a:lnTo>
                  <a:lnTo>
                    <a:pt x="111" y="385"/>
                  </a:lnTo>
                  <a:lnTo>
                    <a:pt x="111" y="383"/>
                  </a:lnTo>
                  <a:lnTo>
                    <a:pt x="108" y="381"/>
                  </a:lnTo>
                  <a:lnTo>
                    <a:pt x="108" y="383"/>
                  </a:lnTo>
                  <a:lnTo>
                    <a:pt x="106" y="383"/>
                  </a:lnTo>
                  <a:lnTo>
                    <a:pt x="108" y="383"/>
                  </a:lnTo>
                  <a:lnTo>
                    <a:pt x="106" y="383"/>
                  </a:lnTo>
                  <a:lnTo>
                    <a:pt x="106" y="383"/>
                  </a:lnTo>
                  <a:lnTo>
                    <a:pt x="104" y="385"/>
                  </a:lnTo>
                  <a:lnTo>
                    <a:pt x="104" y="385"/>
                  </a:lnTo>
                  <a:lnTo>
                    <a:pt x="101" y="383"/>
                  </a:lnTo>
                  <a:lnTo>
                    <a:pt x="99" y="385"/>
                  </a:lnTo>
                  <a:lnTo>
                    <a:pt x="101" y="385"/>
                  </a:lnTo>
                  <a:lnTo>
                    <a:pt x="99" y="385"/>
                  </a:lnTo>
                  <a:lnTo>
                    <a:pt x="99" y="385"/>
                  </a:lnTo>
                  <a:lnTo>
                    <a:pt x="99" y="383"/>
                  </a:lnTo>
                  <a:lnTo>
                    <a:pt x="99" y="383"/>
                  </a:lnTo>
                  <a:lnTo>
                    <a:pt x="99" y="381"/>
                  </a:lnTo>
                  <a:lnTo>
                    <a:pt x="99" y="376"/>
                  </a:lnTo>
                  <a:lnTo>
                    <a:pt x="97" y="376"/>
                  </a:lnTo>
                  <a:lnTo>
                    <a:pt x="97" y="376"/>
                  </a:lnTo>
                  <a:lnTo>
                    <a:pt x="97" y="374"/>
                  </a:lnTo>
                  <a:lnTo>
                    <a:pt x="97" y="374"/>
                  </a:lnTo>
                  <a:lnTo>
                    <a:pt x="97" y="371"/>
                  </a:lnTo>
                  <a:lnTo>
                    <a:pt x="97" y="374"/>
                  </a:lnTo>
                  <a:lnTo>
                    <a:pt x="97" y="374"/>
                  </a:lnTo>
                  <a:lnTo>
                    <a:pt x="94" y="371"/>
                  </a:lnTo>
                  <a:lnTo>
                    <a:pt x="94" y="371"/>
                  </a:lnTo>
                  <a:lnTo>
                    <a:pt x="94" y="371"/>
                  </a:lnTo>
                  <a:lnTo>
                    <a:pt x="94" y="371"/>
                  </a:lnTo>
                  <a:lnTo>
                    <a:pt x="94" y="369"/>
                  </a:lnTo>
                  <a:lnTo>
                    <a:pt x="94" y="369"/>
                  </a:lnTo>
                  <a:lnTo>
                    <a:pt x="94" y="367"/>
                  </a:lnTo>
                  <a:lnTo>
                    <a:pt x="92" y="367"/>
                  </a:lnTo>
                  <a:lnTo>
                    <a:pt x="92" y="367"/>
                  </a:lnTo>
                  <a:lnTo>
                    <a:pt x="92" y="364"/>
                  </a:lnTo>
                  <a:lnTo>
                    <a:pt x="92" y="367"/>
                  </a:lnTo>
                  <a:lnTo>
                    <a:pt x="90" y="364"/>
                  </a:lnTo>
                  <a:lnTo>
                    <a:pt x="90" y="364"/>
                  </a:lnTo>
                  <a:lnTo>
                    <a:pt x="87" y="364"/>
                  </a:lnTo>
                  <a:lnTo>
                    <a:pt x="87" y="364"/>
                  </a:lnTo>
                  <a:lnTo>
                    <a:pt x="87" y="364"/>
                  </a:lnTo>
                  <a:lnTo>
                    <a:pt x="87" y="364"/>
                  </a:lnTo>
                  <a:lnTo>
                    <a:pt x="87" y="367"/>
                  </a:lnTo>
                  <a:lnTo>
                    <a:pt x="85" y="367"/>
                  </a:lnTo>
                  <a:lnTo>
                    <a:pt x="85" y="364"/>
                  </a:lnTo>
                  <a:lnTo>
                    <a:pt x="82" y="364"/>
                  </a:lnTo>
                  <a:lnTo>
                    <a:pt x="80" y="362"/>
                  </a:lnTo>
                  <a:lnTo>
                    <a:pt x="80" y="360"/>
                  </a:lnTo>
                  <a:lnTo>
                    <a:pt x="80" y="360"/>
                  </a:lnTo>
                  <a:lnTo>
                    <a:pt x="78" y="360"/>
                  </a:lnTo>
                  <a:lnTo>
                    <a:pt x="78" y="360"/>
                  </a:lnTo>
                  <a:lnTo>
                    <a:pt x="78" y="360"/>
                  </a:lnTo>
                  <a:lnTo>
                    <a:pt x="75" y="360"/>
                  </a:lnTo>
                  <a:lnTo>
                    <a:pt x="78" y="357"/>
                  </a:lnTo>
                  <a:lnTo>
                    <a:pt x="75" y="357"/>
                  </a:lnTo>
                  <a:lnTo>
                    <a:pt x="78" y="357"/>
                  </a:lnTo>
                  <a:lnTo>
                    <a:pt x="75" y="357"/>
                  </a:lnTo>
                  <a:lnTo>
                    <a:pt x="75" y="357"/>
                  </a:lnTo>
                  <a:lnTo>
                    <a:pt x="73" y="357"/>
                  </a:lnTo>
                  <a:lnTo>
                    <a:pt x="75" y="355"/>
                  </a:lnTo>
                  <a:lnTo>
                    <a:pt x="75" y="355"/>
                  </a:lnTo>
                  <a:lnTo>
                    <a:pt x="73" y="355"/>
                  </a:lnTo>
                  <a:lnTo>
                    <a:pt x="73" y="355"/>
                  </a:lnTo>
                  <a:lnTo>
                    <a:pt x="73" y="355"/>
                  </a:lnTo>
                  <a:lnTo>
                    <a:pt x="71" y="355"/>
                  </a:lnTo>
                  <a:lnTo>
                    <a:pt x="71" y="355"/>
                  </a:lnTo>
                  <a:lnTo>
                    <a:pt x="71" y="352"/>
                  </a:lnTo>
                  <a:lnTo>
                    <a:pt x="71" y="352"/>
                  </a:lnTo>
                  <a:lnTo>
                    <a:pt x="68" y="352"/>
                  </a:lnTo>
                  <a:lnTo>
                    <a:pt x="68" y="352"/>
                  </a:lnTo>
                  <a:lnTo>
                    <a:pt x="68" y="352"/>
                  </a:lnTo>
                  <a:lnTo>
                    <a:pt x="66" y="352"/>
                  </a:lnTo>
                  <a:lnTo>
                    <a:pt x="66" y="352"/>
                  </a:lnTo>
                  <a:lnTo>
                    <a:pt x="66" y="352"/>
                  </a:lnTo>
                  <a:lnTo>
                    <a:pt x="66" y="350"/>
                  </a:lnTo>
                  <a:lnTo>
                    <a:pt x="61" y="350"/>
                  </a:lnTo>
                  <a:lnTo>
                    <a:pt x="61" y="352"/>
                  </a:lnTo>
                  <a:lnTo>
                    <a:pt x="59" y="350"/>
                  </a:lnTo>
                  <a:lnTo>
                    <a:pt x="59" y="350"/>
                  </a:lnTo>
                  <a:lnTo>
                    <a:pt x="56" y="350"/>
                  </a:lnTo>
                  <a:lnTo>
                    <a:pt x="56" y="350"/>
                  </a:lnTo>
                  <a:lnTo>
                    <a:pt x="52" y="350"/>
                  </a:lnTo>
                  <a:lnTo>
                    <a:pt x="52" y="350"/>
                  </a:lnTo>
                  <a:lnTo>
                    <a:pt x="52" y="350"/>
                  </a:lnTo>
                  <a:lnTo>
                    <a:pt x="49" y="350"/>
                  </a:lnTo>
                  <a:lnTo>
                    <a:pt x="49" y="350"/>
                  </a:lnTo>
                  <a:lnTo>
                    <a:pt x="47" y="352"/>
                  </a:lnTo>
                  <a:lnTo>
                    <a:pt x="47" y="350"/>
                  </a:lnTo>
                  <a:lnTo>
                    <a:pt x="47" y="350"/>
                  </a:lnTo>
                  <a:lnTo>
                    <a:pt x="45" y="350"/>
                  </a:lnTo>
                  <a:lnTo>
                    <a:pt x="42" y="350"/>
                  </a:lnTo>
                  <a:lnTo>
                    <a:pt x="42" y="348"/>
                  </a:lnTo>
                  <a:lnTo>
                    <a:pt x="38" y="348"/>
                  </a:lnTo>
                  <a:lnTo>
                    <a:pt x="38" y="348"/>
                  </a:lnTo>
                  <a:lnTo>
                    <a:pt x="38" y="348"/>
                  </a:lnTo>
                  <a:lnTo>
                    <a:pt x="33" y="348"/>
                  </a:lnTo>
                  <a:lnTo>
                    <a:pt x="33" y="348"/>
                  </a:lnTo>
                  <a:lnTo>
                    <a:pt x="31" y="348"/>
                  </a:lnTo>
                  <a:lnTo>
                    <a:pt x="28" y="348"/>
                  </a:lnTo>
                  <a:lnTo>
                    <a:pt x="28" y="348"/>
                  </a:lnTo>
                  <a:lnTo>
                    <a:pt x="26" y="350"/>
                  </a:lnTo>
                  <a:lnTo>
                    <a:pt x="23" y="348"/>
                  </a:lnTo>
                  <a:lnTo>
                    <a:pt x="23" y="348"/>
                  </a:lnTo>
                  <a:lnTo>
                    <a:pt x="21" y="348"/>
                  </a:lnTo>
                  <a:lnTo>
                    <a:pt x="21" y="348"/>
                  </a:lnTo>
                  <a:lnTo>
                    <a:pt x="19" y="348"/>
                  </a:lnTo>
                  <a:lnTo>
                    <a:pt x="16" y="348"/>
                  </a:lnTo>
                  <a:lnTo>
                    <a:pt x="16" y="348"/>
                  </a:lnTo>
                  <a:lnTo>
                    <a:pt x="14" y="345"/>
                  </a:lnTo>
                  <a:lnTo>
                    <a:pt x="14" y="345"/>
                  </a:lnTo>
                  <a:lnTo>
                    <a:pt x="16" y="343"/>
                  </a:lnTo>
                  <a:lnTo>
                    <a:pt x="14" y="343"/>
                  </a:lnTo>
                  <a:lnTo>
                    <a:pt x="16" y="341"/>
                  </a:lnTo>
                  <a:lnTo>
                    <a:pt x="16" y="341"/>
                  </a:lnTo>
                  <a:lnTo>
                    <a:pt x="16" y="341"/>
                  </a:lnTo>
                  <a:lnTo>
                    <a:pt x="16" y="338"/>
                  </a:lnTo>
                  <a:lnTo>
                    <a:pt x="14" y="338"/>
                  </a:lnTo>
                  <a:lnTo>
                    <a:pt x="14" y="334"/>
                  </a:lnTo>
                  <a:lnTo>
                    <a:pt x="14" y="334"/>
                  </a:lnTo>
                  <a:lnTo>
                    <a:pt x="14" y="331"/>
                  </a:lnTo>
                  <a:lnTo>
                    <a:pt x="14" y="331"/>
                  </a:lnTo>
                  <a:lnTo>
                    <a:pt x="14" y="331"/>
                  </a:lnTo>
                  <a:lnTo>
                    <a:pt x="12" y="326"/>
                  </a:lnTo>
                  <a:lnTo>
                    <a:pt x="14" y="326"/>
                  </a:lnTo>
                  <a:lnTo>
                    <a:pt x="14" y="324"/>
                  </a:lnTo>
                  <a:lnTo>
                    <a:pt x="14" y="324"/>
                  </a:lnTo>
                  <a:lnTo>
                    <a:pt x="14" y="324"/>
                  </a:lnTo>
                  <a:lnTo>
                    <a:pt x="14" y="322"/>
                  </a:lnTo>
                  <a:lnTo>
                    <a:pt x="14" y="322"/>
                  </a:lnTo>
                  <a:lnTo>
                    <a:pt x="14" y="322"/>
                  </a:lnTo>
                  <a:lnTo>
                    <a:pt x="12" y="322"/>
                  </a:lnTo>
                  <a:lnTo>
                    <a:pt x="14" y="319"/>
                  </a:lnTo>
                  <a:lnTo>
                    <a:pt x="12" y="319"/>
                  </a:lnTo>
                  <a:lnTo>
                    <a:pt x="12" y="317"/>
                  </a:lnTo>
                  <a:lnTo>
                    <a:pt x="9" y="317"/>
                  </a:lnTo>
                  <a:lnTo>
                    <a:pt x="9" y="315"/>
                  </a:lnTo>
                  <a:lnTo>
                    <a:pt x="7" y="312"/>
                  </a:lnTo>
                  <a:lnTo>
                    <a:pt x="7" y="312"/>
                  </a:lnTo>
                  <a:lnTo>
                    <a:pt x="7" y="310"/>
                  </a:lnTo>
                  <a:lnTo>
                    <a:pt x="7" y="310"/>
                  </a:lnTo>
                  <a:lnTo>
                    <a:pt x="7" y="310"/>
                  </a:lnTo>
                  <a:lnTo>
                    <a:pt x="7" y="305"/>
                  </a:lnTo>
                  <a:lnTo>
                    <a:pt x="9" y="305"/>
                  </a:lnTo>
                  <a:lnTo>
                    <a:pt x="7" y="303"/>
                  </a:lnTo>
                  <a:lnTo>
                    <a:pt x="9" y="300"/>
                  </a:lnTo>
                  <a:lnTo>
                    <a:pt x="7" y="300"/>
                  </a:lnTo>
                  <a:lnTo>
                    <a:pt x="9" y="300"/>
                  </a:lnTo>
                  <a:lnTo>
                    <a:pt x="9" y="298"/>
                  </a:lnTo>
                  <a:lnTo>
                    <a:pt x="12" y="298"/>
                  </a:lnTo>
                  <a:lnTo>
                    <a:pt x="12" y="296"/>
                  </a:lnTo>
                  <a:lnTo>
                    <a:pt x="12" y="296"/>
                  </a:lnTo>
                  <a:lnTo>
                    <a:pt x="14" y="296"/>
                  </a:lnTo>
                  <a:lnTo>
                    <a:pt x="14" y="293"/>
                  </a:lnTo>
                  <a:lnTo>
                    <a:pt x="14" y="293"/>
                  </a:lnTo>
                  <a:lnTo>
                    <a:pt x="14" y="291"/>
                  </a:lnTo>
                  <a:lnTo>
                    <a:pt x="14" y="291"/>
                  </a:lnTo>
                  <a:lnTo>
                    <a:pt x="12" y="291"/>
                  </a:lnTo>
                  <a:lnTo>
                    <a:pt x="12" y="289"/>
                  </a:lnTo>
                  <a:lnTo>
                    <a:pt x="9" y="286"/>
                  </a:lnTo>
                  <a:lnTo>
                    <a:pt x="7" y="284"/>
                  </a:lnTo>
                  <a:lnTo>
                    <a:pt x="7" y="282"/>
                  </a:lnTo>
                  <a:lnTo>
                    <a:pt x="9" y="282"/>
                  </a:lnTo>
                  <a:lnTo>
                    <a:pt x="7" y="279"/>
                  </a:lnTo>
                  <a:lnTo>
                    <a:pt x="9" y="277"/>
                  </a:lnTo>
                  <a:lnTo>
                    <a:pt x="9" y="277"/>
                  </a:lnTo>
                  <a:lnTo>
                    <a:pt x="9" y="274"/>
                  </a:lnTo>
                  <a:lnTo>
                    <a:pt x="7" y="274"/>
                  </a:lnTo>
                  <a:lnTo>
                    <a:pt x="2" y="265"/>
                  </a:lnTo>
                  <a:lnTo>
                    <a:pt x="0" y="265"/>
                  </a:lnTo>
                  <a:lnTo>
                    <a:pt x="0" y="265"/>
                  </a:lnTo>
                  <a:lnTo>
                    <a:pt x="0" y="263"/>
                  </a:lnTo>
                  <a:lnTo>
                    <a:pt x="0" y="26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 cap="flat">
              <a:solidFill>
                <a:schemeClr val="bg2">
                  <a:lumMod val="7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>
                <a:solidFill>
                  <a:srgbClr val="000000"/>
                </a:solidFill>
              </a:endParaRPr>
            </a:p>
          </p:txBody>
        </p:sp>
        <p:sp>
          <p:nvSpPr>
            <p:cNvPr id="34" name="Freeform 14"/>
            <p:cNvSpPr>
              <a:spLocks/>
            </p:cNvSpPr>
            <p:nvPr/>
          </p:nvSpPr>
          <p:spPr bwMode="gray">
            <a:xfrm>
              <a:off x="203637" y="2584699"/>
              <a:ext cx="1815677" cy="1381350"/>
            </a:xfrm>
            <a:custGeom>
              <a:avLst/>
              <a:gdLst/>
              <a:ahLst/>
              <a:cxnLst>
                <a:cxn ang="0">
                  <a:pos x="64" y="1155"/>
                </a:cxn>
                <a:cxn ang="0">
                  <a:pos x="76" y="1106"/>
                </a:cxn>
                <a:cxn ang="0">
                  <a:pos x="102" y="1040"/>
                </a:cxn>
                <a:cxn ang="0">
                  <a:pos x="121" y="978"/>
                </a:cxn>
                <a:cxn ang="0">
                  <a:pos x="154" y="948"/>
                </a:cxn>
                <a:cxn ang="0">
                  <a:pos x="194" y="919"/>
                </a:cxn>
                <a:cxn ang="0">
                  <a:pos x="241" y="888"/>
                </a:cxn>
                <a:cxn ang="0">
                  <a:pos x="289" y="879"/>
                </a:cxn>
                <a:cxn ang="0">
                  <a:pos x="329" y="867"/>
                </a:cxn>
                <a:cxn ang="0">
                  <a:pos x="369" y="860"/>
                </a:cxn>
                <a:cxn ang="0">
                  <a:pos x="414" y="834"/>
                </a:cxn>
                <a:cxn ang="0">
                  <a:pos x="459" y="865"/>
                </a:cxn>
                <a:cxn ang="0">
                  <a:pos x="555" y="475"/>
                </a:cxn>
                <a:cxn ang="0">
                  <a:pos x="532" y="392"/>
                </a:cxn>
                <a:cxn ang="0">
                  <a:pos x="492" y="336"/>
                </a:cxn>
                <a:cxn ang="0">
                  <a:pos x="520" y="211"/>
                </a:cxn>
                <a:cxn ang="0">
                  <a:pos x="577" y="215"/>
                </a:cxn>
                <a:cxn ang="0">
                  <a:pos x="586" y="163"/>
                </a:cxn>
                <a:cxn ang="0">
                  <a:pos x="506" y="69"/>
                </a:cxn>
                <a:cxn ang="0">
                  <a:pos x="709" y="62"/>
                </a:cxn>
                <a:cxn ang="0">
                  <a:pos x="787" y="29"/>
                </a:cxn>
                <a:cxn ang="0">
                  <a:pos x="971" y="196"/>
                </a:cxn>
                <a:cxn ang="0">
                  <a:pos x="1030" y="163"/>
                </a:cxn>
                <a:cxn ang="0">
                  <a:pos x="1049" y="208"/>
                </a:cxn>
                <a:cxn ang="0">
                  <a:pos x="1096" y="170"/>
                </a:cxn>
                <a:cxn ang="0">
                  <a:pos x="1137" y="128"/>
                </a:cxn>
                <a:cxn ang="0">
                  <a:pos x="1196" y="95"/>
                </a:cxn>
                <a:cxn ang="0">
                  <a:pos x="1229" y="88"/>
                </a:cxn>
                <a:cxn ang="0">
                  <a:pos x="1264" y="36"/>
                </a:cxn>
                <a:cxn ang="0">
                  <a:pos x="1319" y="14"/>
                </a:cxn>
                <a:cxn ang="0">
                  <a:pos x="1396" y="88"/>
                </a:cxn>
                <a:cxn ang="0">
                  <a:pos x="1432" y="222"/>
                </a:cxn>
                <a:cxn ang="0">
                  <a:pos x="1467" y="326"/>
                </a:cxn>
                <a:cxn ang="0">
                  <a:pos x="1463" y="378"/>
                </a:cxn>
                <a:cxn ang="0">
                  <a:pos x="1448" y="402"/>
                </a:cxn>
                <a:cxn ang="0">
                  <a:pos x="1512" y="477"/>
                </a:cxn>
                <a:cxn ang="0">
                  <a:pos x="1552" y="447"/>
                </a:cxn>
                <a:cxn ang="0">
                  <a:pos x="1585" y="373"/>
                </a:cxn>
                <a:cxn ang="0">
                  <a:pos x="1649" y="385"/>
                </a:cxn>
                <a:cxn ang="0">
                  <a:pos x="1689" y="397"/>
                </a:cxn>
                <a:cxn ang="0">
                  <a:pos x="1708" y="348"/>
                </a:cxn>
                <a:cxn ang="0">
                  <a:pos x="1737" y="277"/>
                </a:cxn>
                <a:cxn ang="0">
                  <a:pos x="1914" y="369"/>
                </a:cxn>
                <a:cxn ang="0">
                  <a:pos x="1954" y="423"/>
                </a:cxn>
                <a:cxn ang="0">
                  <a:pos x="2011" y="456"/>
                </a:cxn>
                <a:cxn ang="0">
                  <a:pos x="2051" y="501"/>
                </a:cxn>
                <a:cxn ang="0">
                  <a:pos x="2103" y="520"/>
                </a:cxn>
                <a:cxn ang="0">
                  <a:pos x="2169" y="565"/>
                </a:cxn>
                <a:cxn ang="0">
                  <a:pos x="2233" y="562"/>
                </a:cxn>
                <a:cxn ang="0">
                  <a:pos x="1973" y="1139"/>
                </a:cxn>
                <a:cxn ang="0">
                  <a:pos x="1980" y="1285"/>
                </a:cxn>
                <a:cxn ang="0">
                  <a:pos x="1954" y="1408"/>
                </a:cxn>
                <a:cxn ang="0">
                  <a:pos x="1533" y="1432"/>
                </a:cxn>
                <a:cxn ang="0">
                  <a:pos x="1477" y="1425"/>
                </a:cxn>
                <a:cxn ang="0">
                  <a:pos x="1430" y="1387"/>
                </a:cxn>
                <a:cxn ang="0">
                  <a:pos x="1293" y="1344"/>
                </a:cxn>
                <a:cxn ang="0">
                  <a:pos x="1248" y="1415"/>
                </a:cxn>
                <a:cxn ang="0">
                  <a:pos x="1177" y="1467"/>
                </a:cxn>
                <a:cxn ang="0">
                  <a:pos x="1122" y="1510"/>
                </a:cxn>
                <a:cxn ang="0">
                  <a:pos x="1063" y="1512"/>
                </a:cxn>
                <a:cxn ang="0">
                  <a:pos x="1011" y="1540"/>
                </a:cxn>
                <a:cxn ang="0">
                  <a:pos x="941" y="1529"/>
                </a:cxn>
                <a:cxn ang="0">
                  <a:pos x="411" y="1351"/>
                </a:cxn>
              </a:cxnLst>
              <a:rect l="0" t="0" r="r" b="b"/>
              <a:pathLst>
                <a:path w="2247" h="1578">
                  <a:moveTo>
                    <a:pt x="0" y="1224"/>
                  </a:moveTo>
                  <a:lnTo>
                    <a:pt x="3" y="1224"/>
                  </a:lnTo>
                  <a:lnTo>
                    <a:pt x="5" y="1222"/>
                  </a:lnTo>
                  <a:lnTo>
                    <a:pt x="10" y="1214"/>
                  </a:lnTo>
                  <a:lnTo>
                    <a:pt x="10" y="1212"/>
                  </a:lnTo>
                  <a:lnTo>
                    <a:pt x="10" y="1210"/>
                  </a:lnTo>
                  <a:lnTo>
                    <a:pt x="10" y="1210"/>
                  </a:lnTo>
                  <a:lnTo>
                    <a:pt x="10" y="1207"/>
                  </a:lnTo>
                  <a:lnTo>
                    <a:pt x="10" y="1205"/>
                  </a:lnTo>
                  <a:lnTo>
                    <a:pt x="7" y="1203"/>
                  </a:lnTo>
                  <a:lnTo>
                    <a:pt x="7" y="1200"/>
                  </a:lnTo>
                  <a:lnTo>
                    <a:pt x="10" y="1198"/>
                  </a:lnTo>
                  <a:lnTo>
                    <a:pt x="12" y="1196"/>
                  </a:lnTo>
                  <a:lnTo>
                    <a:pt x="12" y="1193"/>
                  </a:lnTo>
                  <a:lnTo>
                    <a:pt x="12" y="1191"/>
                  </a:lnTo>
                  <a:lnTo>
                    <a:pt x="15" y="1188"/>
                  </a:lnTo>
                  <a:lnTo>
                    <a:pt x="15" y="1188"/>
                  </a:lnTo>
                  <a:lnTo>
                    <a:pt x="15" y="1188"/>
                  </a:lnTo>
                  <a:lnTo>
                    <a:pt x="17" y="1186"/>
                  </a:lnTo>
                  <a:lnTo>
                    <a:pt x="19" y="1184"/>
                  </a:lnTo>
                  <a:lnTo>
                    <a:pt x="22" y="1181"/>
                  </a:lnTo>
                  <a:lnTo>
                    <a:pt x="22" y="1179"/>
                  </a:lnTo>
                  <a:lnTo>
                    <a:pt x="26" y="1177"/>
                  </a:lnTo>
                  <a:lnTo>
                    <a:pt x="26" y="1174"/>
                  </a:lnTo>
                  <a:lnTo>
                    <a:pt x="29" y="1174"/>
                  </a:lnTo>
                  <a:lnTo>
                    <a:pt x="29" y="1174"/>
                  </a:lnTo>
                  <a:lnTo>
                    <a:pt x="33" y="1174"/>
                  </a:lnTo>
                  <a:lnTo>
                    <a:pt x="33" y="1170"/>
                  </a:lnTo>
                  <a:lnTo>
                    <a:pt x="38" y="1167"/>
                  </a:lnTo>
                  <a:lnTo>
                    <a:pt x="41" y="1167"/>
                  </a:lnTo>
                  <a:lnTo>
                    <a:pt x="43" y="1167"/>
                  </a:lnTo>
                  <a:lnTo>
                    <a:pt x="43" y="1165"/>
                  </a:lnTo>
                  <a:lnTo>
                    <a:pt x="45" y="1165"/>
                  </a:lnTo>
                  <a:lnTo>
                    <a:pt x="48" y="1165"/>
                  </a:lnTo>
                  <a:lnTo>
                    <a:pt x="50" y="1165"/>
                  </a:lnTo>
                  <a:lnTo>
                    <a:pt x="50" y="1162"/>
                  </a:lnTo>
                  <a:lnTo>
                    <a:pt x="52" y="1162"/>
                  </a:lnTo>
                  <a:lnTo>
                    <a:pt x="55" y="1162"/>
                  </a:lnTo>
                  <a:lnTo>
                    <a:pt x="55" y="1160"/>
                  </a:lnTo>
                  <a:lnTo>
                    <a:pt x="55" y="1158"/>
                  </a:lnTo>
                  <a:lnTo>
                    <a:pt x="57" y="1158"/>
                  </a:lnTo>
                  <a:lnTo>
                    <a:pt x="59" y="1155"/>
                  </a:lnTo>
                  <a:lnTo>
                    <a:pt x="59" y="1155"/>
                  </a:lnTo>
                  <a:lnTo>
                    <a:pt x="62" y="1158"/>
                  </a:lnTo>
                  <a:lnTo>
                    <a:pt x="62" y="1155"/>
                  </a:lnTo>
                  <a:lnTo>
                    <a:pt x="64" y="1155"/>
                  </a:lnTo>
                  <a:lnTo>
                    <a:pt x="64" y="1155"/>
                  </a:lnTo>
                  <a:lnTo>
                    <a:pt x="69" y="1155"/>
                  </a:lnTo>
                  <a:lnTo>
                    <a:pt x="71" y="1155"/>
                  </a:lnTo>
                  <a:lnTo>
                    <a:pt x="74" y="1155"/>
                  </a:lnTo>
                  <a:lnTo>
                    <a:pt x="74" y="1153"/>
                  </a:lnTo>
                  <a:lnTo>
                    <a:pt x="76" y="1153"/>
                  </a:lnTo>
                  <a:lnTo>
                    <a:pt x="76" y="1153"/>
                  </a:lnTo>
                  <a:lnTo>
                    <a:pt x="76" y="1155"/>
                  </a:lnTo>
                  <a:lnTo>
                    <a:pt x="78" y="1153"/>
                  </a:lnTo>
                  <a:lnTo>
                    <a:pt x="78" y="1151"/>
                  </a:lnTo>
                  <a:lnTo>
                    <a:pt x="78" y="1151"/>
                  </a:lnTo>
                  <a:lnTo>
                    <a:pt x="78" y="1151"/>
                  </a:lnTo>
                  <a:lnTo>
                    <a:pt x="78" y="1151"/>
                  </a:lnTo>
                  <a:lnTo>
                    <a:pt x="81" y="1148"/>
                  </a:lnTo>
                  <a:lnTo>
                    <a:pt x="81" y="1148"/>
                  </a:lnTo>
                  <a:lnTo>
                    <a:pt x="81" y="1146"/>
                  </a:lnTo>
                  <a:lnTo>
                    <a:pt x="83" y="1148"/>
                  </a:lnTo>
                  <a:lnTo>
                    <a:pt x="83" y="1148"/>
                  </a:lnTo>
                  <a:lnTo>
                    <a:pt x="85" y="1146"/>
                  </a:lnTo>
                  <a:lnTo>
                    <a:pt x="85" y="1144"/>
                  </a:lnTo>
                  <a:lnTo>
                    <a:pt x="85" y="1144"/>
                  </a:lnTo>
                  <a:lnTo>
                    <a:pt x="85" y="1141"/>
                  </a:lnTo>
                  <a:lnTo>
                    <a:pt x="88" y="1139"/>
                  </a:lnTo>
                  <a:lnTo>
                    <a:pt x="88" y="1139"/>
                  </a:lnTo>
                  <a:lnTo>
                    <a:pt x="88" y="1139"/>
                  </a:lnTo>
                  <a:lnTo>
                    <a:pt x="88" y="1136"/>
                  </a:lnTo>
                  <a:lnTo>
                    <a:pt x="88" y="1134"/>
                  </a:lnTo>
                  <a:lnTo>
                    <a:pt x="88" y="1134"/>
                  </a:lnTo>
                  <a:lnTo>
                    <a:pt x="90" y="1134"/>
                  </a:lnTo>
                  <a:lnTo>
                    <a:pt x="90" y="1132"/>
                  </a:lnTo>
                  <a:lnTo>
                    <a:pt x="88" y="1129"/>
                  </a:lnTo>
                  <a:lnTo>
                    <a:pt x="88" y="1129"/>
                  </a:lnTo>
                  <a:lnTo>
                    <a:pt x="85" y="1127"/>
                  </a:lnTo>
                  <a:lnTo>
                    <a:pt x="85" y="1125"/>
                  </a:lnTo>
                  <a:lnTo>
                    <a:pt x="83" y="1120"/>
                  </a:lnTo>
                  <a:lnTo>
                    <a:pt x="83" y="1122"/>
                  </a:lnTo>
                  <a:lnTo>
                    <a:pt x="83" y="1120"/>
                  </a:lnTo>
                  <a:lnTo>
                    <a:pt x="83" y="1118"/>
                  </a:lnTo>
                  <a:lnTo>
                    <a:pt x="83" y="1118"/>
                  </a:lnTo>
                  <a:lnTo>
                    <a:pt x="83" y="1115"/>
                  </a:lnTo>
                  <a:lnTo>
                    <a:pt x="83" y="1115"/>
                  </a:lnTo>
                  <a:lnTo>
                    <a:pt x="81" y="1113"/>
                  </a:lnTo>
                  <a:lnTo>
                    <a:pt x="78" y="1113"/>
                  </a:lnTo>
                  <a:lnTo>
                    <a:pt x="78" y="1110"/>
                  </a:lnTo>
                  <a:lnTo>
                    <a:pt x="76" y="1108"/>
                  </a:lnTo>
                  <a:lnTo>
                    <a:pt x="76" y="1108"/>
                  </a:lnTo>
                  <a:lnTo>
                    <a:pt x="76" y="1106"/>
                  </a:lnTo>
                  <a:lnTo>
                    <a:pt x="76" y="1106"/>
                  </a:lnTo>
                  <a:lnTo>
                    <a:pt x="76" y="1101"/>
                  </a:lnTo>
                  <a:lnTo>
                    <a:pt x="71" y="1099"/>
                  </a:lnTo>
                  <a:lnTo>
                    <a:pt x="71" y="1096"/>
                  </a:lnTo>
                  <a:lnTo>
                    <a:pt x="71" y="1092"/>
                  </a:lnTo>
                  <a:lnTo>
                    <a:pt x="74" y="1089"/>
                  </a:lnTo>
                  <a:lnTo>
                    <a:pt x="74" y="1089"/>
                  </a:lnTo>
                  <a:lnTo>
                    <a:pt x="74" y="1087"/>
                  </a:lnTo>
                  <a:lnTo>
                    <a:pt x="74" y="1082"/>
                  </a:lnTo>
                  <a:lnTo>
                    <a:pt x="74" y="1082"/>
                  </a:lnTo>
                  <a:lnTo>
                    <a:pt x="76" y="1082"/>
                  </a:lnTo>
                  <a:lnTo>
                    <a:pt x="76" y="1080"/>
                  </a:lnTo>
                  <a:lnTo>
                    <a:pt x="76" y="1080"/>
                  </a:lnTo>
                  <a:lnTo>
                    <a:pt x="78" y="1080"/>
                  </a:lnTo>
                  <a:lnTo>
                    <a:pt x="78" y="1077"/>
                  </a:lnTo>
                  <a:lnTo>
                    <a:pt x="78" y="1077"/>
                  </a:lnTo>
                  <a:lnTo>
                    <a:pt x="81" y="1073"/>
                  </a:lnTo>
                  <a:lnTo>
                    <a:pt x="81" y="1073"/>
                  </a:lnTo>
                  <a:lnTo>
                    <a:pt x="81" y="1070"/>
                  </a:lnTo>
                  <a:lnTo>
                    <a:pt x="81" y="1070"/>
                  </a:lnTo>
                  <a:lnTo>
                    <a:pt x="81" y="1068"/>
                  </a:lnTo>
                  <a:lnTo>
                    <a:pt x="81" y="1068"/>
                  </a:lnTo>
                  <a:lnTo>
                    <a:pt x="81" y="1068"/>
                  </a:lnTo>
                  <a:lnTo>
                    <a:pt x="81" y="1066"/>
                  </a:lnTo>
                  <a:lnTo>
                    <a:pt x="81" y="1066"/>
                  </a:lnTo>
                  <a:lnTo>
                    <a:pt x="83" y="1063"/>
                  </a:lnTo>
                  <a:lnTo>
                    <a:pt x="83" y="1063"/>
                  </a:lnTo>
                  <a:lnTo>
                    <a:pt x="83" y="1061"/>
                  </a:lnTo>
                  <a:lnTo>
                    <a:pt x="83" y="1061"/>
                  </a:lnTo>
                  <a:lnTo>
                    <a:pt x="85" y="1061"/>
                  </a:lnTo>
                  <a:lnTo>
                    <a:pt x="85" y="1061"/>
                  </a:lnTo>
                  <a:lnTo>
                    <a:pt x="88" y="1059"/>
                  </a:lnTo>
                  <a:lnTo>
                    <a:pt x="88" y="1056"/>
                  </a:lnTo>
                  <a:lnTo>
                    <a:pt x="90" y="1056"/>
                  </a:lnTo>
                  <a:lnTo>
                    <a:pt x="90" y="1056"/>
                  </a:lnTo>
                  <a:lnTo>
                    <a:pt x="90" y="1054"/>
                  </a:lnTo>
                  <a:lnTo>
                    <a:pt x="92" y="1054"/>
                  </a:lnTo>
                  <a:lnTo>
                    <a:pt x="95" y="1051"/>
                  </a:lnTo>
                  <a:lnTo>
                    <a:pt x="97" y="1051"/>
                  </a:lnTo>
                  <a:lnTo>
                    <a:pt x="97" y="1049"/>
                  </a:lnTo>
                  <a:lnTo>
                    <a:pt x="97" y="1049"/>
                  </a:lnTo>
                  <a:lnTo>
                    <a:pt x="97" y="1047"/>
                  </a:lnTo>
                  <a:lnTo>
                    <a:pt x="100" y="1047"/>
                  </a:lnTo>
                  <a:lnTo>
                    <a:pt x="100" y="1044"/>
                  </a:lnTo>
                  <a:lnTo>
                    <a:pt x="100" y="1044"/>
                  </a:lnTo>
                  <a:lnTo>
                    <a:pt x="102" y="1042"/>
                  </a:lnTo>
                  <a:lnTo>
                    <a:pt x="102" y="1042"/>
                  </a:lnTo>
                  <a:lnTo>
                    <a:pt x="102" y="1040"/>
                  </a:lnTo>
                  <a:lnTo>
                    <a:pt x="104" y="1040"/>
                  </a:lnTo>
                  <a:lnTo>
                    <a:pt x="104" y="1040"/>
                  </a:lnTo>
                  <a:lnTo>
                    <a:pt x="104" y="1040"/>
                  </a:lnTo>
                  <a:lnTo>
                    <a:pt x="104" y="1037"/>
                  </a:lnTo>
                  <a:lnTo>
                    <a:pt x="104" y="1037"/>
                  </a:lnTo>
                  <a:lnTo>
                    <a:pt x="104" y="1035"/>
                  </a:lnTo>
                  <a:lnTo>
                    <a:pt x="104" y="1035"/>
                  </a:lnTo>
                  <a:lnTo>
                    <a:pt x="107" y="1035"/>
                  </a:lnTo>
                  <a:lnTo>
                    <a:pt x="107" y="1035"/>
                  </a:lnTo>
                  <a:lnTo>
                    <a:pt x="109" y="1035"/>
                  </a:lnTo>
                  <a:lnTo>
                    <a:pt x="107" y="1033"/>
                  </a:lnTo>
                  <a:lnTo>
                    <a:pt x="107" y="1030"/>
                  </a:lnTo>
                  <a:lnTo>
                    <a:pt x="107" y="1030"/>
                  </a:lnTo>
                  <a:lnTo>
                    <a:pt x="107" y="1028"/>
                  </a:lnTo>
                  <a:lnTo>
                    <a:pt x="107" y="1025"/>
                  </a:lnTo>
                  <a:lnTo>
                    <a:pt x="109" y="1025"/>
                  </a:lnTo>
                  <a:lnTo>
                    <a:pt x="109" y="1023"/>
                  </a:lnTo>
                  <a:lnTo>
                    <a:pt x="109" y="1021"/>
                  </a:lnTo>
                  <a:lnTo>
                    <a:pt x="109" y="1021"/>
                  </a:lnTo>
                  <a:lnTo>
                    <a:pt x="109" y="1018"/>
                  </a:lnTo>
                  <a:lnTo>
                    <a:pt x="109" y="1016"/>
                  </a:lnTo>
                  <a:lnTo>
                    <a:pt x="109" y="1014"/>
                  </a:lnTo>
                  <a:lnTo>
                    <a:pt x="109" y="1011"/>
                  </a:lnTo>
                  <a:lnTo>
                    <a:pt x="109" y="1009"/>
                  </a:lnTo>
                  <a:lnTo>
                    <a:pt x="109" y="1007"/>
                  </a:lnTo>
                  <a:lnTo>
                    <a:pt x="109" y="1007"/>
                  </a:lnTo>
                  <a:lnTo>
                    <a:pt x="111" y="1007"/>
                  </a:lnTo>
                  <a:lnTo>
                    <a:pt x="111" y="1002"/>
                  </a:lnTo>
                  <a:lnTo>
                    <a:pt x="111" y="1002"/>
                  </a:lnTo>
                  <a:lnTo>
                    <a:pt x="111" y="1002"/>
                  </a:lnTo>
                  <a:lnTo>
                    <a:pt x="114" y="999"/>
                  </a:lnTo>
                  <a:lnTo>
                    <a:pt x="114" y="997"/>
                  </a:lnTo>
                  <a:lnTo>
                    <a:pt x="116" y="997"/>
                  </a:lnTo>
                  <a:lnTo>
                    <a:pt x="116" y="995"/>
                  </a:lnTo>
                  <a:lnTo>
                    <a:pt x="116" y="992"/>
                  </a:lnTo>
                  <a:lnTo>
                    <a:pt x="116" y="992"/>
                  </a:lnTo>
                  <a:lnTo>
                    <a:pt x="118" y="990"/>
                  </a:lnTo>
                  <a:lnTo>
                    <a:pt x="118" y="990"/>
                  </a:lnTo>
                  <a:lnTo>
                    <a:pt x="118" y="988"/>
                  </a:lnTo>
                  <a:lnTo>
                    <a:pt x="118" y="988"/>
                  </a:lnTo>
                  <a:lnTo>
                    <a:pt x="118" y="985"/>
                  </a:lnTo>
                  <a:lnTo>
                    <a:pt x="121" y="985"/>
                  </a:lnTo>
                  <a:lnTo>
                    <a:pt x="121" y="983"/>
                  </a:lnTo>
                  <a:lnTo>
                    <a:pt x="121" y="983"/>
                  </a:lnTo>
                  <a:lnTo>
                    <a:pt x="118" y="981"/>
                  </a:lnTo>
                  <a:lnTo>
                    <a:pt x="121" y="981"/>
                  </a:lnTo>
                  <a:lnTo>
                    <a:pt x="121" y="978"/>
                  </a:lnTo>
                  <a:lnTo>
                    <a:pt x="121" y="976"/>
                  </a:lnTo>
                  <a:lnTo>
                    <a:pt x="121" y="976"/>
                  </a:lnTo>
                  <a:lnTo>
                    <a:pt x="118" y="976"/>
                  </a:lnTo>
                  <a:lnTo>
                    <a:pt x="121" y="973"/>
                  </a:lnTo>
                  <a:lnTo>
                    <a:pt x="118" y="971"/>
                  </a:lnTo>
                  <a:lnTo>
                    <a:pt x="118" y="971"/>
                  </a:lnTo>
                  <a:lnTo>
                    <a:pt x="118" y="971"/>
                  </a:lnTo>
                  <a:lnTo>
                    <a:pt x="118" y="971"/>
                  </a:lnTo>
                  <a:lnTo>
                    <a:pt x="118" y="969"/>
                  </a:lnTo>
                  <a:lnTo>
                    <a:pt x="118" y="969"/>
                  </a:lnTo>
                  <a:lnTo>
                    <a:pt x="121" y="969"/>
                  </a:lnTo>
                  <a:lnTo>
                    <a:pt x="121" y="966"/>
                  </a:lnTo>
                  <a:lnTo>
                    <a:pt x="123" y="966"/>
                  </a:lnTo>
                  <a:lnTo>
                    <a:pt x="123" y="966"/>
                  </a:lnTo>
                  <a:lnTo>
                    <a:pt x="126" y="966"/>
                  </a:lnTo>
                  <a:lnTo>
                    <a:pt x="126" y="966"/>
                  </a:lnTo>
                  <a:lnTo>
                    <a:pt x="128" y="962"/>
                  </a:lnTo>
                  <a:lnTo>
                    <a:pt x="128" y="964"/>
                  </a:lnTo>
                  <a:lnTo>
                    <a:pt x="130" y="962"/>
                  </a:lnTo>
                  <a:lnTo>
                    <a:pt x="130" y="962"/>
                  </a:lnTo>
                  <a:lnTo>
                    <a:pt x="133" y="962"/>
                  </a:lnTo>
                  <a:lnTo>
                    <a:pt x="133" y="962"/>
                  </a:lnTo>
                  <a:lnTo>
                    <a:pt x="135" y="962"/>
                  </a:lnTo>
                  <a:lnTo>
                    <a:pt x="135" y="959"/>
                  </a:lnTo>
                  <a:lnTo>
                    <a:pt x="137" y="959"/>
                  </a:lnTo>
                  <a:lnTo>
                    <a:pt x="137" y="959"/>
                  </a:lnTo>
                  <a:lnTo>
                    <a:pt x="137" y="957"/>
                  </a:lnTo>
                  <a:lnTo>
                    <a:pt x="137" y="957"/>
                  </a:lnTo>
                  <a:lnTo>
                    <a:pt x="137" y="957"/>
                  </a:lnTo>
                  <a:lnTo>
                    <a:pt x="137" y="957"/>
                  </a:lnTo>
                  <a:lnTo>
                    <a:pt x="137" y="955"/>
                  </a:lnTo>
                  <a:lnTo>
                    <a:pt x="140" y="955"/>
                  </a:lnTo>
                  <a:lnTo>
                    <a:pt x="140" y="955"/>
                  </a:lnTo>
                  <a:lnTo>
                    <a:pt x="142" y="957"/>
                  </a:lnTo>
                  <a:lnTo>
                    <a:pt x="144" y="955"/>
                  </a:lnTo>
                  <a:lnTo>
                    <a:pt x="144" y="955"/>
                  </a:lnTo>
                  <a:lnTo>
                    <a:pt x="147" y="957"/>
                  </a:lnTo>
                  <a:lnTo>
                    <a:pt x="147" y="955"/>
                  </a:lnTo>
                  <a:lnTo>
                    <a:pt x="149" y="955"/>
                  </a:lnTo>
                  <a:lnTo>
                    <a:pt x="149" y="955"/>
                  </a:lnTo>
                  <a:lnTo>
                    <a:pt x="152" y="955"/>
                  </a:lnTo>
                  <a:lnTo>
                    <a:pt x="154" y="952"/>
                  </a:lnTo>
                  <a:lnTo>
                    <a:pt x="154" y="950"/>
                  </a:lnTo>
                  <a:lnTo>
                    <a:pt x="154" y="950"/>
                  </a:lnTo>
                  <a:lnTo>
                    <a:pt x="154" y="948"/>
                  </a:lnTo>
                  <a:lnTo>
                    <a:pt x="154" y="948"/>
                  </a:lnTo>
                  <a:lnTo>
                    <a:pt x="154" y="948"/>
                  </a:lnTo>
                  <a:lnTo>
                    <a:pt x="156" y="945"/>
                  </a:lnTo>
                  <a:lnTo>
                    <a:pt x="156" y="945"/>
                  </a:lnTo>
                  <a:lnTo>
                    <a:pt x="159" y="945"/>
                  </a:lnTo>
                  <a:lnTo>
                    <a:pt x="161" y="943"/>
                  </a:lnTo>
                  <a:lnTo>
                    <a:pt x="161" y="943"/>
                  </a:lnTo>
                  <a:lnTo>
                    <a:pt x="163" y="943"/>
                  </a:lnTo>
                  <a:lnTo>
                    <a:pt x="163" y="940"/>
                  </a:lnTo>
                  <a:lnTo>
                    <a:pt x="166" y="940"/>
                  </a:lnTo>
                  <a:lnTo>
                    <a:pt x="166" y="943"/>
                  </a:lnTo>
                  <a:lnTo>
                    <a:pt x="166" y="943"/>
                  </a:lnTo>
                  <a:lnTo>
                    <a:pt x="168" y="940"/>
                  </a:lnTo>
                  <a:lnTo>
                    <a:pt x="168" y="940"/>
                  </a:lnTo>
                  <a:lnTo>
                    <a:pt x="168" y="943"/>
                  </a:lnTo>
                  <a:lnTo>
                    <a:pt x="170" y="943"/>
                  </a:lnTo>
                  <a:lnTo>
                    <a:pt x="170" y="940"/>
                  </a:lnTo>
                  <a:lnTo>
                    <a:pt x="170" y="938"/>
                  </a:lnTo>
                  <a:lnTo>
                    <a:pt x="173" y="938"/>
                  </a:lnTo>
                  <a:lnTo>
                    <a:pt x="173" y="936"/>
                  </a:lnTo>
                  <a:lnTo>
                    <a:pt x="170" y="936"/>
                  </a:lnTo>
                  <a:lnTo>
                    <a:pt x="170" y="936"/>
                  </a:lnTo>
                  <a:lnTo>
                    <a:pt x="173" y="933"/>
                  </a:lnTo>
                  <a:lnTo>
                    <a:pt x="173" y="936"/>
                  </a:lnTo>
                  <a:lnTo>
                    <a:pt x="173" y="936"/>
                  </a:lnTo>
                  <a:lnTo>
                    <a:pt x="175" y="936"/>
                  </a:lnTo>
                  <a:lnTo>
                    <a:pt x="175" y="936"/>
                  </a:lnTo>
                  <a:lnTo>
                    <a:pt x="175" y="936"/>
                  </a:lnTo>
                  <a:lnTo>
                    <a:pt x="178" y="936"/>
                  </a:lnTo>
                  <a:lnTo>
                    <a:pt x="178" y="933"/>
                  </a:lnTo>
                  <a:lnTo>
                    <a:pt x="175" y="933"/>
                  </a:lnTo>
                  <a:lnTo>
                    <a:pt x="178" y="933"/>
                  </a:lnTo>
                  <a:lnTo>
                    <a:pt x="178" y="933"/>
                  </a:lnTo>
                  <a:lnTo>
                    <a:pt x="180" y="931"/>
                  </a:lnTo>
                  <a:lnTo>
                    <a:pt x="182" y="931"/>
                  </a:lnTo>
                  <a:lnTo>
                    <a:pt x="182" y="929"/>
                  </a:lnTo>
                  <a:lnTo>
                    <a:pt x="182" y="929"/>
                  </a:lnTo>
                  <a:lnTo>
                    <a:pt x="182" y="926"/>
                  </a:lnTo>
                  <a:lnTo>
                    <a:pt x="182" y="926"/>
                  </a:lnTo>
                  <a:lnTo>
                    <a:pt x="182" y="924"/>
                  </a:lnTo>
                  <a:lnTo>
                    <a:pt x="185" y="924"/>
                  </a:lnTo>
                  <a:lnTo>
                    <a:pt x="187" y="922"/>
                  </a:lnTo>
                  <a:lnTo>
                    <a:pt x="189" y="922"/>
                  </a:lnTo>
                  <a:lnTo>
                    <a:pt x="189" y="919"/>
                  </a:lnTo>
                  <a:lnTo>
                    <a:pt x="189" y="919"/>
                  </a:lnTo>
                  <a:lnTo>
                    <a:pt x="189" y="919"/>
                  </a:lnTo>
                  <a:lnTo>
                    <a:pt x="192" y="919"/>
                  </a:lnTo>
                  <a:lnTo>
                    <a:pt x="192" y="919"/>
                  </a:lnTo>
                  <a:lnTo>
                    <a:pt x="194" y="919"/>
                  </a:lnTo>
                  <a:lnTo>
                    <a:pt x="194" y="919"/>
                  </a:lnTo>
                  <a:lnTo>
                    <a:pt x="194" y="922"/>
                  </a:lnTo>
                  <a:lnTo>
                    <a:pt x="196" y="922"/>
                  </a:lnTo>
                  <a:lnTo>
                    <a:pt x="199" y="917"/>
                  </a:lnTo>
                  <a:lnTo>
                    <a:pt x="199" y="919"/>
                  </a:lnTo>
                  <a:lnTo>
                    <a:pt x="201" y="919"/>
                  </a:lnTo>
                  <a:lnTo>
                    <a:pt x="204" y="917"/>
                  </a:lnTo>
                  <a:lnTo>
                    <a:pt x="204" y="917"/>
                  </a:lnTo>
                  <a:lnTo>
                    <a:pt x="204" y="914"/>
                  </a:lnTo>
                  <a:lnTo>
                    <a:pt x="206" y="917"/>
                  </a:lnTo>
                  <a:lnTo>
                    <a:pt x="206" y="917"/>
                  </a:lnTo>
                  <a:lnTo>
                    <a:pt x="206" y="914"/>
                  </a:lnTo>
                  <a:lnTo>
                    <a:pt x="208" y="912"/>
                  </a:lnTo>
                  <a:lnTo>
                    <a:pt x="211" y="912"/>
                  </a:lnTo>
                  <a:lnTo>
                    <a:pt x="211" y="912"/>
                  </a:lnTo>
                  <a:lnTo>
                    <a:pt x="211" y="912"/>
                  </a:lnTo>
                  <a:lnTo>
                    <a:pt x="213" y="910"/>
                  </a:lnTo>
                  <a:lnTo>
                    <a:pt x="213" y="912"/>
                  </a:lnTo>
                  <a:lnTo>
                    <a:pt x="218" y="910"/>
                  </a:lnTo>
                  <a:lnTo>
                    <a:pt x="218" y="907"/>
                  </a:lnTo>
                  <a:lnTo>
                    <a:pt x="220" y="907"/>
                  </a:lnTo>
                  <a:lnTo>
                    <a:pt x="220" y="905"/>
                  </a:lnTo>
                  <a:lnTo>
                    <a:pt x="222" y="903"/>
                  </a:lnTo>
                  <a:lnTo>
                    <a:pt x="225" y="903"/>
                  </a:lnTo>
                  <a:lnTo>
                    <a:pt x="225" y="900"/>
                  </a:lnTo>
                  <a:lnTo>
                    <a:pt x="225" y="898"/>
                  </a:lnTo>
                  <a:lnTo>
                    <a:pt x="227" y="900"/>
                  </a:lnTo>
                  <a:lnTo>
                    <a:pt x="230" y="900"/>
                  </a:lnTo>
                  <a:lnTo>
                    <a:pt x="230" y="900"/>
                  </a:lnTo>
                  <a:lnTo>
                    <a:pt x="230" y="900"/>
                  </a:lnTo>
                  <a:lnTo>
                    <a:pt x="230" y="898"/>
                  </a:lnTo>
                  <a:lnTo>
                    <a:pt x="232" y="898"/>
                  </a:lnTo>
                  <a:lnTo>
                    <a:pt x="234" y="898"/>
                  </a:lnTo>
                  <a:lnTo>
                    <a:pt x="234" y="896"/>
                  </a:lnTo>
                  <a:lnTo>
                    <a:pt x="234" y="898"/>
                  </a:lnTo>
                  <a:lnTo>
                    <a:pt x="237" y="896"/>
                  </a:lnTo>
                  <a:lnTo>
                    <a:pt x="237" y="896"/>
                  </a:lnTo>
                  <a:lnTo>
                    <a:pt x="237" y="893"/>
                  </a:lnTo>
                  <a:lnTo>
                    <a:pt x="237" y="893"/>
                  </a:lnTo>
                  <a:lnTo>
                    <a:pt x="237" y="893"/>
                  </a:lnTo>
                  <a:lnTo>
                    <a:pt x="239" y="893"/>
                  </a:lnTo>
                  <a:lnTo>
                    <a:pt x="239" y="891"/>
                  </a:lnTo>
                  <a:lnTo>
                    <a:pt x="239" y="891"/>
                  </a:lnTo>
                  <a:lnTo>
                    <a:pt x="239" y="891"/>
                  </a:lnTo>
                  <a:lnTo>
                    <a:pt x="239" y="891"/>
                  </a:lnTo>
                  <a:lnTo>
                    <a:pt x="239" y="888"/>
                  </a:lnTo>
                  <a:lnTo>
                    <a:pt x="241" y="888"/>
                  </a:lnTo>
                  <a:lnTo>
                    <a:pt x="241" y="888"/>
                  </a:lnTo>
                  <a:lnTo>
                    <a:pt x="244" y="888"/>
                  </a:lnTo>
                  <a:lnTo>
                    <a:pt x="244" y="886"/>
                  </a:lnTo>
                  <a:lnTo>
                    <a:pt x="244" y="888"/>
                  </a:lnTo>
                  <a:lnTo>
                    <a:pt x="244" y="886"/>
                  </a:lnTo>
                  <a:lnTo>
                    <a:pt x="244" y="886"/>
                  </a:lnTo>
                  <a:lnTo>
                    <a:pt x="246" y="884"/>
                  </a:lnTo>
                  <a:lnTo>
                    <a:pt x="246" y="886"/>
                  </a:lnTo>
                  <a:lnTo>
                    <a:pt x="248" y="884"/>
                  </a:lnTo>
                  <a:lnTo>
                    <a:pt x="251" y="884"/>
                  </a:lnTo>
                  <a:lnTo>
                    <a:pt x="253" y="881"/>
                  </a:lnTo>
                  <a:lnTo>
                    <a:pt x="255" y="881"/>
                  </a:lnTo>
                  <a:lnTo>
                    <a:pt x="258" y="881"/>
                  </a:lnTo>
                  <a:lnTo>
                    <a:pt x="258" y="881"/>
                  </a:lnTo>
                  <a:lnTo>
                    <a:pt x="258" y="881"/>
                  </a:lnTo>
                  <a:lnTo>
                    <a:pt x="258" y="884"/>
                  </a:lnTo>
                  <a:lnTo>
                    <a:pt x="260" y="884"/>
                  </a:lnTo>
                  <a:lnTo>
                    <a:pt x="263" y="881"/>
                  </a:lnTo>
                  <a:lnTo>
                    <a:pt x="263" y="881"/>
                  </a:lnTo>
                  <a:lnTo>
                    <a:pt x="263" y="879"/>
                  </a:lnTo>
                  <a:lnTo>
                    <a:pt x="263" y="879"/>
                  </a:lnTo>
                  <a:lnTo>
                    <a:pt x="263" y="881"/>
                  </a:lnTo>
                  <a:lnTo>
                    <a:pt x="263" y="881"/>
                  </a:lnTo>
                  <a:lnTo>
                    <a:pt x="265" y="881"/>
                  </a:lnTo>
                  <a:lnTo>
                    <a:pt x="267" y="884"/>
                  </a:lnTo>
                  <a:lnTo>
                    <a:pt x="267" y="884"/>
                  </a:lnTo>
                  <a:lnTo>
                    <a:pt x="270" y="884"/>
                  </a:lnTo>
                  <a:lnTo>
                    <a:pt x="272" y="884"/>
                  </a:lnTo>
                  <a:lnTo>
                    <a:pt x="274" y="881"/>
                  </a:lnTo>
                  <a:lnTo>
                    <a:pt x="274" y="884"/>
                  </a:lnTo>
                  <a:lnTo>
                    <a:pt x="277" y="881"/>
                  </a:lnTo>
                  <a:lnTo>
                    <a:pt x="277" y="881"/>
                  </a:lnTo>
                  <a:lnTo>
                    <a:pt x="277" y="879"/>
                  </a:lnTo>
                  <a:lnTo>
                    <a:pt x="279" y="879"/>
                  </a:lnTo>
                  <a:lnTo>
                    <a:pt x="279" y="879"/>
                  </a:lnTo>
                  <a:lnTo>
                    <a:pt x="279" y="881"/>
                  </a:lnTo>
                  <a:lnTo>
                    <a:pt x="277" y="884"/>
                  </a:lnTo>
                  <a:lnTo>
                    <a:pt x="277" y="884"/>
                  </a:lnTo>
                  <a:lnTo>
                    <a:pt x="277" y="884"/>
                  </a:lnTo>
                  <a:lnTo>
                    <a:pt x="277" y="886"/>
                  </a:lnTo>
                  <a:lnTo>
                    <a:pt x="279" y="886"/>
                  </a:lnTo>
                  <a:lnTo>
                    <a:pt x="281" y="886"/>
                  </a:lnTo>
                  <a:lnTo>
                    <a:pt x="284" y="884"/>
                  </a:lnTo>
                  <a:lnTo>
                    <a:pt x="284" y="884"/>
                  </a:lnTo>
                  <a:lnTo>
                    <a:pt x="286" y="879"/>
                  </a:lnTo>
                  <a:lnTo>
                    <a:pt x="289" y="881"/>
                  </a:lnTo>
                  <a:lnTo>
                    <a:pt x="289" y="879"/>
                  </a:lnTo>
                  <a:lnTo>
                    <a:pt x="289" y="879"/>
                  </a:lnTo>
                  <a:lnTo>
                    <a:pt x="291" y="879"/>
                  </a:lnTo>
                  <a:lnTo>
                    <a:pt x="293" y="881"/>
                  </a:lnTo>
                  <a:lnTo>
                    <a:pt x="293" y="881"/>
                  </a:lnTo>
                  <a:lnTo>
                    <a:pt x="293" y="879"/>
                  </a:lnTo>
                  <a:lnTo>
                    <a:pt x="293" y="879"/>
                  </a:lnTo>
                  <a:lnTo>
                    <a:pt x="293" y="874"/>
                  </a:lnTo>
                  <a:lnTo>
                    <a:pt x="293" y="877"/>
                  </a:lnTo>
                  <a:lnTo>
                    <a:pt x="296" y="877"/>
                  </a:lnTo>
                  <a:lnTo>
                    <a:pt x="296" y="877"/>
                  </a:lnTo>
                  <a:lnTo>
                    <a:pt x="296" y="874"/>
                  </a:lnTo>
                  <a:lnTo>
                    <a:pt x="296" y="874"/>
                  </a:lnTo>
                  <a:lnTo>
                    <a:pt x="298" y="874"/>
                  </a:lnTo>
                  <a:lnTo>
                    <a:pt x="300" y="877"/>
                  </a:lnTo>
                  <a:lnTo>
                    <a:pt x="300" y="877"/>
                  </a:lnTo>
                  <a:lnTo>
                    <a:pt x="303" y="877"/>
                  </a:lnTo>
                  <a:lnTo>
                    <a:pt x="303" y="879"/>
                  </a:lnTo>
                  <a:lnTo>
                    <a:pt x="303" y="879"/>
                  </a:lnTo>
                  <a:lnTo>
                    <a:pt x="307" y="874"/>
                  </a:lnTo>
                  <a:lnTo>
                    <a:pt x="307" y="872"/>
                  </a:lnTo>
                  <a:lnTo>
                    <a:pt x="310" y="874"/>
                  </a:lnTo>
                  <a:lnTo>
                    <a:pt x="312" y="874"/>
                  </a:lnTo>
                  <a:lnTo>
                    <a:pt x="312" y="872"/>
                  </a:lnTo>
                  <a:lnTo>
                    <a:pt x="312" y="874"/>
                  </a:lnTo>
                  <a:lnTo>
                    <a:pt x="312" y="874"/>
                  </a:lnTo>
                  <a:lnTo>
                    <a:pt x="315" y="874"/>
                  </a:lnTo>
                  <a:lnTo>
                    <a:pt x="317" y="874"/>
                  </a:lnTo>
                  <a:lnTo>
                    <a:pt x="317" y="877"/>
                  </a:lnTo>
                  <a:lnTo>
                    <a:pt x="317" y="877"/>
                  </a:lnTo>
                  <a:lnTo>
                    <a:pt x="319" y="877"/>
                  </a:lnTo>
                  <a:lnTo>
                    <a:pt x="319" y="874"/>
                  </a:lnTo>
                  <a:lnTo>
                    <a:pt x="317" y="874"/>
                  </a:lnTo>
                  <a:lnTo>
                    <a:pt x="317" y="872"/>
                  </a:lnTo>
                  <a:lnTo>
                    <a:pt x="317" y="872"/>
                  </a:lnTo>
                  <a:lnTo>
                    <a:pt x="319" y="874"/>
                  </a:lnTo>
                  <a:lnTo>
                    <a:pt x="322" y="874"/>
                  </a:lnTo>
                  <a:lnTo>
                    <a:pt x="322" y="874"/>
                  </a:lnTo>
                  <a:lnTo>
                    <a:pt x="324" y="872"/>
                  </a:lnTo>
                  <a:lnTo>
                    <a:pt x="322" y="870"/>
                  </a:lnTo>
                  <a:lnTo>
                    <a:pt x="322" y="867"/>
                  </a:lnTo>
                  <a:lnTo>
                    <a:pt x="322" y="867"/>
                  </a:lnTo>
                  <a:lnTo>
                    <a:pt x="326" y="870"/>
                  </a:lnTo>
                  <a:lnTo>
                    <a:pt x="326" y="867"/>
                  </a:lnTo>
                  <a:lnTo>
                    <a:pt x="329" y="867"/>
                  </a:lnTo>
                  <a:lnTo>
                    <a:pt x="329" y="870"/>
                  </a:lnTo>
                  <a:lnTo>
                    <a:pt x="329" y="870"/>
                  </a:lnTo>
                  <a:lnTo>
                    <a:pt x="329" y="867"/>
                  </a:lnTo>
                  <a:lnTo>
                    <a:pt x="331" y="867"/>
                  </a:lnTo>
                  <a:lnTo>
                    <a:pt x="331" y="867"/>
                  </a:lnTo>
                  <a:lnTo>
                    <a:pt x="331" y="870"/>
                  </a:lnTo>
                  <a:lnTo>
                    <a:pt x="331" y="872"/>
                  </a:lnTo>
                  <a:lnTo>
                    <a:pt x="333" y="872"/>
                  </a:lnTo>
                  <a:lnTo>
                    <a:pt x="333" y="870"/>
                  </a:lnTo>
                  <a:lnTo>
                    <a:pt x="333" y="870"/>
                  </a:lnTo>
                  <a:lnTo>
                    <a:pt x="336" y="870"/>
                  </a:lnTo>
                  <a:lnTo>
                    <a:pt x="336" y="870"/>
                  </a:lnTo>
                  <a:lnTo>
                    <a:pt x="336" y="870"/>
                  </a:lnTo>
                  <a:lnTo>
                    <a:pt x="336" y="870"/>
                  </a:lnTo>
                  <a:lnTo>
                    <a:pt x="338" y="870"/>
                  </a:lnTo>
                  <a:lnTo>
                    <a:pt x="338" y="867"/>
                  </a:lnTo>
                  <a:lnTo>
                    <a:pt x="341" y="867"/>
                  </a:lnTo>
                  <a:lnTo>
                    <a:pt x="343" y="872"/>
                  </a:lnTo>
                  <a:lnTo>
                    <a:pt x="343" y="870"/>
                  </a:lnTo>
                  <a:lnTo>
                    <a:pt x="343" y="867"/>
                  </a:lnTo>
                  <a:lnTo>
                    <a:pt x="345" y="867"/>
                  </a:lnTo>
                  <a:lnTo>
                    <a:pt x="345" y="865"/>
                  </a:lnTo>
                  <a:lnTo>
                    <a:pt x="348" y="867"/>
                  </a:lnTo>
                  <a:lnTo>
                    <a:pt x="345" y="870"/>
                  </a:lnTo>
                  <a:lnTo>
                    <a:pt x="348" y="870"/>
                  </a:lnTo>
                  <a:lnTo>
                    <a:pt x="350" y="867"/>
                  </a:lnTo>
                  <a:lnTo>
                    <a:pt x="350" y="865"/>
                  </a:lnTo>
                  <a:lnTo>
                    <a:pt x="350" y="865"/>
                  </a:lnTo>
                  <a:lnTo>
                    <a:pt x="350" y="870"/>
                  </a:lnTo>
                  <a:lnTo>
                    <a:pt x="352" y="870"/>
                  </a:lnTo>
                  <a:lnTo>
                    <a:pt x="352" y="870"/>
                  </a:lnTo>
                  <a:lnTo>
                    <a:pt x="355" y="867"/>
                  </a:lnTo>
                  <a:lnTo>
                    <a:pt x="355" y="867"/>
                  </a:lnTo>
                  <a:lnTo>
                    <a:pt x="357" y="867"/>
                  </a:lnTo>
                  <a:lnTo>
                    <a:pt x="357" y="867"/>
                  </a:lnTo>
                  <a:lnTo>
                    <a:pt x="359" y="865"/>
                  </a:lnTo>
                  <a:lnTo>
                    <a:pt x="357" y="865"/>
                  </a:lnTo>
                  <a:lnTo>
                    <a:pt x="357" y="862"/>
                  </a:lnTo>
                  <a:lnTo>
                    <a:pt x="357" y="862"/>
                  </a:lnTo>
                  <a:lnTo>
                    <a:pt x="359" y="862"/>
                  </a:lnTo>
                  <a:lnTo>
                    <a:pt x="359" y="865"/>
                  </a:lnTo>
                  <a:lnTo>
                    <a:pt x="359" y="865"/>
                  </a:lnTo>
                  <a:lnTo>
                    <a:pt x="364" y="867"/>
                  </a:lnTo>
                  <a:lnTo>
                    <a:pt x="364" y="867"/>
                  </a:lnTo>
                  <a:lnTo>
                    <a:pt x="364" y="865"/>
                  </a:lnTo>
                  <a:lnTo>
                    <a:pt x="364" y="865"/>
                  </a:lnTo>
                  <a:lnTo>
                    <a:pt x="367" y="865"/>
                  </a:lnTo>
                  <a:lnTo>
                    <a:pt x="367" y="865"/>
                  </a:lnTo>
                  <a:lnTo>
                    <a:pt x="367" y="862"/>
                  </a:lnTo>
                  <a:lnTo>
                    <a:pt x="369" y="860"/>
                  </a:lnTo>
                  <a:lnTo>
                    <a:pt x="369" y="860"/>
                  </a:lnTo>
                  <a:lnTo>
                    <a:pt x="374" y="860"/>
                  </a:lnTo>
                  <a:lnTo>
                    <a:pt x="371" y="855"/>
                  </a:lnTo>
                  <a:lnTo>
                    <a:pt x="374" y="855"/>
                  </a:lnTo>
                  <a:lnTo>
                    <a:pt x="376" y="853"/>
                  </a:lnTo>
                  <a:lnTo>
                    <a:pt x="374" y="851"/>
                  </a:lnTo>
                  <a:lnTo>
                    <a:pt x="374" y="851"/>
                  </a:lnTo>
                  <a:lnTo>
                    <a:pt x="376" y="851"/>
                  </a:lnTo>
                  <a:lnTo>
                    <a:pt x="376" y="851"/>
                  </a:lnTo>
                  <a:lnTo>
                    <a:pt x="378" y="851"/>
                  </a:lnTo>
                  <a:lnTo>
                    <a:pt x="378" y="848"/>
                  </a:lnTo>
                  <a:lnTo>
                    <a:pt x="378" y="848"/>
                  </a:lnTo>
                  <a:lnTo>
                    <a:pt x="378" y="846"/>
                  </a:lnTo>
                  <a:lnTo>
                    <a:pt x="378" y="844"/>
                  </a:lnTo>
                  <a:lnTo>
                    <a:pt x="381" y="844"/>
                  </a:lnTo>
                  <a:lnTo>
                    <a:pt x="381" y="841"/>
                  </a:lnTo>
                  <a:lnTo>
                    <a:pt x="383" y="841"/>
                  </a:lnTo>
                  <a:lnTo>
                    <a:pt x="385" y="839"/>
                  </a:lnTo>
                  <a:lnTo>
                    <a:pt x="385" y="839"/>
                  </a:lnTo>
                  <a:lnTo>
                    <a:pt x="388" y="839"/>
                  </a:lnTo>
                  <a:lnTo>
                    <a:pt x="390" y="839"/>
                  </a:lnTo>
                  <a:lnTo>
                    <a:pt x="393" y="841"/>
                  </a:lnTo>
                  <a:lnTo>
                    <a:pt x="395" y="841"/>
                  </a:lnTo>
                  <a:lnTo>
                    <a:pt x="395" y="841"/>
                  </a:lnTo>
                  <a:lnTo>
                    <a:pt x="395" y="844"/>
                  </a:lnTo>
                  <a:lnTo>
                    <a:pt x="397" y="844"/>
                  </a:lnTo>
                  <a:lnTo>
                    <a:pt x="400" y="841"/>
                  </a:lnTo>
                  <a:lnTo>
                    <a:pt x="400" y="839"/>
                  </a:lnTo>
                  <a:lnTo>
                    <a:pt x="400" y="836"/>
                  </a:lnTo>
                  <a:lnTo>
                    <a:pt x="400" y="836"/>
                  </a:lnTo>
                  <a:lnTo>
                    <a:pt x="400" y="836"/>
                  </a:lnTo>
                  <a:lnTo>
                    <a:pt x="402" y="839"/>
                  </a:lnTo>
                  <a:lnTo>
                    <a:pt x="402" y="834"/>
                  </a:lnTo>
                  <a:lnTo>
                    <a:pt x="404" y="834"/>
                  </a:lnTo>
                  <a:lnTo>
                    <a:pt x="404" y="834"/>
                  </a:lnTo>
                  <a:lnTo>
                    <a:pt x="404" y="836"/>
                  </a:lnTo>
                  <a:lnTo>
                    <a:pt x="402" y="839"/>
                  </a:lnTo>
                  <a:lnTo>
                    <a:pt x="402" y="841"/>
                  </a:lnTo>
                  <a:lnTo>
                    <a:pt x="404" y="841"/>
                  </a:lnTo>
                  <a:lnTo>
                    <a:pt x="404" y="844"/>
                  </a:lnTo>
                  <a:lnTo>
                    <a:pt x="407" y="841"/>
                  </a:lnTo>
                  <a:lnTo>
                    <a:pt x="409" y="841"/>
                  </a:lnTo>
                  <a:lnTo>
                    <a:pt x="411" y="841"/>
                  </a:lnTo>
                  <a:lnTo>
                    <a:pt x="411" y="839"/>
                  </a:lnTo>
                  <a:lnTo>
                    <a:pt x="414" y="839"/>
                  </a:lnTo>
                  <a:lnTo>
                    <a:pt x="414" y="836"/>
                  </a:lnTo>
                  <a:lnTo>
                    <a:pt x="414" y="834"/>
                  </a:lnTo>
                  <a:lnTo>
                    <a:pt x="418" y="836"/>
                  </a:lnTo>
                  <a:lnTo>
                    <a:pt x="418" y="839"/>
                  </a:lnTo>
                  <a:lnTo>
                    <a:pt x="418" y="841"/>
                  </a:lnTo>
                  <a:lnTo>
                    <a:pt x="418" y="844"/>
                  </a:lnTo>
                  <a:lnTo>
                    <a:pt x="421" y="844"/>
                  </a:lnTo>
                  <a:lnTo>
                    <a:pt x="421" y="839"/>
                  </a:lnTo>
                  <a:lnTo>
                    <a:pt x="421" y="839"/>
                  </a:lnTo>
                  <a:lnTo>
                    <a:pt x="423" y="841"/>
                  </a:lnTo>
                  <a:lnTo>
                    <a:pt x="426" y="841"/>
                  </a:lnTo>
                  <a:lnTo>
                    <a:pt x="426" y="839"/>
                  </a:lnTo>
                  <a:lnTo>
                    <a:pt x="428" y="839"/>
                  </a:lnTo>
                  <a:lnTo>
                    <a:pt x="428" y="836"/>
                  </a:lnTo>
                  <a:lnTo>
                    <a:pt x="428" y="836"/>
                  </a:lnTo>
                  <a:lnTo>
                    <a:pt x="428" y="834"/>
                  </a:lnTo>
                  <a:lnTo>
                    <a:pt x="430" y="836"/>
                  </a:lnTo>
                  <a:lnTo>
                    <a:pt x="433" y="836"/>
                  </a:lnTo>
                  <a:lnTo>
                    <a:pt x="435" y="834"/>
                  </a:lnTo>
                  <a:lnTo>
                    <a:pt x="437" y="836"/>
                  </a:lnTo>
                  <a:lnTo>
                    <a:pt x="437" y="839"/>
                  </a:lnTo>
                  <a:lnTo>
                    <a:pt x="440" y="841"/>
                  </a:lnTo>
                  <a:lnTo>
                    <a:pt x="440" y="841"/>
                  </a:lnTo>
                  <a:lnTo>
                    <a:pt x="442" y="841"/>
                  </a:lnTo>
                  <a:lnTo>
                    <a:pt x="442" y="839"/>
                  </a:lnTo>
                  <a:lnTo>
                    <a:pt x="442" y="836"/>
                  </a:lnTo>
                  <a:lnTo>
                    <a:pt x="442" y="836"/>
                  </a:lnTo>
                  <a:lnTo>
                    <a:pt x="444" y="839"/>
                  </a:lnTo>
                  <a:lnTo>
                    <a:pt x="447" y="839"/>
                  </a:lnTo>
                  <a:lnTo>
                    <a:pt x="447" y="841"/>
                  </a:lnTo>
                  <a:lnTo>
                    <a:pt x="447" y="844"/>
                  </a:lnTo>
                  <a:lnTo>
                    <a:pt x="447" y="848"/>
                  </a:lnTo>
                  <a:lnTo>
                    <a:pt x="447" y="848"/>
                  </a:lnTo>
                  <a:lnTo>
                    <a:pt x="444" y="851"/>
                  </a:lnTo>
                  <a:lnTo>
                    <a:pt x="444" y="851"/>
                  </a:lnTo>
                  <a:lnTo>
                    <a:pt x="447" y="853"/>
                  </a:lnTo>
                  <a:lnTo>
                    <a:pt x="447" y="855"/>
                  </a:lnTo>
                  <a:lnTo>
                    <a:pt x="447" y="855"/>
                  </a:lnTo>
                  <a:lnTo>
                    <a:pt x="452" y="853"/>
                  </a:lnTo>
                  <a:lnTo>
                    <a:pt x="452" y="855"/>
                  </a:lnTo>
                  <a:lnTo>
                    <a:pt x="452" y="855"/>
                  </a:lnTo>
                  <a:lnTo>
                    <a:pt x="449" y="855"/>
                  </a:lnTo>
                  <a:lnTo>
                    <a:pt x="449" y="858"/>
                  </a:lnTo>
                  <a:lnTo>
                    <a:pt x="452" y="860"/>
                  </a:lnTo>
                  <a:lnTo>
                    <a:pt x="454" y="860"/>
                  </a:lnTo>
                  <a:lnTo>
                    <a:pt x="456" y="860"/>
                  </a:lnTo>
                  <a:lnTo>
                    <a:pt x="456" y="860"/>
                  </a:lnTo>
                  <a:lnTo>
                    <a:pt x="456" y="860"/>
                  </a:lnTo>
                  <a:lnTo>
                    <a:pt x="459" y="865"/>
                  </a:lnTo>
                  <a:lnTo>
                    <a:pt x="459" y="865"/>
                  </a:lnTo>
                  <a:lnTo>
                    <a:pt x="459" y="865"/>
                  </a:lnTo>
                  <a:lnTo>
                    <a:pt x="461" y="865"/>
                  </a:lnTo>
                  <a:lnTo>
                    <a:pt x="461" y="862"/>
                  </a:lnTo>
                  <a:lnTo>
                    <a:pt x="461" y="862"/>
                  </a:lnTo>
                  <a:lnTo>
                    <a:pt x="466" y="860"/>
                  </a:lnTo>
                  <a:lnTo>
                    <a:pt x="466" y="860"/>
                  </a:lnTo>
                  <a:lnTo>
                    <a:pt x="461" y="858"/>
                  </a:lnTo>
                  <a:lnTo>
                    <a:pt x="463" y="855"/>
                  </a:lnTo>
                  <a:lnTo>
                    <a:pt x="466" y="853"/>
                  </a:lnTo>
                  <a:lnTo>
                    <a:pt x="466" y="855"/>
                  </a:lnTo>
                  <a:lnTo>
                    <a:pt x="468" y="855"/>
                  </a:lnTo>
                  <a:lnTo>
                    <a:pt x="468" y="855"/>
                  </a:lnTo>
                  <a:lnTo>
                    <a:pt x="470" y="853"/>
                  </a:lnTo>
                  <a:lnTo>
                    <a:pt x="470" y="853"/>
                  </a:lnTo>
                  <a:lnTo>
                    <a:pt x="470" y="853"/>
                  </a:lnTo>
                  <a:lnTo>
                    <a:pt x="470" y="855"/>
                  </a:lnTo>
                  <a:lnTo>
                    <a:pt x="473" y="855"/>
                  </a:lnTo>
                  <a:lnTo>
                    <a:pt x="473" y="855"/>
                  </a:lnTo>
                  <a:lnTo>
                    <a:pt x="475" y="855"/>
                  </a:lnTo>
                  <a:lnTo>
                    <a:pt x="473" y="858"/>
                  </a:lnTo>
                  <a:lnTo>
                    <a:pt x="475" y="860"/>
                  </a:lnTo>
                  <a:lnTo>
                    <a:pt x="475" y="860"/>
                  </a:lnTo>
                  <a:lnTo>
                    <a:pt x="478" y="860"/>
                  </a:lnTo>
                  <a:lnTo>
                    <a:pt x="478" y="862"/>
                  </a:lnTo>
                  <a:lnTo>
                    <a:pt x="478" y="862"/>
                  </a:lnTo>
                  <a:lnTo>
                    <a:pt x="480" y="862"/>
                  </a:lnTo>
                  <a:lnTo>
                    <a:pt x="482" y="862"/>
                  </a:lnTo>
                  <a:lnTo>
                    <a:pt x="487" y="860"/>
                  </a:lnTo>
                  <a:lnTo>
                    <a:pt x="489" y="855"/>
                  </a:lnTo>
                  <a:lnTo>
                    <a:pt x="489" y="853"/>
                  </a:lnTo>
                  <a:lnTo>
                    <a:pt x="489" y="846"/>
                  </a:lnTo>
                  <a:lnTo>
                    <a:pt x="492" y="846"/>
                  </a:lnTo>
                  <a:lnTo>
                    <a:pt x="492" y="846"/>
                  </a:lnTo>
                  <a:lnTo>
                    <a:pt x="499" y="810"/>
                  </a:lnTo>
                  <a:lnTo>
                    <a:pt x="504" y="777"/>
                  </a:lnTo>
                  <a:lnTo>
                    <a:pt x="522" y="669"/>
                  </a:lnTo>
                  <a:lnTo>
                    <a:pt x="532" y="614"/>
                  </a:lnTo>
                  <a:lnTo>
                    <a:pt x="544" y="541"/>
                  </a:lnTo>
                  <a:lnTo>
                    <a:pt x="553" y="494"/>
                  </a:lnTo>
                  <a:lnTo>
                    <a:pt x="553" y="489"/>
                  </a:lnTo>
                  <a:lnTo>
                    <a:pt x="553" y="487"/>
                  </a:lnTo>
                  <a:lnTo>
                    <a:pt x="555" y="487"/>
                  </a:lnTo>
                  <a:lnTo>
                    <a:pt x="555" y="485"/>
                  </a:lnTo>
                  <a:lnTo>
                    <a:pt x="555" y="480"/>
                  </a:lnTo>
                  <a:lnTo>
                    <a:pt x="555" y="477"/>
                  </a:lnTo>
                  <a:lnTo>
                    <a:pt x="555" y="475"/>
                  </a:lnTo>
                  <a:lnTo>
                    <a:pt x="558" y="475"/>
                  </a:lnTo>
                  <a:lnTo>
                    <a:pt x="560" y="473"/>
                  </a:lnTo>
                  <a:lnTo>
                    <a:pt x="560" y="470"/>
                  </a:lnTo>
                  <a:lnTo>
                    <a:pt x="558" y="468"/>
                  </a:lnTo>
                  <a:lnTo>
                    <a:pt x="558" y="463"/>
                  </a:lnTo>
                  <a:lnTo>
                    <a:pt x="558" y="461"/>
                  </a:lnTo>
                  <a:lnTo>
                    <a:pt x="558" y="459"/>
                  </a:lnTo>
                  <a:lnTo>
                    <a:pt x="555" y="456"/>
                  </a:lnTo>
                  <a:lnTo>
                    <a:pt x="558" y="451"/>
                  </a:lnTo>
                  <a:lnTo>
                    <a:pt x="558" y="449"/>
                  </a:lnTo>
                  <a:lnTo>
                    <a:pt x="558" y="447"/>
                  </a:lnTo>
                  <a:lnTo>
                    <a:pt x="560" y="444"/>
                  </a:lnTo>
                  <a:lnTo>
                    <a:pt x="560" y="442"/>
                  </a:lnTo>
                  <a:lnTo>
                    <a:pt x="560" y="440"/>
                  </a:lnTo>
                  <a:lnTo>
                    <a:pt x="558" y="435"/>
                  </a:lnTo>
                  <a:lnTo>
                    <a:pt x="555" y="435"/>
                  </a:lnTo>
                  <a:lnTo>
                    <a:pt x="558" y="430"/>
                  </a:lnTo>
                  <a:lnTo>
                    <a:pt x="555" y="430"/>
                  </a:lnTo>
                  <a:lnTo>
                    <a:pt x="555" y="430"/>
                  </a:lnTo>
                  <a:lnTo>
                    <a:pt x="555" y="428"/>
                  </a:lnTo>
                  <a:lnTo>
                    <a:pt x="555" y="428"/>
                  </a:lnTo>
                  <a:lnTo>
                    <a:pt x="555" y="428"/>
                  </a:lnTo>
                  <a:lnTo>
                    <a:pt x="558" y="428"/>
                  </a:lnTo>
                  <a:lnTo>
                    <a:pt x="558" y="425"/>
                  </a:lnTo>
                  <a:lnTo>
                    <a:pt x="555" y="423"/>
                  </a:lnTo>
                  <a:lnTo>
                    <a:pt x="553" y="425"/>
                  </a:lnTo>
                  <a:lnTo>
                    <a:pt x="551" y="423"/>
                  </a:lnTo>
                  <a:lnTo>
                    <a:pt x="551" y="421"/>
                  </a:lnTo>
                  <a:lnTo>
                    <a:pt x="548" y="418"/>
                  </a:lnTo>
                  <a:lnTo>
                    <a:pt x="548" y="418"/>
                  </a:lnTo>
                  <a:lnTo>
                    <a:pt x="546" y="416"/>
                  </a:lnTo>
                  <a:lnTo>
                    <a:pt x="544" y="416"/>
                  </a:lnTo>
                  <a:lnTo>
                    <a:pt x="544" y="416"/>
                  </a:lnTo>
                  <a:lnTo>
                    <a:pt x="544" y="414"/>
                  </a:lnTo>
                  <a:lnTo>
                    <a:pt x="544" y="411"/>
                  </a:lnTo>
                  <a:lnTo>
                    <a:pt x="544" y="409"/>
                  </a:lnTo>
                  <a:lnTo>
                    <a:pt x="541" y="407"/>
                  </a:lnTo>
                  <a:lnTo>
                    <a:pt x="541" y="407"/>
                  </a:lnTo>
                  <a:lnTo>
                    <a:pt x="539" y="404"/>
                  </a:lnTo>
                  <a:lnTo>
                    <a:pt x="539" y="402"/>
                  </a:lnTo>
                  <a:lnTo>
                    <a:pt x="539" y="399"/>
                  </a:lnTo>
                  <a:lnTo>
                    <a:pt x="539" y="399"/>
                  </a:lnTo>
                  <a:lnTo>
                    <a:pt x="537" y="399"/>
                  </a:lnTo>
                  <a:lnTo>
                    <a:pt x="537" y="397"/>
                  </a:lnTo>
                  <a:lnTo>
                    <a:pt x="532" y="395"/>
                  </a:lnTo>
                  <a:lnTo>
                    <a:pt x="534" y="395"/>
                  </a:lnTo>
                  <a:lnTo>
                    <a:pt x="532" y="392"/>
                  </a:lnTo>
                  <a:lnTo>
                    <a:pt x="532" y="392"/>
                  </a:lnTo>
                  <a:lnTo>
                    <a:pt x="532" y="392"/>
                  </a:lnTo>
                  <a:lnTo>
                    <a:pt x="532" y="390"/>
                  </a:lnTo>
                  <a:lnTo>
                    <a:pt x="532" y="390"/>
                  </a:lnTo>
                  <a:lnTo>
                    <a:pt x="532" y="388"/>
                  </a:lnTo>
                  <a:lnTo>
                    <a:pt x="534" y="388"/>
                  </a:lnTo>
                  <a:lnTo>
                    <a:pt x="534" y="388"/>
                  </a:lnTo>
                  <a:lnTo>
                    <a:pt x="534" y="385"/>
                  </a:lnTo>
                  <a:lnTo>
                    <a:pt x="537" y="383"/>
                  </a:lnTo>
                  <a:lnTo>
                    <a:pt x="537" y="381"/>
                  </a:lnTo>
                  <a:lnTo>
                    <a:pt x="539" y="378"/>
                  </a:lnTo>
                  <a:lnTo>
                    <a:pt x="539" y="378"/>
                  </a:lnTo>
                  <a:lnTo>
                    <a:pt x="539" y="378"/>
                  </a:lnTo>
                  <a:lnTo>
                    <a:pt x="539" y="376"/>
                  </a:lnTo>
                  <a:lnTo>
                    <a:pt x="537" y="376"/>
                  </a:lnTo>
                  <a:lnTo>
                    <a:pt x="537" y="376"/>
                  </a:lnTo>
                  <a:lnTo>
                    <a:pt x="534" y="373"/>
                  </a:lnTo>
                  <a:lnTo>
                    <a:pt x="534" y="373"/>
                  </a:lnTo>
                  <a:lnTo>
                    <a:pt x="534" y="371"/>
                  </a:lnTo>
                  <a:lnTo>
                    <a:pt x="534" y="369"/>
                  </a:lnTo>
                  <a:lnTo>
                    <a:pt x="534" y="366"/>
                  </a:lnTo>
                  <a:lnTo>
                    <a:pt x="532" y="364"/>
                  </a:lnTo>
                  <a:lnTo>
                    <a:pt x="534" y="362"/>
                  </a:lnTo>
                  <a:lnTo>
                    <a:pt x="532" y="359"/>
                  </a:lnTo>
                  <a:lnTo>
                    <a:pt x="530" y="359"/>
                  </a:lnTo>
                  <a:lnTo>
                    <a:pt x="530" y="359"/>
                  </a:lnTo>
                  <a:lnTo>
                    <a:pt x="530" y="357"/>
                  </a:lnTo>
                  <a:lnTo>
                    <a:pt x="525" y="357"/>
                  </a:lnTo>
                  <a:lnTo>
                    <a:pt x="522" y="355"/>
                  </a:lnTo>
                  <a:lnTo>
                    <a:pt x="522" y="355"/>
                  </a:lnTo>
                  <a:lnTo>
                    <a:pt x="520" y="355"/>
                  </a:lnTo>
                  <a:lnTo>
                    <a:pt x="518" y="352"/>
                  </a:lnTo>
                  <a:lnTo>
                    <a:pt x="518" y="352"/>
                  </a:lnTo>
                  <a:lnTo>
                    <a:pt x="515" y="350"/>
                  </a:lnTo>
                  <a:lnTo>
                    <a:pt x="515" y="350"/>
                  </a:lnTo>
                  <a:lnTo>
                    <a:pt x="513" y="348"/>
                  </a:lnTo>
                  <a:lnTo>
                    <a:pt x="513" y="348"/>
                  </a:lnTo>
                  <a:lnTo>
                    <a:pt x="511" y="348"/>
                  </a:lnTo>
                  <a:lnTo>
                    <a:pt x="511" y="345"/>
                  </a:lnTo>
                  <a:lnTo>
                    <a:pt x="508" y="345"/>
                  </a:lnTo>
                  <a:lnTo>
                    <a:pt x="506" y="345"/>
                  </a:lnTo>
                  <a:lnTo>
                    <a:pt x="504" y="338"/>
                  </a:lnTo>
                  <a:lnTo>
                    <a:pt x="501" y="340"/>
                  </a:lnTo>
                  <a:lnTo>
                    <a:pt x="499" y="338"/>
                  </a:lnTo>
                  <a:lnTo>
                    <a:pt x="496" y="340"/>
                  </a:lnTo>
                  <a:lnTo>
                    <a:pt x="494" y="338"/>
                  </a:lnTo>
                  <a:lnTo>
                    <a:pt x="492" y="336"/>
                  </a:lnTo>
                  <a:lnTo>
                    <a:pt x="492" y="333"/>
                  </a:lnTo>
                  <a:lnTo>
                    <a:pt x="492" y="333"/>
                  </a:lnTo>
                  <a:lnTo>
                    <a:pt x="489" y="331"/>
                  </a:lnTo>
                  <a:lnTo>
                    <a:pt x="489" y="331"/>
                  </a:lnTo>
                  <a:lnTo>
                    <a:pt x="487" y="329"/>
                  </a:lnTo>
                  <a:lnTo>
                    <a:pt x="485" y="326"/>
                  </a:lnTo>
                  <a:lnTo>
                    <a:pt x="485" y="326"/>
                  </a:lnTo>
                  <a:lnTo>
                    <a:pt x="478" y="319"/>
                  </a:lnTo>
                  <a:lnTo>
                    <a:pt x="478" y="319"/>
                  </a:lnTo>
                  <a:lnTo>
                    <a:pt x="478" y="314"/>
                  </a:lnTo>
                  <a:lnTo>
                    <a:pt x="478" y="312"/>
                  </a:lnTo>
                  <a:lnTo>
                    <a:pt x="478" y="310"/>
                  </a:lnTo>
                  <a:lnTo>
                    <a:pt x="478" y="296"/>
                  </a:lnTo>
                  <a:lnTo>
                    <a:pt x="478" y="286"/>
                  </a:lnTo>
                  <a:lnTo>
                    <a:pt x="478" y="262"/>
                  </a:lnTo>
                  <a:lnTo>
                    <a:pt x="478" y="232"/>
                  </a:lnTo>
                  <a:lnTo>
                    <a:pt x="478" y="220"/>
                  </a:lnTo>
                  <a:lnTo>
                    <a:pt x="480" y="220"/>
                  </a:lnTo>
                  <a:lnTo>
                    <a:pt x="480" y="220"/>
                  </a:lnTo>
                  <a:lnTo>
                    <a:pt x="482" y="222"/>
                  </a:lnTo>
                  <a:lnTo>
                    <a:pt x="482" y="222"/>
                  </a:lnTo>
                  <a:lnTo>
                    <a:pt x="485" y="222"/>
                  </a:lnTo>
                  <a:lnTo>
                    <a:pt x="485" y="222"/>
                  </a:lnTo>
                  <a:lnTo>
                    <a:pt x="485" y="220"/>
                  </a:lnTo>
                  <a:lnTo>
                    <a:pt x="485" y="220"/>
                  </a:lnTo>
                  <a:lnTo>
                    <a:pt x="487" y="220"/>
                  </a:lnTo>
                  <a:lnTo>
                    <a:pt x="487" y="220"/>
                  </a:lnTo>
                  <a:lnTo>
                    <a:pt x="492" y="222"/>
                  </a:lnTo>
                  <a:lnTo>
                    <a:pt x="494" y="220"/>
                  </a:lnTo>
                  <a:lnTo>
                    <a:pt x="494" y="218"/>
                  </a:lnTo>
                  <a:lnTo>
                    <a:pt x="496" y="218"/>
                  </a:lnTo>
                  <a:lnTo>
                    <a:pt x="496" y="218"/>
                  </a:lnTo>
                  <a:lnTo>
                    <a:pt x="499" y="220"/>
                  </a:lnTo>
                  <a:lnTo>
                    <a:pt x="501" y="218"/>
                  </a:lnTo>
                  <a:lnTo>
                    <a:pt x="504" y="218"/>
                  </a:lnTo>
                  <a:lnTo>
                    <a:pt x="504" y="218"/>
                  </a:lnTo>
                  <a:lnTo>
                    <a:pt x="506" y="218"/>
                  </a:lnTo>
                  <a:lnTo>
                    <a:pt x="506" y="218"/>
                  </a:lnTo>
                  <a:lnTo>
                    <a:pt x="508" y="218"/>
                  </a:lnTo>
                  <a:lnTo>
                    <a:pt x="508" y="220"/>
                  </a:lnTo>
                  <a:lnTo>
                    <a:pt x="511" y="218"/>
                  </a:lnTo>
                  <a:lnTo>
                    <a:pt x="511" y="215"/>
                  </a:lnTo>
                  <a:lnTo>
                    <a:pt x="513" y="215"/>
                  </a:lnTo>
                  <a:lnTo>
                    <a:pt x="515" y="213"/>
                  </a:lnTo>
                  <a:lnTo>
                    <a:pt x="518" y="213"/>
                  </a:lnTo>
                  <a:lnTo>
                    <a:pt x="520" y="213"/>
                  </a:lnTo>
                  <a:lnTo>
                    <a:pt x="520" y="211"/>
                  </a:lnTo>
                  <a:lnTo>
                    <a:pt x="522" y="208"/>
                  </a:lnTo>
                  <a:lnTo>
                    <a:pt x="522" y="208"/>
                  </a:lnTo>
                  <a:lnTo>
                    <a:pt x="522" y="208"/>
                  </a:lnTo>
                  <a:lnTo>
                    <a:pt x="525" y="206"/>
                  </a:lnTo>
                  <a:lnTo>
                    <a:pt x="527" y="208"/>
                  </a:lnTo>
                  <a:lnTo>
                    <a:pt x="530" y="208"/>
                  </a:lnTo>
                  <a:lnTo>
                    <a:pt x="530" y="211"/>
                  </a:lnTo>
                  <a:lnTo>
                    <a:pt x="532" y="211"/>
                  </a:lnTo>
                  <a:lnTo>
                    <a:pt x="532" y="211"/>
                  </a:lnTo>
                  <a:lnTo>
                    <a:pt x="534" y="211"/>
                  </a:lnTo>
                  <a:lnTo>
                    <a:pt x="534" y="211"/>
                  </a:lnTo>
                  <a:lnTo>
                    <a:pt x="534" y="211"/>
                  </a:lnTo>
                  <a:lnTo>
                    <a:pt x="534" y="208"/>
                  </a:lnTo>
                  <a:lnTo>
                    <a:pt x="539" y="206"/>
                  </a:lnTo>
                  <a:lnTo>
                    <a:pt x="539" y="203"/>
                  </a:lnTo>
                  <a:lnTo>
                    <a:pt x="541" y="203"/>
                  </a:lnTo>
                  <a:lnTo>
                    <a:pt x="544" y="203"/>
                  </a:lnTo>
                  <a:lnTo>
                    <a:pt x="544" y="203"/>
                  </a:lnTo>
                  <a:lnTo>
                    <a:pt x="544" y="201"/>
                  </a:lnTo>
                  <a:lnTo>
                    <a:pt x="544" y="201"/>
                  </a:lnTo>
                  <a:lnTo>
                    <a:pt x="546" y="201"/>
                  </a:lnTo>
                  <a:lnTo>
                    <a:pt x="546" y="199"/>
                  </a:lnTo>
                  <a:lnTo>
                    <a:pt x="548" y="199"/>
                  </a:lnTo>
                  <a:lnTo>
                    <a:pt x="551" y="199"/>
                  </a:lnTo>
                  <a:lnTo>
                    <a:pt x="551" y="199"/>
                  </a:lnTo>
                  <a:lnTo>
                    <a:pt x="551" y="199"/>
                  </a:lnTo>
                  <a:lnTo>
                    <a:pt x="553" y="201"/>
                  </a:lnTo>
                  <a:lnTo>
                    <a:pt x="555" y="201"/>
                  </a:lnTo>
                  <a:lnTo>
                    <a:pt x="555" y="201"/>
                  </a:lnTo>
                  <a:lnTo>
                    <a:pt x="555" y="203"/>
                  </a:lnTo>
                  <a:lnTo>
                    <a:pt x="555" y="203"/>
                  </a:lnTo>
                  <a:lnTo>
                    <a:pt x="558" y="206"/>
                  </a:lnTo>
                  <a:lnTo>
                    <a:pt x="558" y="208"/>
                  </a:lnTo>
                  <a:lnTo>
                    <a:pt x="565" y="213"/>
                  </a:lnTo>
                  <a:lnTo>
                    <a:pt x="565" y="213"/>
                  </a:lnTo>
                  <a:lnTo>
                    <a:pt x="567" y="213"/>
                  </a:lnTo>
                  <a:lnTo>
                    <a:pt x="567" y="213"/>
                  </a:lnTo>
                  <a:lnTo>
                    <a:pt x="567" y="211"/>
                  </a:lnTo>
                  <a:lnTo>
                    <a:pt x="570" y="211"/>
                  </a:lnTo>
                  <a:lnTo>
                    <a:pt x="572" y="211"/>
                  </a:lnTo>
                  <a:lnTo>
                    <a:pt x="572" y="208"/>
                  </a:lnTo>
                  <a:lnTo>
                    <a:pt x="574" y="211"/>
                  </a:lnTo>
                  <a:lnTo>
                    <a:pt x="574" y="211"/>
                  </a:lnTo>
                  <a:lnTo>
                    <a:pt x="574" y="213"/>
                  </a:lnTo>
                  <a:lnTo>
                    <a:pt x="574" y="215"/>
                  </a:lnTo>
                  <a:lnTo>
                    <a:pt x="577" y="215"/>
                  </a:lnTo>
                  <a:lnTo>
                    <a:pt x="577" y="215"/>
                  </a:lnTo>
                  <a:lnTo>
                    <a:pt x="579" y="215"/>
                  </a:lnTo>
                  <a:lnTo>
                    <a:pt x="579" y="213"/>
                  </a:lnTo>
                  <a:lnTo>
                    <a:pt x="579" y="215"/>
                  </a:lnTo>
                  <a:lnTo>
                    <a:pt x="584" y="213"/>
                  </a:lnTo>
                  <a:lnTo>
                    <a:pt x="586" y="215"/>
                  </a:lnTo>
                  <a:lnTo>
                    <a:pt x="586" y="213"/>
                  </a:lnTo>
                  <a:lnTo>
                    <a:pt x="586" y="211"/>
                  </a:lnTo>
                  <a:lnTo>
                    <a:pt x="586" y="211"/>
                  </a:lnTo>
                  <a:lnTo>
                    <a:pt x="586" y="208"/>
                  </a:lnTo>
                  <a:lnTo>
                    <a:pt x="589" y="208"/>
                  </a:lnTo>
                  <a:lnTo>
                    <a:pt x="589" y="208"/>
                  </a:lnTo>
                  <a:lnTo>
                    <a:pt x="591" y="208"/>
                  </a:lnTo>
                  <a:lnTo>
                    <a:pt x="593" y="211"/>
                  </a:lnTo>
                  <a:lnTo>
                    <a:pt x="593" y="211"/>
                  </a:lnTo>
                  <a:lnTo>
                    <a:pt x="596" y="211"/>
                  </a:lnTo>
                  <a:lnTo>
                    <a:pt x="596" y="211"/>
                  </a:lnTo>
                  <a:lnTo>
                    <a:pt x="596" y="208"/>
                  </a:lnTo>
                  <a:lnTo>
                    <a:pt x="593" y="201"/>
                  </a:lnTo>
                  <a:lnTo>
                    <a:pt x="589" y="201"/>
                  </a:lnTo>
                  <a:lnTo>
                    <a:pt x="589" y="199"/>
                  </a:lnTo>
                  <a:lnTo>
                    <a:pt x="586" y="199"/>
                  </a:lnTo>
                  <a:lnTo>
                    <a:pt x="586" y="196"/>
                  </a:lnTo>
                  <a:lnTo>
                    <a:pt x="589" y="194"/>
                  </a:lnTo>
                  <a:lnTo>
                    <a:pt x="591" y="194"/>
                  </a:lnTo>
                  <a:lnTo>
                    <a:pt x="591" y="194"/>
                  </a:lnTo>
                  <a:lnTo>
                    <a:pt x="593" y="192"/>
                  </a:lnTo>
                  <a:lnTo>
                    <a:pt x="591" y="189"/>
                  </a:lnTo>
                  <a:lnTo>
                    <a:pt x="591" y="187"/>
                  </a:lnTo>
                  <a:lnTo>
                    <a:pt x="589" y="185"/>
                  </a:lnTo>
                  <a:lnTo>
                    <a:pt x="589" y="182"/>
                  </a:lnTo>
                  <a:lnTo>
                    <a:pt x="591" y="182"/>
                  </a:lnTo>
                  <a:lnTo>
                    <a:pt x="593" y="182"/>
                  </a:lnTo>
                  <a:lnTo>
                    <a:pt x="593" y="182"/>
                  </a:lnTo>
                  <a:lnTo>
                    <a:pt x="593" y="180"/>
                  </a:lnTo>
                  <a:lnTo>
                    <a:pt x="593" y="177"/>
                  </a:lnTo>
                  <a:lnTo>
                    <a:pt x="591" y="177"/>
                  </a:lnTo>
                  <a:lnTo>
                    <a:pt x="589" y="175"/>
                  </a:lnTo>
                  <a:lnTo>
                    <a:pt x="586" y="175"/>
                  </a:lnTo>
                  <a:lnTo>
                    <a:pt x="586" y="175"/>
                  </a:lnTo>
                  <a:lnTo>
                    <a:pt x="586" y="173"/>
                  </a:lnTo>
                  <a:lnTo>
                    <a:pt x="586" y="173"/>
                  </a:lnTo>
                  <a:lnTo>
                    <a:pt x="586" y="170"/>
                  </a:lnTo>
                  <a:lnTo>
                    <a:pt x="589" y="170"/>
                  </a:lnTo>
                  <a:lnTo>
                    <a:pt x="589" y="168"/>
                  </a:lnTo>
                  <a:lnTo>
                    <a:pt x="584" y="166"/>
                  </a:lnTo>
                  <a:lnTo>
                    <a:pt x="584" y="166"/>
                  </a:lnTo>
                  <a:lnTo>
                    <a:pt x="586" y="163"/>
                  </a:lnTo>
                  <a:lnTo>
                    <a:pt x="584" y="161"/>
                  </a:lnTo>
                  <a:lnTo>
                    <a:pt x="584" y="161"/>
                  </a:lnTo>
                  <a:lnTo>
                    <a:pt x="577" y="154"/>
                  </a:lnTo>
                  <a:lnTo>
                    <a:pt x="577" y="154"/>
                  </a:lnTo>
                  <a:lnTo>
                    <a:pt x="574" y="156"/>
                  </a:lnTo>
                  <a:lnTo>
                    <a:pt x="574" y="154"/>
                  </a:lnTo>
                  <a:lnTo>
                    <a:pt x="572" y="154"/>
                  </a:lnTo>
                  <a:lnTo>
                    <a:pt x="572" y="154"/>
                  </a:lnTo>
                  <a:lnTo>
                    <a:pt x="570" y="151"/>
                  </a:lnTo>
                  <a:lnTo>
                    <a:pt x="567" y="151"/>
                  </a:lnTo>
                  <a:lnTo>
                    <a:pt x="565" y="151"/>
                  </a:lnTo>
                  <a:lnTo>
                    <a:pt x="563" y="151"/>
                  </a:lnTo>
                  <a:lnTo>
                    <a:pt x="563" y="151"/>
                  </a:lnTo>
                  <a:lnTo>
                    <a:pt x="558" y="156"/>
                  </a:lnTo>
                  <a:lnTo>
                    <a:pt x="555" y="156"/>
                  </a:lnTo>
                  <a:lnTo>
                    <a:pt x="555" y="154"/>
                  </a:lnTo>
                  <a:lnTo>
                    <a:pt x="555" y="154"/>
                  </a:lnTo>
                  <a:lnTo>
                    <a:pt x="555" y="151"/>
                  </a:lnTo>
                  <a:lnTo>
                    <a:pt x="553" y="154"/>
                  </a:lnTo>
                  <a:lnTo>
                    <a:pt x="548" y="151"/>
                  </a:lnTo>
                  <a:lnTo>
                    <a:pt x="544" y="154"/>
                  </a:lnTo>
                  <a:lnTo>
                    <a:pt x="539" y="154"/>
                  </a:lnTo>
                  <a:lnTo>
                    <a:pt x="537" y="151"/>
                  </a:lnTo>
                  <a:lnTo>
                    <a:pt x="534" y="149"/>
                  </a:lnTo>
                  <a:lnTo>
                    <a:pt x="532" y="149"/>
                  </a:lnTo>
                  <a:lnTo>
                    <a:pt x="532" y="151"/>
                  </a:lnTo>
                  <a:lnTo>
                    <a:pt x="530" y="151"/>
                  </a:lnTo>
                  <a:lnTo>
                    <a:pt x="525" y="151"/>
                  </a:lnTo>
                  <a:lnTo>
                    <a:pt x="525" y="154"/>
                  </a:lnTo>
                  <a:lnTo>
                    <a:pt x="522" y="151"/>
                  </a:lnTo>
                  <a:lnTo>
                    <a:pt x="522" y="154"/>
                  </a:lnTo>
                  <a:lnTo>
                    <a:pt x="520" y="151"/>
                  </a:lnTo>
                  <a:lnTo>
                    <a:pt x="520" y="149"/>
                  </a:lnTo>
                  <a:lnTo>
                    <a:pt x="520" y="147"/>
                  </a:lnTo>
                  <a:lnTo>
                    <a:pt x="518" y="147"/>
                  </a:lnTo>
                  <a:lnTo>
                    <a:pt x="518" y="147"/>
                  </a:lnTo>
                  <a:lnTo>
                    <a:pt x="515" y="147"/>
                  </a:lnTo>
                  <a:lnTo>
                    <a:pt x="511" y="151"/>
                  </a:lnTo>
                  <a:lnTo>
                    <a:pt x="511" y="151"/>
                  </a:lnTo>
                  <a:lnTo>
                    <a:pt x="508" y="154"/>
                  </a:lnTo>
                  <a:lnTo>
                    <a:pt x="508" y="154"/>
                  </a:lnTo>
                  <a:lnTo>
                    <a:pt x="506" y="154"/>
                  </a:lnTo>
                  <a:lnTo>
                    <a:pt x="504" y="151"/>
                  </a:lnTo>
                  <a:lnTo>
                    <a:pt x="504" y="125"/>
                  </a:lnTo>
                  <a:lnTo>
                    <a:pt x="504" y="88"/>
                  </a:lnTo>
                  <a:lnTo>
                    <a:pt x="504" y="69"/>
                  </a:lnTo>
                  <a:lnTo>
                    <a:pt x="506" y="69"/>
                  </a:lnTo>
                  <a:lnTo>
                    <a:pt x="506" y="71"/>
                  </a:lnTo>
                  <a:lnTo>
                    <a:pt x="506" y="71"/>
                  </a:lnTo>
                  <a:lnTo>
                    <a:pt x="511" y="71"/>
                  </a:lnTo>
                  <a:lnTo>
                    <a:pt x="511" y="71"/>
                  </a:lnTo>
                  <a:lnTo>
                    <a:pt x="511" y="71"/>
                  </a:lnTo>
                  <a:lnTo>
                    <a:pt x="513" y="69"/>
                  </a:lnTo>
                  <a:lnTo>
                    <a:pt x="513" y="69"/>
                  </a:lnTo>
                  <a:lnTo>
                    <a:pt x="515" y="66"/>
                  </a:lnTo>
                  <a:lnTo>
                    <a:pt x="518" y="66"/>
                  </a:lnTo>
                  <a:lnTo>
                    <a:pt x="520" y="66"/>
                  </a:lnTo>
                  <a:lnTo>
                    <a:pt x="520" y="64"/>
                  </a:lnTo>
                  <a:lnTo>
                    <a:pt x="522" y="66"/>
                  </a:lnTo>
                  <a:lnTo>
                    <a:pt x="525" y="66"/>
                  </a:lnTo>
                  <a:lnTo>
                    <a:pt x="525" y="66"/>
                  </a:lnTo>
                  <a:lnTo>
                    <a:pt x="525" y="66"/>
                  </a:lnTo>
                  <a:lnTo>
                    <a:pt x="527" y="66"/>
                  </a:lnTo>
                  <a:lnTo>
                    <a:pt x="530" y="66"/>
                  </a:lnTo>
                  <a:lnTo>
                    <a:pt x="530" y="66"/>
                  </a:lnTo>
                  <a:lnTo>
                    <a:pt x="532" y="64"/>
                  </a:lnTo>
                  <a:lnTo>
                    <a:pt x="532" y="64"/>
                  </a:lnTo>
                  <a:lnTo>
                    <a:pt x="534" y="64"/>
                  </a:lnTo>
                  <a:lnTo>
                    <a:pt x="539" y="62"/>
                  </a:lnTo>
                  <a:lnTo>
                    <a:pt x="541" y="59"/>
                  </a:lnTo>
                  <a:lnTo>
                    <a:pt x="548" y="64"/>
                  </a:lnTo>
                  <a:lnTo>
                    <a:pt x="548" y="62"/>
                  </a:lnTo>
                  <a:lnTo>
                    <a:pt x="548" y="64"/>
                  </a:lnTo>
                  <a:lnTo>
                    <a:pt x="551" y="64"/>
                  </a:lnTo>
                  <a:lnTo>
                    <a:pt x="551" y="62"/>
                  </a:lnTo>
                  <a:lnTo>
                    <a:pt x="551" y="64"/>
                  </a:lnTo>
                  <a:lnTo>
                    <a:pt x="553" y="64"/>
                  </a:lnTo>
                  <a:lnTo>
                    <a:pt x="553" y="64"/>
                  </a:lnTo>
                  <a:lnTo>
                    <a:pt x="558" y="64"/>
                  </a:lnTo>
                  <a:lnTo>
                    <a:pt x="560" y="66"/>
                  </a:lnTo>
                  <a:lnTo>
                    <a:pt x="560" y="69"/>
                  </a:lnTo>
                  <a:lnTo>
                    <a:pt x="563" y="69"/>
                  </a:lnTo>
                  <a:lnTo>
                    <a:pt x="589" y="69"/>
                  </a:lnTo>
                  <a:lnTo>
                    <a:pt x="650" y="69"/>
                  </a:lnTo>
                  <a:lnTo>
                    <a:pt x="716" y="69"/>
                  </a:lnTo>
                  <a:lnTo>
                    <a:pt x="718" y="69"/>
                  </a:lnTo>
                  <a:lnTo>
                    <a:pt x="718" y="66"/>
                  </a:lnTo>
                  <a:lnTo>
                    <a:pt x="716" y="64"/>
                  </a:lnTo>
                  <a:lnTo>
                    <a:pt x="714" y="64"/>
                  </a:lnTo>
                  <a:lnTo>
                    <a:pt x="716" y="62"/>
                  </a:lnTo>
                  <a:lnTo>
                    <a:pt x="714" y="62"/>
                  </a:lnTo>
                  <a:lnTo>
                    <a:pt x="711" y="62"/>
                  </a:lnTo>
                  <a:lnTo>
                    <a:pt x="711" y="62"/>
                  </a:lnTo>
                  <a:lnTo>
                    <a:pt x="709" y="62"/>
                  </a:lnTo>
                  <a:lnTo>
                    <a:pt x="707" y="62"/>
                  </a:lnTo>
                  <a:lnTo>
                    <a:pt x="707" y="59"/>
                  </a:lnTo>
                  <a:lnTo>
                    <a:pt x="707" y="55"/>
                  </a:lnTo>
                  <a:lnTo>
                    <a:pt x="707" y="55"/>
                  </a:lnTo>
                  <a:lnTo>
                    <a:pt x="704" y="55"/>
                  </a:lnTo>
                  <a:lnTo>
                    <a:pt x="704" y="52"/>
                  </a:lnTo>
                  <a:lnTo>
                    <a:pt x="704" y="50"/>
                  </a:lnTo>
                  <a:lnTo>
                    <a:pt x="707" y="48"/>
                  </a:lnTo>
                  <a:lnTo>
                    <a:pt x="707" y="43"/>
                  </a:lnTo>
                  <a:lnTo>
                    <a:pt x="707" y="40"/>
                  </a:lnTo>
                  <a:lnTo>
                    <a:pt x="709" y="38"/>
                  </a:lnTo>
                  <a:lnTo>
                    <a:pt x="711" y="38"/>
                  </a:lnTo>
                  <a:lnTo>
                    <a:pt x="714" y="38"/>
                  </a:lnTo>
                  <a:lnTo>
                    <a:pt x="714" y="36"/>
                  </a:lnTo>
                  <a:lnTo>
                    <a:pt x="716" y="33"/>
                  </a:lnTo>
                  <a:lnTo>
                    <a:pt x="718" y="36"/>
                  </a:lnTo>
                  <a:lnTo>
                    <a:pt x="718" y="36"/>
                  </a:lnTo>
                  <a:lnTo>
                    <a:pt x="721" y="36"/>
                  </a:lnTo>
                  <a:lnTo>
                    <a:pt x="723" y="36"/>
                  </a:lnTo>
                  <a:lnTo>
                    <a:pt x="723" y="40"/>
                  </a:lnTo>
                  <a:lnTo>
                    <a:pt x="726" y="40"/>
                  </a:lnTo>
                  <a:lnTo>
                    <a:pt x="726" y="45"/>
                  </a:lnTo>
                  <a:lnTo>
                    <a:pt x="726" y="45"/>
                  </a:lnTo>
                  <a:lnTo>
                    <a:pt x="728" y="45"/>
                  </a:lnTo>
                  <a:lnTo>
                    <a:pt x="730" y="45"/>
                  </a:lnTo>
                  <a:lnTo>
                    <a:pt x="733" y="45"/>
                  </a:lnTo>
                  <a:lnTo>
                    <a:pt x="735" y="48"/>
                  </a:lnTo>
                  <a:lnTo>
                    <a:pt x="737" y="50"/>
                  </a:lnTo>
                  <a:lnTo>
                    <a:pt x="742" y="55"/>
                  </a:lnTo>
                  <a:lnTo>
                    <a:pt x="744" y="55"/>
                  </a:lnTo>
                  <a:lnTo>
                    <a:pt x="747" y="55"/>
                  </a:lnTo>
                  <a:lnTo>
                    <a:pt x="747" y="52"/>
                  </a:lnTo>
                  <a:lnTo>
                    <a:pt x="749" y="52"/>
                  </a:lnTo>
                  <a:lnTo>
                    <a:pt x="749" y="50"/>
                  </a:lnTo>
                  <a:lnTo>
                    <a:pt x="749" y="45"/>
                  </a:lnTo>
                  <a:lnTo>
                    <a:pt x="752" y="45"/>
                  </a:lnTo>
                  <a:lnTo>
                    <a:pt x="756" y="43"/>
                  </a:lnTo>
                  <a:lnTo>
                    <a:pt x="759" y="38"/>
                  </a:lnTo>
                  <a:lnTo>
                    <a:pt x="759" y="38"/>
                  </a:lnTo>
                  <a:lnTo>
                    <a:pt x="761" y="36"/>
                  </a:lnTo>
                  <a:lnTo>
                    <a:pt x="766" y="29"/>
                  </a:lnTo>
                  <a:lnTo>
                    <a:pt x="768" y="26"/>
                  </a:lnTo>
                  <a:lnTo>
                    <a:pt x="770" y="26"/>
                  </a:lnTo>
                  <a:lnTo>
                    <a:pt x="775" y="29"/>
                  </a:lnTo>
                  <a:lnTo>
                    <a:pt x="782" y="29"/>
                  </a:lnTo>
                  <a:lnTo>
                    <a:pt x="787" y="29"/>
                  </a:lnTo>
                  <a:lnTo>
                    <a:pt x="787" y="29"/>
                  </a:lnTo>
                  <a:lnTo>
                    <a:pt x="789" y="22"/>
                  </a:lnTo>
                  <a:lnTo>
                    <a:pt x="794" y="19"/>
                  </a:lnTo>
                  <a:lnTo>
                    <a:pt x="794" y="14"/>
                  </a:lnTo>
                  <a:lnTo>
                    <a:pt x="796" y="12"/>
                  </a:lnTo>
                  <a:lnTo>
                    <a:pt x="799" y="10"/>
                  </a:lnTo>
                  <a:lnTo>
                    <a:pt x="808" y="5"/>
                  </a:lnTo>
                  <a:lnTo>
                    <a:pt x="808" y="3"/>
                  </a:lnTo>
                  <a:lnTo>
                    <a:pt x="811" y="0"/>
                  </a:lnTo>
                  <a:lnTo>
                    <a:pt x="813" y="0"/>
                  </a:lnTo>
                  <a:lnTo>
                    <a:pt x="815" y="0"/>
                  </a:lnTo>
                  <a:lnTo>
                    <a:pt x="818" y="3"/>
                  </a:lnTo>
                  <a:lnTo>
                    <a:pt x="822" y="5"/>
                  </a:lnTo>
                  <a:lnTo>
                    <a:pt x="822" y="19"/>
                  </a:lnTo>
                  <a:lnTo>
                    <a:pt x="822" y="22"/>
                  </a:lnTo>
                  <a:lnTo>
                    <a:pt x="822" y="29"/>
                  </a:lnTo>
                  <a:lnTo>
                    <a:pt x="827" y="43"/>
                  </a:lnTo>
                  <a:lnTo>
                    <a:pt x="827" y="48"/>
                  </a:lnTo>
                  <a:lnTo>
                    <a:pt x="830" y="48"/>
                  </a:lnTo>
                  <a:lnTo>
                    <a:pt x="834" y="52"/>
                  </a:lnTo>
                  <a:lnTo>
                    <a:pt x="834" y="50"/>
                  </a:lnTo>
                  <a:lnTo>
                    <a:pt x="841" y="52"/>
                  </a:lnTo>
                  <a:lnTo>
                    <a:pt x="844" y="52"/>
                  </a:lnTo>
                  <a:lnTo>
                    <a:pt x="846" y="55"/>
                  </a:lnTo>
                  <a:lnTo>
                    <a:pt x="848" y="59"/>
                  </a:lnTo>
                  <a:lnTo>
                    <a:pt x="851" y="62"/>
                  </a:lnTo>
                  <a:lnTo>
                    <a:pt x="853" y="69"/>
                  </a:lnTo>
                  <a:lnTo>
                    <a:pt x="851" y="71"/>
                  </a:lnTo>
                  <a:lnTo>
                    <a:pt x="853" y="74"/>
                  </a:lnTo>
                  <a:lnTo>
                    <a:pt x="853" y="78"/>
                  </a:lnTo>
                  <a:lnTo>
                    <a:pt x="853" y="81"/>
                  </a:lnTo>
                  <a:lnTo>
                    <a:pt x="856" y="97"/>
                  </a:lnTo>
                  <a:lnTo>
                    <a:pt x="856" y="102"/>
                  </a:lnTo>
                  <a:lnTo>
                    <a:pt x="856" y="107"/>
                  </a:lnTo>
                  <a:lnTo>
                    <a:pt x="853" y="111"/>
                  </a:lnTo>
                  <a:lnTo>
                    <a:pt x="853" y="121"/>
                  </a:lnTo>
                  <a:lnTo>
                    <a:pt x="853" y="133"/>
                  </a:lnTo>
                  <a:lnTo>
                    <a:pt x="853" y="137"/>
                  </a:lnTo>
                  <a:lnTo>
                    <a:pt x="853" y="142"/>
                  </a:lnTo>
                  <a:lnTo>
                    <a:pt x="881" y="133"/>
                  </a:lnTo>
                  <a:lnTo>
                    <a:pt x="915" y="163"/>
                  </a:lnTo>
                  <a:lnTo>
                    <a:pt x="952" y="194"/>
                  </a:lnTo>
                  <a:lnTo>
                    <a:pt x="964" y="192"/>
                  </a:lnTo>
                  <a:lnTo>
                    <a:pt x="967" y="192"/>
                  </a:lnTo>
                  <a:lnTo>
                    <a:pt x="969" y="194"/>
                  </a:lnTo>
                  <a:lnTo>
                    <a:pt x="971" y="194"/>
                  </a:lnTo>
                  <a:lnTo>
                    <a:pt x="971" y="196"/>
                  </a:lnTo>
                  <a:lnTo>
                    <a:pt x="971" y="196"/>
                  </a:lnTo>
                  <a:lnTo>
                    <a:pt x="976" y="196"/>
                  </a:lnTo>
                  <a:lnTo>
                    <a:pt x="976" y="194"/>
                  </a:lnTo>
                  <a:lnTo>
                    <a:pt x="978" y="194"/>
                  </a:lnTo>
                  <a:lnTo>
                    <a:pt x="981" y="194"/>
                  </a:lnTo>
                  <a:lnTo>
                    <a:pt x="981" y="194"/>
                  </a:lnTo>
                  <a:lnTo>
                    <a:pt x="981" y="192"/>
                  </a:lnTo>
                  <a:lnTo>
                    <a:pt x="983" y="189"/>
                  </a:lnTo>
                  <a:lnTo>
                    <a:pt x="983" y="189"/>
                  </a:lnTo>
                  <a:lnTo>
                    <a:pt x="983" y="189"/>
                  </a:lnTo>
                  <a:lnTo>
                    <a:pt x="988" y="189"/>
                  </a:lnTo>
                  <a:lnTo>
                    <a:pt x="990" y="189"/>
                  </a:lnTo>
                  <a:lnTo>
                    <a:pt x="990" y="189"/>
                  </a:lnTo>
                  <a:lnTo>
                    <a:pt x="993" y="189"/>
                  </a:lnTo>
                  <a:lnTo>
                    <a:pt x="993" y="189"/>
                  </a:lnTo>
                  <a:lnTo>
                    <a:pt x="995" y="189"/>
                  </a:lnTo>
                  <a:lnTo>
                    <a:pt x="995" y="189"/>
                  </a:lnTo>
                  <a:lnTo>
                    <a:pt x="997" y="189"/>
                  </a:lnTo>
                  <a:lnTo>
                    <a:pt x="997" y="187"/>
                  </a:lnTo>
                  <a:lnTo>
                    <a:pt x="997" y="185"/>
                  </a:lnTo>
                  <a:lnTo>
                    <a:pt x="997" y="182"/>
                  </a:lnTo>
                  <a:lnTo>
                    <a:pt x="1000" y="182"/>
                  </a:lnTo>
                  <a:lnTo>
                    <a:pt x="1000" y="180"/>
                  </a:lnTo>
                  <a:lnTo>
                    <a:pt x="1000" y="177"/>
                  </a:lnTo>
                  <a:lnTo>
                    <a:pt x="1002" y="177"/>
                  </a:lnTo>
                  <a:lnTo>
                    <a:pt x="1004" y="180"/>
                  </a:lnTo>
                  <a:lnTo>
                    <a:pt x="1004" y="177"/>
                  </a:lnTo>
                  <a:lnTo>
                    <a:pt x="1007" y="175"/>
                  </a:lnTo>
                  <a:lnTo>
                    <a:pt x="1007" y="173"/>
                  </a:lnTo>
                  <a:lnTo>
                    <a:pt x="1007" y="173"/>
                  </a:lnTo>
                  <a:lnTo>
                    <a:pt x="1009" y="173"/>
                  </a:lnTo>
                  <a:lnTo>
                    <a:pt x="1011" y="170"/>
                  </a:lnTo>
                  <a:lnTo>
                    <a:pt x="1016" y="170"/>
                  </a:lnTo>
                  <a:lnTo>
                    <a:pt x="1016" y="170"/>
                  </a:lnTo>
                  <a:lnTo>
                    <a:pt x="1019" y="170"/>
                  </a:lnTo>
                  <a:lnTo>
                    <a:pt x="1019" y="168"/>
                  </a:lnTo>
                  <a:lnTo>
                    <a:pt x="1019" y="168"/>
                  </a:lnTo>
                  <a:lnTo>
                    <a:pt x="1021" y="168"/>
                  </a:lnTo>
                  <a:lnTo>
                    <a:pt x="1021" y="168"/>
                  </a:lnTo>
                  <a:lnTo>
                    <a:pt x="1021" y="166"/>
                  </a:lnTo>
                  <a:lnTo>
                    <a:pt x="1023" y="166"/>
                  </a:lnTo>
                  <a:lnTo>
                    <a:pt x="1026" y="163"/>
                  </a:lnTo>
                  <a:lnTo>
                    <a:pt x="1026" y="163"/>
                  </a:lnTo>
                  <a:lnTo>
                    <a:pt x="1028" y="163"/>
                  </a:lnTo>
                  <a:lnTo>
                    <a:pt x="1028" y="163"/>
                  </a:lnTo>
                  <a:lnTo>
                    <a:pt x="1030" y="163"/>
                  </a:lnTo>
                  <a:lnTo>
                    <a:pt x="1030" y="163"/>
                  </a:lnTo>
                  <a:lnTo>
                    <a:pt x="1030" y="163"/>
                  </a:lnTo>
                  <a:lnTo>
                    <a:pt x="1033" y="166"/>
                  </a:lnTo>
                  <a:lnTo>
                    <a:pt x="1033" y="163"/>
                  </a:lnTo>
                  <a:lnTo>
                    <a:pt x="1035" y="161"/>
                  </a:lnTo>
                  <a:lnTo>
                    <a:pt x="1040" y="166"/>
                  </a:lnTo>
                  <a:lnTo>
                    <a:pt x="1037" y="163"/>
                  </a:lnTo>
                  <a:lnTo>
                    <a:pt x="1040" y="163"/>
                  </a:lnTo>
                  <a:lnTo>
                    <a:pt x="1040" y="161"/>
                  </a:lnTo>
                  <a:lnTo>
                    <a:pt x="1040" y="163"/>
                  </a:lnTo>
                  <a:lnTo>
                    <a:pt x="1044" y="163"/>
                  </a:lnTo>
                  <a:lnTo>
                    <a:pt x="1044" y="163"/>
                  </a:lnTo>
                  <a:lnTo>
                    <a:pt x="1044" y="166"/>
                  </a:lnTo>
                  <a:lnTo>
                    <a:pt x="1047" y="163"/>
                  </a:lnTo>
                  <a:lnTo>
                    <a:pt x="1047" y="163"/>
                  </a:lnTo>
                  <a:lnTo>
                    <a:pt x="1047" y="166"/>
                  </a:lnTo>
                  <a:lnTo>
                    <a:pt x="1047" y="166"/>
                  </a:lnTo>
                  <a:lnTo>
                    <a:pt x="1049" y="166"/>
                  </a:lnTo>
                  <a:lnTo>
                    <a:pt x="1049" y="168"/>
                  </a:lnTo>
                  <a:lnTo>
                    <a:pt x="1052" y="170"/>
                  </a:lnTo>
                  <a:lnTo>
                    <a:pt x="1049" y="170"/>
                  </a:lnTo>
                  <a:lnTo>
                    <a:pt x="1052" y="173"/>
                  </a:lnTo>
                  <a:lnTo>
                    <a:pt x="1052" y="173"/>
                  </a:lnTo>
                  <a:lnTo>
                    <a:pt x="1054" y="175"/>
                  </a:lnTo>
                  <a:lnTo>
                    <a:pt x="1054" y="177"/>
                  </a:lnTo>
                  <a:lnTo>
                    <a:pt x="1054" y="177"/>
                  </a:lnTo>
                  <a:lnTo>
                    <a:pt x="1056" y="177"/>
                  </a:lnTo>
                  <a:lnTo>
                    <a:pt x="1056" y="180"/>
                  </a:lnTo>
                  <a:lnTo>
                    <a:pt x="1054" y="180"/>
                  </a:lnTo>
                  <a:lnTo>
                    <a:pt x="1054" y="185"/>
                  </a:lnTo>
                  <a:lnTo>
                    <a:pt x="1054" y="185"/>
                  </a:lnTo>
                  <a:lnTo>
                    <a:pt x="1054" y="185"/>
                  </a:lnTo>
                  <a:lnTo>
                    <a:pt x="1052" y="185"/>
                  </a:lnTo>
                  <a:lnTo>
                    <a:pt x="1052" y="185"/>
                  </a:lnTo>
                  <a:lnTo>
                    <a:pt x="1052" y="187"/>
                  </a:lnTo>
                  <a:lnTo>
                    <a:pt x="1052" y="189"/>
                  </a:lnTo>
                  <a:lnTo>
                    <a:pt x="1049" y="189"/>
                  </a:lnTo>
                  <a:lnTo>
                    <a:pt x="1049" y="189"/>
                  </a:lnTo>
                  <a:lnTo>
                    <a:pt x="1049" y="192"/>
                  </a:lnTo>
                  <a:lnTo>
                    <a:pt x="1047" y="192"/>
                  </a:lnTo>
                  <a:lnTo>
                    <a:pt x="1044" y="194"/>
                  </a:lnTo>
                  <a:lnTo>
                    <a:pt x="1044" y="196"/>
                  </a:lnTo>
                  <a:lnTo>
                    <a:pt x="1044" y="199"/>
                  </a:lnTo>
                  <a:lnTo>
                    <a:pt x="1044" y="201"/>
                  </a:lnTo>
                  <a:lnTo>
                    <a:pt x="1044" y="201"/>
                  </a:lnTo>
                  <a:lnTo>
                    <a:pt x="1047" y="206"/>
                  </a:lnTo>
                  <a:lnTo>
                    <a:pt x="1047" y="206"/>
                  </a:lnTo>
                  <a:lnTo>
                    <a:pt x="1047" y="208"/>
                  </a:lnTo>
                  <a:lnTo>
                    <a:pt x="1049" y="208"/>
                  </a:lnTo>
                  <a:lnTo>
                    <a:pt x="1049" y="208"/>
                  </a:lnTo>
                  <a:lnTo>
                    <a:pt x="1052" y="206"/>
                  </a:lnTo>
                  <a:lnTo>
                    <a:pt x="1054" y="206"/>
                  </a:lnTo>
                  <a:lnTo>
                    <a:pt x="1056" y="206"/>
                  </a:lnTo>
                  <a:lnTo>
                    <a:pt x="1056" y="206"/>
                  </a:lnTo>
                  <a:lnTo>
                    <a:pt x="1056" y="203"/>
                  </a:lnTo>
                  <a:lnTo>
                    <a:pt x="1059" y="203"/>
                  </a:lnTo>
                  <a:lnTo>
                    <a:pt x="1061" y="203"/>
                  </a:lnTo>
                  <a:lnTo>
                    <a:pt x="1063" y="203"/>
                  </a:lnTo>
                  <a:lnTo>
                    <a:pt x="1063" y="203"/>
                  </a:lnTo>
                  <a:lnTo>
                    <a:pt x="1063" y="201"/>
                  </a:lnTo>
                  <a:lnTo>
                    <a:pt x="1066" y="199"/>
                  </a:lnTo>
                  <a:lnTo>
                    <a:pt x="1066" y="199"/>
                  </a:lnTo>
                  <a:lnTo>
                    <a:pt x="1066" y="196"/>
                  </a:lnTo>
                  <a:lnTo>
                    <a:pt x="1066" y="194"/>
                  </a:lnTo>
                  <a:lnTo>
                    <a:pt x="1068" y="196"/>
                  </a:lnTo>
                  <a:lnTo>
                    <a:pt x="1068" y="194"/>
                  </a:lnTo>
                  <a:lnTo>
                    <a:pt x="1068" y="194"/>
                  </a:lnTo>
                  <a:lnTo>
                    <a:pt x="1068" y="192"/>
                  </a:lnTo>
                  <a:lnTo>
                    <a:pt x="1068" y="192"/>
                  </a:lnTo>
                  <a:lnTo>
                    <a:pt x="1068" y="192"/>
                  </a:lnTo>
                  <a:lnTo>
                    <a:pt x="1066" y="187"/>
                  </a:lnTo>
                  <a:lnTo>
                    <a:pt x="1068" y="187"/>
                  </a:lnTo>
                  <a:lnTo>
                    <a:pt x="1068" y="185"/>
                  </a:lnTo>
                  <a:lnTo>
                    <a:pt x="1068" y="182"/>
                  </a:lnTo>
                  <a:lnTo>
                    <a:pt x="1070" y="182"/>
                  </a:lnTo>
                  <a:lnTo>
                    <a:pt x="1070" y="182"/>
                  </a:lnTo>
                  <a:lnTo>
                    <a:pt x="1073" y="180"/>
                  </a:lnTo>
                  <a:lnTo>
                    <a:pt x="1073" y="180"/>
                  </a:lnTo>
                  <a:lnTo>
                    <a:pt x="1075" y="177"/>
                  </a:lnTo>
                  <a:lnTo>
                    <a:pt x="1075" y="173"/>
                  </a:lnTo>
                  <a:lnTo>
                    <a:pt x="1078" y="173"/>
                  </a:lnTo>
                  <a:lnTo>
                    <a:pt x="1080" y="170"/>
                  </a:lnTo>
                  <a:lnTo>
                    <a:pt x="1082" y="170"/>
                  </a:lnTo>
                  <a:lnTo>
                    <a:pt x="1085" y="170"/>
                  </a:lnTo>
                  <a:lnTo>
                    <a:pt x="1085" y="173"/>
                  </a:lnTo>
                  <a:lnTo>
                    <a:pt x="1085" y="173"/>
                  </a:lnTo>
                  <a:lnTo>
                    <a:pt x="1085" y="173"/>
                  </a:lnTo>
                  <a:lnTo>
                    <a:pt x="1085" y="173"/>
                  </a:lnTo>
                  <a:lnTo>
                    <a:pt x="1087" y="173"/>
                  </a:lnTo>
                  <a:lnTo>
                    <a:pt x="1089" y="173"/>
                  </a:lnTo>
                  <a:lnTo>
                    <a:pt x="1092" y="173"/>
                  </a:lnTo>
                  <a:lnTo>
                    <a:pt x="1092" y="175"/>
                  </a:lnTo>
                  <a:lnTo>
                    <a:pt x="1092" y="175"/>
                  </a:lnTo>
                  <a:lnTo>
                    <a:pt x="1094" y="175"/>
                  </a:lnTo>
                  <a:lnTo>
                    <a:pt x="1094" y="173"/>
                  </a:lnTo>
                  <a:lnTo>
                    <a:pt x="1096" y="170"/>
                  </a:lnTo>
                  <a:lnTo>
                    <a:pt x="1099" y="166"/>
                  </a:lnTo>
                  <a:lnTo>
                    <a:pt x="1099" y="166"/>
                  </a:lnTo>
                  <a:lnTo>
                    <a:pt x="1099" y="163"/>
                  </a:lnTo>
                  <a:lnTo>
                    <a:pt x="1096" y="161"/>
                  </a:lnTo>
                  <a:lnTo>
                    <a:pt x="1096" y="161"/>
                  </a:lnTo>
                  <a:lnTo>
                    <a:pt x="1096" y="161"/>
                  </a:lnTo>
                  <a:lnTo>
                    <a:pt x="1099" y="159"/>
                  </a:lnTo>
                  <a:lnTo>
                    <a:pt x="1099" y="156"/>
                  </a:lnTo>
                  <a:lnTo>
                    <a:pt x="1099" y="151"/>
                  </a:lnTo>
                  <a:lnTo>
                    <a:pt x="1099" y="149"/>
                  </a:lnTo>
                  <a:lnTo>
                    <a:pt x="1099" y="147"/>
                  </a:lnTo>
                  <a:lnTo>
                    <a:pt x="1101" y="147"/>
                  </a:lnTo>
                  <a:lnTo>
                    <a:pt x="1104" y="147"/>
                  </a:lnTo>
                  <a:lnTo>
                    <a:pt x="1104" y="144"/>
                  </a:lnTo>
                  <a:lnTo>
                    <a:pt x="1106" y="142"/>
                  </a:lnTo>
                  <a:lnTo>
                    <a:pt x="1108" y="144"/>
                  </a:lnTo>
                  <a:lnTo>
                    <a:pt x="1108" y="144"/>
                  </a:lnTo>
                  <a:lnTo>
                    <a:pt x="1108" y="144"/>
                  </a:lnTo>
                  <a:lnTo>
                    <a:pt x="1111" y="144"/>
                  </a:lnTo>
                  <a:lnTo>
                    <a:pt x="1111" y="147"/>
                  </a:lnTo>
                  <a:lnTo>
                    <a:pt x="1111" y="149"/>
                  </a:lnTo>
                  <a:lnTo>
                    <a:pt x="1113" y="147"/>
                  </a:lnTo>
                  <a:lnTo>
                    <a:pt x="1115" y="149"/>
                  </a:lnTo>
                  <a:lnTo>
                    <a:pt x="1115" y="147"/>
                  </a:lnTo>
                  <a:lnTo>
                    <a:pt x="1118" y="147"/>
                  </a:lnTo>
                  <a:lnTo>
                    <a:pt x="1120" y="144"/>
                  </a:lnTo>
                  <a:lnTo>
                    <a:pt x="1122" y="140"/>
                  </a:lnTo>
                  <a:lnTo>
                    <a:pt x="1122" y="137"/>
                  </a:lnTo>
                  <a:lnTo>
                    <a:pt x="1122" y="137"/>
                  </a:lnTo>
                  <a:lnTo>
                    <a:pt x="1122" y="135"/>
                  </a:lnTo>
                  <a:lnTo>
                    <a:pt x="1122" y="133"/>
                  </a:lnTo>
                  <a:lnTo>
                    <a:pt x="1125" y="133"/>
                  </a:lnTo>
                  <a:lnTo>
                    <a:pt x="1125" y="135"/>
                  </a:lnTo>
                  <a:lnTo>
                    <a:pt x="1125" y="135"/>
                  </a:lnTo>
                  <a:lnTo>
                    <a:pt x="1127" y="135"/>
                  </a:lnTo>
                  <a:lnTo>
                    <a:pt x="1127" y="135"/>
                  </a:lnTo>
                  <a:lnTo>
                    <a:pt x="1130" y="133"/>
                  </a:lnTo>
                  <a:lnTo>
                    <a:pt x="1130" y="130"/>
                  </a:lnTo>
                  <a:lnTo>
                    <a:pt x="1130" y="130"/>
                  </a:lnTo>
                  <a:lnTo>
                    <a:pt x="1132" y="130"/>
                  </a:lnTo>
                  <a:lnTo>
                    <a:pt x="1132" y="130"/>
                  </a:lnTo>
                  <a:lnTo>
                    <a:pt x="1132" y="133"/>
                  </a:lnTo>
                  <a:lnTo>
                    <a:pt x="1134" y="133"/>
                  </a:lnTo>
                  <a:lnTo>
                    <a:pt x="1134" y="133"/>
                  </a:lnTo>
                  <a:lnTo>
                    <a:pt x="1134" y="130"/>
                  </a:lnTo>
                  <a:lnTo>
                    <a:pt x="1137" y="128"/>
                  </a:lnTo>
                  <a:lnTo>
                    <a:pt x="1137" y="128"/>
                  </a:lnTo>
                  <a:lnTo>
                    <a:pt x="1141" y="125"/>
                  </a:lnTo>
                  <a:lnTo>
                    <a:pt x="1141" y="121"/>
                  </a:lnTo>
                  <a:lnTo>
                    <a:pt x="1144" y="123"/>
                  </a:lnTo>
                  <a:lnTo>
                    <a:pt x="1146" y="125"/>
                  </a:lnTo>
                  <a:lnTo>
                    <a:pt x="1144" y="128"/>
                  </a:lnTo>
                  <a:lnTo>
                    <a:pt x="1144" y="128"/>
                  </a:lnTo>
                  <a:lnTo>
                    <a:pt x="1146" y="130"/>
                  </a:lnTo>
                  <a:lnTo>
                    <a:pt x="1148" y="133"/>
                  </a:lnTo>
                  <a:lnTo>
                    <a:pt x="1148" y="135"/>
                  </a:lnTo>
                  <a:lnTo>
                    <a:pt x="1151" y="135"/>
                  </a:lnTo>
                  <a:lnTo>
                    <a:pt x="1153" y="133"/>
                  </a:lnTo>
                  <a:lnTo>
                    <a:pt x="1153" y="130"/>
                  </a:lnTo>
                  <a:lnTo>
                    <a:pt x="1156" y="130"/>
                  </a:lnTo>
                  <a:lnTo>
                    <a:pt x="1156" y="128"/>
                  </a:lnTo>
                  <a:lnTo>
                    <a:pt x="1156" y="128"/>
                  </a:lnTo>
                  <a:lnTo>
                    <a:pt x="1156" y="125"/>
                  </a:lnTo>
                  <a:lnTo>
                    <a:pt x="1156" y="125"/>
                  </a:lnTo>
                  <a:lnTo>
                    <a:pt x="1158" y="125"/>
                  </a:lnTo>
                  <a:lnTo>
                    <a:pt x="1158" y="125"/>
                  </a:lnTo>
                  <a:lnTo>
                    <a:pt x="1160" y="125"/>
                  </a:lnTo>
                  <a:lnTo>
                    <a:pt x="1163" y="125"/>
                  </a:lnTo>
                  <a:lnTo>
                    <a:pt x="1163" y="123"/>
                  </a:lnTo>
                  <a:lnTo>
                    <a:pt x="1165" y="121"/>
                  </a:lnTo>
                  <a:lnTo>
                    <a:pt x="1165" y="121"/>
                  </a:lnTo>
                  <a:lnTo>
                    <a:pt x="1167" y="118"/>
                  </a:lnTo>
                  <a:lnTo>
                    <a:pt x="1170" y="118"/>
                  </a:lnTo>
                  <a:lnTo>
                    <a:pt x="1172" y="116"/>
                  </a:lnTo>
                  <a:lnTo>
                    <a:pt x="1172" y="116"/>
                  </a:lnTo>
                  <a:lnTo>
                    <a:pt x="1172" y="116"/>
                  </a:lnTo>
                  <a:lnTo>
                    <a:pt x="1172" y="114"/>
                  </a:lnTo>
                  <a:lnTo>
                    <a:pt x="1172" y="114"/>
                  </a:lnTo>
                  <a:lnTo>
                    <a:pt x="1174" y="109"/>
                  </a:lnTo>
                  <a:lnTo>
                    <a:pt x="1177" y="107"/>
                  </a:lnTo>
                  <a:lnTo>
                    <a:pt x="1177" y="107"/>
                  </a:lnTo>
                  <a:lnTo>
                    <a:pt x="1177" y="107"/>
                  </a:lnTo>
                  <a:lnTo>
                    <a:pt x="1179" y="107"/>
                  </a:lnTo>
                  <a:lnTo>
                    <a:pt x="1182" y="107"/>
                  </a:lnTo>
                  <a:lnTo>
                    <a:pt x="1184" y="104"/>
                  </a:lnTo>
                  <a:lnTo>
                    <a:pt x="1184" y="102"/>
                  </a:lnTo>
                  <a:lnTo>
                    <a:pt x="1186" y="99"/>
                  </a:lnTo>
                  <a:lnTo>
                    <a:pt x="1189" y="102"/>
                  </a:lnTo>
                  <a:lnTo>
                    <a:pt x="1189" y="102"/>
                  </a:lnTo>
                  <a:lnTo>
                    <a:pt x="1191" y="99"/>
                  </a:lnTo>
                  <a:lnTo>
                    <a:pt x="1191" y="99"/>
                  </a:lnTo>
                  <a:lnTo>
                    <a:pt x="1193" y="97"/>
                  </a:lnTo>
                  <a:lnTo>
                    <a:pt x="1193" y="97"/>
                  </a:lnTo>
                  <a:lnTo>
                    <a:pt x="1196" y="95"/>
                  </a:lnTo>
                  <a:lnTo>
                    <a:pt x="1196" y="95"/>
                  </a:lnTo>
                  <a:lnTo>
                    <a:pt x="1198" y="95"/>
                  </a:lnTo>
                  <a:lnTo>
                    <a:pt x="1200" y="95"/>
                  </a:lnTo>
                  <a:lnTo>
                    <a:pt x="1200" y="97"/>
                  </a:lnTo>
                  <a:lnTo>
                    <a:pt x="1200" y="99"/>
                  </a:lnTo>
                  <a:lnTo>
                    <a:pt x="1196" y="102"/>
                  </a:lnTo>
                  <a:lnTo>
                    <a:pt x="1198" y="104"/>
                  </a:lnTo>
                  <a:lnTo>
                    <a:pt x="1196" y="104"/>
                  </a:lnTo>
                  <a:lnTo>
                    <a:pt x="1196" y="109"/>
                  </a:lnTo>
                  <a:lnTo>
                    <a:pt x="1196" y="109"/>
                  </a:lnTo>
                  <a:lnTo>
                    <a:pt x="1193" y="111"/>
                  </a:lnTo>
                  <a:lnTo>
                    <a:pt x="1196" y="111"/>
                  </a:lnTo>
                  <a:lnTo>
                    <a:pt x="1196" y="111"/>
                  </a:lnTo>
                  <a:lnTo>
                    <a:pt x="1200" y="111"/>
                  </a:lnTo>
                  <a:lnTo>
                    <a:pt x="1200" y="114"/>
                  </a:lnTo>
                  <a:lnTo>
                    <a:pt x="1200" y="116"/>
                  </a:lnTo>
                  <a:lnTo>
                    <a:pt x="1203" y="116"/>
                  </a:lnTo>
                  <a:lnTo>
                    <a:pt x="1203" y="116"/>
                  </a:lnTo>
                  <a:lnTo>
                    <a:pt x="1203" y="114"/>
                  </a:lnTo>
                  <a:lnTo>
                    <a:pt x="1203" y="114"/>
                  </a:lnTo>
                  <a:lnTo>
                    <a:pt x="1203" y="111"/>
                  </a:lnTo>
                  <a:lnTo>
                    <a:pt x="1203" y="111"/>
                  </a:lnTo>
                  <a:lnTo>
                    <a:pt x="1203" y="111"/>
                  </a:lnTo>
                  <a:lnTo>
                    <a:pt x="1203" y="109"/>
                  </a:lnTo>
                  <a:lnTo>
                    <a:pt x="1203" y="109"/>
                  </a:lnTo>
                  <a:lnTo>
                    <a:pt x="1203" y="107"/>
                  </a:lnTo>
                  <a:lnTo>
                    <a:pt x="1205" y="107"/>
                  </a:lnTo>
                  <a:lnTo>
                    <a:pt x="1205" y="104"/>
                  </a:lnTo>
                  <a:lnTo>
                    <a:pt x="1205" y="104"/>
                  </a:lnTo>
                  <a:lnTo>
                    <a:pt x="1205" y="102"/>
                  </a:lnTo>
                  <a:lnTo>
                    <a:pt x="1207" y="102"/>
                  </a:lnTo>
                  <a:lnTo>
                    <a:pt x="1210" y="99"/>
                  </a:lnTo>
                  <a:lnTo>
                    <a:pt x="1210" y="99"/>
                  </a:lnTo>
                  <a:lnTo>
                    <a:pt x="1212" y="99"/>
                  </a:lnTo>
                  <a:lnTo>
                    <a:pt x="1212" y="97"/>
                  </a:lnTo>
                  <a:lnTo>
                    <a:pt x="1215" y="97"/>
                  </a:lnTo>
                  <a:lnTo>
                    <a:pt x="1215" y="97"/>
                  </a:lnTo>
                  <a:lnTo>
                    <a:pt x="1217" y="97"/>
                  </a:lnTo>
                  <a:lnTo>
                    <a:pt x="1217" y="97"/>
                  </a:lnTo>
                  <a:lnTo>
                    <a:pt x="1219" y="95"/>
                  </a:lnTo>
                  <a:lnTo>
                    <a:pt x="1222" y="92"/>
                  </a:lnTo>
                  <a:lnTo>
                    <a:pt x="1222" y="90"/>
                  </a:lnTo>
                  <a:lnTo>
                    <a:pt x="1222" y="88"/>
                  </a:lnTo>
                  <a:lnTo>
                    <a:pt x="1224" y="88"/>
                  </a:lnTo>
                  <a:lnTo>
                    <a:pt x="1224" y="88"/>
                  </a:lnTo>
                  <a:lnTo>
                    <a:pt x="1226" y="88"/>
                  </a:lnTo>
                  <a:lnTo>
                    <a:pt x="1229" y="88"/>
                  </a:lnTo>
                  <a:lnTo>
                    <a:pt x="1229" y="88"/>
                  </a:lnTo>
                  <a:lnTo>
                    <a:pt x="1231" y="88"/>
                  </a:lnTo>
                  <a:lnTo>
                    <a:pt x="1231" y="83"/>
                  </a:lnTo>
                  <a:lnTo>
                    <a:pt x="1233" y="83"/>
                  </a:lnTo>
                  <a:lnTo>
                    <a:pt x="1233" y="81"/>
                  </a:lnTo>
                  <a:lnTo>
                    <a:pt x="1236" y="78"/>
                  </a:lnTo>
                  <a:lnTo>
                    <a:pt x="1236" y="74"/>
                  </a:lnTo>
                  <a:lnTo>
                    <a:pt x="1236" y="74"/>
                  </a:lnTo>
                  <a:lnTo>
                    <a:pt x="1238" y="71"/>
                  </a:lnTo>
                  <a:lnTo>
                    <a:pt x="1236" y="71"/>
                  </a:lnTo>
                  <a:lnTo>
                    <a:pt x="1236" y="69"/>
                  </a:lnTo>
                  <a:lnTo>
                    <a:pt x="1236" y="69"/>
                  </a:lnTo>
                  <a:lnTo>
                    <a:pt x="1236" y="66"/>
                  </a:lnTo>
                  <a:lnTo>
                    <a:pt x="1236" y="64"/>
                  </a:lnTo>
                  <a:lnTo>
                    <a:pt x="1236" y="64"/>
                  </a:lnTo>
                  <a:lnTo>
                    <a:pt x="1236" y="64"/>
                  </a:lnTo>
                  <a:lnTo>
                    <a:pt x="1238" y="59"/>
                  </a:lnTo>
                  <a:lnTo>
                    <a:pt x="1238" y="57"/>
                  </a:lnTo>
                  <a:lnTo>
                    <a:pt x="1238" y="57"/>
                  </a:lnTo>
                  <a:lnTo>
                    <a:pt x="1238" y="55"/>
                  </a:lnTo>
                  <a:lnTo>
                    <a:pt x="1238" y="55"/>
                  </a:lnTo>
                  <a:lnTo>
                    <a:pt x="1238" y="52"/>
                  </a:lnTo>
                  <a:lnTo>
                    <a:pt x="1236" y="52"/>
                  </a:lnTo>
                  <a:lnTo>
                    <a:pt x="1236" y="52"/>
                  </a:lnTo>
                  <a:lnTo>
                    <a:pt x="1238" y="48"/>
                  </a:lnTo>
                  <a:lnTo>
                    <a:pt x="1238" y="45"/>
                  </a:lnTo>
                  <a:lnTo>
                    <a:pt x="1238" y="43"/>
                  </a:lnTo>
                  <a:lnTo>
                    <a:pt x="1238" y="43"/>
                  </a:lnTo>
                  <a:lnTo>
                    <a:pt x="1238" y="40"/>
                  </a:lnTo>
                  <a:lnTo>
                    <a:pt x="1241" y="40"/>
                  </a:lnTo>
                  <a:lnTo>
                    <a:pt x="1243" y="38"/>
                  </a:lnTo>
                  <a:lnTo>
                    <a:pt x="1243" y="38"/>
                  </a:lnTo>
                  <a:lnTo>
                    <a:pt x="1243" y="38"/>
                  </a:lnTo>
                  <a:lnTo>
                    <a:pt x="1245" y="36"/>
                  </a:lnTo>
                  <a:lnTo>
                    <a:pt x="1245" y="36"/>
                  </a:lnTo>
                  <a:lnTo>
                    <a:pt x="1248" y="36"/>
                  </a:lnTo>
                  <a:lnTo>
                    <a:pt x="1248" y="33"/>
                  </a:lnTo>
                  <a:lnTo>
                    <a:pt x="1250" y="33"/>
                  </a:lnTo>
                  <a:lnTo>
                    <a:pt x="1250" y="33"/>
                  </a:lnTo>
                  <a:lnTo>
                    <a:pt x="1250" y="33"/>
                  </a:lnTo>
                  <a:lnTo>
                    <a:pt x="1252" y="33"/>
                  </a:lnTo>
                  <a:lnTo>
                    <a:pt x="1255" y="36"/>
                  </a:lnTo>
                  <a:lnTo>
                    <a:pt x="1257" y="33"/>
                  </a:lnTo>
                  <a:lnTo>
                    <a:pt x="1257" y="33"/>
                  </a:lnTo>
                  <a:lnTo>
                    <a:pt x="1259" y="33"/>
                  </a:lnTo>
                  <a:lnTo>
                    <a:pt x="1259" y="36"/>
                  </a:lnTo>
                  <a:lnTo>
                    <a:pt x="1264" y="36"/>
                  </a:lnTo>
                  <a:lnTo>
                    <a:pt x="1264" y="38"/>
                  </a:lnTo>
                  <a:lnTo>
                    <a:pt x="1267" y="36"/>
                  </a:lnTo>
                  <a:lnTo>
                    <a:pt x="1267" y="33"/>
                  </a:lnTo>
                  <a:lnTo>
                    <a:pt x="1271" y="33"/>
                  </a:lnTo>
                  <a:lnTo>
                    <a:pt x="1274" y="36"/>
                  </a:lnTo>
                  <a:lnTo>
                    <a:pt x="1274" y="33"/>
                  </a:lnTo>
                  <a:lnTo>
                    <a:pt x="1274" y="33"/>
                  </a:lnTo>
                  <a:lnTo>
                    <a:pt x="1276" y="33"/>
                  </a:lnTo>
                  <a:lnTo>
                    <a:pt x="1276" y="33"/>
                  </a:lnTo>
                  <a:lnTo>
                    <a:pt x="1278" y="33"/>
                  </a:lnTo>
                  <a:lnTo>
                    <a:pt x="1278" y="31"/>
                  </a:lnTo>
                  <a:lnTo>
                    <a:pt x="1278" y="31"/>
                  </a:lnTo>
                  <a:lnTo>
                    <a:pt x="1278" y="29"/>
                  </a:lnTo>
                  <a:lnTo>
                    <a:pt x="1278" y="29"/>
                  </a:lnTo>
                  <a:lnTo>
                    <a:pt x="1283" y="26"/>
                  </a:lnTo>
                  <a:lnTo>
                    <a:pt x="1283" y="26"/>
                  </a:lnTo>
                  <a:lnTo>
                    <a:pt x="1285" y="29"/>
                  </a:lnTo>
                  <a:lnTo>
                    <a:pt x="1283" y="29"/>
                  </a:lnTo>
                  <a:lnTo>
                    <a:pt x="1285" y="29"/>
                  </a:lnTo>
                  <a:lnTo>
                    <a:pt x="1288" y="31"/>
                  </a:lnTo>
                  <a:lnTo>
                    <a:pt x="1288" y="29"/>
                  </a:lnTo>
                  <a:lnTo>
                    <a:pt x="1288" y="29"/>
                  </a:lnTo>
                  <a:lnTo>
                    <a:pt x="1288" y="24"/>
                  </a:lnTo>
                  <a:lnTo>
                    <a:pt x="1288" y="24"/>
                  </a:lnTo>
                  <a:lnTo>
                    <a:pt x="1288" y="24"/>
                  </a:lnTo>
                  <a:lnTo>
                    <a:pt x="1290" y="24"/>
                  </a:lnTo>
                  <a:lnTo>
                    <a:pt x="1290" y="24"/>
                  </a:lnTo>
                  <a:lnTo>
                    <a:pt x="1293" y="22"/>
                  </a:lnTo>
                  <a:lnTo>
                    <a:pt x="1293" y="22"/>
                  </a:lnTo>
                  <a:lnTo>
                    <a:pt x="1293" y="19"/>
                  </a:lnTo>
                  <a:lnTo>
                    <a:pt x="1293" y="19"/>
                  </a:lnTo>
                  <a:lnTo>
                    <a:pt x="1295" y="19"/>
                  </a:lnTo>
                  <a:lnTo>
                    <a:pt x="1297" y="17"/>
                  </a:lnTo>
                  <a:lnTo>
                    <a:pt x="1297" y="17"/>
                  </a:lnTo>
                  <a:lnTo>
                    <a:pt x="1300" y="17"/>
                  </a:lnTo>
                  <a:lnTo>
                    <a:pt x="1302" y="14"/>
                  </a:lnTo>
                  <a:lnTo>
                    <a:pt x="1304" y="14"/>
                  </a:lnTo>
                  <a:lnTo>
                    <a:pt x="1307" y="17"/>
                  </a:lnTo>
                  <a:lnTo>
                    <a:pt x="1307" y="17"/>
                  </a:lnTo>
                  <a:lnTo>
                    <a:pt x="1309" y="17"/>
                  </a:lnTo>
                  <a:lnTo>
                    <a:pt x="1311" y="17"/>
                  </a:lnTo>
                  <a:lnTo>
                    <a:pt x="1311" y="14"/>
                  </a:lnTo>
                  <a:lnTo>
                    <a:pt x="1314" y="14"/>
                  </a:lnTo>
                  <a:lnTo>
                    <a:pt x="1316" y="17"/>
                  </a:lnTo>
                  <a:lnTo>
                    <a:pt x="1316" y="17"/>
                  </a:lnTo>
                  <a:lnTo>
                    <a:pt x="1316" y="14"/>
                  </a:lnTo>
                  <a:lnTo>
                    <a:pt x="1319" y="14"/>
                  </a:lnTo>
                  <a:lnTo>
                    <a:pt x="1321" y="14"/>
                  </a:lnTo>
                  <a:lnTo>
                    <a:pt x="1321" y="14"/>
                  </a:lnTo>
                  <a:lnTo>
                    <a:pt x="1321" y="12"/>
                  </a:lnTo>
                  <a:lnTo>
                    <a:pt x="1321" y="10"/>
                  </a:lnTo>
                  <a:lnTo>
                    <a:pt x="1323" y="7"/>
                  </a:lnTo>
                  <a:lnTo>
                    <a:pt x="1321" y="7"/>
                  </a:lnTo>
                  <a:lnTo>
                    <a:pt x="1321" y="7"/>
                  </a:lnTo>
                  <a:lnTo>
                    <a:pt x="1326" y="5"/>
                  </a:lnTo>
                  <a:lnTo>
                    <a:pt x="1326" y="7"/>
                  </a:lnTo>
                  <a:lnTo>
                    <a:pt x="1333" y="10"/>
                  </a:lnTo>
                  <a:lnTo>
                    <a:pt x="1337" y="12"/>
                  </a:lnTo>
                  <a:lnTo>
                    <a:pt x="1340" y="12"/>
                  </a:lnTo>
                  <a:lnTo>
                    <a:pt x="1347" y="10"/>
                  </a:lnTo>
                  <a:lnTo>
                    <a:pt x="1352" y="10"/>
                  </a:lnTo>
                  <a:lnTo>
                    <a:pt x="1352" y="10"/>
                  </a:lnTo>
                  <a:lnTo>
                    <a:pt x="1354" y="10"/>
                  </a:lnTo>
                  <a:lnTo>
                    <a:pt x="1354" y="12"/>
                  </a:lnTo>
                  <a:lnTo>
                    <a:pt x="1354" y="14"/>
                  </a:lnTo>
                  <a:lnTo>
                    <a:pt x="1356" y="17"/>
                  </a:lnTo>
                  <a:lnTo>
                    <a:pt x="1356" y="19"/>
                  </a:lnTo>
                  <a:lnTo>
                    <a:pt x="1359" y="22"/>
                  </a:lnTo>
                  <a:lnTo>
                    <a:pt x="1361" y="24"/>
                  </a:lnTo>
                  <a:lnTo>
                    <a:pt x="1363" y="26"/>
                  </a:lnTo>
                  <a:lnTo>
                    <a:pt x="1368" y="31"/>
                  </a:lnTo>
                  <a:lnTo>
                    <a:pt x="1375" y="29"/>
                  </a:lnTo>
                  <a:lnTo>
                    <a:pt x="1378" y="29"/>
                  </a:lnTo>
                  <a:lnTo>
                    <a:pt x="1382" y="29"/>
                  </a:lnTo>
                  <a:lnTo>
                    <a:pt x="1392" y="31"/>
                  </a:lnTo>
                  <a:lnTo>
                    <a:pt x="1394" y="31"/>
                  </a:lnTo>
                  <a:lnTo>
                    <a:pt x="1396" y="33"/>
                  </a:lnTo>
                  <a:lnTo>
                    <a:pt x="1396" y="33"/>
                  </a:lnTo>
                  <a:lnTo>
                    <a:pt x="1404" y="36"/>
                  </a:lnTo>
                  <a:lnTo>
                    <a:pt x="1406" y="38"/>
                  </a:lnTo>
                  <a:lnTo>
                    <a:pt x="1408" y="38"/>
                  </a:lnTo>
                  <a:lnTo>
                    <a:pt x="1411" y="40"/>
                  </a:lnTo>
                  <a:lnTo>
                    <a:pt x="1411" y="45"/>
                  </a:lnTo>
                  <a:lnTo>
                    <a:pt x="1411" y="48"/>
                  </a:lnTo>
                  <a:lnTo>
                    <a:pt x="1406" y="57"/>
                  </a:lnTo>
                  <a:lnTo>
                    <a:pt x="1406" y="71"/>
                  </a:lnTo>
                  <a:lnTo>
                    <a:pt x="1406" y="71"/>
                  </a:lnTo>
                  <a:lnTo>
                    <a:pt x="1404" y="74"/>
                  </a:lnTo>
                  <a:lnTo>
                    <a:pt x="1401" y="76"/>
                  </a:lnTo>
                  <a:lnTo>
                    <a:pt x="1401" y="78"/>
                  </a:lnTo>
                  <a:lnTo>
                    <a:pt x="1396" y="81"/>
                  </a:lnTo>
                  <a:lnTo>
                    <a:pt x="1396" y="83"/>
                  </a:lnTo>
                  <a:lnTo>
                    <a:pt x="1396" y="85"/>
                  </a:lnTo>
                  <a:lnTo>
                    <a:pt x="1396" y="88"/>
                  </a:lnTo>
                  <a:lnTo>
                    <a:pt x="1399" y="88"/>
                  </a:lnTo>
                  <a:lnTo>
                    <a:pt x="1404" y="92"/>
                  </a:lnTo>
                  <a:lnTo>
                    <a:pt x="1404" y="92"/>
                  </a:lnTo>
                  <a:lnTo>
                    <a:pt x="1406" y="95"/>
                  </a:lnTo>
                  <a:lnTo>
                    <a:pt x="1406" y="97"/>
                  </a:lnTo>
                  <a:lnTo>
                    <a:pt x="1408" y="99"/>
                  </a:lnTo>
                  <a:lnTo>
                    <a:pt x="1411" y="102"/>
                  </a:lnTo>
                  <a:lnTo>
                    <a:pt x="1413" y="104"/>
                  </a:lnTo>
                  <a:lnTo>
                    <a:pt x="1415" y="107"/>
                  </a:lnTo>
                  <a:lnTo>
                    <a:pt x="1418" y="107"/>
                  </a:lnTo>
                  <a:lnTo>
                    <a:pt x="1418" y="107"/>
                  </a:lnTo>
                  <a:lnTo>
                    <a:pt x="1420" y="111"/>
                  </a:lnTo>
                  <a:lnTo>
                    <a:pt x="1420" y="111"/>
                  </a:lnTo>
                  <a:lnTo>
                    <a:pt x="1420" y="114"/>
                  </a:lnTo>
                  <a:lnTo>
                    <a:pt x="1420" y="116"/>
                  </a:lnTo>
                  <a:lnTo>
                    <a:pt x="1422" y="116"/>
                  </a:lnTo>
                  <a:lnTo>
                    <a:pt x="1425" y="130"/>
                  </a:lnTo>
                  <a:lnTo>
                    <a:pt x="1430" y="140"/>
                  </a:lnTo>
                  <a:lnTo>
                    <a:pt x="1430" y="147"/>
                  </a:lnTo>
                  <a:lnTo>
                    <a:pt x="1432" y="151"/>
                  </a:lnTo>
                  <a:lnTo>
                    <a:pt x="1432" y="151"/>
                  </a:lnTo>
                  <a:lnTo>
                    <a:pt x="1437" y="151"/>
                  </a:lnTo>
                  <a:lnTo>
                    <a:pt x="1439" y="151"/>
                  </a:lnTo>
                  <a:lnTo>
                    <a:pt x="1439" y="151"/>
                  </a:lnTo>
                  <a:lnTo>
                    <a:pt x="1439" y="154"/>
                  </a:lnTo>
                  <a:lnTo>
                    <a:pt x="1439" y="156"/>
                  </a:lnTo>
                  <a:lnTo>
                    <a:pt x="1439" y="156"/>
                  </a:lnTo>
                  <a:lnTo>
                    <a:pt x="1439" y="159"/>
                  </a:lnTo>
                  <a:lnTo>
                    <a:pt x="1439" y="161"/>
                  </a:lnTo>
                  <a:lnTo>
                    <a:pt x="1439" y="161"/>
                  </a:lnTo>
                  <a:lnTo>
                    <a:pt x="1441" y="163"/>
                  </a:lnTo>
                  <a:lnTo>
                    <a:pt x="1441" y="166"/>
                  </a:lnTo>
                  <a:lnTo>
                    <a:pt x="1441" y="168"/>
                  </a:lnTo>
                  <a:lnTo>
                    <a:pt x="1441" y="173"/>
                  </a:lnTo>
                  <a:lnTo>
                    <a:pt x="1439" y="175"/>
                  </a:lnTo>
                  <a:lnTo>
                    <a:pt x="1437" y="180"/>
                  </a:lnTo>
                  <a:lnTo>
                    <a:pt x="1439" y="185"/>
                  </a:lnTo>
                  <a:lnTo>
                    <a:pt x="1439" y="185"/>
                  </a:lnTo>
                  <a:lnTo>
                    <a:pt x="1441" y="187"/>
                  </a:lnTo>
                  <a:lnTo>
                    <a:pt x="1441" y="192"/>
                  </a:lnTo>
                  <a:lnTo>
                    <a:pt x="1439" y="192"/>
                  </a:lnTo>
                  <a:lnTo>
                    <a:pt x="1434" y="196"/>
                  </a:lnTo>
                  <a:lnTo>
                    <a:pt x="1432" y="201"/>
                  </a:lnTo>
                  <a:lnTo>
                    <a:pt x="1432" y="203"/>
                  </a:lnTo>
                  <a:lnTo>
                    <a:pt x="1430" y="206"/>
                  </a:lnTo>
                  <a:lnTo>
                    <a:pt x="1432" y="218"/>
                  </a:lnTo>
                  <a:lnTo>
                    <a:pt x="1432" y="222"/>
                  </a:lnTo>
                  <a:lnTo>
                    <a:pt x="1432" y="227"/>
                  </a:lnTo>
                  <a:lnTo>
                    <a:pt x="1432" y="229"/>
                  </a:lnTo>
                  <a:lnTo>
                    <a:pt x="1432" y="236"/>
                  </a:lnTo>
                  <a:lnTo>
                    <a:pt x="1434" y="236"/>
                  </a:lnTo>
                  <a:lnTo>
                    <a:pt x="1437" y="234"/>
                  </a:lnTo>
                  <a:lnTo>
                    <a:pt x="1439" y="239"/>
                  </a:lnTo>
                  <a:lnTo>
                    <a:pt x="1441" y="239"/>
                  </a:lnTo>
                  <a:lnTo>
                    <a:pt x="1441" y="244"/>
                  </a:lnTo>
                  <a:lnTo>
                    <a:pt x="1441" y="244"/>
                  </a:lnTo>
                  <a:lnTo>
                    <a:pt x="1441" y="246"/>
                  </a:lnTo>
                  <a:lnTo>
                    <a:pt x="1441" y="246"/>
                  </a:lnTo>
                  <a:lnTo>
                    <a:pt x="1441" y="248"/>
                  </a:lnTo>
                  <a:lnTo>
                    <a:pt x="1439" y="251"/>
                  </a:lnTo>
                  <a:lnTo>
                    <a:pt x="1441" y="253"/>
                  </a:lnTo>
                  <a:lnTo>
                    <a:pt x="1439" y="258"/>
                  </a:lnTo>
                  <a:lnTo>
                    <a:pt x="1441" y="262"/>
                  </a:lnTo>
                  <a:lnTo>
                    <a:pt x="1441" y="267"/>
                  </a:lnTo>
                  <a:lnTo>
                    <a:pt x="1444" y="267"/>
                  </a:lnTo>
                  <a:lnTo>
                    <a:pt x="1444" y="272"/>
                  </a:lnTo>
                  <a:lnTo>
                    <a:pt x="1444" y="274"/>
                  </a:lnTo>
                  <a:lnTo>
                    <a:pt x="1444" y="279"/>
                  </a:lnTo>
                  <a:lnTo>
                    <a:pt x="1444" y="281"/>
                  </a:lnTo>
                  <a:lnTo>
                    <a:pt x="1446" y="284"/>
                  </a:lnTo>
                  <a:lnTo>
                    <a:pt x="1448" y="286"/>
                  </a:lnTo>
                  <a:lnTo>
                    <a:pt x="1451" y="286"/>
                  </a:lnTo>
                  <a:lnTo>
                    <a:pt x="1453" y="288"/>
                  </a:lnTo>
                  <a:lnTo>
                    <a:pt x="1456" y="291"/>
                  </a:lnTo>
                  <a:lnTo>
                    <a:pt x="1458" y="298"/>
                  </a:lnTo>
                  <a:lnTo>
                    <a:pt x="1458" y="298"/>
                  </a:lnTo>
                  <a:lnTo>
                    <a:pt x="1458" y="300"/>
                  </a:lnTo>
                  <a:lnTo>
                    <a:pt x="1458" y="303"/>
                  </a:lnTo>
                  <a:lnTo>
                    <a:pt x="1458" y="303"/>
                  </a:lnTo>
                  <a:lnTo>
                    <a:pt x="1458" y="303"/>
                  </a:lnTo>
                  <a:lnTo>
                    <a:pt x="1458" y="303"/>
                  </a:lnTo>
                  <a:lnTo>
                    <a:pt x="1458" y="305"/>
                  </a:lnTo>
                  <a:lnTo>
                    <a:pt x="1458" y="307"/>
                  </a:lnTo>
                  <a:lnTo>
                    <a:pt x="1460" y="310"/>
                  </a:lnTo>
                  <a:lnTo>
                    <a:pt x="1463" y="312"/>
                  </a:lnTo>
                  <a:lnTo>
                    <a:pt x="1463" y="314"/>
                  </a:lnTo>
                  <a:lnTo>
                    <a:pt x="1465" y="314"/>
                  </a:lnTo>
                  <a:lnTo>
                    <a:pt x="1467" y="314"/>
                  </a:lnTo>
                  <a:lnTo>
                    <a:pt x="1467" y="317"/>
                  </a:lnTo>
                  <a:lnTo>
                    <a:pt x="1467" y="317"/>
                  </a:lnTo>
                  <a:lnTo>
                    <a:pt x="1467" y="319"/>
                  </a:lnTo>
                  <a:lnTo>
                    <a:pt x="1467" y="322"/>
                  </a:lnTo>
                  <a:lnTo>
                    <a:pt x="1467" y="322"/>
                  </a:lnTo>
                  <a:lnTo>
                    <a:pt x="1467" y="326"/>
                  </a:lnTo>
                  <a:lnTo>
                    <a:pt x="1467" y="326"/>
                  </a:lnTo>
                  <a:lnTo>
                    <a:pt x="1470" y="326"/>
                  </a:lnTo>
                  <a:lnTo>
                    <a:pt x="1467" y="329"/>
                  </a:lnTo>
                  <a:lnTo>
                    <a:pt x="1467" y="329"/>
                  </a:lnTo>
                  <a:lnTo>
                    <a:pt x="1467" y="331"/>
                  </a:lnTo>
                  <a:lnTo>
                    <a:pt x="1467" y="333"/>
                  </a:lnTo>
                  <a:lnTo>
                    <a:pt x="1467" y="333"/>
                  </a:lnTo>
                  <a:lnTo>
                    <a:pt x="1467" y="336"/>
                  </a:lnTo>
                  <a:lnTo>
                    <a:pt x="1470" y="336"/>
                  </a:lnTo>
                  <a:lnTo>
                    <a:pt x="1470" y="336"/>
                  </a:lnTo>
                  <a:lnTo>
                    <a:pt x="1470" y="336"/>
                  </a:lnTo>
                  <a:lnTo>
                    <a:pt x="1474" y="338"/>
                  </a:lnTo>
                  <a:lnTo>
                    <a:pt x="1474" y="338"/>
                  </a:lnTo>
                  <a:lnTo>
                    <a:pt x="1474" y="340"/>
                  </a:lnTo>
                  <a:lnTo>
                    <a:pt x="1472" y="343"/>
                  </a:lnTo>
                  <a:lnTo>
                    <a:pt x="1472" y="343"/>
                  </a:lnTo>
                  <a:lnTo>
                    <a:pt x="1472" y="345"/>
                  </a:lnTo>
                  <a:lnTo>
                    <a:pt x="1472" y="348"/>
                  </a:lnTo>
                  <a:lnTo>
                    <a:pt x="1472" y="348"/>
                  </a:lnTo>
                  <a:lnTo>
                    <a:pt x="1470" y="348"/>
                  </a:lnTo>
                  <a:lnTo>
                    <a:pt x="1470" y="350"/>
                  </a:lnTo>
                  <a:lnTo>
                    <a:pt x="1467" y="350"/>
                  </a:lnTo>
                  <a:lnTo>
                    <a:pt x="1467" y="352"/>
                  </a:lnTo>
                  <a:lnTo>
                    <a:pt x="1463" y="355"/>
                  </a:lnTo>
                  <a:lnTo>
                    <a:pt x="1463" y="355"/>
                  </a:lnTo>
                  <a:lnTo>
                    <a:pt x="1465" y="355"/>
                  </a:lnTo>
                  <a:lnTo>
                    <a:pt x="1463" y="357"/>
                  </a:lnTo>
                  <a:lnTo>
                    <a:pt x="1463" y="357"/>
                  </a:lnTo>
                  <a:lnTo>
                    <a:pt x="1463" y="357"/>
                  </a:lnTo>
                  <a:lnTo>
                    <a:pt x="1463" y="359"/>
                  </a:lnTo>
                  <a:lnTo>
                    <a:pt x="1460" y="359"/>
                  </a:lnTo>
                  <a:lnTo>
                    <a:pt x="1460" y="359"/>
                  </a:lnTo>
                  <a:lnTo>
                    <a:pt x="1460" y="362"/>
                  </a:lnTo>
                  <a:lnTo>
                    <a:pt x="1460" y="364"/>
                  </a:lnTo>
                  <a:lnTo>
                    <a:pt x="1460" y="364"/>
                  </a:lnTo>
                  <a:lnTo>
                    <a:pt x="1460" y="366"/>
                  </a:lnTo>
                  <a:lnTo>
                    <a:pt x="1458" y="366"/>
                  </a:lnTo>
                  <a:lnTo>
                    <a:pt x="1460" y="369"/>
                  </a:lnTo>
                  <a:lnTo>
                    <a:pt x="1460" y="369"/>
                  </a:lnTo>
                  <a:lnTo>
                    <a:pt x="1460" y="371"/>
                  </a:lnTo>
                  <a:lnTo>
                    <a:pt x="1463" y="373"/>
                  </a:lnTo>
                  <a:lnTo>
                    <a:pt x="1463" y="373"/>
                  </a:lnTo>
                  <a:lnTo>
                    <a:pt x="1460" y="373"/>
                  </a:lnTo>
                  <a:lnTo>
                    <a:pt x="1460" y="376"/>
                  </a:lnTo>
                  <a:lnTo>
                    <a:pt x="1460" y="376"/>
                  </a:lnTo>
                  <a:lnTo>
                    <a:pt x="1463" y="378"/>
                  </a:lnTo>
                  <a:lnTo>
                    <a:pt x="1463" y="378"/>
                  </a:lnTo>
                  <a:lnTo>
                    <a:pt x="1460" y="378"/>
                  </a:lnTo>
                  <a:lnTo>
                    <a:pt x="1460" y="378"/>
                  </a:lnTo>
                  <a:lnTo>
                    <a:pt x="1460" y="381"/>
                  </a:lnTo>
                  <a:lnTo>
                    <a:pt x="1458" y="381"/>
                  </a:lnTo>
                  <a:lnTo>
                    <a:pt x="1458" y="381"/>
                  </a:lnTo>
                  <a:lnTo>
                    <a:pt x="1458" y="381"/>
                  </a:lnTo>
                  <a:lnTo>
                    <a:pt x="1458" y="383"/>
                  </a:lnTo>
                  <a:lnTo>
                    <a:pt x="1456" y="383"/>
                  </a:lnTo>
                  <a:lnTo>
                    <a:pt x="1453" y="383"/>
                  </a:lnTo>
                  <a:lnTo>
                    <a:pt x="1453" y="383"/>
                  </a:lnTo>
                  <a:lnTo>
                    <a:pt x="1451" y="383"/>
                  </a:lnTo>
                  <a:lnTo>
                    <a:pt x="1451" y="383"/>
                  </a:lnTo>
                  <a:lnTo>
                    <a:pt x="1451" y="385"/>
                  </a:lnTo>
                  <a:lnTo>
                    <a:pt x="1453" y="385"/>
                  </a:lnTo>
                  <a:lnTo>
                    <a:pt x="1453" y="385"/>
                  </a:lnTo>
                  <a:lnTo>
                    <a:pt x="1453" y="388"/>
                  </a:lnTo>
                  <a:lnTo>
                    <a:pt x="1451" y="385"/>
                  </a:lnTo>
                  <a:lnTo>
                    <a:pt x="1448" y="388"/>
                  </a:lnTo>
                  <a:lnTo>
                    <a:pt x="1448" y="388"/>
                  </a:lnTo>
                  <a:lnTo>
                    <a:pt x="1448" y="388"/>
                  </a:lnTo>
                  <a:lnTo>
                    <a:pt x="1446" y="388"/>
                  </a:lnTo>
                  <a:lnTo>
                    <a:pt x="1446" y="385"/>
                  </a:lnTo>
                  <a:lnTo>
                    <a:pt x="1444" y="385"/>
                  </a:lnTo>
                  <a:lnTo>
                    <a:pt x="1444" y="385"/>
                  </a:lnTo>
                  <a:lnTo>
                    <a:pt x="1441" y="385"/>
                  </a:lnTo>
                  <a:lnTo>
                    <a:pt x="1439" y="383"/>
                  </a:lnTo>
                  <a:lnTo>
                    <a:pt x="1439" y="385"/>
                  </a:lnTo>
                  <a:lnTo>
                    <a:pt x="1437" y="383"/>
                  </a:lnTo>
                  <a:lnTo>
                    <a:pt x="1437" y="383"/>
                  </a:lnTo>
                  <a:lnTo>
                    <a:pt x="1437" y="385"/>
                  </a:lnTo>
                  <a:lnTo>
                    <a:pt x="1434" y="388"/>
                  </a:lnTo>
                  <a:lnTo>
                    <a:pt x="1434" y="390"/>
                  </a:lnTo>
                  <a:lnTo>
                    <a:pt x="1434" y="390"/>
                  </a:lnTo>
                  <a:lnTo>
                    <a:pt x="1437" y="392"/>
                  </a:lnTo>
                  <a:lnTo>
                    <a:pt x="1434" y="392"/>
                  </a:lnTo>
                  <a:lnTo>
                    <a:pt x="1434" y="395"/>
                  </a:lnTo>
                  <a:lnTo>
                    <a:pt x="1434" y="397"/>
                  </a:lnTo>
                  <a:lnTo>
                    <a:pt x="1439" y="397"/>
                  </a:lnTo>
                  <a:lnTo>
                    <a:pt x="1439" y="397"/>
                  </a:lnTo>
                  <a:lnTo>
                    <a:pt x="1441" y="399"/>
                  </a:lnTo>
                  <a:lnTo>
                    <a:pt x="1441" y="399"/>
                  </a:lnTo>
                  <a:lnTo>
                    <a:pt x="1441" y="399"/>
                  </a:lnTo>
                  <a:lnTo>
                    <a:pt x="1441" y="399"/>
                  </a:lnTo>
                  <a:lnTo>
                    <a:pt x="1444" y="399"/>
                  </a:lnTo>
                  <a:lnTo>
                    <a:pt x="1444" y="399"/>
                  </a:lnTo>
                  <a:lnTo>
                    <a:pt x="1448" y="402"/>
                  </a:lnTo>
                  <a:lnTo>
                    <a:pt x="1448" y="402"/>
                  </a:lnTo>
                  <a:lnTo>
                    <a:pt x="1451" y="404"/>
                  </a:lnTo>
                  <a:lnTo>
                    <a:pt x="1451" y="404"/>
                  </a:lnTo>
                  <a:lnTo>
                    <a:pt x="1451" y="404"/>
                  </a:lnTo>
                  <a:lnTo>
                    <a:pt x="1451" y="407"/>
                  </a:lnTo>
                  <a:lnTo>
                    <a:pt x="1451" y="407"/>
                  </a:lnTo>
                  <a:lnTo>
                    <a:pt x="1453" y="407"/>
                  </a:lnTo>
                  <a:lnTo>
                    <a:pt x="1453" y="409"/>
                  </a:lnTo>
                  <a:lnTo>
                    <a:pt x="1453" y="409"/>
                  </a:lnTo>
                  <a:lnTo>
                    <a:pt x="1456" y="411"/>
                  </a:lnTo>
                  <a:lnTo>
                    <a:pt x="1458" y="414"/>
                  </a:lnTo>
                  <a:lnTo>
                    <a:pt x="1458" y="414"/>
                  </a:lnTo>
                  <a:lnTo>
                    <a:pt x="1460" y="416"/>
                  </a:lnTo>
                  <a:lnTo>
                    <a:pt x="1460" y="418"/>
                  </a:lnTo>
                  <a:lnTo>
                    <a:pt x="1460" y="418"/>
                  </a:lnTo>
                  <a:lnTo>
                    <a:pt x="1463" y="418"/>
                  </a:lnTo>
                  <a:lnTo>
                    <a:pt x="1465" y="418"/>
                  </a:lnTo>
                  <a:lnTo>
                    <a:pt x="1467" y="421"/>
                  </a:lnTo>
                  <a:lnTo>
                    <a:pt x="1470" y="421"/>
                  </a:lnTo>
                  <a:lnTo>
                    <a:pt x="1472" y="423"/>
                  </a:lnTo>
                  <a:lnTo>
                    <a:pt x="1472" y="423"/>
                  </a:lnTo>
                  <a:lnTo>
                    <a:pt x="1472" y="425"/>
                  </a:lnTo>
                  <a:lnTo>
                    <a:pt x="1477" y="425"/>
                  </a:lnTo>
                  <a:lnTo>
                    <a:pt x="1477" y="428"/>
                  </a:lnTo>
                  <a:lnTo>
                    <a:pt x="1479" y="428"/>
                  </a:lnTo>
                  <a:lnTo>
                    <a:pt x="1479" y="428"/>
                  </a:lnTo>
                  <a:lnTo>
                    <a:pt x="1482" y="430"/>
                  </a:lnTo>
                  <a:lnTo>
                    <a:pt x="1482" y="430"/>
                  </a:lnTo>
                  <a:lnTo>
                    <a:pt x="1484" y="433"/>
                  </a:lnTo>
                  <a:lnTo>
                    <a:pt x="1484" y="435"/>
                  </a:lnTo>
                  <a:lnTo>
                    <a:pt x="1484" y="435"/>
                  </a:lnTo>
                  <a:lnTo>
                    <a:pt x="1486" y="437"/>
                  </a:lnTo>
                  <a:lnTo>
                    <a:pt x="1486" y="437"/>
                  </a:lnTo>
                  <a:lnTo>
                    <a:pt x="1489" y="437"/>
                  </a:lnTo>
                  <a:lnTo>
                    <a:pt x="1489" y="437"/>
                  </a:lnTo>
                  <a:lnTo>
                    <a:pt x="1491" y="437"/>
                  </a:lnTo>
                  <a:lnTo>
                    <a:pt x="1493" y="440"/>
                  </a:lnTo>
                  <a:lnTo>
                    <a:pt x="1496" y="442"/>
                  </a:lnTo>
                  <a:lnTo>
                    <a:pt x="1498" y="444"/>
                  </a:lnTo>
                  <a:lnTo>
                    <a:pt x="1500" y="451"/>
                  </a:lnTo>
                  <a:lnTo>
                    <a:pt x="1500" y="454"/>
                  </a:lnTo>
                  <a:lnTo>
                    <a:pt x="1503" y="456"/>
                  </a:lnTo>
                  <a:lnTo>
                    <a:pt x="1505" y="459"/>
                  </a:lnTo>
                  <a:lnTo>
                    <a:pt x="1505" y="463"/>
                  </a:lnTo>
                  <a:lnTo>
                    <a:pt x="1507" y="468"/>
                  </a:lnTo>
                  <a:lnTo>
                    <a:pt x="1510" y="470"/>
                  </a:lnTo>
                  <a:lnTo>
                    <a:pt x="1512" y="475"/>
                  </a:lnTo>
                  <a:lnTo>
                    <a:pt x="1512" y="477"/>
                  </a:lnTo>
                  <a:lnTo>
                    <a:pt x="1515" y="477"/>
                  </a:lnTo>
                  <a:lnTo>
                    <a:pt x="1519" y="477"/>
                  </a:lnTo>
                  <a:lnTo>
                    <a:pt x="1522" y="477"/>
                  </a:lnTo>
                  <a:lnTo>
                    <a:pt x="1522" y="477"/>
                  </a:lnTo>
                  <a:lnTo>
                    <a:pt x="1524" y="475"/>
                  </a:lnTo>
                  <a:lnTo>
                    <a:pt x="1526" y="475"/>
                  </a:lnTo>
                  <a:lnTo>
                    <a:pt x="1529" y="475"/>
                  </a:lnTo>
                  <a:lnTo>
                    <a:pt x="1531" y="475"/>
                  </a:lnTo>
                  <a:lnTo>
                    <a:pt x="1533" y="477"/>
                  </a:lnTo>
                  <a:lnTo>
                    <a:pt x="1543" y="480"/>
                  </a:lnTo>
                  <a:lnTo>
                    <a:pt x="1545" y="482"/>
                  </a:lnTo>
                  <a:lnTo>
                    <a:pt x="1550" y="485"/>
                  </a:lnTo>
                  <a:lnTo>
                    <a:pt x="1552" y="487"/>
                  </a:lnTo>
                  <a:lnTo>
                    <a:pt x="1555" y="489"/>
                  </a:lnTo>
                  <a:lnTo>
                    <a:pt x="1557" y="494"/>
                  </a:lnTo>
                  <a:lnTo>
                    <a:pt x="1564" y="501"/>
                  </a:lnTo>
                  <a:lnTo>
                    <a:pt x="1564" y="501"/>
                  </a:lnTo>
                  <a:lnTo>
                    <a:pt x="1564" y="501"/>
                  </a:lnTo>
                  <a:lnTo>
                    <a:pt x="1564" y="496"/>
                  </a:lnTo>
                  <a:lnTo>
                    <a:pt x="1567" y="496"/>
                  </a:lnTo>
                  <a:lnTo>
                    <a:pt x="1567" y="494"/>
                  </a:lnTo>
                  <a:lnTo>
                    <a:pt x="1564" y="494"/>
                  </a:lnTo>
                  <a:lnTo>
                    <a:pt x="1564" y="492"/>
                  </a:lnTo>
                  <a:lnTo>
                    <a:pt x="1559" y="489"/>
                  </a:lnTo>
                  <a:lnTo>
                    <a:pt x="1557" y="485"/>
                  </a:lnTo>
                  <a:lnTo>
                    <a:pt x="1557" y="482"/>
                  </a:lnTo>
                  <a:lnTo>
                    <a:pt x="1557" y="482"/>
                  </a:lnTo>
                  <a:lnTo>
                    <a:pt x="1555" y="480"/>
                  </a:lnTo>
                  <a:lnTo>
                    <a:pt x="1552" y="480"/>
                  </a:lnTo>
                  <a:lnTo>
                    <a:pt x="1552" y="477"/>
                  </a:lnTo>
                  <a:lnTo>
                    <a:pt x="1548" y="477"/>
                  </a:lnTo>
                  <a:lnTo>
                    <a:pt x="1548" y="477"/>
                  </a:lnTo>
                  <a:lnTo>
                    <a:pt x="1548" y="477"/>
                  </a:lnTo>
                  <a:lnTo>
                    <a:pt x="1550" y="473"/>
                  </a:lnTo>
                  <a:lnTo>
                    <a:pt x="1550" y="473"/>
                  </a:lnTo>
                  <a:lnTo>
                    <a:pt x="1552" y="470"/>
                  </a:lnTo>
                  <a:lnTo>
                    <a:pt x="1552" y="468"/>
                  </a:lnTo>
                  <a:lnTo>
                    <a:pt x="1548" y="466"/>
                  </a:lnTo>
                  <a:lnTo>
                    <a:pt x="1545" y="466"/>
                  </a:lnTo>
                  <a:lnTo>
                    <a:pt x="1545" y="463"/>
                  </a:lnTo>
                  <a:lnTo>
                    <a:pt x="1548" y="461"/>
                  </a:lnTo>
                  <a:lnTo>
                    <a:pt x="1550" y="456"/>
                  </a:lnTo>
                  <a:lnTo>
                    <a:pt x="1550" y="454"/>
                  </a:lnTo>
                  <a:lnTo>
                    <a:pt x="1550" y="451"/>
                  </a:lnTo>
                  <a:lnTo>
                    <a:pt x="1552" y="449"/>
                  </a:lnTo>
                  <a:lnTo>
                    <a:pt x="1552" y="449"/>
                  </a:lnTo>
                  <a:lnTo>
                    <a:pt x="1552" y="447"/>
                  </a:lnTo>
                  <a:lnTo>
                    <a:pt x="1552" y="444"/>
                  </a:lnTo>
                  <a:lnTo>
                    <a:pt x="1552" y="442"/>
                  </a:lnTo>
                  <a:lnTo>
                    <a:pt x="1555" y="442"/>
                  </a:lnTo>
                  <a:lnTo>
                    <a:pt x="1552" y="440"/>
                  </a:lnTo>
                  <a:lnTo>
                    <a:pt x="1552" y="440"/>
                  </a:lnTo>
                  <a:lnTo>
                    <a:pt x="1552" y="440"/>
                  </a:lnTo>
                  <a:lnTo>
                    <a:pt x="1555" y="437"/>
                  </a:lnTo>
                  <a:lnTo>
                    <a:pt x="1552" y="437"/>
                  </a:lnTo>
                  <a:lnTo>
                    <a:pt x="1552" y="435"/>
                  </a:lnTo>
                  <a:lnTo>
                    <a:pt x="1552" y="435"/>
                  </a:lnTo>
                  <a:lnTo>
                    <a:pt x="1555" y="435"/>
                  </a:lnTo>
                  <a:lnTo>
                    <a:pt x="1557" y="433"/>
                  </a:lnTo>
                  <a:lnTo>
                    <a:pt x="1557" y="430"/>
                  </a:lnTo>
                  <a:lnTo>
                    <a:pt x="1555" y="428"/>
                  </a:lnTo>
                  <a:lnTo>
                    <a:pt x="1555" y="425"/>
                  </a:lnTo>
                  <a:lnTo>
                    <a:pt x="1555" y="425"/>
                  </a:lnTo>
                  <a:lnTo>
                    <a:pt x="1555" y="423"/>
                  </a:lnTo>
                  <a:lnTo>
                    <a:pt x="1552" y="423"/>
                  </a:lnTo>
                  <a:lnTo>
                    <a:pt x="1552" y="423"/>
                  </a:lnTo>
                  <a:lnTo>
                    <a:pt x="1552" y="418"/>
                  </a:lnTo>
                  <a:lnTo>
                    <a:pt x="1552" y="416"/>
                  </a:lnTo>
                  <a:lnTo>
                    <a:pt x="1552" y="416"/>
                  </a:lnTo>
                  <a:lnTo>
                    <a:pt x="1552" y="414"/>
                  </a:lnTo>
                  <a:lnTo>
                    <a:pt x="1555" y="411"/>
                  </a:lnTo>
                  <a:lnTo>
                    <a:pt x="1555" y="407"/>
                  </a:lnTo>
                  <a:lnTo>
                    <a:pt x="1557" y="404"/>
                  </a:lnTo>
                  <a:lnTo>
                    <a:pt x="1557" y="404"/>
                  </a:lnTo>
                  <a:lnTo>
                    <a:pt x="1555" y="404"/>
                  </a:lnTo>
                  <a:lnTo>
                    <a:pt x="1555" y="399"/>
                  </a:lnTo>
                  <a:lnTo>
                    <a:pt x="1555" y="397"/>
                  </a:lnTo>
                  <a:lnTo>
                    <a:pt x="1557" y="392"/>
                  </a:lnTo>
                  <a:lnTo>
                    <a:pt x="1559" y="392"/>
                  </a:lnTo>
                  <a:lnTo>
                    <a:pt x="1564" y="388"/>
                  </a:lnTo>
                  <a:lnTo>
                    <a:pt x="1564" y="385"/>
                  </a:lnTo>
                  <a:lnTo>
                    <a:pt x="1564" y="383"/>
                  </a:lnTo>
                  <a:lnTo>
                    <a:pt x="1567" y="381"/>
                  </a:lnTo>
                  <a:lnTo>
                    <a:pt x="1569" y="381"/>
                  </a:lnTo>
                  <a:lnTo>
                    <a:pt x="1571" y="381"/>
                  </a:lnTo>
                  <a:lnTo>
                    <a:pt x="1571" y="378"/>
                  </a:lnTo>
                  <a:lnTo>
                    <a:pt x="1571" y="378"/>
                  </a:lnTo>
                  <a:lnTo>
                    <a:pt x="1571" y="376"/>
                  </a:lnTo>
                  <a:lnTo>
                    <a:pt x="1574" y="376"/>
                  </a:lnTo>
                  <a:lnTo>
                    <a:pt x="1576" y="376"/>
                  </a:lnTo>
                  <a:lnTo>
                    <a:pt x="1578" y="373"/>
                  </a:lnTo>
                  <a:lnTo>
                    <a:pt x="1581" y="373"/>
                  </a:lnTo>
                  <a:lnTo>
                    <a:pt x="1581" y="371"/>
                  </a:lnTo>
                  <a:lnTo>
                    <a:pt x="1585" y="373"/>
                  </a:lnTo>
                  <a:lnTo>
                    <a:pt x="1588" y="369"/>
                  </a:lnTo>
                  <a:lnTo>
                    <a:pt x="1590" y="369"/>
                  </a:lnTo>
                  <a:lnTo>
                    <a:pt x="1590" y="369"/>
                  </a:lnTo>
                  <a:lnTo>
                    <a:pt x="1597" y="369"/>
                  </a:lnTo>
                  <a:lnTo>
                    <a:pt x="1597" y="366"/>
                  </a:lnTo>
                  <a:lnTo>
                    <a:pt x="1597" y="364"/>
                  </a:lnTo>
                  <a:lnTo>
                    <a:pt x="1597" y="364"/>
                  </a:lnTo>
                  <a:lnTo>
                    <a:pt x="1597" y="362"/>
                  </a:lnTo>
                  <a:lnTo>
                    <a:pt x="1597" y="359"/>
                  </a:lnTo>
                  <a:lnTo>
                    <a:pt x="1597" y="359"/>
                  </a:lnTo>
                  <a:lnTo>
                    <a:pt x="1600" y="359"/>
                  </a:lnTo>
                  <a:lnTo>
                    <a:pt x="1600" y="359"/>
                  </a:lnTo>
                  <a:lnTo>
                    <a:pt x="1604" y="359"/>
                  </a:lnTo>
                  <a:lnTo>
                    <a:pt x="1607" y="362"/>
                  </a:lnTo>
                  <a:lnTo>
                    <a:pt x="1607" y="359"/>
                  </a:lnTo>
                  <a:lnTo>
                    <a:pt x="1607" y="359"/>
                  </a:lnTo>
                  <a:lnTo>
                    <a:pt x="1609" y="359"/>
                  </a:lnTo>
                  <a:lnTo>
                    <a:pt x="1609" y="359"/>
                  </a:lnTo>
                  <a:lnTo>
                    <a:pt x="1611" y="359"/>
                  </a:lnTo>
                  <a:lnTo>
                    <a:pt x="1614" y="359"/>
                  </a:lnTo>
                  <a:lnTo>
                    <a:pt x="1614" y="359"/>
                  </a:lnTo>
                  <a:lnTo>
                    <a:pt x="1619" y="362"/>
                  </a:lnTo>
                  <a:lnTo>
                    <a:pt x="1619" y="364"/>
                  </a:lnTo>
                  <a:lnTo>
                    <a:pt x="1619" y="366"/>
                  </a:lnTo>
                  <a:lnTo>
                    <a:pt x="1621" y="366"/>
                  </a:lnTo>
                  <a:lnTo>
                    <a:pt x="1623" y="366"/>
                  </a:lnTo>
                  <a:lnTo>
                    <a:pt x="1626" y="366"/>
                  </a:lnTo>
                  <a:lnTo>
                    <a:pt x="1628" y="366"/>
                  </a:lnTo>
                  <a:lnTo>
                    <a:pt x="1630" y="366"/>
                  </a:lnTo>
                  <a:lnTo>
                    <a:pt x="1633" y="366"/>
                  </a:lnTo>
                  <a:lnTo>
                    <a:pt x="1633" y="366"/>
                  </a:lnTo>
                  <a:lnTo>
                    <a:pt x="1633" y="366"/>
                  </a:lnTo>
                  <a:lnTo>
                    <a:pt x="1635" y="366"/>
                  </a:lnTo>
                  <a:lnTo>
                    <a:pt x="1635" y="366"/>
                  </a:lnTo>
                  <a:lnTo>
                    <a:pt x="1637" y="369"/>
                  </a:lnTo>
                  <a:lnTo>
                    <a:pt x="1635" y="371"/>
                  </a:lnTo>
                  <a:lnTo>
                    <a:pt x="1635" y="373"/>
                  </a:lnTo>
                  <a:lnTo>
                    <a:pt x="1637" y="373"/>
                  </a:lnTo>
                  <a:lnTo>
                    <a:pt x="1637" y="376"/>
                  </a:lnTo>
                  <a:lnTo>
                    <a:pt x="1640" y="378"/>
                  </a:lnTo>
                  <a:lnTo>
                    <a:pt x="1642" y="378"/>
                  </a:lnTo>
                  <a:lnTo>
                    <a:pt x="1645" y="378"/>
                  </a:lnTo>
                  <a:lnTo>
                    <a:pt x="1645" y="378"/>
                  </a:lnTo>
                  <a:lnTo>
                    <a:pt x="1645" y="381"/>
                  </a:lnTo>
                  <a:lnTo>
                    <a:pt x="1645" y="383"/>
                  </a:lnTo>
                  <a:lnTo>
                    <a:pt x="1645" y="385"/>
                  </a:lnTo>
                  <a:lnTo>
                    <a:pt x="1649" y="385"/>
                  </a:lnTo>
                  <a:lnTo>
                    <a:pt x="1652" y="385"/>
                  </a:lnTo>
                  <a:lnTo>
                    <a:pt x="1652" y="390"/>
                  </a:lnTo>
                  <a:lnTo>
                    <a:pt x="1652" y="390"/>
                  </a:lnTo>
                  <a:lnTo>
                    <a:pt x="1652" y="392"/>
                  </a:lnTo>
                  <a:lnTo>
                    <a:pt x="1652" y="392"/>
                  </a:lnTo>
                  <a:lnTo>
                    <a:pt x="1654" y="392"/>
                  </a:lnTo>
                  <a:lnTo>
                    <a:pt x="1654" y="392"/>
                  </a:lnTo>
                  <a:lnTo>
                    <a:pt x="1654" y="392"/>
                  </a:lnTo>
                  <a:lnTo>
                    <a:pt x="1656" y="395"/>
                  </a:lnTo>
                  <a:lnTo>
                    <a:pt x="1654" y="395"/>
                  </a:lnTo>
                  <a:lnTo>
                    <a:pt x="1654" y="397"/>
                  </a:lnTo>
                  <a:lnTo>
                    <a:pt x="1654" y="397"/>
                  </a:lnTo>
                  <a:lnTo>
                    <a:pt x="1656" y="397"/>
                  </a:lnTo>
                  <a:lnTo>
                    <a:pt x="1656" y="399"/>
                  </a:lnTo>
                  <a:lnTo>
                    <a:pt x="1656" y="402"/>
                  </a:lnTo>
                  <a:lnTo>
                    <a:pt x="1656" y="402"/>
                  </a:lnTo>
                  <a:lnTo>
                    <a:pt x="1656" y="404"/>
                  </a:lnTo>
                  <a:lnTo>
                    <a:pt x="1656" y="404"/>
                  </a:lnTo>
                  <a:lnTo>
                    <a:pt x="1656" y="407"/>
                  </a:lnTo>
                  <a:lnTo>
                    <a:pt x="1659" y="407"/>
                  </a:lnTo>
                  <a:lnTo>
                    <a:pt x="1661" y="407"/>
                  </a:lnTo>
                  <a:lnTo>
                    <a:pt x="1663" y="407"/>
                  </a:lnTo>
                  <a:lnTo>
                    <a:pt x="1668" y="409"/>
                  </a:lnTo>
                  <a:lnTo>
                    <a:pt x="1668" y="409"/>
                  </a:lnTo>
                  <a:lnTo>
                    <a:pt x="1668" y="411"/>
                  </a:lnTo>
                  <a:lnTo>
                    <a:pt x="1668" y="411"/>
                  </a:lnTo>
                  <a:lnTo>
                    <a:pt x="1670" y="409"/>
                  </a:lnTo>
                  <a:lnTo>
                    <a:pt x="1673" y="409"/>
                  </a:lnTo>
                  <a:lnTo>
                    <a:pt x="1673" y="407"/>
                  </a:lnTo>
                  <a:lnTo>
                    <a:pt x="1673" y="407"/>
                  </a:lnTo>
                  <a:lnTo>
                    <a:pt x="1673" y="407"/>
                  </a:lnTo>
                  <a:lnTo>
                    <a:pt x="1675" y="407"/>
                  </a:lnTo>
                  <a:lnTo>
                    <a:pt x="1678" y="407"/>
                  </a:lnTo>
                  <a:lnTo>
                    <a:pt x="1678" y="404"/>
                  </a:lnTo>
                  <a:lnTo>
                    <a:pt x="1682" y="407"/>
                  </a:lnTo>
                  <a:lnTo>
                    <a:pt x="1682" y="407"/>
                  </a:lnTo>
                  <a:lnTo>
                    <a:pt x="1682" y="407"/>
                  </a:lnTo>
                  <a:lnTo>
                    <a:pt x="1685" y="409"/>
                  </a:lnTo>
                  <a:lnTo>
                    <a:pt x="1685" y="409"/>
                  </a:lnTo>
                  <a:lnTo>
                    <a:pt x="1689" y="404"/>
                  </a:lnTo>
                  <a:lnTo>
                    <a:pt x="1689" y="404"/>
                  </a:lnTo>
                  <a:lnTo>
                    <a:pt x="1687" y="404"/>
                  </a:lnTo>
                  <a:lnTo>
                    <a:pt x="1689" y="402"/>
                  </a:lnTo>
                  <a:lnTo>
                    <a:pt x="1689" y="402"/>
                  </a:lnTo>
                  <a:lnTo>
                    <a:pt x="1689" y="399"/>
                  </a:lnTo>
                  <a:lnTo>
                    <a:pt x="1689" y="399"/>
                  </a:lnTo>
                  <a:lnTo>
                    <a:pt x="1689" y="397"/>
                  </a:lnTo>
                  <a:lnTo>
                    <a:pt x="1689" y="397"/>
                  </a:lnTo>
                  <a:lnTo>
                    <a:pt x="1689" y="397"/>
                  </a:lnTo>
                  <a:lnTo>
                    <a:pt x="1692" y="395"/>
                  </a:lnTo>
                  <a:lnTo>
                    <a:pt x="1692" y="395"/>
                  </a:lnTo>
                  <a:lnTo>
                    <a:pt x="1694" y="395"/>
                  </a:lnTo>
                  <a:lnTo>
                    <a:pt x="1696" y="395"/>
                  </a:lnTo>
                  <a:lnTo>
                    <a:pt x="1699" y="395"/>
                  </a:lnTo>
                  <a:lnTo>
                    <a:pt x="1699" y="395"/>
                  </a:lnTo>
                  <a:lnTo>
                    <a:pt x="1699" y="395"/>
                  </a:lnTo>
                  <a:lnTo>
                    <a:pt x="1701" y="392"/>
                  </a:lnTo>
                  <a:lnTo>
                    <a:pt x="1704" y="392"/>
                  </a:lnTo>
                  <a:lnTo>
                    <a:pt x="1706" y="392"/>
                  </a:lnTo>
                  <a:lnTo>
                    <a:pt x="1708" y="392"/>
                  </a:lnTo>
                  <a:lnTo>
                    <a:pt x="1708" y="392"/>
                  </a:lnTo>
                  <a:lnTo>
                    <a:pt x="1708" y="390"/>
                  </a:lnTo>
                  <a:lnTo>
                    <a:pt x="1713" y="388"/>
                  </a:lnTo>
                  <a:lnTo>
                    <a:pt x="1713" y="388"/>
                  </a:lnTo>
                  <a:lnTo>
                    <a:pt x="1715" y="388"/>
                  </a:lnTo>
                  <a:lnTo>
                    <a:pt x="1715" y="385"/>
                  </a:lnTo>
                  <a:lnTo>
                    <a:pt x="1713" y="385"/>
                  </a:lnTo>
                  <a:lnTo>
                    <a:pt x="1715" y="383"/>
                  </a:lnTo>
                  <a:lnTo>
                    <a:pt x="1713" y="381"/>
                  </a:lnTo>
                  <a:lnTo>
                    <a:pt x="1713" y="378"/>
                  </a:lnTo>
                  <a:lnTo>
                    <a:pt x="1711" y="378"/>
                  </a:lnTo>
                  <a:lnTo>
                    <a:pt x="1711" y="378"/>
                  </a:lnTo>
                  <a:lnTo>
                    <a:pt x="1708" y="376"/>
                  </a:lnTo>
                  <a:lnTo>
                    <a:pt x="1708" y="376"/>
                  </a:lnTo>
                  <a:lnTo>
                    <a:pt x="1708" y="373"/>
                  </a:lnTo>
                  <a:lnTo>
                    <a:pt x="1706" y="373"/>
                  </a:lnTo>
                  <a:lnTo>
                    <a:pt x="1706" y="371"/>
                  </a:lnTo>
                  <a:lnTo>
                    <a:pt x="1704" y="371"/>
                  </a:lnTo>
                  <a:lnTo>
                    <a:pt x="1704" y="369"/>
                  </a:lnTo>
                  <a:lnTo>
                    <a:pt x="1704" y="369"/>
                  </a:lnTo>
                  <a:lnTo>
                    <a:pt x="1704" y="366"/>
                  </a:lnTo>
                  <a:lnTo>
                    <a:pt x="1701" y="366"/>
                  </a:lnTo>
                  <a:lnTo>
                    <a:pt x="1701" y="366"/>
                  </a:lnTo>
                  <a:lnTo>
                    <a:pt x="1701" y="359"/>
                  </a:lnTo>
                  <a:lnTo>
                    <a:pt x="1704" y="359"/>
                  </a:lnTo>
                  <a:lnTo>
                    <a:pt x="1704" y="359"/>
                  </a:lnTo>
                  <a:lnTo>
                    <a:pt x="1704" y="357"/>
                  </a:lnTo>
                  <a:lnTo>
                    <a:pt x="1704" y="355"/>
                  </a:lnTo>
                  <a:lnTo>
                    <a:pt x="1708" y="352"/>
                  </a:lnTo>
                  <a:lnTo>
                    <a:pt x="1708" y="350"/>
                  </a:lnTo>
                  <a:lnTo>
                    <a:pt x="1708" y="350"/>
                  </a:lnTo>
                  <a:lnTo>
                    <a:pt x="1708" y="348"/>
                  </a:lnTo>
                  <a:lnTo>
                    <a:pt x="1708" y="348"/>
                  </a:lnTo>
                  <a:lnTo>
                    <a:pt x="1708" y="348"/>
                  </a:lnTo>
                  <a:lnTo>
                    <a:pt x="1711" y="345"/>
                  </a:lnTo>
                  <a:lnTo>
                    <a:pt x="1711" y="343"/>
                  </a:lnTo>
                  <a:lnTo>
                    <a:pt x="1711" y="343"/>
                  </a:lnTo>
                  <a:lnTo>
                    <a:pt x="1713" y="340"/>
                  </a:lnTo>
                  <a:lnTo>
                    <a:pt x="1711" y="338"/>
                  </a:lnTo>
                  <a:lnTo>
                    <a:pt x="1711" y="338"/>
                  </a:lnTo>
                  <a:lnTo>
                    <a:pt x="1715" y="338"/>
                  </a:lnTo>
                  <a:lnTo>
                    <a:pt x="1715" y="333"/>
                  </a:lnTo>
                  <a:lnTo>
                    <a:pt x="1715" y="333"/>
                  </a:lnTo>
                  <a:lnTo>
                    <a:pt x="1715" y="331"/>
                  </a:lnTo>
                  <a:lnTo>
                    <a:pt x="1713" y="329"/>
                  </a:lnTo>
                  <a:lnTo>
                    <a:pt x="1715" y="329"/>
                  </a:lnTo>
                  <a:lnTo>
                    <a:pt x="1715" y="324"/>
                  </a:lnTo>
                  <a:lnTo>
                    <a:pt x="1715" y="322"/>
                  </a:lnTo>
                  <a:lnTo>
                    <a:pt x="1715" y="322"/>
                  </a:lnTo>
                  <a:lnTo>
                    <a:pt x="1715" y="322"/>
                  </a:lnTo>
                  <a:lnTo>
                    <a:pt x="1718" y="322"/>
                  </a:lnTo>
                  <a:lnTo>
                    <a:pt x="1718" y="319"/>
                  </a:lnTo>
                  <a:lnTo>
                    <a:pt x="1718" y="317"/>
                  </a:lnTo>
                  <a:lnTo>
                    <a:pt x="1720" y="317"/>
                  </a:lnTo>
                  <a:lnTo>
                    <a:pt x="1720" y="317"/>
                  </a:lnTo>
                  <a:lnTo>
                    <a:pt x="1720" y="314"/>
                  </a:lnTo>
                  <a:lnTo>
                    <a:pt x="1722" y="312"/>
                  </a:lnTo>
                  <a:lnTo>
                    <a:pt x="1725" y="312"/>
                  </a:lnTo>
                  <a:lnTo>
                    <a:pt x="1725" y="312"/>
                  </a:lnTo>
                  <a:lnTo>
                    <a:pt x="1725" y="310"/>
                  </a:lnTo>
                  <a:lnTo>
                    <a:pt x="1725" y="310"/>
                  </a:lnTo>
                  <a:lnTo>
                    <a:pt x="1722" y="310"/>
                  </a:lnTo>
                  <a:lnTo>
                    <a:pt x="1725" y="307"/>
                  </a:lnTo>
                  <a:lnTo>
                    <a:pt x="1725" y="305"/>
                  </a:lnTo>
                  <a:lnTo>
                    <a:pt x="1727" y="303"/>
                  </a:lnTo>
                  <a:lnTo>
                    <a:pt x="1727" y="298"/>
                  </a:lnTo>
                  <a:lnTo>
                    <a:pt x="1730" y="296"/>
                  </a:lnTo>
                  <a:lnTo>
                    <a:pt x="1730" y="293"/>
                  </a:lnTo>
                  <a:lnTo>
                    <a:pt x="1730" y="293"/>
                  </a:lnTo>
                  <a:lnTo>
                    <a:pt x="1732" y="291"/>
                  </a:lnTo>
                  <a:lnTo>
                    <a:pt x="1734" y="291"/>
                  </a:lnTo>
                  <a:lnTo>
                    <a:pt x="1734" y="288"/>
                  </a:lnTo>
                  <a:lnTo>
                    <a:pt x="1734" y="288"/>
                  </a:lnTo>
                  <a:lnTo>
                    <a:pt x="1734" y="286"/>
                  </a:lnTo>
                  <a:lnTo>
                    <a:pt x="1734" y="286"/>
                  </a:lnTo>
                  <a:lnTo>
                    <a:pt x="1737" y="284"/>
                  </a:lnTo>
                  <a:lnTo>
                    <a:pt x="1737" y="284"/>
                  </a:lnTo>
                  <a:lnTo>
                    <a:pt x="1734" y="281"/>
                  </a:lnTo>
                  <a:lnTo>
                    <a:pt x="1734" y="281"/>
                  </a:lnTo>
                  <a:lnTo>
                    <a:pt x="1737" y="277"/>
                  </a:lnTo>
                  <a:lnTo>
                    <a:pt x="1737" y="277"/>
                  </a:lnTo>
                  <a:lnTo>
                    <a:pt x="1741" y="274"/>
                  </a:lnTo>
                  <a:lnTo>
                    <a:pt x="1744" y="274"/>
                  </a:lnTo>
                  <a:lnTo>
                    <a:pt x="1746" y="272"/>
                  </a:lnTo>
                  <a:lnTo>
                    <a:pt x="1746" y="265"/>
                  </a:lnTo>
                  <a:lnTo>
                    <a:pt x="1748" y="260"/>
                  </a:lnTo>
                  <a:lnTo>
                    <a:pt x="1824" y="260"/>
                  </a:lnTo>
                  <a:lnTo>
                    <a:pt x="1855" y="260"/>
                  </a:lnTo>
                  <a:lnTo>
                    <a:pt x="1893" y="260"/>
                  </a:lnTo>
                  <a:lnTo>
                    <a:pt x="1893" y="296"/>
                  </a:lnTo>
                  <a:lnTo>
                    <a:pt x="1893" y="296"/>
                  </a:lnTo>
                  <a:lnTo>
                    <a:pt x="1893" y="298"/>
                  </a:lnTo>
                  <a:lnTo>
                    <a:pt x="1893" y="303"/>
                  </a:lnTo>
                  <a:lnTo>
                    <a:pt x="1895" y="303"/>
                  </a:lnTo>
                  <a:lnTo>
                    <a:pt x="1895" y="303"/>
                  </a:lnTo>
                  <a:lnTo>
                    <a:pt x="1897" y="305"/>
                  </a:lnTo>
                  <a:lnTo>
                    <a:pt x="1895" y="312"/>
                  </a:lnTo>
                  <a:lnTo>
                    <a:pt x="1897" y="312"/>
                  </a:lnTo>
                  <a:lnTo>
                    <a:pt x="1897" y="314"/>
                  </a:lnTo>
                  <a:lnTo>
                    <a:pt x="1895" y="319"/>
                  </a:lnTo>
                  <a:lnTo>
                    <a:pt x="1895" y="324"/>
                  </a:lnTo>
                  <a:lnTo>
                    <a:pt x="1895" y="329"/>
                  </a:lnTo>
                  <a:lnTo>
                    <a:pt x="1895" y="329"/>
                  </a:lnTo>
                  <a:lnTo>
                    <a:pt x="1895" y="331"/>
                  </a:lnTo>
                  <a:lnTo>
                    <a:pt x="1895" y="331"/>
                  </a:lnTo>
                  <a:lnTo>
                    <a:pt x="1895" y="333"/>
                  </a:lnTo>
                  <a:lnTo>
                    <a:pt x="1895" y="338"/>
                  </a:lnTo>
                  <a:lnTo>
                    <a:pt x="1900" y="340"/>
                  </a:lnTo>
                  <a:lnTo>
                    <a:pt x="1902" y="343"/>
                  </a:lnTo>
                  <a:lnTo>
                    <a:pt x="1902" y="345"/>
                  </a:lnTo>
                  <a:lnTo>
                    <a:pt x="1904" y="345"/>
                  </a:lnTo>
                  <a:lnTo>
                    <a:pt x="1904" y="345"/>
                  </a:lnTo>
                  <a:lnTo>
                    <a:pt x="1904" y="345"/>
                  </a:lnTo>
                  <a:lnTo>
                    <a:pt x="1907" y="345"/>
                  </a:lnTo>
                  <a:lnTo>
                    <a:pt x="1909" y="348"/>
                  </a:lnTo>
                  <a:lnTo>
                    <a:pt x="1911" y="348"/>
                  </a:lnTo>
                  <a:lnTo>
                    <a:pt x="1911" y="350"/>
                  </a:lnTo>
                  <a:lnTo>
                    <a:pt x="1914" y="350"/>
                  </a:lnTo>
                  <a:lnTo>
                    <a:pt x="1914" y="352"/>
                  </a:lnTo>
                  <a:lnTo>
                    <a:pt x="1914" y="357"/>
                  </a:lnTo>
                  <a:lnTo>
                    <a:pt x="1914" y="359"/>
                  </a:lnTo>
                  <a:lnTo>
                    <a:pt x="1914" y="359"/>
                  </a:lnTo>
                  <a:lnTo>
                    <a:pt x="1916" y="362"/>
                  </a:lnTo>
                  <a:lnTo>
                    <a:pt x="1916" y="364"/>
                  </a:lnTo>
                  <a:lnTo>
                    <a:pt x="1916" y="366"/>
                  </a:lnTo>
                  <a:lnTo>
                    <a:pt x="1914" y="366"/>
                  </a:lnTo>
                  <a:lnTo>
                    <a:pt x="1914" y="366"/>
                  </a:lnTo>
                  <a:lnTo>
                    <a:pt x="1914" y="369"/>
                  </a:lnTo>
                  <a:lnTo>
                    <a:pt x="1914" y="371"/>
                  </a:lnTo>
                  <a:lnTo>
                    <a:pt x="1914" y="373"/>
                  </a:lnTo>
                  <a:lnTo>
                    <a:pt x="1914" y="373"/>
                  </a:lnTo>
                  <a:lnTo>
                    <a:pt x="1914" y="376"/>
                  </a:lnTo>
                  <a:lnTo>
                    <a:pt x="1914" y="378"/>
                  </a:lnTo>
                  <a:lnTo>
                    <a:pt x="1914" y="378"/>
                  </a:lnTo>
                  <a:lnTo>
                    <a:pt x="1916" y="378"/>
                  </a:lnTo>
                  <a:lnTo>
                    <a:pt x="1916" y="383"/>
                  </a:lnTo>
                  <a:lnTo>
                    <a:pt x="1916" y="383"/>
                  </a:lnTo>
                  <a:lnTo>
                    <a:pt x="1919" y="383"/>
                  </a:lnTo>
                  <a:lnTo>
                    <a:pt x="1921" y="385"/>
                  </a:lnTo>
                  <a:lnTo>
                    <a:pt x="1921" y="388"/>
                  </a:lnTo>
                  <a:lnTo>
                    <a:pt x="1923" y="388"/>
                  </a:lnTo>
                  <a:lnTo>
                    <a:pt x="1923" y="388"/>
                  </a:lnTo>
                  <a:lnTo>
                    <a:pt x="1926" y="388"/>
                  </a:lnTo>
                  <a:lnTo>
                    <a:pt x="1928" y="392"/>
                  </a:lnTo>
                  <a:lnTo>
                    <a:pt x="1930" y="395"/>
                  </a:lnTo>
                  <a:lnTo>
                    <a:pt x="1930" y="395"/>
                  </a:lnTo>
                  <a:lnTo>
                    <a:pt x="1930" y="395"/>
                  </a:lnTo>
                  <a:lnTo>
                    <a:pt x="1933" y="397"/>
                  </a:lnTo>
                  <a:lnTo>
                    <a:pt x="1935" y="397"/>
                  </a:lnTo>
                  <a:lnTo>
                    <a:pt x="1935" y="397"/>
                  </a:lnTo>
                  <a:lnTo>
                    <a:pt x="1935" y="397"/>
                  </a:lnTo>
                  <a:lnTo>
                    <a:pt x="1935" y="399"/>
                  </a:lnTo>
                  <a:lnTo>
                    <a:pt x="1940" y="402"/>
                  </a:lnTo>
                  <a:lnTo>
                    <a:pt x="1940" y="404"/>
                  </a:lnTo>
                  <a:lnTo>
                    <a:pt x="1940" y="404"/>
                  </a:lnTo>
                  <a:lnTo>
                    <a:pt x="1942" y="402"/>
                  </a:lnTo>
                  <a:lnTo>
                    <a:pt x="1942" y="404"/>
                  </a:lnTo>
                  <a:lnTo>
                    <a:pt x="1945" y="402"/>
                  </a:lnTo>
                  <a:lnTo>
                    <a:pt x="1945" y="404"/>
                  </a:lnTo>
                  <a:lnTo>
                    <a:pt x="1945" y="407"/>
                  </a:lnTo>
                  <a:lnTo>
                    <a:pt x="1945" y="407"/>
                  </a:lnTo>
                  <a:lnTo>
                    <a:pt x="1947" y="407"/>
                  </a:lnTo>
                  <a:lnTo>
                    <a:pt x="1947" y="407"/>
                  </a:lnTo>
                  <a:lnTo>
                    <a:pt x="1947" y="407"/>
                  </a:lnTo>
                  <a:lnTo>
                    <a:pt x="1947" y="407"/>
                  </a:lnTo>
                  <a:lnTo>
                    <a:pt x="1952" y="409"/>
                  </a:lnTo>
                  <a:lnTo>
                    <a:pt x="1952" y="411"/>
                  </a:lnTo>
                  <a:lnTo>
                    <a:pt x="1949" y="411"/>
                  </a:lnTo>
                  <a:lnTo>
                    <a:pt x="1949" y="414"/>
                  </a:lnTo>
                  <a:lnTo>
                    <a:pt x="1949" y="416"/>
                  </a:lnTo>
                  <a:lnTo>
                    <a:pt x="1952" y="418"/>
                  </a:lnTo>
                  <a:lnTo>
                    <a:pt x="1952" y="421"/>
                  </a:lnTo>
                  <a:lnTo>
                    <a:pt x="1954" y="421"/>
                  </a:lnTo>
                  <a:lnTo>
                    <a:pt x="1954" y="421"/>
                  </a:lnTo>
                  <a:lnTo>
                    <a:pt x="1954" y="423"/>
                  </a:lnTo>
                  <a:lnTo>
                    <a:pt x="1954" y="423"/>
                  </a:lnTo>
                  <a:lnTo>
                    <a:pt x="1952" y="425"/>
                  </a:lnTo>
                  <a:lnTo>
                    <a:pt x="1954" y="425"/>
                  </a:lnTo>
                  <a:lnTo>
                    <a:pt x="1952" y="428"/>
                  </a:lnTo>
                  <a:lnTo>
                    <a:pt x="1954" y="430"/>
                  </a:lnTo>
                  <a:lnTo>
                    <a:pt x="1954" y="430"/>
                  </a:lnTo>
                  <a:lnTo>
                    <a:pt x="1956" y="430"/>
                  </a:lnTo>
                  <a:lnTo>
                    <a:pt x="1956" y="430"/>
                  </a:lnTo>
                  <a:lnTo>
                    <a:pt x="1956" y="430"/>
                  </a:lnTo>
                  <a:lnTo>
                    <a:pt x="1959" y="433"/>
                  </a:lnTo>
                  <a:lnTo>
                    <a:pt x="1959" y="437"/>
                  </a:lnTo>
                  <a:lnTo>
                    <a:pt x="1961" y="437"/>
                  </a:lnTo>
                  <a:lnTo>
                    <a:pt x="1961" y="440"/>
                  </a:lnTo>
                  <a:lnTo>
                    <a:pt x="1961" y="440"/>
                  </a:lnTo>
                  <a:lnTo>
                    <a:pt x="1963" y="440"/>
                  </a:lnTo>
                  <a:lnTo>
                    <a:pt x="1963" y="442"/>
                  </a:lnTo>
                  <a:lnTo>
                    <a:pt x="1966" y="442"/>
                  </a:lnTo>
                  <a:lnTo>
                    <a:pt x="1966" y="444"/>
                  </a:lnTo>
                  <a:lnTo>
                    <a:pt x="1973" y="442"/>
                  </a:lnTo>
                  <a:lnTo>
                    <a:pt x="1973" y="442"/>
                  </a:lnTo>
                  <a:lnTo>
                    <a:pt x="1973" y="442"/>
                  </a:lnTo>
                  <a:lnTo>
                    <a:pt x="1975" y="447"/>
                  </a:lnTo>
                  <a:lnTo>
                    <a:pt x="1978" y="447"/>
                  </a:lnTo>
                  <a:lnTo>
                    <a:pt x="1982" y="451"/>
                  </a:lnTo>
                  <a:lnTo>
                    <a:pt x="1982" y="451"/>
                  </a:lnTo>
                  <a:lnTo>
                    <a:pt x="1985" y="456"/>
                  </a:lnTo>
                  <a:lnTo>
                    <a:pt x="1987" y="454"/>
                  </a:lnTo>
                  <a:lnTo>
                    <a:pt x="1989" y="449"/>
                  </a:lnTo>
                  <a:lnTo>
                    <a:pt x="1992" y="449"/>
                  </a:lnTo>
                  <a:lnTo>
                    <a:pt x="1992" y="447"/>
                  </a:lnTo>
                  <a:lnTo>
                    <a:pt x="1994" y="447"/>
                  </a:lnTo>
                  <a:lnTo>
                    <a:pt x="1996" y="444"/>
                  </a:lnTo>
                  <a:lnTo>
                    <a:pt x="1994" y="442"/>
                  </a:lnTo>
                  <a:lnTo>
                    <a:pt x="1996" y="442"/>
                  </a:lnTo>
                  <a:lnTo>
                    <a:pt x="2001" y="437"/>
                  </a:lnTo>
                  <a:lnTo>
                    <a:pt x="2001" y="437"/>
                  </a:lnTo>
                  <a:lnTo>
                    <a:pt x="2004" y="440"/>
                  </a:lnTo>
                  <a:lnTo>
                    <a:pt x="2004" y="440"/>
                  </a:lnTo>
                  <a:lnTo>
                    <a:pt x="2004" y="442"/>
                  </a:lnTo>
                  <a:lnTo>
                    <a:pt x="2006" y="444"/>
                  </a:lnTo>
                  <a:lnTo>
                    <a:pt x="2008" y="444"/>
                  </a:lnTo>
                  <a:lnTo>
                    <a:pt x="2011" y="447"/>
                  </a:lnTo>
                  <a:lnTo>
                    <a:pt x="2011" y="447"/>
                  </a:lnTo>
                  <a:lnTo>
                    <a:pt x="2008" y="449"/>
                  </a:lnTo>
                  <a:lnTo>
                    <a:pt x="2011" y="451"/>
                  </a:lnTo>
                  <a:lnTo>
                    <a:pt x="2011" y="454"/>
                  </a:lnTo>
                  <a:lnTo>
                    <a:pt x="2011" y="456"/>
                  </a:lnTo>
                  <a:lnTo>
                    <a:pt x="2006" y="463"/>
                  </a:lnTo>
                  <a:lnTo>
                    <a:pt x="2006" y="466"/>
                  </a:lnTo>
                  <a:lnTo>
                    <a:pt x="2006" y="466"/>
                  </a:lnTo>
                  <a:lnTo>
                    <a:pt x="2006" y="468"/>
                  </a:lnTo>
                  <a:lnTo>
                    <a:pt x="2006" y="470"/>
                  </a:lnTo>
                  <a:lnTo>
                    <a:pt x="2008" y="470"/>
                  </a:lnTo>
                  <a:lnTo>
                    <a:pt x="2011" y="470"/>
                  </a:lnTo>
                  <a:lnTo>
                    <a:pt x="2008" y="473"/>
                  </a:lnTo>
                  <a:lnTo>
                    <a:pt x="2008" y="475"/>
                  </a:lnTo>
                  <a:lnTo>
                    <a:pt x="2011" y="475"/>
                  </a:lnTo>
                  <a:lnTo>
                    <a:pt x="2011" y="477"/>
                  </a:lnTo>
                  <a:lnTo>
                    <a:pt x="2013" y="477"/>
                  </a:lnTo>
                  <a:lnTo>
                    <a:pt x="2013" y="477"/>
                  </a:lnTo>
                  <a:lnTo>
                    <a:pt x="2018" y="477"/>
                  </a:lnTo>
                  <a:lnTo>
                    <a:pt x="2018" y="477"/>
                  </a:lnTo>
                  <a:lnTo>
                    <a:pt x="2018" y="480"/>
                  </a:lnTo>
                  <a:lnTo>
                    <a:pt x="2018" y="480"/>
                  </a:lnTo>
                  <a:lnTo>
                    <a:pt x="2018" y="480"/>
                  </a:lnTo>
                  <a:lnTo>
                    <a:pt x="2020" y="482"/>
                  </a:lnTo>
                  <a:lnTo>
                    <a:pt x="2022" y="480"/>
                  </a:lnTo>
                  <a:lnTo>
                    <a:pt x="2022" y="480"/>
                  </a:lnTo>
                  <a:lnTo>
                    <a:pt x="2027" y="480"/>
                  </a:lnTo>
                  <a:lnTo>
                    <a:pt x="2027" y="482"/>
                  </a:lnTo>
                  <a:lnTo>
                    <a:pt x="2030" y="482"/>
                  </a:lnTo>
                  <a:lnTo>
                    <a:pt x="2030" y="485"/>
                  </a:lnTo>
                  <a:lnTo>
                    <a:pt x="2030" y="485"/>
                  </a:lnTo>
                  <a:lnTo>
                    <a:pt x="2030" y="487"/>
                  </a:lnTo>
                  <a:lnTo>
                    <a:pt x="2032" y="487"/>
                  </a:lnTo>
                  <a:lnTo>
                    <a:pt x="2032" y="489"/>
                  </a:lnTo>
                  <a:lnTo>
                    <a:pt x="2032" y="489"/>
                  </a:lnTo>
                  <a:lnTo>
                    <a:pt x="2034" y="489"/>
                  </a:lnTo>
                  <a:lnTo>
                    <a:pt x="2034" y="489"/>
                  </a:lnTo>
                  <a:lnTo>
                    <a:pt x="2034" y="492"/>
                  </a:lnTo>
                  <a:lnTo>
                    <a:pt x="2034" y="492"/>
                  </a:lnTo>
                  <a:lnTo>
                    <a:pt x="2037" y="489"/>
                  </a:lnTo>
                  <a:lnTo>
                    <a:pt x="2039" y="492"/>
                  </a:lnTo>
                  <a:lnTo>
                    <a:pt x="2039" y="489"/>
                  </a:lnTo>
                  <a:lnTo>
                    <a:pt x="2041" y="492"/>
                  </a:lnTo>
                  <a:lnTo>
                    <a:pt x="2041" y="489"/>
                  </a:lnTo>
                  <a:lnTo>
                    <a:pt x="2041" y="494"/>
                  </a:lnTo>
                  <a:lnTo>
                    <a:pt x="2044" y="496"/>
                  </a:lnTo>
                  <a:lnTo>
                    <a:pt x="2044" y="499"/>
                  </a:lnTo>
                  <a:lnTo>
                    <a:pt x="2044" y="501"/>
                  </a:lnTo>
                  <a:lnTo>
                    <a:pt x="2046" y="501"/>
                  </a:lnTo>
                  <a:lnTo>
                    <a:pt x="2046" y="503"/>
                  </a:lnTo>
                  <a:lnTo>
                    <a:pt x="2048" y="501"/>
                  </a:lnTo>
                  <a:lnTo>
                    <a:pt x="2051" y="501"/>
                  </a:lnTo>
                  <a:lnTo>
                    <a:pt x="2056" y="501"/>
                  </a:lnTo>
                  <a:lnTo>
                    <a:pt x="2056" y="501"/>
                  </a:lnTo>
                  <a:lnTo>
                    <a:pt x="2056" y="499"/>
                  </a:lnTo>
                  <a:lnTo>
                    <a:pt x="2058" y="501"/>
                  </a:lnTo>
                  <a:lnTo>
                    <a:pt x="2058" y="501"/>
                  </a:lnTo>
                  <a:lnTo>
                    <a:pt x="2058" y="503"/>
                  </a:lnTo>
                  <a:lnTo>
                    <a:pt x="2058" y="503"/>
                  </a:lnTo>
                  <a:lnTo>
                    <a:pt x="2060" y="503"/>
                  </a:lnTo>
                  <a:lnTo>
                    <a:pt x="2063" y="503"/>
                  </a:lnTo>
                  <a:lnTo>
                    <a:pt x="2065" y="503"/>
                  </a:lnTo>
                  <a:lnTo>
                    <a:pt x="2065" y="506"/>
                  </a:lnTo>
                  <a:lnTo>
                    <a:pt x="2067" y="506"/>
                  </a:lnTo>
                  <a:lnTo>
                    <a:pt x="2065" y="511"/>
                  </a:lnTo>
                  <a:lnTo>
                    <a:pt x="2067" y="508"/>
                  </a:lnTo>
                  <a:lnTo>
                    <a:pt x="2070" y="511"/>
                  </a:lnTo>
                  <a:lnTo>
                    <a:pt x="2070" y="511"/>
                  </a:lnTo>
                  <a:lnTo>
                    <a:pt x="2072" y="511"/>
                  </a:lnTo>
                  <a:lnTo>
                    <a:pt x="2072" y="513"/>
                  </a:lnTo>
                  <a:lnTo>
                    <a:pt x="2072" y="513"/>
                  </a:lnTo>
                  <a:lnTo>
                    <a:pt x="2077" y="513"/>
                  </a:lnTo>
                  <a:lnTo>
                    <a:pt x="2077" y="513"/>
                  </a:lnTo>
                  <a:lnTo>
                    <a:pt x="2077" y="515"/>
                  </a:lnTo>
                  <a:lnTo>
                    <a:pt x="2079" y="515"/>
                  </a:lnTo>
                  <a:lnTo>
                    <a:pt x="2079" y="513"/>
                  </a:lnTo>
                  <a:lnTo>
                    <a:pt x="2082" y="513"/>
                  </a:lnTo>
                  <a:lnTo>
                    <a:pt x="2082" y="515"/>
                  </a:lnTo>
                  <a:lnTo>
                    <a:pt x="2084" y="515"/>
                  </a:lnTo>
                  <a:lnTo>
                    <a:pt x="2084" y="515"/>
                  </a:lnTo>
                  <a:lnTo>
                    <a:pt x="2084" y="518"/>
                  </a:lnTo>
                  <a:lnTo>
                    <a:pt x="2082" y="518"/>
                  </a:lnTo>
                  <a:lnTo>
                    <a:pt x="2084" y="520"/>
                  </a:lnTo>
                  <a:lnTo>
                    <a:pt x="2086" y="518"/>
                  </a:lnTo>
                  <a:lnTo>
                    <a:pt x="2089" y="520"/>
                  </a:lnTo>
                  <a:lnTo>
                    <a:pt x="2089" y="520"/>
                  </a:lnTo>
                  <a:lnTo>
                    <a:pt x="2089" y="518"/>
                  </a:lnTo>
                  <a:lnTo>
                    <a:pt x="2091" y="520"/>
                  </a:lnTo>
                  <a:lnTo>
                    <a:pt x="2093" y="520"/>
                  </a:lnTo>
                  <a:lnTo>
                    <a:pt x="2096" y="518"/>
                  </a:lnTo>
                  <a:lnTo>
                    <a:pt x="2098" y="518"/>
                  </a:lnTo>
                  <a:lnTo>
                    <a:pt x="2098" y="520"/>
                  </a:lnTo>
                  <a:lnTo>
                    <a:pt x="2100" y="520"/>
                  </a:lnTo>
                  <a:lnTo>
                    <a:pt x="2100" y="518"/>
                  </a:lnTo>
                  <a:lnTo>
                    <a:pt x="2100" y="515"/>
                  </a:lnTo>
                  <a:lnTo>
                    <a:pt x="2100" y="515"/>
                  </a:lnTo>
                  <a:lnTo>
                    <a:pt x="2103" y="518"/>
                  </a:lnTo>
                  <a:lnTo>
                    <a:pt x="2100" y="518"/>
                  </a:lnTo>
                  <a:lnTo>
                    <a:pt x="2103" y="520"/>
                  </a:lnTo>
                  <a:lnTo>
                    <a:pt x="2103" y="520"/>
                  </a:lnTo>
                  <a:lnTo>
                    <a:pt x="2105" y="520"/>
                  </a:lnTo>
                  <a:lnTo>
                    <a:pt x="2105" y="520"/>
                  </a:lnTo>
                  <a:lnTo>
                    <a:pt x="2108" y="518"/>
                  </a:lnTo>
                  <a:lnTo>
                    <a:pt x="2108" y="520"/>
                  </a:lnTo>
                  <a:lnTo>
                    <a:pt x="2110" y="520"/>
                  </a:lnTo>
                  <a:lnTo>
                    <a:pt x="2110" y="520"/>
                  </a:lnTo>
                  <a:lnTo>
                    <a:pt x="2110" y="520"/>
                  </a:lnTo>
                  <a:lnTo>
                    <a:pt x="2112" y="520"/>
                  </a:lnTo>
                  <a:lnTo>
                    <a:pt x="2112" y="520"/>
                  </a:lnTo>
                  <a:lnTo>
                    <a:pt x="2112" y="522"/>
                  </a:lnTo>
                  <a:lnTo>
                    <a:pt x="2112" y="525"/>
                  </a:lnTo>
                  <a:lnTo>
                    <a:pt x="2112" y="525"/>
                  </a:lnTo>
                  <a:lnTo>
                    <a:pt x="2115" y="525"/>
                  </a:lnTo>
                  <a:lnTo>
                    <a:pt x="2117" y="525"/>
                  </a:lnTo>
                  <a:lnTo>
                    <a:pt x="2119" y="529"/>
                  </a:lnTo>
                  <a:lnTo>
                    <a:pt x="2122" y="525"/>
                  </a:lnTo>
                  <a:lnTo>
                    <a:pt x="2122" y="527"/>
                  </a:lnTo>
                  <a:lnTo>
                    <a:pt x="2122" y="529"/>
                  </a:lnTo>
                  <a:lnTo>
                    <a:pt x="2122" y="529"/>
                  </a:lnTo>
                  <a:lnTo>
                    <a:pt x="2124" y="529"/>
                  </a:lnTo>
                  <a:lnTo>
                    <a:pt x="2124" y="532"/>
                  </a:lnTo>
                  <a:lnTo>
                    <a:pt x="2124" y="532"/>
                  </a:lnTo>
                  <a:lnTo>
                    <a:pt x="2124" y="534"/>
                  </a:lnTo>
                  <a:lnTo>
                    <a:pt x="2124" y="536"/>
                  </a:lnTo>
                  <a:lnTo>
                    <a:pt x="2126" y="539"/>
                  </a:lnTo>
                  <a:lnTo>
                    <a:pt x="2129" y="544"/>
                  </a:lnTo>
                  <a:lnTo>
                    <a:pt x="2129" y="544"/>
                  </a:lnTo>
                  <a:lnTo>
                    <a:pt x="2134" y="544"/>
                  </a:lnTo>
                  <a:lnTo>
                    <a:pt x="2136" y="546"/>
                  </a:lnTo>
                  <a:lnTo>
                    <a:pt x="2138" y="548"/>
                  </a:lnTo>
                  <a:lnTo>
                    <a:pt x="2138" y="551"/>
                  </a:lnTo>
                  <a:lnTo>
                    <a:pt x="2138" y="551"/>
                  </a:lnTo>
                  <a:lnTo>
                    <a:pt x="2143" y="551"/>
                  </a:lnTo>
                  <a:lnTo>
                    <a:pt x="2145" y="551"/>
                  </a:lnTo>
                  <a:lnTo>
                    <a:pt x="2145" y="553"/>
                  </a:lnTo>
                  <a:lnTo>
                    <a:pt x="2148" y="553"/>
                  </a:lnTo>
                  <a:lnTo>
                    <a:pt x="2150" y="558"/>
                  </a:lnTo>
                  <a:lnTo>
                    <a:pt x="2152" y="558"/>
                  </a:lnTo>
                  <a:lnTo>
                    <a:pt x="2155" y="558"/>
                  </a:lnTo>
                  <a:lnTo>
                    <a:pt x="2159" y="558"/>
                  </a:lnTo>
                  <a:lnTo>
                    <a:pt x="2162" y="558"/>
                  </a:lnTo>
                  <a:lnTo>
                    <a:pt x="2164" y="558"/>
                  </a:lnTo>
                  <a:lnTo>
                    <a:pt x="2167" y="558"/>
                  </a:lnTo>
                  <a:lnTo>
                    <a:pt x="2167" y="560"/>
                  </a:lnTo>
                  <a:lnTo>
                    <a:pt x="2169" y="562"/>
                  </a:lnTo>
                  <a:lnTo>
                    <a:pt x="2169" y="565"/>
                  </a:lnTo>
                  <a:lnTo>
                    <a:pt x="2169" y="565"/>
                  </a:lnTo>
                  <a:lnTo>
                    <a:pt x="2167" y="567"/>
                  </a:lnTo>
                  <a:lnTo>
                    <a:pt x="2164" y="570"/>
                  </a:lnTo>
                  <a:lnTo>
                    <a:pt x="2162" y="574"/>
                  </a:lnTo>
                  <a:lnTo>
                    <a:pt x="2162" y="577"/>
                  </a:lnTo>
                  <a:lnTo>
                    <a:pt x="2162" y="579"/>
                  </a:lnTo>
                  <a:lnTo>
                    <a:pt x="2164" y="579"/>
                  </a:lnTo>
                  <a:lnTo>
                    <a:pt x="2167" y="579"/>
                  </a:lnTo>
                  <a:lnTo>
                    <a:pt x="2169" y="579"/>
                  </a:lnTo>
                  <a:lnTo>
                    <a:pt x="2171" y="581"/>
                  </a:lnTo>
                  <a:lnTo>
                    <a:pt x="2174" y="584"/>
                  </a:lnTo>
                  <a:lnTo>
                    <a:pt x="2176" y="584"/>
                  </a:lnTo>
                  <a:lnTo>
                    <a:pt x="2178" y="581"/>
                  </a:lnTo>
                  <a:lnTo>
                    <a:pt x="2181" y="581"/>
                  </a:lnTo>
                  <a:lnTo>
                    <a:pt x="2183" y="584"/>
                  </a:lnTo>
                  <a:lnTo>
                    <a:pt x="2183" y="581"/>
                  </a:lnTo>
                  <a:lnTo>
                    <a:pt x="2183" y="579"/>
                  </a:lnTo>
                  <a:lnTo>
                    <a:pt x="2183" y="579"/>
                  </a:lnTo>
                  <a:lnTo>
                    <a:pt x="2185" y="579"/>
                  </a:lnTo>
                  <a:lnTo>
                    <a:pt x="2185" y="579"/>
                  </a:lnTo>
                  <a:lnTo>
                    <a:pt x="2188" y="579"/>
                  </a:lnTo>
                  <a:lnTo>
                    <a:pt x="2188" y="577"/>
                  </a:lnTo>
                  <a:lnTo>
                    <a:pt x="2193" y="577"/>
                  </a:lnTo>
                  <a:lnTo>
                    <a:pt x="2193" y="574"/>
                  </a:lnTo>
                  <a:lnTo>
                    <a:pt x="2195" y="574"/>
                  </a:lnTo>
                  <a:lnTo>
                    <a:pt x="2195" y="574"/>
                  </a:lnTo>
                  <a:lnTo>
                    <a:pt x="2200" y="579"/>
                  </a:lnTo>
                  <a:lnTo>
                    <a:pt x="2200" y="577"/>
                  </a:lnTo>
                  <a:lnTo>
                    <a:pt x="2202" y="577"/>
                  </a:lnTo>
                  <a:lnTo>
                    <a:pt x="2204" y="577"/>
                  </a:lnTo>
                  <a:lnTo>
                    <a:pt x="2204" y="577"/>
                  </a:lnTo>
                  <a:lnTo>
                    <a:pt x="2207" y="579"/>
                  </a:lnTo>
                  <a:lnTo>
                    <a:pt x="2207" y="579"/>
                  </a:lnTo>
                  <a:lnTo>
                    <a:pt x="2211" y="577"/>
                  </a:lnTo>
                  <a:lnTo>
                    <a:pt x="2211" y="574"/>
                  </a:lnTo>
                  <a:lnTo>
                    <a:pt x="2214" y="574"/>
                  </a:lnTo>
                  <a:lnTo>
                    <a:pt x="2216" y="574"/>
                  </a:lnTo>
                  <a:lnTo>
                    <a:pt x="2219" y="574"/>
                  </a:lnTo>
                  <a:lnTo>
                    <a:pt x="2221" y="574"/>
                  </a:lnTo>
                  <a:lnTo>
                    <a:pt x="2221" y="572"/>
                  </a:lnTo>
                  <a:lnTo>
                    <a:pt x="2221" y="572"/>
                  </a:lnTo>
                  <a:lnTo>
                    <a:pt x="2221" y="570"/>
                  </a:lnTo>
                  <a:lnTo>
                    <a:pt x="2223" y="570"/>
                  </a:lnTo>
                  <a:lnTo>
                    <a:pt x="2223" y="567"/>
                  </a:lnTo>
                  <a:lnTo>
                    <a:pt x="2228" y="567"/>
                  </a:lnTo>
                  <a:lnTo>
                    <a:pt x="2230" y="562"/>
                  </a:lnTo>
                  <a:lnTo>
                    <a:pt x="2233" y="562"/>
                  </a:lnTo>
                  <a:lnTo>
                    <a:pt x="2235" y="562"/>
                  </a:lnTo>
                  <a:lnTo>
                    <a:pt x="2235" y="562"/>
                  </a:lnTo>
                  <a:lnTo>
                    <a:pt x="2235" y="560"/>
                  </a:lnTo>
                  <a:lnTo>
                    <a:pt x="2237" y="560"/>
                  </a:lnTo>
                  <a:lnTo>
                    <a:pt x="2240" y="560"/>
                  </a:lnTo>
                  <a:lnTo>
                    <a:pt x="2242" y="560"/>
                  </a:lnTo>
                  <a:lnTo>
                    <a:pt x="2247" y="560"/>
                  </a:lnTo>
                  <a:lnTo>
                    <a:pt x="2247" y="560"/>
                  </a:lnTo>
                  <a:lnTo>
                    <a:pt x="2247" y="562"/>
                  </a:lnTo>
                  <a:lnTo>
                    <a:pt x="2242" y="570"/>
                  </a:lnTo>
                  <a:lnTo>
                    <a:pt x="2240" y="574"/>
                  </a:lnTo>
                  <a:lnTo>
                    <a:pt x="2235" y="579"/>
                  </a:lnTo>
                  <a:lnTo>
                    <a:pt x="2233" y="581"/>
                  </a:lnTo>
                  <a:lnTo>
                    <a:pt x="2226" y="584"/>
                  </a:lnTo>
                  <a:lnTo>
                    <a:pt x="2219" y="588"/>
                  </a:lnTo>
                  <a:lnTo>
                    <a:pt x="2214" y="588"/>
                  </a:lnTo>
                  <a:lnTo>
                    <a:pt x="2211" y="591"/>
                  </a:lnTo>
                  <a:lnTo>
                    <a:pt x="2211" y="593"/>
                  </a:lnTo>
                  <a:lnTo>
                    <a:pt x="2207" y="598"/>
                  </a:lnTo>
                  <a:lnTo>
                    <a:pt x="2207" y="600"/>
                  </a:lnTo>
                  <a:lnTo>
                    <a:pt x="2207" y="603"/>
                  </a:lnTo>
                  <a:lnTo>
                    <a:pt x="2207" y="605"/>
                  </a:lnTo>
                  <a:lnTo>
                    <a:pt x="2202" y="612"/>
                  </a:lnTo>
                  <a:lnTo>
                    <a:pt x="2202" y="612"/>
                  </a:lnTo>
                  <a:lnTo>
                    <a:pt x="2202" y="612"/>
                  </a:lnTo>
                  <a:lnTo>
                    <a:pt x="2204" y="614"/>
                  </a:lnTo>
                  <a:lnTo>
                    <a:pt x="2207" y="614"/>
                  </a:lnTo>
                  <a:lnTo>
                    <a:pt x="2207" y="614"/>
                  </a:lnTo>
                  <a:lnTo>
                    <a:pt x="2209" y="614"/>
                  </a:lnTo>
                  <a:lnTo>
                    <a:pt x="2204" y="624"/>
                  </a:lnTo>
                  <a:lnTo>
                    <a:pt x="2197" y="638"/>
                  </a:lnTo>
                  <a:lnTo>
                    <a:pt x="2193" y="652"/>
                  </a:lnTo>
                  <a:lnTo>
                    <a:pt x="2188" y="664"/>
                  </a:lnTo>
                  <a:lnTo>
                    <a:pt x="2178" y="685"/>
                  </a:lnTo>
                  <a:lnTo>
                    <a:pt x="2162" y="716"/>
                  </a:lnTo>
                  <a:lnTo>
                    <a:pt x="2162" y="718"/>
                  </a:lnTo>
                  <a:lnTo>
                    <a:pt x="2157" y="730"/>
                  </a:lnTo>
                  <a:lnTo>
                    <a:pt x="2148" y="751"/>
                  </a:lnTo>
                  <a:lnTo>
                    <a:pt x="2143" y="761"/>
                  </a:lnTo>
                  <a:lnTo>
                    <a:pt x="2138" y="773"/>
                  </a:lnTo>
                  <a:lnTo>
                    <a:pt x="2131" y="792"/>
                  </a:lnTo>
                  <a:lnTo>
                    <a:pt x="2100" y="855"/>
                  </a:lnTo>
                  <a:lnTo>
                    <a:pt x="2063" y="938"/>
                  </a:lnTo>
                  <a:lnTo>
                    <a:pt x="2056" y="957"/>
                  </a:lnTo>
                  <a:lnTo>
                    <a:pt x="2044" y="983"/>
                  </a:lnTo>
                  <a:lnTo>
                    <a:pt x="2022" y="1028"/>
                  </a:lnTo>
                  <a:lnTo>
                    <a:pt x="1973" y="1139"/>
                  </a:lnTo>
                  <a:lnTo>
                    <a:pt x="1973" y="1141"/>
                  </a:lnTo>
                  <a:lnTo>
                    <a:pt x="1971" y="1141"/>
                  </a:lnTo>
                  <a:lnTo>
                    <a:pt x="1971" y="1144"/>
                  </a:lnTo>
                  <a:lnTo>
                    <a:pt x="1968" y="1144"/>
                  </a:lnTo>
                  <a:lnTo>
                    <a:pt x="1966" y="1144"/>
                  </a:lnTo>
                  <a:lnTo>
                    <a:pt x="1966" y="1144"/>
                  </a:lnTo>
                  <a:lnTo>
                    <a:pt x="1963" y="1148"/>
                  </a:lnTo>
                  <a:lnTo>
                    <a:pt x="1963" y="1151"/>
                  </a:lnTo>
                  <a:lnTo>
                    <a:pt x="1961" y="1153"/>
                  </a:lnTo>
                  <a:lnTo>
                    <a:pt x="1959" y="1153"/>
                  </a:lnTo>
                  <a:lnTo>
                    <a:pt x="1952" y="1160"/>
                  </a:lnTo>
                  <a:lnTo>
                    <a:pt x="1949" y="1165"/>
                  </a:lnTo>
                  <a:lnTo>
                    <a:pt x="1947" y="1167"/>
                  </a:lnTo>
                  <a:lnTo>
                    <a:pt x="1945" y="1170"/>
                  </a:lnTo>
                  <a:lnTo>
                    <a:pt x="1945" y="1181"/>
                  </a:lnTo>
                  <a:lnTo>
                    <a:pt x="1947" y="1184"/>
                  </a:lnTo>
                  <a:lnTo>
                    <a:pt x="1947" y="1188"/>
                  </a:lnTo>
                  <a:lnTo>
                    <a:pt x="1952" y="1198"/>
                  </a:lnTo>
                  <a:lnTo>
                    <a:pt x="1954" y="1203"/>
                  </a:lnTo>
                  <a:lnTo>
                    <a:pt x="1956" y="1203"/>
                  </a:lnTo>
                  <a:lnTo>
                    <a:pt x="1956" y="1205"/>
                  </a:lnTo>
                  <a:lnTo>
                    <a:pt x="1959" y="1205"/>
                  </a:lnTo>
                  <a:lnTo>
                    <a:pt x="1961" y="1205"/>
                  </a:lnTo>
                  <a:lnTo>
                    <a:pt x="1963" y="1207"/>
                  </a:lnTo>
                  <a:lnTo>
                    <a:pt x="1966" y="1210"/>
                  </a:lnTo>
                  <a:lnTo>
                    <a:pt x="1968" y="1217"/>
                  </a:lnTo>
                  <a:lnTo>
                    <a:pt x="1973" y="1219"/>
                  </a:lnTo>
                  <a:lnTo>
                    <a:pt x="1975" y="1222"/>
                  </a:lnTo>
                  <a:lnTo>
                    <a:pt x="1975" y="1222"/>
                  </a:lnTo>
                  <a:lnTo>
                    <a:pt x="1978" y="1224"/>
                  </a:lnTo>
                  <a:lnTo>
                    <a:pt x="1978" y="1226"/>
                  </a:lnTo>
                  <a:lnTo>
                    <a:pt x="1980" y="1226"/>
                  </a:lnTo>
                  <a:lnTo>
                    <a:pt x="1980" y="1231"/>
                  </a:lnTo>
                  <a:lnTo>
                    <a:pt x="1982" y="1233"/>
                  </a:lnTo>
                  <a:lnTo>
                    <a:pt x="1985" y="1240"/>
                  </a:lnTo>
                  <a:lnTo>
                    <a:pt x="1985" y="1245"/>
                  </a:lnTo>
                  <a:lnTo>
                    <a:pt x="1985" y="1250"/>
                  </a:lnTo>
                  <a:lnTo>
                    <a:pt x="1985" y="1250"/>
                  </a:lnTo>
                  <a:lnTo>
                    <a:pt x="1987" y="1255"/>
                  </a:lnTo>
                  <a:lnTo>
                    <a:pt x="1989" y="1257"/>
                  </a:lnTo>
                  <a:lnTo>
                    <a:pt x="1987" y="1257"/>
                  </a:lnTo>
                  <a:lnTo>
                    <a:pt x="1985" y="1262"/>
                  </a:lnTo>
                  <a:lnTo>
                    <a:pt x="1980" y="1269"/>
                  </a:lnTo>
                  <a:lnTo>
                    <a:pt x="1978" y="1273"/>
                  </a:lnTo>
                  <a:lnTo>
                    <a:pt x="1978" y="1278"/>
                  </a:lnTo>
                  <a:lnTo>
                    <a:pt x="1978" y="1283"/>
                  </a:lnTo>
                  <a:lnTo>
                    <a:pt x="1980" y="1285"/>
                  </a:lnTo>
                  <a:lnTo>
                    <a:pt x="1980" y="1288"/>
                  </a:lnTo>
                  <a:lnTo>
                    <a:pt x="1980" y="1290"/>
                  </a:lnTo>
                  <a:lnTo>
                    <a:pt x="1975" y="1295"/>
                  </a:lnTo>
                  <a:lnTo>
                    <a:pt x="1975" y="1297"/>
                  </a:lnTo>
                  <a:lnTo>
                    <a:pt x="1971" y="1302"/>
                  </a:lnTo>
                  <a:lnTo>
                    <a:pt x="1971" y="1302"/>
                  </a:lnTo>
                  <a:lnTo>
                    <a:pt x="1971" y="1307"/>
                  </a:lnTo>
                  <a:lnTo>
                    <a:pt x="1971" y="1307"/>
                  </a:lnTo>
                  <a:lnTo>
                    <a:pt x="1968" y="1311"/>
                  </a:lnTo>
                  <a:lnTo>
                    <a:pt x="1963" y="1314"/>
                  </a:lnTo>
                  <a:lnTo>
                    <a:pt x="1959" y="1316"/>
                  </a:lnTo>
                  <a:lnTo>
                    <a:pt x="1959" y="1318"/>
                  </a:lnTo>
                  <a:lnTo>
                    <a:pt x="1956" y="1318"/>
                  </a:lnTo>
                  <a:lnTo>
                    <a:pt x="1956" y="1321"/>
                  </a:lnTo>
                  <a:lnTo>
                    <a:pt x="1959" y="1323"/>
                  </a:lnTo>
                  <a:lnTo>
                    <a:pt x="1959" y="1328"/>
                  </a:lnTo>
                  <a:lnTo>
                    <a:pt x="1961" y="1333"/>
                  </a:lnTo>
                  <a:lnTo>
                    <a:pt x="1963" y="1335"/>
                  </a:lnTo>
                  <a:lnTo>
                    <a:pt x="1966" y="1340"/>
                  </a:lnTo>
                  <a:lnTo>
                    <a:pt x="1966" y="1342"/>
                  </a:lnTo>
                  <a:lnTo>
                    <a:pt x="1966" y="1344"/>
                  </a:lnTo>
                  <a:lnTo>
                    <a:pt x="1968" y="1349"/>
                  </a:lnTo>
                  <a:lnTo>
                    <a:pt x="1971" y="1351"/>
                  </a:lnTo>
                  <a:lnTo>
                    <a:pt x="1968" y="1354"/>
                  </a:lnTo>
                  <a:lnTo>
                    <a:pt x="1971" y="1356"/>
                  </a:lnTo>
                  <a:lnTo>
                    <a:pt x="1968" y="1359"/>
                  </a:lnTo>
                  <a:lnTo>
                    <a:pt x="1966" y="1361"/>
                  </a:lnTo>
                  <a:lnTo>
                    <a:pt x="1966" y="1363"/>
                  </a:lnTo>
                  <a:lnTo>
                    <a:pt x="1966" y="1368"/>
                  </a:lnTo>
                  <a:lnTo>
                    <a:pt x="1966" y="1370"/>
                  </a:lnTo>
                  <a:lnTo>
                    <a:pt x="1966" y="1375"/>
                  </a:lnTo>
                  <a:lnTo>
                    <a:pt x="1966" y="1377"/>
                  </a:lnTo>
                  <a:lnTo>
                    <a:pt x="1966" y="1380"/>
                  </a:lnTo>
                  <a:lnTo>
                    <a:pt x="1966" y="1380"/>
                  </a:lnTo>
                  <a:lnTo>
                    <a:pt x="1966" y="1382"/>
                  </a:lnTo>
                  <a:lnTo>
                    <a:pt x="1966" y="1385"/>
                  </a:lnTo>
                  <a:lnTo>
                    <a:pt x="1963" y="1385"/>
                  </a:lnTo>
                  <a:lnTo>
                    <a:pt x="1961" y="1387"/>
                  </a:lnTo>
                  <a:lnTo>
                    <a:pt x="1963" y="1389"/>
                  </a:lnTo>
                  <a:lnTo>
                    <a:pt x="1961" y="1389"/>
                  </a:lnTo>
                  <a:lnTo>
                    <a:pt x="1961" y="1392"/>
                  </a:lnTo>
                  <a:lnTo>
                    <a:pt x="1959" y="1396"/>
                  </a:lnTo>
                  <a:lnTo>
                    <a:pt x="1956" y="1399"/>
                  </a:lnTo>
                  <a:lnTo>
                    <a:pt x="1956" y="1401"/>
                  </a:lnTo>
                  <a:lnTo>
                    <a:pt x="1954" y="1401"/>
                  </a:lnTo>
                  <a:lnTo>
                    <a:pt x="1954" y="1406"/>
                  </a:lnTo>
                  <a:lnTo>
                    <a:pt x="1954" y="1408"/>
                  </a:lnTo>
                  <a:lnTo>
                    <a:pt x="1954" y="1408"/>
                  </a:lnTo>
                  <a:lnTo>
                    <a:pt x="1954" y="1410"/>
                  </a:lnTo>
                  <a:lnTo>
                    <a:pt x="1954" y="1415"/>
                  </a:lnTo>
                  <a:lnTo>
                    <a:pt x="1956" y="1415"/>
                  </a:lnTo>
                  <a:lnTo>
                    <a:pt x="1956" y="1418"/>
                  </a:lnTo>
                  <a:lnTo>
                    <a:pt x="1956" y="1420"/>
                  </a:lnTo>
                  <a:lnTo>
                    <a:pt x="1956" y="1420"/>
                  </a:lnTo>
                  <a:lnTo>
                    <a:pt x="1954" y="1422"/>
                  </a:lnTo>
                  <a:lnTo>
                    <a:pt x="1954" y="1425"/>
                  </a:lnTo>
                  <a:lnTo>
                    <a:pt x="1949" y="1432"/>
                  </a:lnTo>
                  <a:lnTo>
                    <a:pt x="1952" y="1434"/>
                  </a:lnTo>
                  <a:lnTo>
                    <a:pt x="1954" y="1434"/>
                  </a:lnTo>
                  <a:lnTo>
                    <a:pt x="1956" y="1432"/>
                  </a:lnTo>
                  <a:lnTo>
                    <a:pt x="1959" y="1432"/>
                  </a:lnTo>
                  <a:lnTo>
                    <a:pt x="1961" y="1432"/>
                  </a:lnTo>
                  <a:lnTo>
                    <a:pt x="1966" y="1434"/>
                  </a:lnTo>
                  <a:lnTo>
                    <a:pt x="1966" y="1434"/>
                  </a:lnTo>
                  <a:lnTo>
                    <a:pt x="1963" y="1434"/>
                  </a:lnTo>
                  <a:lnTo>
                    <a:pt x="1961" y="1436"/>
                  </a:lnTo>
                  <a:lnTo>
                    <a:pt x="1956" y="1441"/>
                  </a:lnTo>
                  <a:lnTo>
                    <a:pt x="1954" y="1444"/>
                  </a:lnTo>
                  <a:lnTo>
                    <a:pt x="1954" y="1444"/>
                  </a:lnTo>
                  <a:lnTo>
                    <a:pt x="1954" y="1444"/>
                  </a:lnTo>
                  <a:lnTo>
                    <a:pt x="1952" y="1444"/>
                  </a:lnTo>
                  <a:lnTo>
                    <a:pt x="1949" y="1444"/>
                  </a:lnTo>
                  <a:lnTo>
                    <a:pt x="1942" y="1446"/>
                  </a:lnTo>
                  <a:lnTo>
                    <a:pt x="1867" y="1446"/>
                  </a:lnTo>
                  <a:lnTo>
                    <a:pt x="1864" y="1446"/>
                  </a:lnTo>
                  <a:lnTo>
                    <a:pt x="1770" y="1446"/>
                  </a:lnTo>
                  <a:lnTo>
                    <a:pt x="1699" y="1444"/>
                  </a:lnTo>
                  <a:lnTo>
                    <a:pt x="1656" y="1444"/>
                  </a:lnTo>
                  <a:lnTo>
                    <a:pt x="1647" y="1444"/>
                  </a:lnTo>
                  <a:lnTo>
                    <a:pt x="1645" y="1444"/>
                  </a:lnTo>
                  <a:lnTo>
                    <a:pt x="1552" y="1444"/>
                  </a:lnTo>
                  <a:lnTo>
                    <a:pt x="1550" y="1444"/>
                  </a:lnTo>
                  <a:lnTo>
                    <a:pt x="1550" y="1444"/>
                  </a:lnTo>
                  <a:lnTo>
                    <a:pt x="1545" y="1439"/>
                  </a:lnTo>
                  <a:lnTo>
                    <a:pt x="1545" y="1439"/>
                  </a:lnTo>
                  <a:lnTo>
                    <a:pt x="1545" y="1436"/>
                  </a:lnTo>
                  <a:lnTo>
                    <a:pt x="1545" y="1434"/>
                  </a:lnTo>
                  <a:lnTo>
                    <a:pt x="1543" y="1434"/>
                  </a:lnTo>
                  <a:lnTo>
                    <a:pt x="1543" y="1434"/>
                  </a:lnTo>
                  <a:lnTo>
                    <a:pt x="1541" y="1432"/>
                  </a:lnTo>
                  <a:lnTo>
                    <a:pt x="1536" y="1434"/>
                  </a:lnTo>
                  <a:lnTo>
                    <a:pt x="1536" y="1432"/>
                  </a:lnTo>
                  <a:lnTo>
                    <a:pt x="1536" y="1429"/>
                  </a:lnTo>
                  <a:lnTo>
                    <a:pt x="1533" y="1432"/>
                  </a:lnTo>
                  <a:lnTo>
                    <a:pt x="1531" y="1432"/>
                  </a:lnTo>
                  <a:lnTo>
                    <a:pt x="1531" y="1432"/>
                  </a:lnTo>
                  <a:lnTo>
                    <a:pt x="1531" y="1434"/>
                  </a:lnTo>
                  <a:lnTo>
                    <a:pt x="1531" y="1434"/>
                  </a:lnTo>
                  <a:lnTo>
                    <a:pt x="1531" y="1434"/>
                  </a:lnTo>
                  <a:lnTo>
                    <a:pt x="1529" y="1436"/>
                  </a:lnTo>
                  <a:lnTo>
                    <a:pt x="1529" y="1436"/>
                  </a:lnTo>
                  <a:lnTo>
                    <a:pt x="1526" y="1439"/>
                  </a:lnTo>
                  <a:lnTo>
                    <a:pt x="1526" y="1439"/>
                  </a:lnTo>
                  <a:lnTo>
                    <a:pt x="1524" y="1439"/>
                  </a:lnTo>
                  <a:lnTo>
                    <a:pt x="1522" y="1436"/>
                  </a:lnTo>
                  <a:lnTo>
                    <a:pt x="1519" y="1436"/>
                  </a:lnTo>
                  <a:lnTo>
                    <a:pt x="1519" y="1439"/>
                  </a:lnTo>
                  <a:lnTo>
                    <a:pt x="1519" y="1441"/>
                  </a:lnTo>
                  <a:lnTo>
                    <a:pt x="1517" y="1444"/>
                  </a:lnTo>
                  <a:lnTo>
                    <a:pt x="1517" y="1446"/>
                  </a:lnTo>
                  <a:lnTo>
                    <a:pt x="1517" y="1448"/>
                  </a:lnTo>
                  <a:lnTo>
                    <a:pt x="1517" y="1448"/>
                  </a:lnTo>
                  <a:lnTo>
                    <a:pt x="1517" y="1448"/>
                  </a:lnTo>
                  <a:lnTo>
                    <a:pt x="1517" y="1451"/>
                  </a:lnTo>
                  <a:lnTo>
                    <a:pt x="1515" y="1453"/>
                  </a:lnTo>
                  <a:lnTo>
                    <a:pt x="1512" y="1453"/>
                  </a:lnTo>
                  <a:lnTo>
                    <a:pt x="1512" y="1455"/>
                  </a:lnTo>
                  <a:lnTo>
                    <a:pt x="1507" y="1455"/>
                  </a:lnTo>
                  <a:lnTo>
                    <a:pt x="1507" y="1455"/>
                  </a:lnTo>
                  <a:lnTo>
                    <a:pt x="1503" y="1453"/>
                  </a:lnTo>
                  <a:lnTo>
                    <a:pt x="1500" y="1455"/>
                  </a:lnTo>
                  <a:lnTo>
                    <a:pt x="1500" y="1453"/>
                  </a:lnTo>
                  <a:lnTo>
                    <a:pt x="1500" y="1451"/>
                  </a:lnTo>
                  <a:lnTo>
                    <a:pt x="1498" y="1448"/>
                  </a:lnTo>
                  <a:lnTo>
                    <a:pt x="1496" y="1448"/>
                  </a:lnTo>
                  <a:lnTo>
                    <a:pt x="1496" y="1444"/>
                  </a:lnTo>
                  <a:lnTo>
                    <a:pt x="1493" y="1444"/>
                  </a:lnTo>
                  <a:lnTo>
                    <a:pt x="1489" y="1444"/>
                  </a:lnTo>
                  <a:lnTo>
                    <a:pt x="1486" y="1446"/>
                  </a:lnTo>
                  <a:lnTo>
                    <a:pt x="1482" y="1446"/>
                  </a:lnTo>
                  <a:lnTo>
                    <a:pt x="1479" y="1436"/>
                  </a:lnTo>
                  <a:lnTo>
                    <a:pt x="1479" y="1436"/>
                  </a:lnTo>
                  <a:lnTo>
                    <a:pt x="1479" y="1434"/>
                  </a:lnTo>
                  <a:lnTo>
                    <a:pt x="1479" y="1434"/>
                  </a:lnTo>
                  <a:lnTo>
                    <a:pt x="1477" y="1432"/>
                  </a:lnTo>
                  <a:lnTo>
                    <a:pt x="1477" y="1432"/>
                  </a:lnTo>
                  <a:lnTo>
                    <a:pt x="1477" y="1429"/>
                  </a:lnTo>
                  <a:lnTo>
                    <a:pt x="1477" y="1427"/>
                  </a:lnTo>
                  <a:lnTo>
                    <a:pt x="1472" y="1425"/>
                  </a:lnTo>
                  <a:lnTo>
                    <a:pt x="1474" y="1425"/>
                  </a:lnTo>
                  <a:lnTo>
                    <a:pt x="1477" y="1425"/>
                  </a:lnTo>
                  <a:lnTo>
                    <a:pt x="1477" y="1422"/>
                  </a:lnTo>
                  <a:lnTo>
                    <a:pt x="1477" y="1420"/>
                  </a:lnTo>
                  <a:lnTo>
                    <a:pt x="1474" y="1418"/>
                  </a:lnTo>
                  <a:lnTo>
                    <a:pt x="1472" y="1418"/>
                  </a:lnTo>
                  <a:lnTo>
                    <a:pt x="1470" y="1418"/>
                  </a:lnTo>
                  <a:lnTo>
                    <a:pt x="1467" y="1415"/>
                  </a:lnTo>
                  <a:lnTo>
                    <a:pt x="1465" y="1415"/>
                  </a:lnTo>
                  <a:lnTo>
                    <a:pt x="1463" y="1415"/>
                  </a:lnTo>
                  <a:lnTo>
                    <a:pt x="1463" y="1418"/>
                  </a:lnTo>
                  <a:lnTo>
                    <a:pt x="1460" y="1418"/>
                  </a:lnTo>
                  <a:lnTo>
                    <a:pt x="1460" y="1420"/>
                  </a:lnTo>
                  <a:lnTo>
                    <a:pt x="1463" y="1422"/>
                  </a:lnTo>
                  <a:lnTo>
                    <a:pt x="1463" y="1425"/>
                  </a:lnTo>
                  <a:lnTo>
                    <a:pt x="1463" y="1425"/>
                  </a:lnTo>
                  <a:lnTo>
                    <a:pt x="1456" y="1420"/>
                  </a:lnTo>
                  <a:lnTo>
                    <a:pt x="1456" y="1418"/>
                  </a:lnTo>
                  <a:lnTo>
                    <a:pt x="1456" y="1418"/>
                  </a:lnTo>
                  <a:lnTo>
                    <a:pt x="1458" y="1415"/>
                  </a:lnTo>
                  <a:lnTo>
                    <a:pt x="1458" y="1413"/>
                  </a:lnTo>
                  <a:lnTo>
                    <a:pt x="1456" y="1413"/>
                  </a:lnTo>
                  <a:lnTo>
                    <a:pt x="1458" y="1408"/>
                  </a:lnTo>
                  <a:lnTo>
                    <a:pt x="1456" y="1408"/>
                  </a:lnTo>
                  <a:lnTo>
                    <a:pt x="1453" y="1408"/>
                  </a:lnTo>
                  <a:lnTo>
                    <a:pt x="1453" y="1406"/>
                  </a:lnTo>
                  <a:lnTo>
                    <a:pt x="1453" y="1406"/>
                  </a:lnTo>
                  <a:lnTo>
                    <a:pt x="1453" y="1403"/>
                  </a:lnTo>
                  <a:lnTo>
                    <a:pt x="1451" y="1399"/>
                  </a:lnTo>
                  <a:lnTo>
                    <a:pt x="1453" y="1396"/>
                  </a:lnTo>
                  <a:lnTo>
                    <a:pt x="1453" y="1394"/>
                  </a:lnTo>
                  <a:lnTo>
                    <a:pt x="1453" y="1392"/>
                  </a:lnTo>
                  <a:lnTo>
                    <a:pt x="1453" y="1392"/>
                  </a:lnTo>
                  <a:lnTo>
                    <a:pt x="1451" y="1389"/>
                  </a:lnTo>
                  <a:lnTo>
                    <a:pt x="1448" y="1389"/>
                  </a:lnTo>
                  <a:lnTo>
                    <a:pt x="1448" y="1389"/>
                  </a:lnTo>
                  <a:lnTo>
                    <a:pt x="1444" y="1389"/>
                  </a:lnTo>
                  <a:lnTo>
                    <a:pt x="1441" y="1387"/>
                  </a:lnTo>
                  <a:lnTo>
                    <a:pt x="1441" y="1387"/>
                  </a:lnTo>
                  <a:lnTo>
                    <a:pt x="1439" y="1385"/>
                  </a:lnTo>
                  <a:lnTo>
                    <a:pt x="1439" y="1385"/>
                  </a:lnTo>
                  <a:lnTo>
                    <a:pt x="1439" y="1385"/>
                  </a:lnTo>
                  <a:lnTo>
                    <a:pt x="1437" y="1387"/>
                  </a:lnTo>
                  <a:lnTo>
                    <a:pt x="1434" y="1387"/>
                  </a:lnTo>
                  <a:lnTo>
                    <a:pt x="1432" y="1389"/>
                  </a:lnTo>
                  <a:lnTo>
                    <a:pt x="1432" y="1389"/>
                  </a:lnTo>
                  <a:lnTo>
                    <a:pt x="1432" y="1389"/>
                  </a:lnTo>
                  <a:lnTo>
                    <a:pt x="1432" y="1389"/>
                  </a:lnTo>
                  <a:lnTo>
                    <a:pt x="1430" y="1387"/>
                  </a:lnTo>
                  <a:lnTo>
                    <a:pt x="1430" y="1387"/>
                  </a:lnTo>
                  <a:lnTo>
                    <a:pt x="1430" y="1385"/>
                  </a:lnTo>
                  <a:lnTo>
                    <a:pt x="1430" y="1385"/>
                  </a:lnTo>
                  <a:lnTo>
                    <a:pt x="1430" y="1382"/>
                  </a:lnTo>
                  <a:lnTo>
                    <a:pt x="1427" y="1382"/>
                  </a:lnTo>
                  <a:lnTo>
                    <a:pt x="1430" y="1380"/>
                  </a:lnTo>
                  <a:lnTo>
                    <a:pt x="1427" y="1377"/>
                  </a:lnTo>
                  <a:lnTo>
                    <a:pt x="1427" y="1377"/>
                  </a:lnTo>
                  <a:lnTo>
                    <a:pt x="1425" y="1377"/>
                  </a:lnTo>
                  <a:lnTo>
                    <a:pt x="1425" y="1377"/>
                  </a:lnTo>
                  <a:lnTo>
                    <a:pt x="1425" y="1375"/>
                  </a:lnTo>
                  <a:lnTo>
                    <a:pt x="1422" y="1377"/>
                  </a:lnTo>
                  <a:lnTo>
                    <a:pt x="1422" y="1375"/>
                  </a:lnTo>
                  <a:lnTo>
                    <a:pt x="1422" y="1375"/>
                  </a:lnTo>
                  <a:lnTo>
                    <a:pt x="1415" y="1370"/>
                  </a:lnTo>
                  <a:lnTo>
                    <a:pt x="1415" y="1370"/>
                  </a:lnTo>
                  <a:lnTo>
                    <a:pt x="1415" y="1370"/>
                  </a:lnTo>
                  <a:lnTo>
                    <a:pt x="1415" y="1366"/>
                  </a:lnTo>
                  <a:lnTo>
                    <a:pt x="1413" y="1366"/>
                  </a:lnTo>
                  <a:lnTo>
                    <a:pt x="1413" y="1363"/>
                  </a:lnTo>
                  <a:lnTo>
                    <a:pt x="1413" y="1363"/>
                  </a:lnTo>
                  <a:lnTo>
                    <a:pt x="1413" y="1361"/>
                  </a:lnTo>
                  <a:lnTo>
                    <a:pt x="1413" y="1361"/>
                  </a:lnTo>
                  <a:lnTo>
                    <a:pt x="1413" y="1359"/>
                  </a:lnTo>
                  <a:lnTo>
                    <a:pt x="1413" y="1359"/>
                  </a:lnTo>
                  <a:lnTo>
                    <a:pt x="1413" y="1356"/>
                  </a:lnTo>
                  <a:lnTo>
                    <a:pt x="1413" y="1356"/>
                  </a:lnTo>
                  <a:lnTo>
                    <a:pt x="1411" y="1354"/>
                  </a:lnTo>
                  <a:lnTo>
                    <a:pt x="1411" y="1351"/>
                  </a:lnTo>
                  <a:lnTo>
                    <a:pt x="1408" y="1351"/>
                  </a:lnTo>
                  <a:lnTo>
                    <a:pt x="1406" y="1349"/>
                  </a:lnTo>
                  <a:lnTo>
                    <a:pt x="1404" y="1347"/>
                  </a:lnTo>
                  <a:lnTo>
                    <a:pt x="1399" y="1344"/>
                  </a:lnTo>
                  <a:lnTo>
                    <a:pt x="1396" y="1344"/>
                  </a:lnTo>
                  <a:lnTo>
                    <a:pt x="1394" y="1342"/>
                  </a:lnTo>
                  <a:lnTo>
                    <a:pt x="1394" y="1340"/>
                  </a:lnTo>
                  <a:lnTo>
                    <a:pt x="1392" y="1340"/>
                  </a:lnTo>
                  <a:lnTo>
                    <a:pt x="1392" y="1340"/>
                  </a:lnTo>
                  <a:lnTo>
                    <a:pt x="1389" y="1340"/>
                  </a:lnTo>
                  <a:lnTo>
                    <a:pt x="1389" y="1337"/>
                  </a:lnTo>
                  <a:lnTo>
                    <a:pt x="1330" y="1337"/>
                  </a:lnTo>
                  <a:lnTo>
                    <a:pt x="1309" y="1337"/>
                  </a:lnTo>
                  <a:lnTo>
                    <a:pt x="1304" y="1337"/>
                  </a:lnTo>
                  <a:lnTo>
                    <a:pt x="1293" y="1335"/>
                  </a:lnTo>
                  <a:lnTo>
                    <a:pt x="1293" y="1342"/>
                  </a:lnTo>
                  <a:lnTo>
                    <a:pt x="1293" y="1344"/>
                  </a:lnTo>
                  <a:lnTo>
                    <a:pt x="1293" y="1344"/>
                  </a:lnTo>
                  <a:lnTo>
                    <a:pt x="1290" y="1347"/>
                  </a:lnTo>
                  <a:lnTo>
                    <a:pt x="1290" y="1349"/>
                  </a:lnTo>
                  <a:lnTo>
                    <a:pt x="1288" y="1351"/>
                  </a:lnTo>
                  <a:lnTo>
                    <a:pt x="1288" y="1351"/>
                  </a:lnTo>
                  <a:lnTo>
                    <a:pt x="1288" y="1354"/>
                  </a:lnTo>
                  <a:lnTo>
                    <a:pt x="1288" y="1356"/>
                  </a:lnTo>
                  <a:lnTo>
                    <a:pt x="1285" y="1356"/>
                  </a:lnTo>
                  <a:lnTo>
                    <a:pt x="1283" y="1361"/>
                  </a:lnTo>
                  <a:lnTo>
                    <a:pt x="1278" y="1363"/>
                  </a:lnTo>
                  <a:lnTo>
                    <a:pt x="1276" y="1366"/>
                  </a:lnTo>
                  <a:lnTo>
                    <a:pt x="1276" y="1368"/>
                  </a:lnTo>
                  <a:lnTo>
                    <a:pt x="1281" y="1373"/>
                  </a:lnTo>
                  <a:lnTo>
                    <a:pt x="1276" y="1375"/>
                  </a:lnTo>
                  <a:lnTo>
                    <a:pt x="1276" y="1377"/>
                  </a:lnTo>
                  <a:lnTo>
                    <a:pt x="1276" y="1380"/>
                  </a:lnTo>
                  <a:lnTo>
                    <a:pt x="1274" y="1382"/>
                  </a:lnTo>
                  <a:lnTo>
                    <a:pt x="1274" y="1385"/>
                  </a:lnTo>
                  <a:lnTo>
                    <a:pt x="1271" y="1385"/>
                  </a:lnTo>
                  <a:lnTo>
                    <a:pt x="1267" y="1380"/>
                  </a:lnTo>
                  <a:lnTo>
                    <a:pt x="1264" y="1380"/>
                  </a:lnTo>
                  <a:lnTo>
                    <a:pt x="1262" y="1377"/>
                  </a:lnTo>
                  <a:lnTo>
                    <a:pt x="1262" y="1377"/>
                  </a:lnTo>
                  <a:lnTo>
                    <a:pt x="1259" y="1377"/>
                  </a:lnTo>
                  <a:lnTo>
                    <a:pt x="1259" y="1380"/>
                  </a:lnTo>
                  <a:lnTo>
                    <a:pt x="1257" y="1382"/>
                  </a:lnTo>
                  <a:lnTo>
                    <a:pt x="1257" y="1385"/>
                  </a:lnTo>
                  <a:lnTo>
                    <a:pt x="1255" y="1382"/>
                  </a:lnTo>
                  <a:lnTo>
                    <a:pt x="1252" y="1385"/>
                  </a:lnTo>
                  <a:lnTo>
                    <a:pt x="1252" y="1392"/>
                  </a:lnTo>
                  <a:lnTo>
                    <a:pt x="1248" y="1394"/>
                  </a:lnTo>
                  <a:lnTo>
                    <a:pt x="1248" y="1396"/>
                  </a:lnTo>
                  <a:lnTo>
                    <a:pt x="1250" y="1396"/>
                  </a:lnTo>
                  <a:lnTo>
                    <a:pt x="1252" y="1399"/>
                  </a:lnTo>
                  <a:lnTo>
                    <a:pt x="1252" y="1399"/>
                  </a:lnTo>
                  <a:lnTo>
                    <a:pt x="1248" y="1403"/>
                  </a:lnTo>
                  <a:lnTo>
                    <a:pt x="1248" y="1403"/>
                  </a:lnTo>
                  <a:lnTo>
                    <a:pt x="1250" y="1406"/>
                  </a:lnTo>
                  <a:lnTo>
                    <a:pt x="1252" y="1408"/>
                  </a:lnTo>
                  <a:lnTo>
                    <a:pt x="1252" y="1413"/>
                  </a:lnTo>
                  <a:lnTo>
                    <a:pt x="1255" y="1413"/>
                  </a:lnTo>
                  <a:lnTo>
                    <a:pt x="1255" y="1413"/>
                  </a:lnTo>
                  <a:lnTo>
                    <a:pt x="1255" y="1415"/>
                  </a:lnTo>
                  <a:lnTo>
                    <a:pt x="1252" y="1420"/>
                  </a:lnTo>
                  <a:lnTo>
                    <a:pt x="1250" y="1420"/>
                  </a:lnTo>
                  <a:lnTo>
                    <a:pt x="1250" y="1418"/>
                  </a:lnTo>
                  <a:lnTo>
                    <a:pt x="1250" y="1418"/>
                  </a:lnTo>
                  <a:lnTo>
                    <a:pt x="1248" y="1415"/>
                  </a:lnTo>
                  <a:lnTo>
                    <a:pt x="1248" y="1415"/>
                  </a:lnTo>
                  <a:lnTo>
                    <a:pt x="1248" y="1418"/>
                  </a:lnTo>
                  <a:lnTo>
                    <a:pt x="1245" y="1422"/>
                  </a:lnTo>
                  <a:lnTo>
                    <a:pt x="1245" y="1422"/>
                  </a:lnTo>
                  <a:lnTo>
                    <a:pt x="1245" y="1425"/>
                  </a:lnTo>
                  <a:lnTo>
                    <a:pt x="1243" y="1425"/>
                  </a:lnTo>
                  <a:lnTo>
                    <a:pt x="1243" y="1427"/>
                  </a:lnTo>
                  <a:lnTo>
                    <a:pt x="1243" y="1427"/>
                  </a:lnTo>
                  <a:lnTo>
                    <a:pt x="1241" y="1432"/>
                  </a:lnTo>
                  <a:lnTo>
                    <a:pt x="1241" y="1434"/>
                  </a:lnTo>
                  <a:lnTo>
                    <a:pt x="1236" y="1434"/>
                  </a:lnTo>
                  <a:lnTo>
                    <a:pt x="1236" y="1434"/>
                  </a:lnTo>
                  <a:lnTo>
                    <a:pt x="1233" y="1434"/>
                  </a:lnTo>
                  <a:lnTo>
                    <a:pt x="1231" y="1434"/>
                  </a:lnTo>
                  <a:lnTo>
                    <a:pt x="1229" y="1434"/>
                  </a:lnTo>
                  <a:lnTo>
                    <a:pt x="1229" y="1434"/>
                  </a:lnTo>
                  <a:lnTo>
                    <a:pt x="1226" y="1439"/>
                  </a:lnTo>
                  <a:lnTo>
                    <a:pt x="1226" y="1441"/>
                  </a:lnTo>
                  <a:lnTo>
                    <a:pt x="1229" y="1446"/>
                  </a:lnTo>
                  <a:lnTo>
                    <a:pt x="1229" y="1448"/>
                  </a:lnTo>
                  <a:lnTo>
                    <a:pt x="1224" y="1451"/>
                  </a:lnTo>
                  <a:lnTo>
                    <a:pt x="1224" y="1451"/>
                  </a:lnTo>
                  <a:lnTo>
                    <a:pt x="1224" y="1451"/>
                  </a:lnTo>
                  <a:lnTo>
                    <a:pt x="1226" y="1453"/>
                  </a:lnTo>
                  <a:lnTo>
                    <a:pt x="1226" y="1458"/>
                  </a:lnTo>
                  <a:lnTo>
                    <a:pt x="1226" y="1462"/>
                  </a:lnTo>
                  <a:lnTo>
                    <a:pt x="1226" y="1465"/>
                  </a:lnTo>
                  <a:lnTo>
                    <a:pt x="1226" y="1467"/>
                  </a:lnTo>
                  <a:lnTo>
                    <a:pt x="1222" y="1467"/>
                  </a:lnTo>
                  <a:lnTo>
                    <a:pt x="1215" y="1470"/>
                  </a:lnTo>
                  <a:lnTo>
                    <a:pt x="1212" y="1470"/>
                  </a:lnTo>
                  <a:lnTo>
                    <a:pt x="1207" y="1470"/>
                  </a:lnTo>
                  <a:lnTo>
                    <a:pt x="1205" y="1470"/>
                  </a:lnTo>
                  <a:lnTo>
                    <a:pt x="1203" y="1470"/>
                  </a:lnTo>
                  <a:lnTo>
                    <a:pt x="1203" y="1470"/>
                  </a:lnTo>
                  <a:lnTo>
                    <a:pt x="1205" y="1465"/>
                  </a:lnTo>
                  <a:lnTo>
                    <a:pt x="1205" y="1462"/>
                  </a:lnTo>
                  <a:lnTo>
                    <a:pt x="1205" y="1462"/>
                  </a:lnTo>
                  <a:lnTo>
                    <a:pt x="1203" y="1462"/>
                  </a:lnTo>
                  <a:lnTo>
                    <a:pt x="1196" y="1465"/>
                  </a:lnTo>
                  <a:lnTo>
                    <a:pt x="1193" y="1467"/>
                  </a:lnTo>
                  <a:lnTo>
                    <a:pt x="1191" y="1467"/>
                  </a:lnTo>
                  <a:lnTo>
                    <a:pt x="1189" y="1467"/>
                  </a:lnTo>
                  <a:lnTo>
                    <a:pt x="1186" y="1467"/>
                  </a:lnTo>
                  <a:lnTo>
                    <a:pt x="1186" y="1467"/>
                  </a:lnTo>
                  <a:lnTo>
                    <a:pt x="1182" y="1470"/>
                  </a:lnTo>
                  <a:lnTo>
                    <a:pt x="1177" y="1467"/>
                  </a:lnTo>
                  <a:lnTo>
                    <a:pt x="1174" y="1467"/>
                  </a:lnTo>
                  <a:lnTo>
                    <a:pt x="1174" y="1470"/>
                  </a:lnTo>
                  <a:lnTo>
                    <a:pt x="1172" y="1470"/>
                  </a:lnTo>
                  <a:lnTo>
                    <a:pt x="1172" y="1470"/>
                  </a:lnTo>
                  <a:lnTo>
                    <a:pt x="1172" y="1472"/>
                  </a:lnTo>
                  <a:lnTo>
                    <a:pt x="1170" y="1472"/>
                  </a:lnTo>
                  <a:lnTo>
                    <a:pt x="1170" y="1472"/>
                  </a:lnTo>
                  <a:lnTo>
                    <a:pt x="1167" y="1472"/>
                  </a:lnTo>
                  <a:lnTo>
                    <a:pt x="1165" y="1472"/>
                  </a:lnTo>
                  <a:lnTo>
                    <a:pt x="1163" y="1472"/>
                  </a:lnTo>
                  <a:lnTo>
                    <a:pt x="1160" y="1472"/>
                  </a:lnTo>
                  <a:lnTo>
                    <a:pt x="1158" y="1470"/>
                  </a:lnTo>
                  <a:lnTo>
                    <a:pt x="1158" y="1470"/>
                  </a:lnTo>
                  <a:lnTo>
                    <a:pt x="1156" y="1470"/>
                  </a:lnTo>
                  <a:lnTo>
                    <a:pt x="1156" y="1470"/>
                  </a:lnTo>
                  <a:lnTo>
                    <a:pt x="1151" y="1472"/>
                  </a:lnTo>
                  <a:lnTo>
                    <a:pt x="1148" y="1474"/>
                  </a:lnTo>
                  <a:lnTo>
                    <a:pt x="1148" y="1474"/>
                  </a:lnTo>
                  <a:lnTo>
                    <a:pt x="1146" y="1470"/>
                  </a:lnTo>
                  <a:lnTo>
                    <a:pt x="1146" y="1470"/>
                  </a:lnTo>
                  <a:lnTo>
                    <a:pt x="1144" y="1470"/>
                  </a:lnTo>
                  <a:lnTo>
                    <a:pt x="1141" y="1470"/>
                  </a:lnTo>
                  <a:lnTo>
                    <a:pt x="1139" y="1470"/>
                  </a:lnTo>
                  <a:lnTo>
                    <a:pt x="1134" y="1472"/>
                  </a:lnTo>
                  <a:lnTo>
                    <a:pt x="1132" y="1474"/>
                  </a:lnTo>
                  <a:lnTo>
                    <a:pt x="1132" y="1477"/>
                  </a:lnTo>
                  <a:lnTo>
                    <a:pt x="1130" y="1477"/>
                  </a:lnTo>
                  <a:lnTo>
                    <a:pt x="1130" y="1477"/>
                  </a:lnTo>
                  <a:lnTo>
                    <a:pt x="1130" y="1477"/>
                  </a:lnTo>
                  <a:lnTo>
                    <a:pt x="1130" y="1481"/>
                  </a:lnTo>
                  <a:lnTo>
                    <a:pt x="1127" y="1486"/>
                  </a:lnTo>
                  <a:lnTo>
                    <a:pt x="1127" y="1488"/>
                  </a:lnTo>
                  <a:lnTo>
                    <a:pt x="1127" y="1488"/>
                  </a:lnTo>
                  <a:lnTo>
                    <a:pt x="1127" y="1491"/>
                  </a:lnTo>
                  <a:lnTo>
                    <a:pt x="1127" y="1491"/>
                  </a:lnTo>
                  <a:lnTo>
                    <a:pt x="1127" y="1496"/>
                  </a:lnTo>
                  <a:lnTo>
                    <a:pt x="1127" y="1496"/>
                  </a:lnTo>
                  <a:lnTo>
                    <a:pt x="1127" y="1498"/>
                  </a:lnTo>
                  <a:lnTo>
                    <a:pt x="1127" y="1498"/>
                  </a:lnTo>
                  <a:lnTo>
                    <a:pt x="1130" y="1500"/>
                  </a:lnTo>
                  <a:lnTo>
                    <a:pt x="1127" y="1500"/>
                  </a:lnTo>
                  <a:lnTo>
                    <a:pt x="1127" y="1503"/>
                  </a:lnTo>
                  <a:lnTo>
                    <a:pt x="1127" y="1505"/>
                  </a:lnTo>
                  <a:lnTo>
                    <a:pt x="1127" y="1505"/>
                  </a:lnTo>
                  <a:lnTo>
                    <a:pt x="1125" y="1507"/>
                  </a:lnTo>
                  <a:lnTo>
                    <a:pt x="1125" y="1507"/>
                  </a:lnTo>
                  <a:lnTo>
                    <a:pt x="1122" y="1510"/>
                  </a:lnTo>
                  <a:lnTo>
                    <a:pt x="1120" y="1510"/>
                  </a:lnTo>
                  <a:lnTo>
                    <a:pt x="1118" y="1510"/>
                  </a:lnTo>
                  <a:lnTo>
                    <a:pt x="1118" y="1512"/>
                  </a:lnTo>
                  <a:lnTo>
                    <a:pt x="1118" y="1514"/>
                  </a:lnTo>
                  <a:lnTo>
                    <a:pt x="1118" y="1517"/>
                  </a:lnTo>
                  <a:lnTo>
                    <a:pt x="1115" y="1517"/>
                  </a:lnTo>
                  <a:lnTo>
                    <a:pt x="1115" y="1517"/>
                  </a:lnTo>
                  <a:lnTo>
                    <a:pt x="1113" y="1517"/>
                  </a:lnTo>
                  <a:lnTo>
                    <a:pt x="1113" y="1517"/>
                  </a:lnTo>
                  <a:lnTo>
                    <a:pt x="1113" y="1519"/>
                  </a:lnTo>
                  <a:lnTo>
                    <a:pt x="1113" y="1522"/>
                  </a:lnTo>
                  <a:lnTo>
                    <a:pt x="1113" y="1524"/>
                  </a:lnTo>
                  <a:lnTo>
                    <a:pt x="1111" y="1524"/>
                  </a:lnTo>
                  <a:lnTo>
                    <a:pt x="1108" y="1524"/>
                  </a:lnTo>
                  <a:lnTo>
                    <a:pt x="1108" y="1524"/>
                  </a:lnTo>
                  <a:lnTo>
                    <a:pt x="1106" y="1524"/>
                  </a:lnTo>
                  <a:lnTo>
                    <a:pt x="1108" y="1526"/>
                  </a:lnTo>
                  <a:lnTo>
                    <a:pt x="1106" y="1526"/>
                  </a:lnTo>
                  <a:lnTo>
                    <a:pt x="1104" y="1526"/>
                  </a:lnTo>
                  <a:lnTo>
                    <a:pt x="1101" y="1531"/>
                  </a:lnTo>
                  <a:lnTo>
                    <a:pt x="1099" y="1529"/>
                  </a:lnTo>
                  <a:lnTo>
                    <a:pt x="1096" y="1526"/>
                  </a:lnTo>
                  <a:lnTo>
                    <a:pt x="1094" y="1526"/>
                  </a:lnTo>
                  <a:lnTo>
                    <a:pt x="1094" y="1526"/>
                  </a:lnTo>
                  <a:lnTo>
                    <a:pt x="1094" y="1526"/>
                  </a:lnTo>
                  <a:lnTo>
                    <a:pt x="1096" y="1524"/>
                  </a:lnTo>
                  <a:lnTo>
                    <a:pt x="1096" y="1522"/>
                  </a:lnTo>
                  <a:lnTo>
                    <a:pt x="1094" y="1519"/>
                  </a:lnTo>
                  <a:lnTo>
                    <a:pt x="1094" y="1519"/>
                  </a:lnTo>
                  <a:lnTo>
                    <a:pt x="1094" y="1517"/>
                  </a:lnTo>
                  <a:lnTo>
                    <a:pt x="1092" y="1512"/>
                  </a:lnTo>
                  <a:lnTo>
                    <a:pt x="1092" y="1510"/>
                  </a:lnTo>
                  <a:lnTo>
                    <a:pt x="1092" y="1510"/>
                  </a:lnTo>
                  <a:lnTo>
                    <a:pt x="1092" y="1507"/>
                  </a:lnTo>
                  <a:lnTo>
                    <a:pt x="1092" y="1507"/>
                  </a:lnTo>
                  <a:lnTo>
                    <a:pt x="1087" y="1505"/>
                  </a:lnTo>
                  <a:lnTo>
                    <a:pt x="1087" y="1505"/>
                  </a:lnTo>
                  <a:lnTo>
                    <a:pt x="1082" y="1507"/>
                  </a:lnTo>
                  <a:lnTo>
                    <a:pt x="1080" y="1507"/>
                  </a:lnTo>
                  <a:lnTo>
                    <a:pt x="1075" y="1512"/>
                  </a:lnTo>
                  <a:lnTo>
                    <a:pt x="1073" y="1514"/>
                  </a:lnTo>
                  <a:lnTo>
                    <a:pt x="1070" y="1514"/>
                  </a:lnTo>
                  <a:lnTo>
                    <a:pt x="1070" y="1514"/>
                  </a:lnTo>
                  <a:lnTo>
                    <a:pt x="1068" y="1514"/>
                  </a:lnTo>
                  <a:lnTo>
                    <a:pt x="1068" y="1514"/>
                  </a:lnTo>
                  <a:lnTo>
                    <a:pt x="1066" y="1514"/>
                  </a:lnTo>
                  <a:lnTo>
                    <a:pt x="1063" y="1512"/>
                  </a:lnTo>
                  <a:lnTo>
                    <a:pt x="1061" y="1512"/>
                  </a:lnTo>
                  <a:lnTo>
                    <a:pt x="1061" y="1514"/>
                  </a:lnTo>
                  <a:lnTo>
                    <a:pt x="1061" y="1514"/>
                  </a:lnTo>
                  <a:lnTo>
                    <a:pt x="1061" y="1517"/>
                  </a:lnTo>
                  <a:lnTo>
                    <a:pt x="1061" y="1519"/>
                  </a:lnTo>
                  <a:lnTo>
                    <a:pt x="1061" y="1524"/>
                  </a:lnTo>
                  <a:lnTo>
                    <a:pt x="1061" y="1524"/>
                  </a:lnTo>
                  <a:lnTo>
                    <a:pt x="1061" y="1526"/>
                  </a:lnTo>
                  <a:lnTo>
                    <a:pt x="1063" y="1531"/>
                  </a:lnTo>
                  <a:lnTo>
                    <a:pt x="1063" y="1533"/>
                  </a:lnTo>
                  <a:lnTo>
                    <a:pt x="1063" y="1531"/>
                  </a:lnTo>
                  <a:lnTo>
                    <a:pt x="1061" y="1533"/>
                  </a:lnTo>
                  <a:lnTo>
                    <a:pt x="1059" y="1531"/>
                  </a:lnTo>
                  <a:lnTo>
                    <a:pt x="1059" y="1533"/>
                  </a:lnTo>
                  <a:lnTo>
                    <a:pt x="1056" y="1533"/>
                  </a:lnTo>
                  <a:lnTo>
                    <a:pt x="1054" y="1533"/>
                  </a:lnTo>
                  <a:lnTo>
                    <a:pt x="1054" y="1531"/>
                  </a:lnTo>
                  <a:lnTo>
                    <a:pt x="1054" y="1531"/>
                  </a:lnTo>
                  <a:lnTo>
                    <a:pt x="1054" y="1531"/>
                  </a:lnTo>
                  <a:lnTo>
                    <a:pt x="1052" y="1531"/>
                  </a:lnTo>
                  <a:lnTo>
                    <a:pt x="1047" y="1526"/>
                  </a:lnTo>
                  <a:lnTo>
                    <a:pt x="1047" y="1526"/>
                  </a:lnTo>
                  <a:lnTo>
                    <a:pt x="1044" y="1526"/>
                  </a:lnTo>
                  <a:lnTo>
                    <a:pt x="1042" y="1526"/>
                  </a:lnTo>
                  <a:lnTo>
                    <a:pt x="1040" y="1526"/>
                  </a:lnTo>
                  <a:lnTo>
                    <a:pt x="1037" y="1526"/>
                  </a:lnTo>
                  <a:lnTo>
                    <a:pt x="1037" y="1529"/>
                  </a:lnTo>
                  <a:lnTo>
                    <a:pt x="1035" y="1531"/>
                  </a:lnTo>
                  <a:lnTo>
                    <a:pt x="1035" y="1531"/>
                  </a:lnTo>
                  <a:lnTo>
                    <a:pt x="1033" y="1531"/>
                  </a:lnTo>
                  <a:lnTo>
                    <a:pt x="1033" y="1531"/>
                  </a:lnTo>
                  <a:lnTo>
                    <a:pt x="1030" y="1536"/>
                  </a:lnTo>
                  <a:lnTo>
                    <a:pt x="1030" y="1538"/>
                  </a:lnTo>
                  <a:lnTo>
                    <a:pt x="1026" y="1545"/>
                  </a:lnTo>
                  <a:lnTo>
                    <a:pt x="1026" y="1545"/>
                  </a:lnTo>
                  <a:lnTo>
                    <a:pt x="1023" y="1543"/>
                  </a:lnTo>
                  <a:lnTo>
                    <a:pt x="1023" y="1543"/>
                  </a:lnTo>
                  <a:lnTo>
                    <a:pt x="1021" y="1545"/>
                  </a:lnTo>
                  <a:lnTo>
                    <a:pt x="1021" y="1545"/>
                  </a:lnTo>
                  <a:lnTo>
                    <a:pt x="1019" y="1545"/>
                  </a:lnTo>
                  <a:lnTo>
                    <a:pt x="1019" y="1547"/>
                  </a:lnTo>
                  <a:lnTo>
                    <a:pt x="1016" y="1547"/>
                  </a:lnTo>
                  <a:lnTo>
                    <a:pt x="1016" y="1545"/>
                  </a:lnTo>
                  <a:lnTo>
                    <a:pt x="1016" y="1545"/>
                  </a:lnTo>
                  <a:lnTo>
                    <a:pt x="1014" y="1545"/>
                  </a:lnTo>
                  <a:lnTo>
                    <a:pt x="1014" y="1540"/>
                  </a:lnTo>
                  <a:lnTo>
                    <a:pt x="1011" y="1540"/>
                  </a:lnTo>
                  <a:lnTo>
                    <a:pt x="1011" y="1540"/>
                  </a:lnTo>
                  <a:lnTo>
                    <a:pt x="1011" y="1538"/>
                  </a:lnTo>
                  <a:lnTo>
                    <a:pt x="1009" y="1538"/>
                  </a:lnTo>
                  <a:lnTo>
                    <a:pt x="1009" y="1538"/>
                  </a:lnTo>
                  <a:lnTo>
                    <a:pt x="1007" y="1536"/>
                  </a:lnTo>
                  <a:lnTo>
                    <a:pt x="1004" y="1536"/>
                  </a:lnTo>
                  <a:lnTo>
                    <a:pt x="1002" y="1533"/>
                  </a:lnTo>
                  <a:lnTo>
                    <a:pt x="1002" y="1533"/>
                  </a:lnTo>
                  <a:lnTo>
                    <a:pt x="1000" y="1531"/>
                  </a:lnTo>
                  <a:lnTo>
                    <a:pt x="997" y="1529"/>
                  </a:lnTo>
                  <a:lnTo>
                    <a:pt x="997" y="1526"/>
                  </a:lnTo>
                  <a:lnTo>
                    <a:pt x="995" y="1526"/>
                  </a:lnTo>
                  <a:lnTo>
                    <a:pt x="995" y="1524"/>
                  </a:lnTo>
                  <a:lnTo>
                    <a:pt x="993" y="1524"/>
                  </a:lnTo>
                  <a:lnTo>
                    <a:pt x="990" y="1524"/>
                  </a:lnTo>
                  <a:lnTo>
                    <a:pt x="988" y="1524"/>
                  </a:lnTo>
                  <a:lnTo>
                    <a:pt x="985" y="1524"/>
                  </a:lnTo>
                  <a:lnTo>
                    <a:pt x="985" y="1524"/>
                  </a:lnTo>
                  <a:lnTo>
                    <a:pt x="983" y="1526"/>
                  </a:lnTo>
                  <a:lnTo>
                    <a:pt x="978" y="1526"/>
                  </a:lnTo>
                  <a:lnTo>
                    <a:pt x="976" y="1524"/>
                  </a:lnTo>
                  <a:lnTo>
                    <a:pt x="976" y="1524"/>
                  </a:lnTo>
                  <a:lnTo>
                    <a:pt x="974" y="1524"/>
                  </a:lnTo>
                  <a:lnTo>
                    <a:pt x="971" y="1526"/>
                  </a:lnTo>
                  <a:lnTo>
                    <a:pt x="971" y="1526"/>
                  </a:lnTo>
                  <a:lnTo>
                    <a:pt x="969" y="1529"/>
                  </a:lnTo>
                  <a:lnTo>
                    <a:pt x="964" y="1526"/>
                  </a:lnTo>
                  <a:lnTo>
                    <a:pt x="964" y="1526"/>
                  </a:lnTo>
                  <a:lnTo>
                    <a:pt x="962" y="1526"/>
                  </a:lnTo>
                  <a:lnTo>
                    <a:pt x="962" y="1526"/>
                  </a:lnTo>
                  <a:lnTo>
                    <a:pt x="957" y="1524"/>
                  </a:lnTo>
                  <a:lnTo>
                    <a:pt x="957" y="1524"/>
                  </a:lnTo>
                  <a:lnTo>
                    <a:pt x="955" y="1524"/>
                  </a:lnTo>
                  <a:lnTo>
                    <a:pt x="955" y="1526"/>
                  </a:lnTo>
                  <a:lnTo>
                    <a:pt x="955" y="1529"/>
                  </a:lnTo>
                  <a:lnTo>
                    <a:pt x="952" y="1529"/>
                  </a:lnTo>
                  <a:lnTo>
                    <a:pt x="952" y="1529"/>
                  </a:lnTo>
                  <a:lnTo>
                    <a:pt x="952" y="1526"/>
                  </a:lnTo>
                  <a:lnTo>
                    <a:pt x="950" y="1526"/>
                  </a:lnTo>
                  <a:lnTo>
                    <a:pt x="948" y="1526"/>
                  </a:lnTo>
                  <a:lnTo>
                    <a:pt x="945" y="1526"/>
                  </a:lnTo>
                  <a:lnTo>
                    <a:pt x="945" y="1526"/>
                  </a:lnTo>
                  <a:lnTo>
                    <a:pt x="943" y="1526"/>
                  </a:lnTo>
                  <a:lnTo>
                    <a:pt x="938" y="1524"/>
                  </a:lnTo>
                  <a:lnTo>
                    <a:pt x="938" y="1526"/>
                  </a:lnTo>
                  <a:lnTo>
                    <a:pt x="938" y="1526"/>
                  </a:lnTo>
                  <a:lnTo>
                    <a:pt x="941" y="1529"/>
                  </a:lnTo>
                  <a:lnTo>
                    <a:pt x="943" y="1531"/>
                  </a:lnTo>
                  <a:lnTo>
                    <a:pt x="943" y="1536"/>
                  </a:lnTo>
                  <a:lnTo>
                    <a:pt x="938" y="1540"/>
                  </a:lnTo>
                  <a:lnTo>
                    <a:pt x="936" y="1543"/>
                  </a:lnTo>
                  <a:lnTo>
                    <a:pt x="933" y="1547"/>
                  </a:lnTo>
                  <a:lnTo>
                    <a:pt x="929" y="1550"/>
                  </a:lnTo>
                  <a:lnTo>
                    <a:pt x="929" y="1552"/>
                  </a:lnTo>
                  <a:lnTo>
                    <a:pt x="929" y="1552"/>
                  </a:lnTo>
                  <a:lnTo>
                    <a:pt x="929" y="1555"/>
                  </a:lnTo>
                  <a:lnTo>
                    <a:pt x="924" y="1555"/>
                  </a:lnTo>
                  <a:lnTo>
                    <a:pt x="922" y="1557"/>
                  </a:lnTo>
                  <a:lnTo>
                    <a:pt x="917" y="1559"/>
                  </a:lnTo>
                  <a:lnTo>
                    <a:pt x="917" y="1559"/>
                  </a:lnTo>
                  <a:lnTo>
                    <a:pt x="915" y="1559"/>
                  </a:lnTo>
                  <a:lnTo>
                    <a:pt x="912" y="1559"/>
                  </a:lnTo>
                  <a:lnTo>
                    <a:pt x="905" y="1564"/>
                  </a:lnTo>
                  <a:lnTo>
                    <a:pt x="905" y="1566"/>
                  </a:lnTo>
                  <a:lnTo>
                    <a:pt x="903" y="1569"/>
                  </a:lnTo>
                  <a:lnTo>
                    <a:pt x="900" y="1571"/>
                  </a:lnTo>
                  <a:lnTo>
                    <a:pt x="896" y="1571"/>
                  </a:lnTo>
                  <a:lnTo>
                    <a:pt x="893" y="1571"/>
                  </a:lnTo>
                  <a:lnTo>
                    <a:pt x="893" y="1569"/>
                  </a:lnTo>
                  <a:lnTo>
                    <a:pt x="891" y="1571"/>
                  </a:lnTo>
                  <a:lnTo>
                    <a:pt x="893" y="1571"/>
                  </a:lnTo>
                  <a:lnTo>
                    <a:pt x="893" y="1573"/>
                  </a:lnTo>
                  <a:lnTo>
                    <a:pt x="889" y="1578"/>
                  </a:lnTo>
                  <a:lnTo>
                    <a:pt x="856" y="1564"/>
                  </a:lnTo>
                  <a:lnTo>
                    <a:pt x="851" y="1562"/>
                  </a:lnTo>
                  <a:lnTo>
                    <a:pt x="846" y="1559"/>
                  </a:lnTo>
                  <a:lnTo>
                    <a:pt x="844" y="1557"/>
                  </a:lnTo>
                  <a:lnTo>
                    <a:pt x="822" y="1550"/>
                  </a:lnTo>
                  <a:lnTo>
                    <a:pt x="744" y="1514"/>
                  </a:lnTo>
                  <a:lnTo>
                    <a:pt x="714" y="1500"/>
                  </a:lnTo>
                  <a:lnTo>
                    <a:pt x="659" y="1477"/>
                  </a:lnTo>
                  <a:lnTo>
                    <a:pt x="645" y="1472"/>
                  </a:lnTo>
                  <a:lnTo>
                    <a:pt x="643" y="1470"/>
                  </a:lnTo>
                  <a:lnTo>
                    <a:pt x="638" y="1467"/>
                  </a:lnTo>
                  <a:lnTo>
                    <a:pt x="612" y="1453"/>
                  </a:lnTo>
                  <a:lnTo>
                    <a:pt x="589" y="1441"/>
                  </a:lnTo>
                  <a:lnTo>
                    <a:pt x="555" y="1425"/>
                  </a:lnTo>
                  <a:lnTo>
                    <a:pt x="541" y="1415"/>
                  </a:lnTo>
                  <a:lnTo>
                    <a:pt x="515" y="1401"/>
                  </a:lnTo>
                  <a:lnTo>
                    <a:pt x="468" y="1375"/>
                  </a:lnTo>
                  <a:lnTo>
                    <a:pt x="447" y="1366"/>
                  </a:lnTo>
                  <a:lnTo>
                    <a:pt x="437" y="1359"/>
                  </a:lnTo>
                  <a:lnTo>
                    <a:pt x="426" y="1356"/>
                  </a:lnTo>
                  <a:lnTo>
                    <a:pt x="411" y="1351"/>
                  </a:lnTo>
                  <a:lnTo>
                    <a:pt x="364" y="1342"/>
                  </a:lnTo>
                  <a:lnTo>
                    <a:pt x="326" y="1333"/>
                  </a:lnTo>
                  <a:lnTo>
                    <a:pt x="293" y="1325"/>
                  </a:lnTo>
                  <a:lnTo>
                    <a:pt x="284" y="1323"/>
                  </a:lnTo>
                  <a:lnTo>
                    <a:pt x="232" y="1311"/>
                  </a:lnTo>
                  <a:lnTo>
                    <a:pt x="230" y="1311"/>
                  </a:lnTo>
                  <a:lnTo>
                    <a:pt x="227" y="1311"/>
                  </a:lnTo>
                  <a:lnTo>
                    <a:pt x="208" y="1304"/>
                  </a:lnTo>
                  <a:lnTo>
                    <a:pt x="206" y="1304"/>
                  </a:lnTo>
                  <a:lnTo>
                    <a:pt x="147" y="1292"/>
                  </a:lnTo>
                  <a:lnTo>
                    <a:pt x="142" y="1290"/>
                  </a:lnTo>
                  <a:lnTo>
                    <a:pt x="121" y="1278"/>
                  </a:lnTo>
                  <a:lnTo>
                    <a:pt x="62" y="1252"/>
                  </a:lnTo>
                  <a:lnTo>
                    <a:pt x="10" y="1229"/>
                  </a:lnTo>
                  <a:lnTo>
                    <a:pt x="0" y="1224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 cap="flat">
              <a:solidFill>
                <a:schemeClr val="bg2">
                  <a:lumMod val="7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>
                <a:solidFill>
                  <a:srgbClr val="000000"/>
                </a:solidFill>
              </a:endParaRPr>
            </a:p>
          </p:txBody>
        </p:sp>
        <p:sp>
          <p:nvSpPr>
            <p:cNvPr id="35" name="Freeform 24"/>
            <p:cNvSpPr>
              <a:spLocks noEditPoints="1"/>
            </p:cNvSpPr>
            <p:nvPr/>
          </p:nvSpPr>
          <p:spPr bwMode="gray">
            <a:xfrm>
              <a:off x="1733266" y="2545307"/>
              <a:ext cx="1314689" cy="1423368"/>
            </a:xfrm>
            <a:custGeom>
              <a:avLst/>
              <a:gdLst/>
              <a:ahLst/>
              <a:cxnLst>
                <a:cxn ang="0">
                  <a:pos x="52" y="170"/>
                </a:cxn>
                <a:cxn ang="0">
                  <a:pos x="82" y="137"/>
                </a:cxn>
                <a:cxn ang="0">
                  <a:pos x="129" y="121"/>
                </a:cxn>
                <a:cxn ang="0">
                  <a:pos x="174" y="114"/>
                </a:cxn>
                <a:cxn ang="0">
                  <a:pos x="222" y="78"/>
                </a:cxn>
                <a:cxn ang="0">
                  <a:pos x="271" y="90"/>
                </a:cxn>
                <a:cxn ang="0">
                  <a:pos x="344" y="90"/>
                </a:cxn>
                <a:cxn ang="0">
                  <a:pos x="373" y="64"/>
                </a:cxn>
                <a:cxn ang="0">
                  <a:pos x="363" y="33"/>
                </a:cxn>
                <a:cxn ang="0">
                  <a:pos x="413" y="24"/>
                </a:cxn>
                <a:cxn ang="0">
                  <a:pos x="522" y="57"/>
                </a:cxn>
                <a:cxn ang="0">
                  <a:pos x="543" y="107"/>
                </a:cxn>
                <a:cxn ang="0">
                  <a:pos x="597" y="126"/>
                </a:cxn>
                <a:cxn ang="0">
                  <a:pos x="630" y="149"/>
                </a:cxn>
                <a:cxn ang="0">
                  <a:pos x="666" y="161"/>
                </a:cxn>
                <a:cxn ang="0">
                  <a:pos x="696" y="215"/>
                </a:cxn>
                <a:cxn ang="0">
                  <a:pos x="744" y="324"/>
                </a:cxn>
                <a:cxn ang="0">
                  <a:pos x="810" y="435"/>
                </a:cxn>
                <a:cxn ang="0">
                  <a:pos x="867" y="501"/>
                </a:cxn>
                <a:cxn ang="0">
                  <a:pos x="956" y="381"/>
                </a:cxn>
                <a:cxn ang="0">
                  <a:pos x="1122" y="258"/>
                </a:cxn>
                <a:cxn ang="0">
                  <a:pos x="1197" y="329"/>
                </a:cxn>
                <a:cxn ang="0">
                  <a:pos x="1332" y="374"/>
                </a:cxn>
                <a:cxn ang="0">
                  <a:pos x="1398" y="428"/>
                </a:cxn>
                <a:cxn ang="0">
                  <a:pos x="1429" y="421"/>
                </a:cxn>
                <a:cxn ang="0">
                  <a:pos x="1455" y="423"/>
                </a:cxn>
                <a:cxn ang="0">
                  <a:pos x="1485" y="430"/>
                </a:cxn>
                <a:cxn ang="0">
                  <a:pos x="1500" y="437"/>
                </a:cxn>
                <a:cxn ang="0">
                  <a:pos x="1514" y="442"/>
                </a:cxn>
                <a:cxn ang="0">
                  <a:pos x="1530" y="444"/>
                </a:cxn>
                <a:cxn ang="0">
                  <a:pos x="1542" y="459"/>
                </a:cxn>
                <a:cxn ang="0">
                  <a:pos x="1552" y="456"/>
                </a:cxn>
                <a:cxn ang="0">
                  <a:pos x="1570" y="456"/>
                </a:cxn>
                <a:cxn ang="0">
                  <a:pos x="1575" y="475"/>
                </a:cxn>
                <a:cxn ang="0">
                  <a:pos x="1592" y="478"/>
                </a:cxn>
                <a:cxn ang="0">
                  <a:pos x="1606" y="466"/>
                </a:cxn>
                <a:cxn ang="0">
                  <a:pos x="1613" y="485"/>
                </a:cxn>
                <a:cxn ang="0">
                  <a:pos x="1615" y="534"/>
                </a:cxn>
                <a:cxn ang="0">
                  <a:pos x="1599" y="619"/>
                </a:cxn>
                <a:cxn ang="0">
                  <a:pos x="1573" y="676"/>
                </a:cxn>
                <a:cxn ang="0">
                  <a:pos x="1556" y="709"/>
                </a:cxn>
                <a:cxn ang="0">
                  <a:pos x="1542" y="747"/>
                </a:cxn>
                <a:cxn ang="0">
                  <a:pos x="1521" y="778"/>
                </a:cxn>
                <a:cxn ang="0">
                  <a:pos x="1504" y="813"/>
                </a:cxn>
                <a:cxn ang="0">
                  <a:pos x="1474" y="865"/>
                </a:cxn>
                <a:cxn ang="0">
                  <a:pos x="1445" y="912"/>
                </a:cxn>
                <a:cxn ang="0">
                  <a:pos x="1320" y="1049"/>
                </a:cxn>
                <a:cxn ang="0">
                  <a:pos x="1353" y="1113"/>
                </a:cxn>
                <a:cxn ang="0">
                  <a:pos x="1299" y="1207"/>
                </a:cxn>
                <a:cxn ang="0">
                  <a:pos x="1209" y="1335"/>
                </a:cxn>
                <a:cxn ang="0">
                  <a:pos x="1193" y="1477"/>
                </a:cxn>
                <a:cxn ang="0">
                  <a:pos x="1107" y="1607"/>
                </a:cxn>
                <a:cxn ang="0">
                  <a:pos x="233" y="1536"/>
                </a:cxn>
                <a:cxn ang="0">
                  <a:pos x="153" y="1439"/>
                </a:cxn>
                <a:cxn ang="0">
                  <a:pos x="82" y="1267"/>
                </a:cxn>
                <a:cxn ang="0">
                  <a:pos x="314" y="650"/>
                </a:cxn>
                <a:cxn ang="0">
                  <a:pos x="290" y="626"/>
                </a:cxn>
                <a:cxn ang="0">
                  <a:pos x="219" y="565"/>
                </a:cxn>
                <a:cxn ang="0">
                  <a:pos x="165" y="546"/>
                </a:cxn>
                <a:cxn ang="0">
                  <a:pos x="118" y="496"/>
                </a:cxn>
                <a:cxn ang="0">
                  <a:pos x="59" y="456"/>
                </a:cxn>
                <a:cxn ang="0">
                  <a:pos x="14" y="390"/>
                </a:cxn>
                <a:cxn ang="0">
                  <a:pos x="1559" y="447"/>
                </a:cxn>
              </a:cxnLst>
              <a:rect l="0" t="0" r="r" b="b"/>
              <a:pathLst>
                <a:path w="1627" h="1626">
                  <a:moveTo>
                    <a:pt x="0" y="178"/>
                  </a:moveTo>
                  <a:lnTo>
                    <a:pt x="2" y="178"/>
                  </a:lnTo>
                  <a:lnTo>
                    <a:pt x="2" y="180"/>
                  </a:lnTo>
                  <a:lnTo>
                    <a:pt x="2" y="182"/>
                  </a:lnTo>
                  <a:lnTo>
                    <a:pt x="4" y="182"/>
                  </a:lnTo>
                  <a:lnTo>
                    <a:pt x="4" y="185"/>
                  </a:lnTo>
                  <a:lnTo>
                    <a:pt x="7" y="185"/>
                  </a:lnTo>
                  <a:lnTo>
                    <a:pt x="7" y="182"/>
                  </a:lnTo>
                  <a:lnTo>
                    <a:pt x="9" y="185"/>
                  </a:lnTo>
                  <a:lnTo>
                    <a:pt x="9" y="185"/>
                  </a:lnTo>
                  <a:lnTo>
                    <a:pt x="9" y="185"/>
                  </a:lnTo>
                  <a:lnTo>
                    <a:pt x="11" y="185"/>
                  </a:lnTo>
                  <a:lnTo>
                    <a:pt x="11" y="185"/>
                  </a:lnTo>
                  <a:lnTo>
                    <a:pt x="11" y="182"/>
                  </a:lnTo>
                  <a:lnTo>
                    <a:pt x="14" y="182"/>
                  </a:lnTo>
                  <a:lnTo>
                    <a:pt x="16" y="185"/>
                  </a:lnTo>
                  <a:lnTo>
                    <a:pt x="16" y="182"/>
                  </a:lnTo>
                  <a:lnTo>
                    <a:pt x="18" y="180"/>
                  </a:lnTo>
                  <a:lnTo>
                    <a:pt x="18" y="182"/>
                  </a:lnTo>
                  <a:lnTo>
                    <a:pt x="23" y="178"/>
                  </a:lnTo>
                  <a:lnTo>
                    <a:pt x="21" y="175"/>
                  </a:lnTo>
                  <a:lnTo>
                    <a:pt x="21" y="175"/>
                  </a:lnTo>
                  <a:lnTo>
                    <a:pt x="23" y="170"/>
                  </a:lnTo>
                  <a:lnTo>
                    <a:pt x="23" y="170"/>
                  </a:lnTo>
                  <a:lnTo>
                    <a:pt x="23" y="170"/>
                  </a:lnTo>
                  <a:lnTo>
                    <a:pt x="26" y="170"/>
                  </a:lnTo>
                  <a:lnTo>
                    <a:pt x="28" y="170"/>
                  </a:lnTo>
                  <a:lnTo>
                    <a:pt x="28" y="170"/>
                  </a:lnTo>
                  <a:lnTo>
                    <a:pt x="28" y="173"/>
                  </a:lnTo>
                  <a:lnTo>
                    <a:pt x="30" y="170"/>
                  </a:lnTo>
                  <a:lnTo>
                    <a:pt x="33" y="170"/>
                  </a:lnTo>
                  <a:lnTo>
                    <a:pt x="33" y="170"/>
                  </a:lnTo>
                  <a:lnTo>
                    <a:pt x="35" y="170"/>
                  </a:lnTo>
                  <a:lnTo>
                    <a:pt x="35" y="173"/>
                  </a:lnTo>
                  <a:lnTo>
                    <a:pt x="37" y="173"/>
                  </a:lnTo>
                  <a:lnTo>
                    <a:pt x="37" y="173"/>
                  </a:lnTo>
                  <a:lnTo>
                    <a:pt x="40" y="173"/>
                  </a:lnTo>
                  <a:lnTo>
                    <a:pt x="40" y="173"/>
                  </a:lnTo>
                  <a:lnTo>
                    <a:pt x="40" y="170"/>
                  </a:lnTo>
                  <a:lnTo>
                    <a:pt x="42" y="170"/>
                  </a:lnTo>
                  <a:lnTo>
                    <a:pt x="42" y="170"/>
                  </a:lnTo>
                  <a:lnTo>
                    <a:pt x="42" y="170"/>
                  </a:lnTo>
                  <a:lnTo>
                    <a:pt x="44" y="170"/>
                  </a:lnTo>
                  <a:lnTo>
                    <a:pt x="44" y="170"/>
                  </a:lnTo>
                  <a:lnTo>
                    <a:pt x="44" y="173"/>
                  </a:lnTo>
                  <a:lnTo>
                    <a:pt x="44" y="173"/>
                  </a:lnTo>
                  <a:lnTo>
                    <a:pt x="47" y="173"/>
                  </a:lnTo>
                  <a:lnTo>
                    <a:pt x="47" y="175"/>
                  </a:lnTo>
                  <a:lnTo>
                    <a:pt x="47" y="173"/>
                  </a:lnTo>
                  <a:lnTo>
                    <a:pt x="47" y="173"/>
                  </a:lnTo>
                  <a:lnTo>
                    <a:pt x="49" y="173"/>
                  </a:lnTo>
                  <a:lnTo>
                    <a:pt x="52" y="173"/>
                  </a:lnTo>
                  <a:lnTo>
                    <a:pt x="52" y="170"/>
                  </a:lnTo>
                  <a:lnTo>
                    <a:pt x="52" y="168"/>
                  </a:lnTo>
                  <a:lnTo>
                    <a:pt x="54" y="168"/>
                  </a:lnTo>
                  <a:lnTo>
                    <a:pt x="54" y="166"/>
                  </a:lnTo>
                  <a:lnTo>
                    <a:pt x="54" y="163"/>
                  </a:lnTo>
                  <a:lnTo>
                    <a:pt x="54" y="161"/>
                  </a:lnTo>
                  <a:lnTo>
                    <a:pt x="54" y="159"/>
                  </a:lnTo>
                  <a:lnTo>
                    <a:pt x="54" y="161"/>
                  </a:lnTo>
                  <a:lnTo>
                    <a:pt x="52" y="159"/>
                  </a:lnTo>
                  <a:lnTo>
                    <a:pt x="52" y="156"/>
                  </a:lnTo>
                  <a:lnTo>
                    <a:pt x="49" y="156"/>
                  </a:lnTo>
                  <a:lnTo>
                    <a:pt x="49" y="154"/>
                  </a:lnTo>
                  <a:lnTo>
                    <a:pt x="49" y="154"/>
                  </a:lnTo>
                  <a:lnTo>
                    <a:pt x="49" y="154"/>
                  </a:lnTo>
                  <a:lnTo>
                    <a:pt x="52" y="152"/>
                  </a:lnTo>
                  <a:lnTo>
                    <a:pt x="49" y="152"/>
                  </a:lnTo>
                  <a:lnTo>
                    <a:pt x="49" y="149"/>
                  </a:lnTo>
                  <a:lnTo>
                    <a:pt x="49" y="147"/>
                  </a:lnTo>
                  <a:lnTo>
                    <a:pt x="52" y="147"/>
                  </a:lnTo>
                  <a:lnTo>
                    <a:pt x="52" y="147"/>
                  </a:lnTo>
                  <a:lnTo>
                    <a:pt x="54" y="147"/>
                  </a:lnTo>
                  <a:lnTo>
                    <a:pt x="54" y="147"/>
                  </a:lnTo>
                  <a:lnTo>
                    <a:pt x="56" y="149"/>
                  </a:lnTo>
                  <a:lnTo>
                    <a:pt x="56" y="147"/>
                  </a:lnTo>
                  <a:lnTo>
                    <a:pt x="59" y="147"/>
                  </a:lnTo>
                  <a:lnTo>
                    <a:pt x="61" y="147"/>
                  </a:lnTo>
                  <a:lnTo>
                    <a:pt x="63" y="147"/>
                  </a:lnTo>
                  <a:lnTo>
                    <a:pt x="66" y="144"/>
                  </a:lnTo>
                  <a:lnTo>
                    <a:pt x="66" y="144"/>
                  </a:lnTo>
                  <a:lnTo>
                    <a:pt x="63" y="144"/>
                  </a:lnTo>
                  <a:lnTo>
                    <a:pt x="63" y="142"/>
                  </a:lnTo>
                  <a:lnTo>
                    <a:pt x="63" y="142"/>
                  </a:lnTo>
                  <a:lnTo>
                    <a:pt x="63" y="142"/>
                  </a:lnTo>
                  <a:lnTo>
                    <a:pt x="63" y="140"/>
                  </a:lnTo>
                  <a:lnTo>
                    <a:pt x="63" y="137"/>
                  </a:lnTo>
                  <a:lnTo>
                    <a:pt x="66" y="137"/>
                  </a:lnTo>
                  <a:lnTo>
                    <a:pt x="68" y="137"/>
                  </a:lnTo>
                  <a:lnTo>
                    <a:pt x="68" y="135"/>
                  </a:lnTo>
                  <a:lnTo>
                    <a:pt x="68" y="135"/>
                  </a:lnTo>
                  <a:lnTo>
                    <a:pt x="70" y="135"/>
                  </a:lnTo>
                  <a:lnTo>
                    <a:pt x="70" y="133"/>
                  </a:lnTo>
                  <a:lnTo>
                    <a:pt x="70" y="133"/>
                  </a:lnTo>
                  <a:lnTo>
                    <a:pt x="70" y="130"/>
                  </a:lnTo>
                  <a:lnTo>
                    <a:pt x="73" y="130"/>
                  </a:lnTo>
                  <a:lnTo>
                    <a:pt x="73" y="130"/>
                  </a:lnTo>
                  <a:lnTo>
                    <a:pt x="73" y="135"/>
                  </a:lnTo>
                  <a:lnTo>
                    <a:pt x="75" y="135"/>
                  </a:lnTo>
                  <a:lnTo>
                    <a:pt x="75" y="133"/>
                  </a:lnTo>
                  <a:lnTo>
                    <a:pt x="80" y="135"/>
                  </a:lnTo>
                  <a:lnTo>
                    <a:pt x="80" y="133"/>
                  </a:lnTo>
                  <a:lnTo>
                    <a:pt x="80" y="135"/>
                  </a:lnTo>
                  <a:lnTo>
                    <a:pt x="80" y="135"/>
                  </a:lnTo>
                  <a:lnTo>
                    <a:pt x="82" y="135"/>
                  </a:lnTo>
                  <a:lnTo>
                    <a:pt x="82" y="137"/>
                  </a:lnTo>
                  <a:lnTo>
                    <a:pt x="87" y="135"/>
                  </a:lnTo>
                  <a:lnTo>
                    <a:pt x="89" y="135"/>
                  </a:lnTo>
                  <a:lnTo>
                    <a:pt x="89" y="133"/>
                  </a:lnTo>
                  <a:lnTo>
                    <a:pt x="89" y="135"/>
                  </a:lnTo>
                  <a:lnTo>
                    <a:pt x="92" y="135"/>
                  </a:lnTo>
                  <a:lnTo>
                    <a:pt x="94" y="137"/>
                  </a:lnTo>
                  <a:lnTo>
                    <a:pt x="94" y="137"/>
                  </a:lnTo>
                  <a:lnTo>
                    <a:pt x="94" y="140"/>
                  </a:lnTo>
                  <a:lnTo>
                    <a:pt x="94" y="142"/>
                  </a:lnTo>
                  <a:lnTo>
                    <a:pt x="94" y="142"/>
                  </a:lnTo>
                  <a:lnTo>
                    <a:pt x="96" y="142"/>
                  </a:lnTo>
                  <a:lnTo>
                    <a:pt x="99" y="142"/>
                  </a:lnTo>
                  <a:lnTo>
                    <a:pt x="101" y="142"/>
                  </a:lnTo>
                  <a:lnTo>
                    <a:pt x="101" y="142"/>
                  </a:lnTo>
                  <a:lnTo>
                    <a:pt x="101" y="142"/>
                  </a:lnTo>
                  <a:lnTo>
                    <a:pt x="103" y="142"/>
                  </a:lnTo>
                  <a:lnTo>
                    <a:pt x="103" y="140"/>
                  </a:lnTo>
                  <a:lnTo>
                    <a:pt x="106" y="140"/>
                  </a:lnTo>
                  <a:lnTo>
                    <a:pt x="108" y="140"/>
                  </a:lnTo>
                  <a:lnTo>
                    <a:pt x="111" y="142"/>
                  </a:lnTo>
                  <a:lnTo>
                    <a:pt x="111" y="142"/>
                  </a:lnTo>
                  <a:lnTo>
                    <a:pt x="113" y="142"/>
                  </a:lnTo>
                  <a:lnTo>
                    <a:pt x="113" y="142"/>
                  </a:lnTo>
                  <a:lnTo>
                    <a:pt x="113" y="140"/>
                  </a:lnTo>
                  <a:lnTo>
                    <a:pt x="113" y="140"/>
                  </a:lnTo>
                  <a:lnTo>
                    <a:pt x="115" y="137"/>
                  </a:lnTo>
                  <a:lnTo>
                    <a:pt x="113" y="135"/>
                  </a:lnTo>
                  <a:lnTo>
                    <a:pt x="115" y="135"/>
                  </a:lnTo>
                  <a:lnTo>
                    <a:pt x="113" y="135"/>
                  </a:lnTo>
                  <a:lnTo>
                    <a:pt x="115" y="135"/>
                  </a:lnTo>
                  <a:lnTo>
                    <a:pt x="115" y="133"/>
                  </a:lnTo>
                  <a:lnTo>
                    <a:pt x="115" y="133"/>
                  </a:lnTo>
                  <a:lnTo>
                    <a:pt x="115" y="130"/>
                  </a:lnTo>
                  <a:lnTo>
                    <a:pt x="115" y="128"/>
                  </a:lnTo>
                  <a:lnTo>
                    <a:pt x="115" y="128"/>
                  </a:lnTo>
                  <a:lnTo>
                    <a:pt x="115" y="126"/>
                  </a:lnTo>
                  <a:lnTo>
                    <a:pt x="113" y="123"/>
                  </a:lnTo>
                  <a:lnTo>
                    <a:pt x="113" y="123"/>
                  </a:lnTo>
                  <a:lnTo>
                    <a:pt x="113" y="123"/>
                  </a:lnTo>
                  <a:lnTo>
                    <a:pt x="113" y="123"/>
                  </a:lnTo>
                  <a:lnTo>
                    <a:pt x="115" y="123"/>
                  </a:lnTo>
                  <a:lnTo>
                    <a:pt x="118" y="123"/>
                  </a:lnTo>
                  <a:lnTo>
                    <a:pt x="118" y="123"/>
                  </a:lnTo>
                  <a:lnTo>
                    <a:pt x="118" y="123"/>
                  </a:lnTo>
                  <a:lnTo>
                    <a:pt x="120" y="123"/>
                  </a:lnTo>
                  <a:lnTo>
                    <a:pt x="122" y="123"/>
                  </a:lnTo>
                  <a:lnTo>
                    <a:pt x="125" y="123"/>
                  </a:lnTo>
                  <a:lnTo>
                    <a:pt x="125" y="123"/>
                  </a:lnTo>
                  <a:lnTo>
                    <a:pt x="125" y="121"/>
                  </a:lnTo>
                  <a:lnTo>
                    <a:pt x="127" y="121"/>
                  </a:lnTo>
                  <a:lnTo>
                    <a:pt x="127" y="121"/>
                  </a:lnTo>
                  <a:lnTo>
                    <a:pt x="127" y="121"/>
                  </a:lnTo>
                  <a:lnTo>
                    <a:pt x="129" y="121"/>
                  </a:lnTo>
                  <a:lnTo>
                    <a:pt x="129" y="119"/>
                  </a:lnTo>
                  <a:lnTo>
                    <a:pt x="132" y="121"/>
                  </a:lnTo>
                  <a:lnTo>
                    <a:pt x="132" y="119"/>
                  </a:lnTo>
                  <a:lnTo>
                    <a:pt x="134" y="119"/>
                  </a:lnTo>
                  <a:lnTo>
                    <a:pt x="134" y="119"/>
                  </a:lnTo>
                  <a:lnTo>
                    <a:pt x="134" y="119"/>
                  </a:lnTo>
                  <a:lnTo>
                    <a:pt x="137" y="119"/>
                  </a:lnTo>
                  <a:lnTo>
                    <a:pt x="137" y="119"/>
                  </a:lnTo>
                  <a:lnTo>
                    <a:pt x="139" y="119"/>
                  </a:lnTo>
                  <a:lnTo>
                    <a:pt x="139" y="119"/>
                  </a:lnTo>
                  <a:lnTo>
                    <a:pt x="139" y="116"/>
                  </a:lnTo>
                  <a:lnTo>
                    <a:pt x="139" y="116"/>
                  </a:lnTo>
                  <a:lnTo>
                    <a:pt x="139" y="114"/>
                  </a:lnTo>
                  <a:lnTo>
                    <a:pt x="141" y="114"/>
                  </a:lnTo>
                  <a:lnTo>
                    <a:pt x="141" y="114"/>
                  </a:lnTo>
                  <a:lnTo>
                    <a:pt x="144" y="114"/>
                  </a:lnTo>
                  <a:lnTo>
                    <a:pt x="144" y="114"/>
                  </a:lnTo>
                  <a:lnTo>
                    <a:pt x="144" y="114"/>
                  </a:lnTo>
                  <a:lnTo>
                    <a:pt x="146" y="114"/>
                  </a:lnTo>
                  <a:lnTo>
                    <a:pt x="146" y="114"/>
                  </a:lnTo>
                  <a:lnTo>
                    <a:pt x="148" y="114"/>
                  </a:lnTo>
                  <a:lnTo>
                    <a:pt x="148" y="114"/>
                  </a:lnTo>
                  <a:lnTo>
                    <a:pt x="148" y="114"/>
                  </a:lnTo>
                  <a:lnTo>
                    <a:pt x="151" y="114"/>
                  </a:lnTo>
                  <a:lnTo>
                    <a:pt x="148" y="114"/>
                  </a:lnTo>
                  <a:lnTo>
                    <a:pt x="151" y="114"/>
                  </a:lnTo>
                  <a:lnTo>
                    <a:pt x="151" y="114"/>
                  </a:lnTo>
                  <a:lnTo>
                    <a:pt x="151" y="116"/>
                  </a:lnTo>
                  <a:lnTo>
                    <a:pt x="153" y="116"/>
                  </a:lnTo>
                  <a:lnTo>
                    <a:pt x="155" y="116"/>
                  </a:lnTo>
                  <a:lnTo>
                    <a:pt x="155" y="116"/>
                  </a:lnTo>
                  <a:lnTo>
                    <a:pt x="155" y="116"/>
                  </a:lnTo>
                  <a:lnTo>
                    <a:pt x="155" y="119"/>
                  </a:lnTo>
                  <a:lnTo>
                    <a:pt x="158" y="119"/>
                  </a:lnTo>
                  <a:lnTo>
                    <a:pt x="158" y="119"/>
                  </a:lnTo>
                  <a:lnTo>
                    <a:pt x="160" y="119"/>
                  </a:lnTo>
                  <a:lnTo>
                    <a:pt x="160" y="116"/>
                  </a:lnTo>
                  <a:lnTo>
                    <a:pt x="163" y="116"/>
                  </a:lnTo>
                  <a:lnTo>
                    <a:pt x="163" y="119"/>
                  </a:lnTo>
                  <a:lnTo>
                    <a:pt x="165" y="116"/>
                  </a:lnTo>
                  <a:lnTo>
                    <a:pt x="165" y="116"/>
                  </a:lnTo>
                  <a:lnTo>
                    <a:pt x="167" y="116"/>
                  </a:lnTo>
                  <a:lnTo>
                    <a:pt x="167" y="119"/>
                  </a:lnTo>
                  <a:lnTo>
                    <a:pt x="167" y="119"/>
                  </a:lnTo>
                  <a:lnTo>
                    <a:pt x="167" y="116"/>
                  </a:lnTo>
                  <a:lnTo>
                    <a:pt x="170" y="119"/>
                  </a:lnTo>
                  <a:lnTo>
                    <a:pt x="170" y="116"/>
                  </a:lnTo>
                  <a:lnTo>
                    <a:pt x="172" y="116"/>
                  </a:lnTo>
                  <a:lnTo>
                    <a:pt x="172" y="116"/>
                  </a:lnTo>
                  <a:lnTo>
                    <a:pt x="172" y="114"/>
                  </a:lnTo>
                  <a:lnTo>
                    <a:pt x="172" y="114"/>
                  </a:lnTo>
                  <a:lnTo>
                    <a:pt x="174" y="114"/>
                  </a:lnTo>
                  <a:lnTo>
                    <a:pt x="174" y="114"/>
                  </a:lnTo>
                  <a:lnTo>
                    <a:pt x="174" y="114"/>
                  </a:lnTo>
                  <a:lnTo>
                    <a:pt x="174" y="111"/>
                  </a:lnTo>
                  <a:lnTo>
                    <a:pt x="174" y="109"/>
                  </a:lnTo>
                  <a:lnTo>
                    <a:pt x="177" y="109"/>
                  </a:lnTo>
                  <a:lnTo>
                    <a:pt x="177" y="109"/>
                  </a:lnTo>
                  <a:lnTo>
                    <a:pt x="177" y="107"/>
                  </a:lnTo>
                  <a:lnTo>
                    <a:pt x="177" y="104"/>
                  </a:lnTo>
                  <a:lnTo>
                    <a:pt x="177" y="104"/>
                  </a:lnTo>
                  <a:lnTo>
                    <a:pt x="179" y="104"/>
                  </a:lnTo>
                  <a:lnTo>
                    <a:pt x="179" y="104"/>
                  </a:lnTo>
                  <a:lnTo>
                    <a:pt x="184" y="102"/>
                  </a:lnTo>
                  <a:lnTo>
                    <a:pt x="184" y="102"/>
                  </a:lnTo>
                  <a:lnTo>
                    <a:pt x="184" y="100"/>
                  </a:lnTo>
                  <a:lnTo>
                    <a:pt x="184" y="100"/>
                  </a:lnTo>
                  <a:lnTo>
                    <a:pt x="184" y="97"/>
                  </a:lnTo>
                  <a:lnTo>
                    <a:pt x="186" y="97"/>
                  </a:lnTo>
                  <a:lnTo>
                    <a:pt x="184" y="95"/>
                  </a:lnTo>
                  <a:lnTo>
                    <a:pt x="186" y="93"/>
                  </a:lnTo>
                  <a:lnTo>
                    <a:pt x="184" y="93"/>
                  </a:lnTo>
                  <a:lnTo>
                    <a:pt x="184" y="93"/>
                  </a:lnTo>
                  <a:lnTo>
                    <a:pt x="184" y="90"/>
                  </a:lnTo>
                  <a:lnTo>
                    <a:pt x="186" y="90"/>
                  </a:lnTo>
                  <a:lnTo>
                    <a:pt x="189" y="88"/>
                  </a:lnTo>
                  <a:lnTo>
                    <a:pt x="189" y="88"/>
                  </a:lnTo>
                  <a:lnTo>
                    <a:pt x="191" y="88"/>
                  </a:lnTo>
                  <a:lnTo>
                    <a:pt x="193" y="88"/>
                  </a:lnTo>
                  <a:lnTo>
                    <a:pt x="193" y="88"/>
                  </a:lnTo>
                  <a:lnTo>
                    <a:pt x="196" y="85"/>
                  </a:lnTo>
                  <a:lnTo>
                    <a:pt x="196" y="83"/>
                  </a:lnTo>
                  <a:lnTo>
                    <a:pt x="193" y="83"/>
                  </a:lnTo>
                  <a:lnTo>
                    <a:pt x="196" y="83"/>
                  </a:lnTo>
                  <a:lnTo>
                    <a:pt x="196" y="81"/>
                  </a:lnTo>
                  <a:lnTo>
                    <a:pt x="196" y="81"/>
                  </a:lnTo>
                  <a:lnTo>
                    <a:pt x="196" y="81"/>
                  </a:lnTo>
                  <a:lnTo>
                    <a:pt x="198" y="81"/>
                  </a:lnTo>
                  <a:lnTo>
                    <a:pt x="200" y="81"/>
                  </a:lnTo>
                  <a:lnTo>
                    <a:pt x="200" y="78"/>
                  </a:lnTo>
                  <a:lnTo>
                    <a:pt x="205" y="81"/>
                  </a:lnTo>
                  <a:lnTo>
                    <a:pt x="207" y="81"/>
                  </a:lnTo>
                  <a:lnTo>
                    <a:pt x="205" y="81"/>
                  </a:lnTo>
                  <a:lnTo>
                    <a:pt x="207" y="83"/>
                  </a:lnTo>
                  <a:lnTo>
                    <a:pt x="207" y="83"/>
                  </a:lnTo>
                  <a:lnTo>
                    <a:pt x="210" y="83"/>
                  </a:lnTo>
                  <a:lnTo>
                    <a:pt x="210" y="85"/>
                  </a:lnTo>
                  <a:lnTo>
                    <a:pt x="210" y="85"/>
                  </a:lnTo>
                  <a:lnTo>
                    <a:pt x="210" y="83"/>
                  </a:lnTo>
                  <a:lnTo>
                    <a:pt x="212" y="83"/>
                  </a:lnTo>
                  <a:lnTo>
                    <a:pt x="215" y="81"/>
                  </a:lnTo>
                  <a:lnTo>
                    <a:pt x="217" y="81"/>
                  </a:lnTo>
                  <a:lnTo>
                    <a:pt x="217" y="78"/>
                  </a:lnTo>
                  <a:lnTo>
                    <a:pt x="219" y="78"/>
                  </a:lnTo>
                  <a:lnTo>
                    <a:pt x="222" y="78"/>
                  </a:lnTo>
                  <a:lnTo>
                    <a:pt x="222" y="78"/>
                  </a:lnTo>
                  <a:lnTo>
                    <a:pt x="226" y="76"/>
                  </a:lnTo>
                  <a:lnTo>
                    <a:pt x="226" y="76"/>
                  </a:lnTo>
                  <a:lnTo>
                    <a:pt x="226" y="74"/>
                  </a:lnTo>
                  <a:lnTo>
                    <a:pt x="226" y="74"/>
                  </a:lnTo>
                  <a:lnTo>
                    <a:pt x="229" y="74"/>
                  </a:lnTo>
                  <a:lnTo>
                    <a:pt x="229" y="74"/>
                  </a:lnTo>
                  <a:lnTo>
                    <a:pt x="229" y="74"/>
                  </a:lnTo>
                  <a:lnTo>
                    <a:pt x="229" y="76"/>
                  </a:lnTo>
                  <a:lnTo>
                    <a:pt x="231" y="78"/>
                  </a:lnTo>
                  <a:lnTo>
                    <a:pt x="231" y="78"/>
                  </a:lnTo>
                  <a:lnTo>
                    <a:pt x="231" y="81"/>
                  </a:lnTo>
                  <a:lnTo>
                    <a:pt x="231" y="83"/>
                  </a:lnTo>
                  <a:lnTo>
                    <a:pt x="233" y="83"/>
                  </a:lnTo>
                  <a:lnTo>
                    <a:pt x="233" y="83"/>
                  </a:lnTo>
                  <a:lnTo>
                    <a:pt x="236" y="83"/>
                  </a:lnTo>
                  <a:lnTo>
                    <a:pt x="236" y="85"/>
                  </a:lnTo>
                  <a:lnTo>
                    <a:pt x="238" y="88"/>
                  </a:lnTo>
                  <a:lnTo>
                    <a:pt x="238" y="88"/>
                  </a:lnTo>
                  <a:lnTo>
                    <a:pt x="238" y="88"/>
                  </a:lnTo>
                  <a:lnTo>
                    <a:pt x="241" y="90"/>
                  </a:lnTo>
                  <a:lnTo>
                    <a:pt x="243" y="90"/>
                  </a:lnTo>
                  <a:lnTo>
                    <a:pt x="243" y="90"/>
                  </a:lnTo>
                  <a:lnTo>
                    <a:pt x="245" y="88"/>
                  </a:lnTo>
                  <a:lnTo>
                    <a:pt x="245" y="88"/>
                  </a:lnTo>
                  <a:lnTo>
                    <a:pt x="245" y="88"/>
                  </a:lnTo>
                  <a:lnTo>
                    <a:pt x="248" y="88"/>
                  </a:lnTo>
                  <a:lnTo>
                    <a:pt x="250" y="88"/>
                  </a:lnTo>
                  <a:lnTo>
                    <a:pt x="252" y="88"/>
                  </a:lnTo>
                  <a:lnTo>
                    <a:pt x="252" y="90"/>
                  </a:lnTo>
                  <a:lnTo>
                    <a:pt x="255" y="90"/>
                  </a:lnTo>
                  <a:lnTo>
                    <a:pt x="255" y="90"/>
                  </a:lnTo>
                  <a:lnTo>
                    <a:pt x="257" y="90"/>
                  </a:lnTo>
                  <a:lnTo>
                    <a:pt x="257" y="90"/>
                  </a:lnTo>
                  <a:lnTo>
                    <a:pt x="257" y="93"/>
                  </a:lnTo>
                  <a:lnTo>
                    <a:pt x="259" y="90"/>
                  </a:lnTo>
                  <a:lnTo>
                    <a:pt x="259" y="93"/>
                  </a:lnTo>
                  <a:lnTo>
                    <a:pt x="262" y="93"/>
                  </a:lnTo>
                  <a:lnTo>
                    <a:pt x="262" y="93"/>
                  </a:lnTo>
                  <a:lnTo>
                    <a:pt x="262" y="93"/>
                  </a:lnTo>
                  <a:lnTo>
                    <a:pt x="264" y="93"/>
                  </a:lnTo>
                  <a:lnTo>
                    <a:pt x="264" y="93"/>
                  </a:lnTo>
                  <a:lnTo>
                    <a:pt x="266" y="95"/>
                  </a:lnTo>
                  <a:lnTo>
                    <a:pt x="264" y="95"/>
                  </a:lnTo>
                  <a:lnTo>
                    <a:pt x="266" y="95"/>
                  </a:lnTo>
                  <a:lnTo>
                    <a:pt x="266" y="97"/>
                  </a:lnTo>
                  <a:lnTo>
                    <a:pt x="266" y="97"/>
                  </a:lnTo>
                  <a:lnTo>
                    <a:pt x="266" y="97"/>
                  </a:lnTo>
                  <a:lnTo>
                    <a:pt x="266" y="95"/>
                  </a:lnTo>
                  <a:lnTo>
                    <a:pt x="269" y="95"/>
                  </a:lnTo>
                  <a:lnTo>
                    <a:pt x="269" y="93"/>
                  </a:lnTo>
                  <a:lnTo>
                    <a:pt x="269" y="93"/>
                  </a:lnTo>
                  <a:lnTo>
                    <a:pt x="271" y="90"/>
                  </a:lnTo>
                  <a:lnTo>
                    <a:pt x="271" y="90"/>
                  </a:lnTo>
                  <a:lnTo>
                    <a:pt x="274" y="90"/>
                  </a:lnTo>
                  <a:lnTo>
                    <a:pt x="274" y="88"/>
                  </a:lnTo>
                  <a:lnTo>
                    <a:pt x="274" y="88"/>
                  </a:lnTo>
                  <a:lnTo>
                    <a:pt x="276" y="88"/>
                  </a:lnTo>
                  <a:lnTo>
                    <a:pt x="278" y="88"/>
                  </a:lnTo>
                  <a:lnTo>
                    <a:pt x="281" y="88"/>
                  </a:lnTo>
                  <a:lnTo>
                    <a:pt x="281" y="88"/>
                  </a:lnTo>
                  <a:lnTo>
                    <a:pt x="281" y="88"/>
                  </a:lnTo>
                  <a:lnTo>
                    <a:pt x="285" y="88"/>
                  </a:lnTo>
                  <a:lnTo>
                    <a:pt x="285" y="88"/>
                  </a:lnTo>
                  <a:lnTo>
                    <a:pt x="285" y="88"/>
                  </a:lnTo>
                  <a:lnTo>
                    <a:pt x="288" y="85"/>
                  </a:lnTo>
                  <a:lnTo>
                    <a:pt x="288" y="83"/>
                  </a:lnTo>
                  <a:lnTo>
                    <a:pt x="290" y="85"/>
                  </a:lnTo>
                  <a:lnTo>
                    <a:pt x="290" y="85"/>
                  </a:lnTo>
                  <a:lnTo>
                    <a:pt x="292" y="88"/>
                  </a:lnTo>
                  <a:lnTo>
                    <a:pt x="292" y="90"/>
                  </a:lnTo>
                  <a:lnTo>
                    <a:pt x="295" y="90"/>
                  </a:lnTo>
                  <a:lnTo>
                    <a:pt x="297" y="88"/>
                  </a:lnTo>
                  <a:lnTo>
                    <a:pt x="300" y="88"/>
                  </a:lnTo>
                  <a:lnTo>
                    <a:pt x="300" y="88"/>
                  </a:lnTo>
                  <a:lnTo>
                    <a:pt x="302" y="85"/>
                  </a:lnTo>
                  <a:lnTo>
                    <a:pt x="304" y="85"/>
                  </a:lnTo>
                  <a:lnTo>
                    <a:pt x="304" y="83"/>
                  </a:lnTo>
                  <a:lnTo>
                    <a:pt x="307" y="83"/>
                  </a:lnTo>
                  <a:lnTo>
                    <a:pt x="309" y="83"/>
                  </a:lnTo>
                  <a:lnTo>
                    <a:pt x="311" y="83"/>
                  </a:lnTo>
                  <a:lnTo>
                    <a:pt x="311" y="83"/>
                  </a:lnTo>
                  <a:lnTo>
                    <a:pt x="311" y="83"/>
                  </a:lnTo>
                  <a:lnTo>
                    <a:pt x="314" y="83"/>
                  </a:lnTo>
                  <a:lnTo>
                    <a:pt x="314" y="85"/>
                  </a:lnTo>
                  <a:lnTo>
                    <a:pt x="314" y="88"/>
                  </a:lnTo>
                  <a:lnTo>
                    <a:pt x="316" y="88"/>
                  </a:lnTo>
                  <a:lnTo>
                    <a:pt x="316" y="88"/>
                  </a:lnTo>
                  <a:lnTo>
                    <a:pt x="318" y="88"/>
                  </a:lnTo>
                  <a:lnTo>
                    <a:pt x="318" y="85"/>
                  </a:lnTo>
                  <a:lnTo>
                    <a:pt x="321" y="85"/>
                  </a:lnTo>
                  <a:lnTo>
                    <a:pt x="321" y="85"/>
                  </a:lnTo>
                  <a:lnTo>
                    <a:pt x="323" y="85"/>
                  </a:lnTo>
                  <a:lnTo>
                    <a:pt x="323" y="85"/>
                  </a:lnTo>
                  <a:lnTo>
                    <a:pt x="326" y="88"/>
                  </a:lnTo>
                  <a:lnTo>
                    <a:pt x="328" y="88"/>
                  </a:lnTo>
                  <a:lnTo>
                    <a:pt x="328" y="90"/>
                  </a:lnTo>
                  <a:lnTo>
                    <a:pt x="330" y="90"/>
                  </a:lnTo>
                  <a:lnTo>
                    <a:pt x="330" y="90"/>
                  </a:lnTo>
                  <a:lnTo>
                    <a:pt x="333" y="90"/>
                  </a:lnTo>
                  <a:lnTo>
                    <a:pt x="333" y="93"/>
                  </a:lnTo>
                  <a:lnTo>
                    <a:pt x="337" y="93"/>
                  </a:lnTo>
                  <a:lnTo>
                    <a:pt x="337" y="90"/>
                  </a:lnTo>
                  <a:lnTo>
                    <a:pt x="340" y="90"/>
                  </a:lnTo>
                  <a:lnTo>
                    <a:pt x="340" y="90"/>
                  </a:lnTo>
                  <a:lnTo>
                    <a:pt x="342" y="90"/>
                  </a:lnTo>
                  <a:lnTo>
                    <a:pt x="344" y="90"/>
                  </a:lnTo>
                  <a:lnTo>
                    <a:pt x="344" y="90"/>
                  </a:lnTo>
                  <a:lnTo>
                    <a:pt x="347" y="93"/>
                  </a:lnTo>
                  <a:lnTo>
                    <a:pt x="347" y="93"/>
                  </a:lnTo>
                  <a:lnTo>
                    <a:pt x="347" y="93"/>
                  </a:lnTo>
                  <a:lnTo>
                    <a:pt x="349" y="93"/>
                  </a:lnTo>
                  <a:lnTo>
                    <a:pt x="349" y="95"/>
                  </a:lnTo>
                  <a:lnTo>
                    <a:pt x="349" y="97"/>
                  </a:lnTo>
                  <a:lnTo>
                    <a:pt x="352" y="97"/>
                  </a:lnTo>
                  <a:lnTo>
                    <a:pt x="352" y="97"/>
                  </a:lnTo>
                  <a:lnTo>
                    <a:pt x="352" y="97"/>
                  </a:lnTo>
                  <a:lnTo>
                    <a:pt x="354" y="97"/>
                  </a:lnTo>
                  <a:lnTo>
                    <a:pt x="356" y="97"/>
                  </a:lnTo>
                  <a:lnTo>
                    <a:pt x="356" y="97"/>
                  </a:lnTo>
                  <a:lnTo>
                    <a:pt x="356" y="97"/>
                  </a:lnTo>
                  <a:lnTo>
                    <a:pt x="356" y="97"/>
                  </a:lnTo>
                  <a:lnTo>
                    <a:pt x="356" y="97"/>
                  </a:lnTo>
                  <a:lnTo>
                    <a:pt x="359" y="97"/>
                  </a:lnTo>
                  <a:lnTo>
                    <a:pt x="361" y="97"/>
                  </a:lnTo>
                  <a:lnTo>
                    <a:pt x="361" y="97"/>
                  </a:lnTo>
                  <a:lnTo>
                    <a:pt x="361" y="97"/>
                  </a:lnTo>
                  <a:lnTo>
                    <a:pt x="363" y="97"/>
                  </a:lnTo>
                  <a:lnTo>
                    <a:pt x="363" y="97"/>
                  </a:lnTo>
                  <a:lnTo>
                    <a:pt x="368" y="100"/>
                  </a:lnTo>
                  <a:lnTo>
                    <a:pt x="368" y="100"/>
                  </a:lnTo>
                  <a:lnTo>
                    <a:pt x="368" y="100"/>
                  </a:lnTo>
                  <a:lnTo>
                    <a:pt x="370" y="97"/>
                  </a:lnTo>
                  <a:lnTo>
                    <a:pt x="370" y="97"/>
                  </a:lnTo>
                  <a:lnTo>
                    <a:pt x="373" y="97"/>
                  </a:lnTo>
                  <a:lnTo>
                    <a:pt x="375" y="95"/>
                  </a:lnTo>
                  <a:lnTo>
                    <a:pt x="378" y="93"/>
                  </a:lnTo>
                  <a:lnTo>
                    <a:pt x="380" y="93"/>
                  </a:lnTo>
                  <a:lnTo>
                    <a:pt x="380" y="90"/>
                  </a:lnTo>
                  <a:lnTo>
                    <a:pt x="378" y="88"/>
                  </a:lnTo>
                  <a:lnTo>
                    <a:pt x="378" y="85"/>
                  </a:lnTo>
                  <a:lnTo>
                    <a:pt x="375" y="85"/>
                  </a:lnTo>
                  <a:lnTo>
                    <a:pt x="378" y="83"/>
                  </a:lnTo>
                  <a:lnTo>
                    <a:pt x="375" y="78"/>
                  </a:lnTo>
                  <a:lnTo>
                    <a:pt x="375" y="78"/>
                  </a:lnTo>
                  <a:lnTo>
                    <a:pt x="375" y="78"/>
                  </a:lnTo>
                  <a:lnTo>
                    <a:pt x="378" y="78"/>
                  </a:lnTo>
                  <a:lnTo>
                    <a:pt x="378" y="78"/>
                  </a:lnTo>
                  <a:lnTo>
                    <a:pt x="378" y="78"/>
                  </a:lnTo>
                  <a:lnTo>
                    <a:pt x="378" y="76"/>
                  </a:lnTo>
                  <a:lnTo>
                    <a:pt x="378" y="76"/>
                  </a:lnTo>
                  <a:lnTo>
                    <a:pt x="378" y="74"/>
                  </a:lnTo>
                  <a:lnTo>
                    <a:pt x="380" y="74"/>
                  </a:lnTo>
                  <a:lnTo>
                    <a:pt x="380" y="71"/>
                  </a:lnTo>
                  <a:lnTo>
                    <a:pt x="378" y="71"/>
                  </a:lnTo>
                  <a:lnTo>
                    <a:pt x="375" y="69"/>
                  </a:lnTo>
                  <a:lnTo>
                    <a:pt x="375" y="69"/>
                  </a:lnTo>
                  <a:lnTo>
                    <a:pt x="375" y="67"/>
                  </a:lnTo>
                  <a:lnTo>
                    <a:pt x="375" y="67"/>
                  </a:lnTo>
                  <a:lnTo>
                    <a:pt x="373" y="64"/>
                  </a:lnTo>
                  <a:lnTo>
                    <a:pt x="370" y="67"/>
                  </a:lnTo>
                  <a:lnTo>
                    <a:pt x="370" y="64"/>
                  </a:lnTo>
                  <a:lnTo>
                    <a:pt x="370" y="62"/>
                  </a:lnTo>
                  <a:lnTo>
                    <a:pt x="370" y="62"/>
                  </a:lnTo>
                  <a:lnTo>
                    <a:pt x="370" y="62"/>
                  </a:lnTo>
                  <a:lnTo>
                    <a:pt x="368" y="59"/>
                  </a:lnTo>
                  <a:lnTo>
                    <a:pt x="368" y="59"/>
                  </a:lnTo>
                  <a:lnTo>
                    <a:pt x="368" y="59"/>
                  </a:lnTo>
                  <a:lnTo>
                    <a:pt x="368" y="59"/>
                  </a:lnTo>
                  <a:lnTo>
                    <a:pt x="366" y="55"/>
                  </a:lnTo>
                  <a:lnTo>
                    <a:pt x="366" y="55"/>
                  </a:lnTo>
                  <a:lnTo>
                    <a:pt x="361" y="55"/>
                  </a:lnTo>
                  <a:lnTo>
                    <a:pt x="361" y="55"/>
                  </a:lnTo>
                  <a:lnTo>
                    <a:pt x="361" y="52"/>
                  </a:lnTo>
                  <a:lnTo>
                    <a:pt x="359" y="52"/>
                  </a:lnTo>
                  <a:lnTo>
                    <a:pt x="359" y="52"/>
                  </a:lnTo>
                  <a:lnTo>
                    <a:pt x="361" y="52"/>
                  </a:lnTo>
                  <a:lnTo>
                    <a:pt x="361" y="50"/>
                  </a:lnTo>
                  <a:lnTo>
                    <a:pt x="361" y="50"/>
                  </a:lnTo>
                  <a:lnTo>
                    <a:pt x="361" y="50"/>
                  </a:lnTo>
                  <a:lnTo>
                    <a:pt x="361" y="48"/>
                  </a:lnTo>
                  <a:lnTo>
                    <a:pt x="361" y="48"/>
                  </a:lnTo>
                  <a:lnTo>
                    <a:pt x="359" y="48"/>
                  </a:lnTo>
                  <a:lnTo>
                    <a:pt x="359" y="45"/>
                  </a:lnTo>
                  <a:lnTo>
                    <a:pt x="356" y="45"/>
                  </a:lnTo>
                  <a:lnTo>
                    <a:pt x="356" y="45"/>
                  </a:lnTo>
                  <a:lnTo>
                    <a:pt x="354" y="45"/>
                  </a:lnTo>
                  <a:lnTo>
                    <a:pt x="352" y="45"/>
                  </a:lnTo>
                  <a:lnTo>
                    <a:pt x="352" y="45"/>
                  </a:lnTo>
                  <a:lnTo>
                    <a:pt x="352" y="43"/>
                  </a:lnTo>
                  <a:lnTo>
                    <a:pt x="349" y="43"/>
                  </a:lnTo>
                  <a:lnTo>
                    <a:pt x="349" y="43"/>
                  </a:lnTo>
                  <a:lnTo>
                    <a:pt x="352" y="41"/>
                  </a:lnTo>
                  <a:lnTo>
                    <a:pt x="352" y="41"/>
                  </a:lnTo>
                  <a:lnTo>
                    <a:pt x="352" y="38"/>
                  </a:lnTo>
                  <a:lnTo>
                    <a:pt x="352" y="36"/>
                  </a:lnTo>
                  <a:lnTo>
                    <a:pt x="354" y="36"/>
                  </a:lnTo>
                  <a:lnTo>
                    <a:pt x="356" y="36"/>
                  </a:lnTo>
                  <a:lnTo>
                    <a:pt x="356" y="33"/>
                  </a:lnTo>
                  <a:lnTo>
                    <a:pt x="354" y="33"/>
                  </a:lnTo>
                  <a:lnTo>
                    <a:pt x="356" y="31"/>
                  </a:lnTo>
                  <a:lnTo>
                    <a:pt x="356" y="31"/>
                  </a:lnTo>
                  <a:lnTo>
                    <a:pt x="356" y="29"/>
                  </a:lnTo>
                  <a:lnTo>
                    <a:pt x="356" y="29"/>
                  </a:lnTo>
                  <a:lnTo>
                    <a:pt x="356" y="29"/>
                  </a:lnTo>
                  <a:lnTo>
                    <a:pt x="356" y="29"/>
                  </a:lnTo>
                  <a:lnTo>
                    <a:pt x="359" y="29"/>
                  </a:lnTo>
                  <a:lnTo>
                    <a:pt x="359" y="31"/>
                  </a:lnTo>
                  <a:lnTo>
                    <a:pt x="359" y="33"/>
                  </a:lnTo>
                  <a:lnTo>
                    <a:pt x="361" y="33"/>
                  </a:lnTo>
                  <a:lnTo>
                    <a:pt x="363" y="33"/>
                  </a:lnTo>
                  <a:lnTo>
                    <a:pt x="363" y="33"/>
                  </a:lnTo>
                  <a:lnTo>
                    <a:pt x="363" y="33"/>
                  </a:lnTo>
                  <a:lnTo>
                    <a:pt x="363" y="31"/>
                  </a:lnTo>
                  <a:lnTo>
                    <a:pt x="363" y="31"/>
                  </a:lnTo>
                  <a:lnTo>
                    <a:pt x="363" y="31"/>
                  </a:lnTo>
                  <a:lnTo>
                    <a:pt x="361" y="31"/>
                  </a:lnTo>
                  <a:lnTo>
                    <a:pt x="361" y="29"/>
                  </a:lnTo>
                  <a:lnTo>
                    <a:pt x="363" y="26"/>
                  </a:lnTo>
                  <a:lnTo>
                    <a:pt x="363" y="26"/>
                  </a:lnTo>
                  <a:lnTo>
                    <a:pt x="366" y="24"/>
                  </a:lnTo>
                  <a:lnTo>
                    <a:pt x="366" y="24"/>
                  </a:lnTo>
                  <a:lnTo>
                    <a:pt x="366" y="24"/>
                  </a:lnTo>
                  <a:lnTo>
                    <a:pt x="368" y="22"/>
                  </a:lnTo>
                  <a:lnTo>
                    <a:pt x="368" y="22"/>
                  </a:lnTo>
                  <a:lnTo>
                    <a:pt x="368" y="19"/>
                  </a:lnTo>
                  <a:lnTo>
                    <a:pt x="368" y="19"/>
                  </a:lnTo>
                  <a:lnTo>
                    <a:pt x="368" y="19"/>
                  </a:lnTo>
                  <a:lnTo>
                    <a:pt x="366" y="19"/>
                  </a:lnTo>
                  <a:lnTo>
                    <a:pt x="366" y="19"/>
                  </a:lnTo>
                  <a:lnTo>
                    <a:pt x="366" y="17"/>
                  </a:lnTo>
                  <a:lnTo>
                    <a:pt x="368" y="17"/>
                  </a:lnTo>
                  <a:lnTo>
                    <a:pt x="368" y="15"/>
                  </a:lnTo>
                  <a:lnTo>
                    <a:pt x="368" y="15"/>
                  </a:lnTo>
                  <a:lnTo>
                    <a:pt x="370" y="12"/>
                  </a:lnTo>
                  <a:lnTo>
                    <a:pt x="368" y="12"/>
                  </a:lnTo>
                  <a:lnTo>
                    <a:pt x="368" y="10"/>
                  </a:lnTo>
                  <a:lnTo>
                    <a:pt x="368" y="10"/>
                  </a:lnTo>
                  <a:lnTo>
                    <a:pt x="370" y="7"/>
                  </a:lnTo>
                  <a:lnTo>
                    <a:pt x="370" y="7"/>
                  </a:lnTo>
                  <a:lnTo>
                    <a:pt x="375" y="7"/>
                  </a:lnTo>
                  <a:lnTo>
                    <a:pt x="378" y="7"/>
                  </a:lnTo>
                  <a:lnTo>
                    <a:pt x="378" y="10"/>
                  </a:lnTo>
                  <a:lnTo>
                    <a:pt x="378" y="10"/>
                  </a:lnTo>
                  <a:lnTo>
                    <a:pt x="380" y="10"/>
                  </a:lnTo>
                  <a:lnTo>
                    <a:pt x="380" y="10"/>
                  </a:lnTo>
                  <a:lnTo>
                    <a:pt x="382" y="12"/>
                  </a:lnTo>
                  <a:lnTo>
                    <a:pt x="382" y="15"/>
                  </a:lnTo>
                  <a:lnTo>
                    <a:pt x="382" y="15"/>
                  </a:lnTo>
                  <a:lnTo>
                    <a:pt x="385" y="15"/>
                  </a:lnTo>
                  <a:lnTo>
                    <a:pt x="385" y="15"/>
                  </a:lnTo>
                  <a:lnTo>
                    <a:pt x="385" y="17"/>
                  </a:lnTo>
                  <a:lnTo>
                    <a:pt x="387" y="17"/>
                  </a:lnTo>
                  <a:lnTo>
                    <a:pt x="394" y="17"/>
                  </a:lnTo>
                  <a:lnTo>
                    <a:pt x="394" y="17"/>
                  </a:lnTo>
                  <a:lnTo>
                    <a:pt x="396" y="17"/>
                  </a:lnTo>
                  <a:lnTo>
                    <a:pt x="396" y="19"/>
                  </a:lnTo>
                  <a:lnTo>
                    <a:pt x="396" y="19"/>
                  </a:lnTo>
                  <a:lnTo>
                    <a:pt x="396" y="22"/>
                  </a:lnTo>
                  <a:lnTo>
                    <a:pt x="399" y="24"/>
                  </a:lnTo>
                  <a:lnTo>
                    <a:pt x="403" y="24"/>
                  </a:lnTo>
                  <a:lnTo>
                    <a:pt x="403" y="24"/>
                  </a:lnTo>
                  <a:lnTo>
                    <a:pt x="406" y="22"/>
                  </a:lnTo>
                  <a:lnTo>
                    <a:pt x="408" y="24"/>
                  </a:lnTo>
                  <a:lnTo>
                    <a:pt x="411" y="22"/>
                  </a:lnTo>
                  <a:lnTo>
                    <a:pt x="413" y="24"/>
                  </a:lnTo>
                  <a:lnTo>
                    <a:pt x="413" y="24"/>
                  </a:lnTo>
                  <a:lnTo>
                    <a:pt x="415" y="22"/>
                  </a:lnTo>
                  <a:lnTo>
                    <a:pt x="415" y="22"/>
                  </a:lnTo>
                  <a:lnTo>
                    <a:pt x="418" y="22"/>
                  </a:lnTo>
                  <a:lnTo>
                    <a:pt x="418" y="19"/>
                  </a:lnTo>
                  <a:lnTo>
                    <a:pt x="420" y="22"/>
                  </a:lnTo>
                  <a:lnTo>
                    <a:pt x="420" y="19"/>
                  </a:lnTo>
                  <a:lnTo>
                    <a:pt x="422" y="22"/>
                  </a:lnTo>
                  <a:lnTo>
                    <a:pt x="425" y="22"/>
                  </a:lnTo>
                  <a:lnTo>
                    <a:pt x="427" y="22"/>
                  </a:lnTo>
                  <a:lnTo>
                    <a:pt x="427" y="19"/>
                  </a:lnTo>
                  <a:lnTo>
                    <a:pt x="429" y="19"/>
                  </a:lnTo>
                  <a:lnTo>
                    <a:pt x="432" y="19"/>
                  </a:lnTo>
                  <a:lnTo>
                    <a:pt x="439" y="19"/>
                  </a:lnTo>
                  <a:lnTo>
                    <a:pt x="444" y="24"/>
                  </a:lnTo>
                  <a:lnTo>
                    <a:pt x="451" y="19"/>
                  </a:lnTo>
                  <a:lnTo>
                    <a:pt x="448" y="15"/>
                  </a:lnTo>
                  <a:lnTo>
                    <a:pt x="453" y="10"/>
                  </a:lnTo>
                  <a:lnTo>
                    <a:pt x="458" y="10"/>
                  </a:lnTo>
                  <a:lnTo>
                    <a:pt x="465" y="12"/>
                  </a:lnTo>
                  <a:lnTo>
                    <a:pt x="467" y="10"/>
                  </a:lnTo>
                  <a:lnTo>
                    <a:pt x="472" y="5"/>
                  </a:lnTo>
                  <a:lnTo>
                    <a:pt x="479" y="3"/>
                  </a:lnTo>
                  <a:lnTo>
                    <a:pt x="481" y="7"/>
                  </a:lnTo>
                  <a:lnTo>
                    <a:pt x="486" y="5"/>
                  </a:lnTo>
                  <a:lnTo>
                    <a:pt x="493" y="0"/>
                  </a:lnTo>
                  <a:lnTo>
                    <a:pt x="500" y="0"/>
                  </a:lnTo>
                  <a:lnTo>
                    <a:pt x="503" y="10"/>
                  </a:lnTo>
                  <a:lnTo>
                    <a:pt x="505" y="12"/>
                  </a:lnTo>
                  <a:lnTo>
                    <a:pt x="510" y="19"/>
                  </a:lnTo>
                  <a:lnTo>
                    <a:pt x="510" y="22"/>
                  </a:lnTo>
                  <a:lnTo>
                    <a:pt x="510" y="24"/>
                  </a:lnTo>
                  <a:lnTo>
                    <a:pt x="510" y="24"/>
                  </a:lnTo>
                  <a:lnTo>
                    <a:pt x="512" y="24"/>
                  </a:lnTo>
                  <a:lnTo>
                    <a:pt x="517" y="33"/>
                  </a:lnTo>
                  <a:lnTo>
                    <a:pt x="519" y="33"/>
                  </a:lnTo>
                  <a:lnTo>
                    <a:pt x="519" y="36"/>
                  </a:lnTo>
                  <a:lnTo>
                    <a:pt x="519" y="36"/>
                  </a:lnTo>
                  <a:lnTo>
                    <a:pt x="517" y="38"/>
                  </a:lnTo>
                  <a:lnTo>
                    <a:pt x="519" y="41"/>
                  </a:lnTo>
                  <a:lnTo>
                    <a:pt x="517" y="41"/>
                  </a:lnTo>
                  <a:lnTo>
                    <a:pt x="517" y="43"/>
                  </a:lnTo>
                  <a:lnTo>
                    <a:pt x="519" y="45"/>
                  </a:lnTo>
                  <a:lnTo>
                    <a:pt x="522" y="48"/>
                  </a:lnTo>
                  <a:lnTo>
                    <a:pt x="522" y="50"/>
                  </a:lnTo>
                  <a:lnTo>
                    <a:pt x="524" y="50"/>
                  </a:lnTo>
                  <a:lnTo>
                    <a:pt x="524" y="50"/>
                  </a:lnTo>
                  <a:lnTo>
                    <a:pt x="524" y="52"/>
                  </a:lnTo>
                  <a:lnTo>
                    <a:pt x="524" y="52"/>
                  </a:lnTo>
                  <a:lnTo>
                    <a:pt x="524" y="55"/>
                  </a:lnTo>
                  <a:lnTo>
                    <a:pt x="522" y="55"/>
                  </a:lnTo>
                  <a:lnTo>
                    <a:pt x="522" y="55"/>
                  </a:lnTo>
                  <a:lnTo>
                    <a:pt x="522" y="57"/>
                  </a:lnTo>
                  <a:lnTo>
                    <a:pt x="519" y="57"/>
                  </a:lnTo>
                  <a:lnTo>
                    <a:pt x="519" y="59"/>
                  </a:lnTo>
                  <a:lnTo>
                    <a:pt x="517" y="59"/>
                  </a:lnTo>
                  <a:lnTo>
                    <a:pt x="519" y="59"/>
                  </a:lnTo>
                  <a:lnTo>
                    <a:pt x="517" y="62"/>
                  </a:lnTo>
                  <a:lnTo>
                    <a:pt x="519" y="64"/>
                  </a:lnTo>
                  <a:lnTo>
                    <a:pt x="517" y="64"/>
                  </a:lnTo>
                  <a:lnTo>
                    <a:pt x="517" y="69"/>
                  </a:lnTo>
                  <a:lnTo>
                    <a:pt x="517" y="69"/>
                  </a:lnTo>
                  <a:lnTo>
                    <a:pt x="517" y="69"/>
                  </a:lnTo>
                  <a:lnTo>
                    <a:pt x="517" y="71"/>
                  </a:lnTo>
                  <a:lnTo>
                    <a:pt x="517" y="71"/>
                  </a:lnTo>
                  <a:lnTo>
                    <a:pt x="519" y="74"/>
                  </a:lnTo>
                  <a:lnTo>
                    <a:pt x="519" y="76"/>
                  </a:lnTo>
                  <a:lnTo>
                    <a:pt x="522" y="76"/>
                  </a:lnTo>
                  <a:lnTo>
                    <a:pt x="522" y="78"/>
                  </a:lnTo>
                  <a:lnTo>
                    <a:pt x="524" y="78"/>
                  </a:lnTo>
                  <a:lnTo>
                    <a:pt x="522" y="81"/>
                  </a:lnTo>
                  <a:lnTo>
                    <a:pt x="524" y="81"/>
                  </a:lnTo>
                  <a:lnTo>
                    <a:pt x="524" y="81"/>
                  </a:lnTo>
                  <a:lnTo>
                    <a:pt x="524" y="81"/>
                  </a:lnTo>
                  <a:lnTo>
                    <a:pt x="524" y="83"/>
                  </a:lnTo>
                  <a:lnTo>
                    <a:pt x="524" y="83"/>
                  </a:lnTo>
                  <a:lnTo>
                    <a:pt x="524" y="83"/>
                  </a:lnTo>
                  <a:lnTo>
                    <a:pt x="524" y="85"/>
                  </a:lnTo>
                  <a:lnTo>
                    <a:pt x="522" y="85"/>
                  </a:lnTo>
                  <a:lnTo>
                    <a:pt x="524" y="90"/>
                  </a:lnTo>
                  <a:lnTo>
                    <a:pt x="524" y="90"/>
                  </a:lnTo>
                  <a:lnTo>
                    <a:pt x="524" y="90"/>
                  </a:lnTo>
                  <a:lnTo>
                    <a:pt x="524" y="93"/>
                  </a:lnTo>
                  <a:lnTo>
                    <a:pt x="524" y="93"/>
                  </a:lnTo>
                  <a:lnTo>
                    <a:pt x="524" y="97"/>
                  </a:lnTo>
                  <a:lnTo>
                    <a:pt x="526" y="97"/>
                  </a:lnTo>
                  <a:lnTo>
                    <a:pt x="526" y="100"/>
                  </a:lnTo>
                  <a:lnTo>
                    <a:pt x="526" y="100"/>
                  </a:lnTo>
                  <a:lnTo>
                    <a:pt x="526" y="100"/>
                  </a:lnTo>
                  <a:lnTo>
                    <a:pt x="524" y="102"/>
                  </a:lnTo>
                  <a:lnTo>
                    <a:pt x="526" y="102"/>
                  </a:lnTo>
                  <a:lnTo>
                    <a:pt x="524" y="104"/>
                  </a:lnTo>
                  <a:lnTo>
                    <a:pt x="524" y="104"/>
                  </a:lnTo>
                  <a:lnTo>
                    <a:pt x="526" y="107"/>
                  </a:lnTo>
                  <a:lnTo>
                    <a:pt x="526" y="107"/>
                  </a:lnTo>
                  <a:lnTo>
                    <a:pt x="529" y="107"/>
                  </a:lnTo>
                  <a:lnTo>
                    <a:pt x="531" y="107"/>
                  </a:lnTo>
                  <a:lnTo>
                    <a:pt x="531" y="107"/>
                  </a:lnTo>
                  <a:lnTo>
                    <a:pt x="533" y="107"/>
                  </a:lnTo>
                  <a:lnTo>
                    <a:pt x="533" y="107"/>
                  </a:lnTo>
                  <a:lnTo>
                    <a:pt x="536" y="109"/>
                  </a:lnTo>
                  <a:lnTo>
                    <a:pt x="538" y="107"/>
                  </a:lnTo>
                  <a:lnTo>
                    <a:pt x="538" y="107"/>
                  </a:lnTo>
                  <a:lnTo>
                    <a:pt x="541" y="107"/>
                  </a:lnTo>
                  <a:lnTo>
                    <a:pt x="543" y="107"/>
                  </a:lnTo>
                  <a:lnTo>
                    <a:pt x="543" y="107"/>
                  </a:lnTo>
                  <a:lnTo>
                    <a:pt x="548" y="107"/>
                  </a:lnTo>
                  <a:lnTo>
                    <a:pt x="548" y="107"/>
                  </a:lnTo>
                  <a:lnTo>
                    <a:pt x="548" y="107"/>
                  </a:lnTo>
                  <a:lnTo>
                    <a:pt x="552" y="107"/>
                  </a:lnTo>
                  <a:lnTo>
                    <a:pt x="552" y="109"/>
                  </a:lnTo>
                  <a:lnTo>
                    <a:pt x="555" y="109"/>
                  </a:lnTo>
                  <a:lnTo>
                    <a:pt x="557" y="109"/>
                  </a:lnTo>
                  <a:lnTo>
                    <a:pt x="557" y="109"/>
                  </a:lnTo>
                  <a:lnTo>
                    <a:pt x="557" y="111"/>
                  </a:lnTo>
                  <a:lnTo>
                    <a:pt x="559" y="109"/>
                  </a:lnTo>
                  <a:lnTo>
                    <a:pt x="559" y="109"/>
                  </a:lnTo>
                  <a:lnTo>
                    <a:pt x="562" y="109"/>
                  </a:lnTo>
                  <a:lnTo>
                    <a:pt x="562" y="109"/>
                  </a:lnTo>
                  <a:lnTo>
                    <a:pt x="562" y="109"/>
                  </a:lnTo>
                  <a:lnTo>
                    <a:pt x="566" y="109"/>
                  </a:lnTo>
                  <a:lnTo>
                    <a:pt x="566" y="109"/>
                  </a:lnTo>
                  <a:lnTo>
                    <a:pt x="569" y="109"/>
                  </a:lnTo>
                  <a:lnTo>
                    <a:pt x="569" y="109"/>
                  </a:lnTo>
                  <a:lnTo>
                    <a:pt x="571" y="111"/>
                  </a:lnTo>
                  <a:lnTo>
                    <a:pt x="571" y="109"/>
                  </a:lnTo>
                  <a:lnTo>
                    <a:pt x="576" y="109"/>
                  </a:lnTo>
                  <a:lnTo>
                    <a:pt x="576" y="111"/>
                  </a:lnTo>
                  <a:lnTo>
                    <a:pt x="576" y="111"/>
                  </a:lnTo>
                  <a:lnTo>
                    <a:pt x="576" y="111"/>
                  </a:lnTo>
                  <a:lnTo>
                    <a:pt x="578" y="111"/>
                  </a:lnTo>
                  <a:lnTo>
                    <a:pt x="578" y="111"/>
                  </a:lnTo>
                  <a:lnTo>
                    <a:pt x="578" y="111"/>
                  </a:lnTo>
                  <a:lnTo>
                    <a:pt x="581" y="111"/>
                  </a:lnTo>
                  <a:lnTo>
                    <a:pt x="581" y="111"/>
                  </a:lnTo>
                  <a:lnTo>
                    <a:pt x="581" y="114"/>
                  </a:lnTo>
                  <a:lnTo>
                    <a:pt x="581" y="114"/>
                  </a:lnTo>
                  <a:lnTo>
                    <a:pt x="583" y="114"/>
                  </a:lnTo>
                  <a:lnTo>
                    <a:pt x="583" y="114"/>
                  </a:lnTo>
                  <a:lnTo>
                    <a:pt x="583" y="114"/>
                  </a:lnTo>
                  <a:lnTo>
                    <a:pt x="585" y="114"/>
                  </a:lnTo>
                  <a:lnTo>
                    <a:pt x="585" y="114"/>
                  </a:lnTo>
                  <a:lnTo>
                    <a:pt x="583" y="116"/>
                  </a:lnTo>
                  <a:lnTo>
                    <a:pt x="585" y="116"/>
                  </a:lnTo>
                  <a:lnTo>
                    <a:pt x="585" y="116"/>
                  </a:lnTo>
                  <a:lnTo>
                    <a:pt x="588" y="116"/>
                  </a:lnTo>
                  <a:lnTo>
                    <a:pt x="585" y="116"/>
                  </a:lnTo>
                  <a:lnTo>
                    <a:pt x="588" y="116"/>
                  </a:lnTo>
                  <a:lnTo>
                    <a:pt x="585" y="119"/>
                  </a:lnTo>
                  <a:lnTo>
                    <a:pt x="588" y="119"/>
                  </a:lnTo>
                  <a:lnTo>
                    <a:pt x="588" y="119"/>
                  </a:lnTo>
                  <a:lnTo>
                    <a:pt x="588" y="119"/>
                  </a:lnTo>
                  <a:lnTo>
                    <a:pt x="590" y="119"/>
                  </a:lnTo>
                  <a:lnTo>
                    <a:pt x="590" y="119"/>
                  </a:lnTo>
                  <a:lnTo>
                    <a:pt x="590" y="121"/>
                  </a:lnTo>
                  <a:lnTo>
                    <a:pt x="592" y="123"/>
                  </a:lnTo>
                  <a:lnTo>
                    <a:pt x="595" y="123"/>
                  </a:lnTo>
                  <a:lnTo>
                    <a:pt x="595" y="126"/>
                  </a:lnTo>
                  <a:lnTo>
                    <a:pt x="597" y="126"/>
                  </a:lnTo>
                  <a:lnTo>
                    <a:pt x="597" y="123"/>
                  </a:lnTo>
                  <a:lnTo>
                    <a:pt x="597" y="123"/>
                  </a:lnTo>
                  <a:lnTo>
                    <a:pt x="597" y="123"/>
                  </a:lnTo>
                  <a:lnTo>
                    <a:pt x="597" y="123"/>
                  </a:lnTo>
                  <a:lnTo>
                    <a:pt x="600" y="123"/>
                  </a:lnTo>
                  <a:lnTo>
                    <a:pt x="600" y="123"/>
                  </a:lnTo>
                  <a:lnTo>
                    <a:pt x="602" y="126"/>
                  </a:lnTo>
                  <a:lnTo>
                    <a:pt x="602" y="123"/>
                  </a:lnTo>
                  <a:lnTo>
                    <a:pt x="602" y="126"/>
                  </a:lnTo>
                  <a:lnTo>
                    <a:pt x="602" y="126"/>
                  </a:lnTo>
                  <a:lnTo>
                    <a:pt x="604" y="126"/>
                  </a:lnTo>
                  <a:lnTo>
                    <a:pt x="604" y="128"/>
                  </a:lnTo>
                  <a:lnTo>
                    <a:pt x="604" y="128"/>
                  </a:lnTo>
                  <a:lnTo>
                    <a:pt x="604" y="130"/>
                  </a:lnTo>
                  <a:lnTo>
                    <a:pt x="604" y="130"/>
                  </a:lnTo>
                  <a:lnTo>
                    <a:pt x="604" y="130"/>
                  </a:lnTo>
                  <a:lnTo>
                    <a:pt x="604" y="130"/>
                  </a:lnTo>
                  <a:lnTo>
                    <a:pt x="607" y="133"/>
                  </a:lnTo>
                  <a:lnTo>
                    <a:pt x="607" y="133"/>
                  </a:lnTo>
                  <a:lnTo>
                    <a:pt x="607" y="130"/>
                  </a:lnTo>
                  <a:lnTo>
                    <a:pt x="607" y="133"/>
                  </a:lnTo>
                  <a:lnTo>
                    <a:pt x="607" y="133"/>
                  </a:lnTo>
                  <a:lnTo>
                    <a:pt x="607" y="135"/>
                  </a:lnTo>
                  <a:lnTo>
                    <a:pt x="607" y="135"/>
                  </a:lnTo>
                  <a:lnTo>
                    <a:pt x="609" y="135"/>
                  </a:lnTo>
                  <a:lnTo>
                    <a:pt x="609" y="140"/>
                  </a:lnTo>
                  <a:lnTo>
                    <a:pt x="609" y="142"/>
                  </a:lnTo>
                  <a:lnTo>
                    <a:pt x="609" y="142"/>
                  </a:lnTo>
                  <a:lnTo>
                    <a:pt x="609" y="144"/>
                  </a:lnTo>
                  <a:lnTo>
                    <a:pt x="609" y="144"/>
                  </a:lnTo>
                  <a:lnTo>
                    <a:pt x="611" y="144"/>
                  </a:lnTo>
                  <a:lnTo>
                    <a:pt x="609" y="144"/>
                  </a:lnTo>
                  <a:lnTo>
                    <a:pt x="611" y="142"/>
                  </a:lnTo>
                  <a:lnTo>
                    <a:pt x="614" y="144"/>
                  </a:lnTo>
                  <a:lnTo>
                    <a:pt x="614" y="144"/>
                  </a:lnTo>
                  <a:lnTo>
                    <a:pt x="616" y="142"/>
                  </a:lnTo>
                  <a:lnTo>
                    <a:pt x="616" y="142"/>
                  </a:lnTo>
                  <a:lnTo>
                    <a:pt x="618" y="142"/>
                  </a:lnTo>
                  <a:lnTo>
                    <a:pt x="616" y="142"/>
                  </a:lnTo>
                  <a:lnTo>
                    <a:pt x="618" y="142"/>
                  </a:lnTo>
                  <a:lnTo>
                    <a:pt x="618" y="140"/>
                  </a:lnTo>
                  <a:lnTo>
                    <a:pt x="621" y="142"/>
                  </a:lnTo>
                  <a:lnTo>
                    <a:pt x="621" y="144"/>
                  </a:lnTo>
                  <a:lnTo>
                    <a:pt x="621" y="147"/>
                  </a:lnTo>
                  <a:lnTo>
                    <a:pt x="623" y="144"/>
                  </a:lnTo>
                  <a:lnTo>
                    <a:pt x="623" y="147"/>
                  </a:lnTo>
                  <a:lnTo>
                    <a:pt x="626" y="144"/>
                  </a:lnTo>
                  <a:lnTo>
                    <a:pt x="626" y="144"/>
                  </a:lnTo>
                  <a:lnTo>
                    <a:pt x="626" y="147"/>
                  </a:lnTo>
                  <a:lnTo>
                    <a:pt x="628" y="147"/>
                  </a:lnTo>
                  <a:lnTo>
                    <a:pt x="630" y="147"/>
                  </a:lnTo>
                  <a:lnTo>
                    <a:pt x="630" y="147"/>
                  </a:lnTo>
                  <a:lnTo>
                    <a:pt x="630" y="149"/>
                  </a:lnTo>
                  <a:lnTo>
                    <a:pt x="630" y="149"/>
                  </a:lnTo>
                  <a:lnTo>
                    <a:pt x="628" y="152"/>
                  </a:lnTo>
                  <a:lnTo>
                    <a:pt x="628" y="152"/>
                  </a:lnTo>
                  <a:lnTo>
                    <a:pt x="630" y="152"/>
                  </a:lnTo>
                  <a:lnTo>
                    <a:pt x="630" y="152"/>
                  </a:lnTo>
                  <a:lnTo>
                    <a:pt x="630" y="149"/>
                  </a:lnTo>
                  <a:lnTo>
                    <a:pt x="633" y="149"/>
                  </a:lnTo>
                  <a:lnTo>
                    <a:pt x="635" y="152"/>
                  </a:lnTo>
                  <a:lnTo>
                    <a:pt x="635" y="152"/>
                  </a:lnTo>
                  <a:lnTo>
                    <a:pt x="635" y="152"/>
                  </a:lnTo>
                  <a:lnTo>
                    <a:pt x="635" y="154"/>
                  </a:lnTo>
                  <a:lnTo>
                    <a:pt x="635" y="156"/>
                  </a:lnTo>
                  <a:lnTo>
                    <a:pt x="635" y="154"/>
                  </a:lnTo>
                  <a:lnTo>
                    <a:pt x="640" y="156"/>
                  </a:lnTo>
                  <a:lnTo>
                    <a:pt x="640" y="154"/>
                  </a:lnTo>
                  <a:lnTo>
                    <a:pt x="640" y="156"/>
                  </a:lnTo>
                  <a:lnTo>
                    <a:pt x="640" y="156"/>
                  </a:lnTo>
                  <a:lnTo>
                    <a:pt x="640" y="156"/>
                  </a:lnTo>
                  <a:lnTo>
                    <a:pt x="642" y="156"/>
                  </a:lnTo>
                  <a:lnTo>
                    <a:pt x="642" y="156"/>
                  </a:lnTo>
                  <a:lnTo>
                    <a:pt x="644" y="156"/>
                  </a:lnTo>
                  <a:lnTo>
                    <a:pt x="644" y="156"/>
                  </a:lnTo>
                  <a:lnTo>
                    <a:pt x="644" y="156"/>
                  </a:lnTo>
                  <a:lnTo>
                    <a:pt x="642" y="154"/>
                  </a:lnTo>
                  <a:lnTo>
                    <a:pt x="644" y="154"/>
                  </a:lnTo>
                  <a:lnTo>
                    <a:pt x="644" y="154"/>
                  </a:lnTo>
                  <a:lnTo>
                    <a:pt x="647" y="154"/>
                  </a:lnTo>
                  <a:lnTo>
                    <a:pt x="649" y="156"/>
                  </a:lnTo>
                  <a:lnTo>
                    <a:pt x="649" y="156"/>
                  </a:lnTo>
                  <a:lnTo>
                    <a:pt x="649" y="156"/>
                  </a:lnTo>
                  <a:lnTo>
                    <a:pt x="652" y="154"/>
                  </a:lnTo>
                  <a:lnTo>
                    <a:pt x="652" y="156"/>
                  </a:lnTo>
                  <a:lnTo>
                    <a:pt x="654" y="156"/>
                  </a:lnTo>
                  <a:lnTo>
                    <a:pt x="654" y="156"/>
                  </a:lnTo>
                  <a:lnTo>
                    <a:pt x="656" y="154"/>
                  </a:lnTo>
                  <a:lnTo>
                    <a:pt x="656" y="154"/>
                  </a:lnTo>
                  <a:lnTo>
                    <a:pt x="656" y="152"/>
                  </a:lnTo>
                  <a:lnTo>
                    <a:pt x="656" y="152"/>
                  </a:lnTo>
                  <a:lnTo>
                    <a:pt x="659" y="154"/>
                  </a:lnTo>
                  <a:lnTo>
                    <a:pt x="659" y="154"/>
                  </a:lnTo>
                  <a:lnTo>
                    <a:pt x="656" y="156"/>
                  </a:lnTo>
                  <a:lnTo>
                    <a:pt x="659" y="159"/>
                  </a:lnTo>
                  <a:lnTo>
                    <a:pt x="659" y="159"/>
                  </a:lnTo>
                  <a:lnTo>
                    <a:pt x="661" y="156"/>
                  </a:lnTo>
                  <a:lnTo>
                    <a:pt x="661" y="159"/>
                  </a:lnTo>
                  <a:lnTo>
                    <a:pt x="661" y="159"/>
                  </a:lnTo>
                  <a:lnTo>
                    <a:pt x="663" y="159"/>
                  </a:lnTo>
                  <a:lnTo>
                    <a:pt x="663" y="156"/>
                  </a:lnTo>
                  <a:lnTo>
                    <a:pt x="666" y="154"/>
                  </a:lnTo>
                  <a:lnTo>
                    <a:pt x="666" y="156"/>
                  </a:lnTo>
                  <a:lnTo>
                    <a:pt x="666" y="159"/>
                  </a:lnTo>
                  <a:lnTo>
                    <a:pt x="666" y="161"/>
                  </a:lnTo>
                  <a:lnTo>
                    <a:pt x="666" y="161"/>
                  </a:lnTo>
                  <a:lnTo>
                    <a:pt x="663" y="163"/>
                  </a:lnTo>
                  <a:lnTo>
                    <a:pt x="663" y="163"/>
                  </a:lnTo>
                  <a:lnTo>
                    <a:pt x="666" y="163"/>
                  </a:lnTo>
                  <a:lnTo>
                    <a:pt x="668" y="163"/>
                  </a:lnTo>
                  <a:lnTo>
                    <a:pt x="673" y="161"/>
                  </a:lnTo>
                  <a:lnTo>
                    <a:pt x="675" y="163"/>
                  </a:lnTo>
                  <a:lnTo>
                    <a:pt x="675" y="163"/>
                  </a:lnTo>
                  <a:lnTo>
                    <a:pt x="675" y="163"/>
                  </a:lnTo>
                  <a:lnTo>
                    <a:pt x="678" y="163"/>
                  </a:lnTo>
                  <a:lnTo>
                    <a:pt x="680" y="163"/>
                  </a:lnTo>
                  <a:lnTo>
                    <a:pt x="680" y="166"/>
                  </a:lnTo>
                  <a:lnTo>
                    <a:pt x="678" y="166"/>
                  </a:lnTo>
                  <a:lnTo>
                    <a:pt x="678" y="168"/>
                  </a:lnTo>
                  <a:lnTo>
                    <a:pt x="678" y="170"/>
                  </a:lnTo>
                  <a:lnTo>
                    <a:pt x="678" y="170"/>
                  </a:lnTo>
                  <a:lnTo>
                    <a:pt x="680" y="173"/>
                  </a:lnTo>
                  <a:lnTo>
                    <a:pt x="680" y="173"/>
                  </a:lnTo>
                  <a:lnTo>
                    <a:pt x="680" y="175"/>
                  </a:lnTo>
                  <a:lnTo>
                    <a:pt x="678" y="178"/>
                  </a:lnTo>
                  <a:lnTo>
                    <a:pt x="678" y="180"/>
                  </a:lnTo>
                  <a:lnTo>
                    <a:pt x="680" y="180"/>
                  </a:lnTo>
                  <a:lnTo>
                    <a:pt x="680" y="180"/>
                  </a:lnTo>
                  <a:lnTo>
                    <a:pt x="687" y="178"/>
                  </a:lnTo>
                  <a:lnTo>
                    <a:pt x="692" y="178"/>
                  </a:lnTo>
                  <a:lnTo>
                    <a:pt x="692" y="178"/>
                  </a:lnTo>
                  <a:lnTo>
                    <a:pt x="692" y="175"/>
                  </a:lnTo>
                  <a:lnTo>
                    <a:pt x="694" y="175"/>
                  </a:lnTo>
                  <a:lnTo>
                    <a:pt x="694" y="180"/>
                  </a:lnTo>
                  <a:lnTo>
                    <a:pt x="694" y="182"/>
                  </a:lnTo>
                  <a:lnTo>
                    <a:pt x="696" y="182"/>
                  </a:lnTo>
                  <a:lnTo>
                    <a:pt x="696" y="185"/>
                  </a:lnTo>
                  <a:lnTo>
                    <a:pt x="696" y="187"/>
                  </a:lnTo>
                  <a:lnTo>
                    <a:pt x="696" y="189"/>
                  </a:lnTo>
                  <a:lnTo>
                    <a:pt x="696" y="189"/>
                  </a:lnTo>
                  <a:lnTo>
                    <a:pt x="694" y="189"/>
                  </a:lnTo>
                  <a:lnTo>
                    <a:pt x="692" y="189"/>
                  </a:lnTo>
                  <a:lnTo>
                    <a:pt x="692" y="189"/>
                  </a:lnTo>
                  <a:lnTo>
                    <a:pt x="689" y="189"/>
                  </a:lnTo>
                  <a:lnTo>
                    <a:pt x="689" y="192"/>
                  </a:lnTo>
                  <a:lnTo>
                    <a:pt x="689" y="194"/>
                  </a:lnTo>
                  <a:lnTo>
                    <a:pt x="689" y="199"/>
                  </a:lnTo>
                  <a:lnTo>
                    <a:pt x="689" y="199"/>
                  </a:lnTo>
                  <a:lnTo>
                    <a:pt x="692" y="201"/>
                  </a:lnTo>
                  <a:lnTo>
                    <a:pt x="692" y="201"/>
                  </a:lnTo>
                  <a:lnTo>
                    <a:pt x="692" y="201"/>
                  </a:lnTo>
                  <a:lnTo>
                    <a:pt x="694" y="204"/>
                  </a:lnTo>
                  <a:lnTo>
                    <a:pt x="694" y="206"/>
                  </a:lnTo>
                  <a:lnTo>
                    <a:pt x="692" y="206"/>
                  </a:lnTo>
                  <a:lnTo>
                    <a:pt x="692" y="206"/>
                  </a:lnTo>
                  <a:lnTo>
                    <a:pt x="694" y="208"/>
                  </a:lnTo>
                  <a:lnTo>
                    <a:pt x="694" y="211"/>
                  </a:lnTo>
                  <a:lnTo>
                    <a:pt x="696" y="211"/>
                  </a:lnTo>
                  <a:lnTo>
                    <a:pt x="696" y="215"/>
                  </a:lnTo>
                  <a:lnTo>
                    <a:pt x="694" y="215"/>
                  </a:lnTo>
                  <a:lnTo>
                    <a:pt x="696" y="218"/>
                  </a:lnTo>
                  <a:lnTo>
                    <a:pt x="701" y="222"/>
                  </a:lnTo>
                  <a:lnTo>
                    <a:pt x="701" y="222"/>
                  </a:lnTo>
                  <a:lnTo>
                    <a:pt x="708" y="227"/>
                  </a:lnTo>
                  <a:lnTo>
                    <a:pt x="711" y="227"/>
                  </a:lnTo>
                  <a:lnTo>
                    <a:pt x="713" y="232"/>
                  </a:lnTo>
                  <a:lnTo>
                    <a:pt x="715" y="234"/>
                  </a:lnTo>
                  <a:lnTo>
                    <a:pt x="720" y="237"/>
                  </a:lnTo>
                  <a:lnTo>
                    <a:pt x="722" y="237"/>
                  </a:lnTo>
                  <a:lnTo>
                    <a:pt x="722" y="237"/>
                  </a:lnTo>
                  <a:lnTo>
                    <a:pt x="722" y="239"/>
                  </a:lnTo>
                  <a:lnTo>
                    <a:pt x="725" y="241"/>
                  </a:lnTo>
                  <a:lnTo>
                    <a:pt x="727" y="244"/>
                  </a:lnTo>
                  <a:lnTo>
                    <a:pt x="727" y="246"/>
                  </a:lnTo>
                  <a:lnTo>
                    <a:pt x="729" y="248"/>
                  </a:lnTo>
                  <a:lnTo>
                    <a:pt x="729" y="248"/>
                  </a:lnTo>
                  <a:lnTo>
                    <a:pt x="732" y="248"/>
                  </a:lnTo>
                  <a:lnTo>
                    <a:pt x="734" y="248"/>
                  </a:lnTo>
                  <a:lnTo>
                    <a:pt x="734" y="251"/>
                  </a:lnTo>
                  <a:lnTo>
                    <a:pt x="734" y="251"/>
                  </a:lnTo>
                  <a:lnTo>
                    <a:pt x="732" y="256"/>
                  </a:lnTo>
                  <a:lnTo>
                    <a:pt x="729" y="260"/>
                  </a:lnTo>
                  <a:lnTo>
                    <a:pt x="727" y="263"/>
                  </a:lnTo>
                  <a:lnTo>
                    <a:pt x="727" y="265"/>
                  </a:lnTo>
                  <a:lnTo>
                    <a:pt x="729" y="267"/>
                  </a:lnTo>
                  <a:lnTo>
                    <a:pt x="729" y="267"/>
                  </a:lnTo>
                  <a:lnTo>
                    <a:pt x="727" y="270"/>
                  </a:lnTo>
                  <a:lnTo>
                    <a:pt x="727" y="272"/>
                  </a:lnTo>
                  <a:lnTo>
                    <a:pt x="727" y="272"/>
                  </a:lnTo>
                  <a:lnTo>
                    <a:pt x="725" y="274"/>
                  </a:lnTo>
                  <a:lnTo>
                    <a:pt x="727" y="274"/>
                  </a:lnTo>
                  <a:lnTo>
                    <a:pt x="727" y="277"/>
                  </a:lnTo>
                  <a:lnTo>
                    <a:pt x="727" y="281"/>
                  </a:lnTo>
                  <a:lnTo>
                    <a:pt x="727" y="284"/>
                  </a:lnTo>
                  <a:lnTo>
                    <a:pt x="727" y="286"/>
                  </a:lnTo>
                  <a:lnTo>
                    <a:pt x="727" y="286"/>
                  </a:lnTo>
                  <a:lnTo>
                    <a:pt x="725" y="289"/>
                  </a:lnTo>
                  <a:lnTo>
                    <a:pt x="727" y="291"/>
                  </a:lnTo>
                  <a:lnTo>
                    <a:pt x="729" y="293"/>
                  </a:lnTo>
                  <a:lnTo>
                    <a:pt x="729" y="296"/>
                  </a:lnTo>
                  <a:lnTo>
                    <a:pt x="732" y="300"/>
                  </a:lnTo>
                  <a:lnTo>
                    <a:pt x="734" y="300"/>
                  </a:lnTo>
                  <a:lnTo>
                    <a:pt x="737" y="305"/>
                  </a:lnTo>
                  <a:lnTo>
                    <a:pt x="734" y="307"/>
                  </a:lnTo>
                  <a:lnTo>
                    <a:pt x="734" y="310"/>
                  </a:lnTo>
                  <a:lnTo>
                    <a:pt x="734" y="312"/>
                  </a:lnTo>
                  <a:lnTo>
                    <a:pt x="737" y="315"/>
                  </a:lnTo>
                  <a:lnTo>
                    <a:pt x="739" y="317"/>
                  </a:lnTo>
                  <a:lnTo>
                    <a:pt x="741" y="319"/>
                  </a:lnTo>
                  <a:lnTo>
                    <a:pt x="741" y="319"/>
                  </a:lnTo>
                  <a:lnTo>
                    <a:pt x="744" y="322"/>
                  </a:lnTo>
                  <a:lnTo>
                    <a:pt x="744" y="324"/>
                  </a:lnTo>
                  <a:lnTo>
                    <a:pt x="744" y="326"/>
                  </a:lnTo>
                  <a:lnTo>
                    <a:pt x="746" y="326"/>
                  </a:lnTo>
                  <a:lnTo>
                    <a:pt x="746" y="331"/>
                  </a:lnTo>
                  <a:lnTo>
                    <a:pt x="746" y="333"/>
                  </a:lnTo>
                  <a:lnTo>
                    <a:pt x="751" y="336"/>
                  </a:lnTo>
                  <a:lnTo>
                    <a:pt x="751" y="336"/>
                  </a:lnTo>
                  <a:lnTo>
                    <a:pt x="751" y="341"/>
                  </a:lnTo>
                  <a:lnTo>
                    <a:pt x="751" y="345"/>
                  </a:lnTo>
                  <a:lnTo>
                    <a:pt x="753" y="348"/>
                  </a:lnTo>
                  <a:lnTo>
                    <a:pt x="755" y="357"/>
                  </a:lnTo>
                  <a:lnTo>
                    <a:pt x="755" y="357"/>
                  </a:lnTo>
                  <a:lnTo>
                    <a:pt x="760" y="359"/>
                  </a:lnTo>
                  <a:lnTo>
                    <a:pt x="763" y="357"/>
                  </a:lnTo>
                  <a:lnTo>
                    <a:pt x="765" y="359"/>
                  </a:lnTo>
                  <a:lnTo>
                    <a:pt x="767" y="359"/>
                  </a:lnTo>
                  <a:lnTo>
                    <a:pt x="767" y="362"/>
                  </a:lnTo>
                  <a:lnTo>
                    <a:pt x="770" y="364"/>
                  </a:lnTo>
                  <a:lnTo>
                    <a:pt x="779" y="371"/>
                  </a:lnTo>
                  <a:lnTo>
                    <a:pt x="779" y="374"/>
                  </a:lnTo>
                  <a:lnTo>
                    <a:pt x="781" y="376"/>
                  </a:lnTo>
                  <a:lnTo>
                    <a:pt x="784" y="376"/>
                  </a:lnTo>
                  <a:lnTo>
                    <a:pt x="784" y="376"/>
                  </a:lnTo>
                  <a:lnTo>
                    <a:pt x="786" y="378"/>
                  </a:lnTo>
                  <a:lnTo>
                    <a:pt x="789" y="381"/>
                  </a:lnTo>
                  <a:lnTo>
                    <a:pt x="789" y="383"/>
                  </a:lnTo>
                  <a:lnTo>
                    <a:pt x="786" y="388"/>
                  </a:lnTo>
                  <a:lnTo>
                    <a:pt x="786" y="390"/>
                  </a:lnTo>
                  <a:lnTo>
                    <a:pt x="789" y="393"/>
                  </a:lnTo>
                  <a:lnTo>
                    <a:pt x="789" y="395"/>
                  </a:lnTo>
                  <a:lnTo>
                    <a:pt x="784" y="400"/>
                  </a:lnTo>
                  <a:lnTo>
                    <a:pt x="786" y="402"/>
                  </a:lnTo>
                  <a:lnTo>
                    <a:pt x="786" y="404"/>
                  </a:lnTo>
                  <a:lnTo>
                    <a:pt x="789" y="407"/>
                  </a:lnTo>
                  <a:lnTo>
                    <a:pt x="789" y="409"/>
                  </a:lnTo>
                  <a:lnTo>
                    <a:pt x="789" y="409"/>
                  </a:lnTo>
                  <a:lnTo>
                    <a:pt x="789" y="411"/>
                  </a:lnTo>
                  <a:lnTo>
                    <a:pt x="793" y="416"/>
                  </a:lnTo>
                  <a:lnTo>
                    <a:pt x="793" y="416"/>
                  </a:lnTo>
                  <a:lnTo>
                    <a:pt x="796" y="416"/>
                  </a:lnTo>
                  <a:lnTo>
                    <a:pt x="798" y="414"/>
                  </a:lnTo>
                  <a:lnTo>
                    <a:pt x="803" y="414"/>
                  </a:lnTo>
                  <a:lnTo>
                    <a:pt x="807" y="414"/>
                  </a:lnTo>
                  <a:lnTo>
                    <a:pt x="807" y="416"/>
                  </a:lnTo>
                  <a:lnTo>
                    <a:pt x="810" y="421"/>
                  </a:lnTo>
                  <a:lnTo>
                    <a:pt x="810" y="423"/>
                  </a:lnTo>
                  <a:lnTo>
                    <a:pt x="810" y="426"/>
                  </a:lnTo>
                  <a:lnTo>
                    <a:pt x="810" y="426"/>
                  </a:lnTo>
                  <a:lnTo>
                    <a:pt x="810" y="428"/>
                  </a:lnTo>
                  <a:lnTo>
                    <a:pt x="810" y="430"/>
                  </a:lnTo>
                  <a:lnTo>
                    <a:pt x="810" y="433"/>
                  </a:lnTo>
                  <a:lnTo>
                    <a:pt x="810" y="433"/>
                  </a:lnTo>
                  <a:lnTo>
                    <a:pt x="810" y="433"/>
                  </a:lnTo>
                  <a:lnTo>
                    <a:pt x="810" y="435"/>
                  </a:lnTo>
                  <a:lnTo>
                    <a:pt x="810" y="437"/>
                  </a:lnTo>
                  <a:lnTo>
                    <a:pt x="807" y="440"/>
                  </a:lnTo>
                  <a:lnTo>
                    <a:pt x="807" y="442"/>
                  </a:lnTo>
                  <a:lnTo>
                    <a:pt x="807" y="444"/>
                  </a:lnTo>
                  <a:lnTo>
                    <a:pt x="810" y="444"/>
                  </a:lnTo>
                  <a:lnTo>
                    <a:pt x="807" y="449"/>
                  </a:lnTo>
                  <a:lnTo>
                    <a:pt x="805" y="452"/>
                  </a:lnTo>
                  <a:lnTo>
                    <a:pt x="807" y="452"/>
                  </a:lnTo>
                  <a:lnTo>
                    <a:pt x="810" y="452"/>
                  </a:lnTo>
                  <a:lnTo>
                    <a:pt x="812" y="449"/>
                  </a:lnTo>
                  <a:lnTo>
                    <a:pt x="815" y="449"/>
                  </a:lnTo>
                  <a:lnTo>
                    <a:pt x="815" y="449"/>
                  </a:lnTo>
                  <a:lnTo>
                    <a:pt x="817" y="447"/>
                  </a:lnTo>
                  <a:lnTo>
                    <a:pt x="817" y="449"/>
                  </a:lnTo>
                  <a:lnTo>
                    <a:pt x="819" y="449"/>
                  </a:lnTo>
                  <a:lnTo>
                    <a:pt x="822" y="452"/>
                  </a:lnTo>
                  <a:lnTo>
                    <a:pt x="824" y="454"/>
                  </a:lnTo>
                  <a:lnTo>
                    <a:pt x="824" y="456"/>
                  </a:lnTo>
                  <a:lnTo>
                    <a:pt x="824" y="459"/>
                  </a:lnTo>
                  <a:lnTo>
                    <a:pt x="822" y="459"/>
                  </a:lnTo>
                  <a:lnTo>
                    <a:pt x="819" y="459"/>
                  </a:lnTo>
                  <a:lnTo>
                    <a:pt x="819" y="459"/>
                  </a:lnTo>
                  <a:lnTo>
                    <a:pt x="819" y="461"/>
                  </a:lnTo>
                  <a:lnTo>
                    <a:pt x="819" y="461"/>
                  </a:lnTo>
                  <a:lnTo>
                    <a:pt x="819" y="463"/>
                  </a:lnTo>
                  <a:lnTo>
                    <a:pt x="822" y="466"/>
                  </a:lnTo>
                  <a:lnTo>
                    <a:pt x="822" y="470"/>
                  </a:lnTo>
                  <a:lnTo>
                    <a:pt x="822" y="470"/>
                  </a:lnTo>
                  <a:lnTo>
                    <a:pt x="822" y="473"/>
                  </a:lnTo>
                  <a:lnTo>
                    <a:pt x="819" y="475"/>
                  </a:lnTo>
                  <a:lnTo>
                    <a:pt x="819" y="475"/>
                  </a:lnTo>
                  <a:lnTo>
                    <a:pt x="822" y="478"/>
                  </a:lnTo>
                  <a:lnTo>
                    <a:pt x="824" y="475"/>
                  </a:lnTo>
                  <a:lnTo>
                    <a:pt x="826" y="478"/>
                  </a:lnTo>
                  <a:lnTo>
                    <a:pt x="829" y="478"/>
                  </a:lnTo>
                  <a:lnTo>
                    <a:pt x="829" y="478"/>
                  </a:lnTo>
                  <a:lnTo>
                    <a:pt x="833" y="485"/>
                  </a:lnTo>
                  <a:lnTo>
                    <a:pt x="836" y="485"/>
                  </a:lnTo>
                  <a:lnTo>
                    <a:pt x="838" y="487"/>
                  </a:lnTo>
                  <a:lnTo>
                    <a:pt x="845" y="487"/>
                  </a:lnTo>
                  <a:lnTo>
                    <a:pt x="845" y="487"/>
                  </a:lnTo>
                  <a:lnTo>
                    <a:pt x="852" y="487"/>
                  </a:lnTo>
                  <a:lnTo>
                    <a:pt x="855" y="487"/>
                  </a:lnTo>
                  <a:lnTo>
                    <a:pt x="855" y="489"/>
                  </a:lnTo>
                  <a:lnTo>
                    <a:pt x="859" y="489"/>
                  </a:lnTo>
                  <a:lnTo>
                    <a:pt x="859" y="489"/>
                  </a:lnTo>
                  <a:lnTo>
                    <a:pt x="862" y="494"/>
                  </a:lnTo>
                  <a:lnTo>
                    <a:pt x="859" y="496"/>
                  </a:lnTo>
                  <a:lnTo>
                    <a:pt x="859" y="499"/>
                  </a:lnTo>
                  <a:lnTo>
                    <a:pt x="862" y="499"/>
                  </a:lnTo>
                  <a:lnTo>
                    <a:pt x="862" y="499"/>
                  </a:lnTo>
                  <a:lnTo>
                    <a:pt x="864" y="501"/>
                  </a:lnTo>
                  <a:lnTo>
                    <a:pt x="867" y="501"/>
                  </a:lnTo>
                  <a:lnTo>
                    <a:pt x="869" y="499"/>
                  </a:lnTo>
                  <a:lnTo>
                    <a:pt x="869" y="496"/>
                  </a:lnTo>
                  <a:lnTo>
                    <a:pt x="867" y="496"/>
                  </a:lnTo>
                  <a:lnTo>
                    <a:pt x="867" y="494"/>
                  </a:lnTo>
                  <a:lnTo>
                    <a:pt x="867" y="494"/>
                  </a:lnTo>
                  <a:lnTo>
                    <a:pt x="867" y="494"/>
                  </a:lnTo>
                  <a:lnTo>
                    <a:pt x="869" y="492"/>
                  </a:lnTo>
                  <a:lnTo>
                    <a:pt x="874" y="492"/>
                  </a:lnTo>
                  <a:lnTo>
                    <a:pt x="876" y="492"/>
                  </a:lnTo>
                  <a:lnTo>
                    <a:pt x="876" y="492"/>
                  </a:lnTo>
                  <a:lnTo>
                    <a:pt x="876" y="492"/>
                  </a:lnTo>
                  <a:lnTo>
                    <a:pt x="876" y="487"/>
                  </a:lnTo>
                  <a:lnTo>
                    <a:pt x="876" y="485"/>
                  </a:lnTo>
                  <a:lnTo>
                    <a:pt x="876" y="485"/>
                  </a:lnTo>
                  <a:lnTo>
                    <a:pt x="878" y="487"/>
                  </a:lnTo>
                  <a:lnTo>
                    <a:pt x="878" y="487"/>
                  </a:lnTo>
                  <a:lnTo>
                    <a:pt x="878" y="492"/>
                  </a:lnTo>
                  <a:lnTo>
                    <a:pt x="878" y="492"/>
                  </a:lnTo>
                  <a:lnTo>
                    <a:pt x="881" y="492"/>
                  </a:lnTo>
                  <a:lnTo>
                    <a:pt x="881" y="492"/>
                  </a:lnTo>
                  <a:lnTo>
                    <a:pt x="881" y="492"/>
                  </a:lnTo>
                  <a:lnTo>
                    <a:pt x="883" y="487"/>
                  </a:lnTo>
                  <a:lnTo>
                    <a:pt x="883" y="487"/>
                  </a:lnTo>
                  <a:lnTo>
                    <a:pt x="888" y="492"/>
                  </a:lnTo>
                  <a:lnTo>
                    <a:pt x="888" y="492"/>
                  </a:lnTo>
                  <a:lnTo>
                    <a:pt x="900" y="492"/>
                  </a:lnTo>
                  <a:lnTo>
                    <a:pt x="902" y="487"/>
                  </a:lnTo>
                  <a:lnTo>
                    <a:pt x="911" y="478"/>
                  </a:lnTo>
                  <a:lnTo>
                    <a:pt x="914" y="475"/>
                  </a:lnTo>
                  <a:lnTo>
                    <a:pt x="914" y="475"/>
                  </a:lnTo>
                  <a:lnTo>
                    <a:pt x="914" y="473"/>
                  </a:lnTo>
                  <a:lnTo>
                    <a:pt x="914" y="468"/>
                  </a:lnTo>
                  <a:lnTo>
                    <a:pt x="911" y="459"/>
                  </a:lnTo>
                  <a:lnTo>
                    <a:pt x="914" y="459"/>
                  </a:lnTo>
                  <a:lnTo>
                    <a:pt x="914" y="456"/>
                  </a:lnTo>
                  <a:lnTo>
                    <a:pt x="914" y="447"/>
                  </a:lnTo>
                  <a:lnTo>
                    <a:pt x="914" y="442"/>
                  </a:lnTo>
                  <a:lnTo>
                    <a:pt x="914" y="442"/>
                  </a:lnTo>
                  <a:lnTo>
                    <a:pt x="916" y="442"/>
                  </a:lnTo>
                  <a:lnTo>
                    <a:pt x="916" y="440"/>
                  </a:lnTo>
                  <a:lnTo>
                    <a:pt x="916" y="440"/>
                  </a:lnTo>
                  <a:lnTo>
                    <a:pt x="926" y="423"/>
                  </a:lnTo>
                  <a:lnTo>
                    <a:pt x="928" y="421"/>
                  </a:lnTo>
                  <a:lnTo>
                    <a:pt x="935" y="414"/>
                  </a:lnTo>
                  <a:lnTo>
                    <a:pt x="935" y="414"/>
                  </a:lnTo>
                  <a:lnTo>
                    <a:pt x="940" y="411"/>
                  </a:lnTo>
                  <a:lnTo>
                    <a:pt x="944" y="407"/>
                  </a:lnTo>
                  <a:lnTo>
                    <a:pt x="947" y="402"/>
                  </a:lnTo>
                  <a:lnTo>
                    <a:pt x="947" y="395"/>
                  </a:lnTo>
                  <a:lnTo>
                    <a:pt x="949" y="393"/>
                  </a:lnTo>
                  <a:lnTo>
                    <a:pt x="956" y="388"/>
                  </a:lnTo>
                  <a:lnTo>
                    <a:pt x="956" y="381"/>
                  </a:lnTo>
                  <a:lnTo>
                    <a:pt x="956" y="381"/>
                  </a:lnTo>
                  <a:lnTo>
                    <a:pt x="956" y="378"/>
                  </a:lnTo>
                  <a:lnTo>
                    <a:pt x="959" y="376"/>
                  </a:lnTo>
                  <a:lnTo>
                    <a:pt x="959" y="374"/>
                  </a:lnTo>
                  <a:lnTo>
                    <a:pt x="963" y="371"/>
                  </a:lnTo>
                  <a:lnTo>
                    <a:pt x="963" y="369"/>
                  </a:lnTo>
                  <a:lnTo>
                    <a:pt x="968" y="364"/>
                  </a:lnTo>
                  <a:lnTo>
                    <a:pt x="970" y="362"/>
                  </a:lnTo>
                  <a:lnTo>
                    <a:pt x="973" y="355"/>
                  </a:lnTo>
                  <a:lnTo>
                    <a:pt x="980" y="352"/>
                  </a:lnTo>
                  <a:lnTo>
                    <a:pt x="987" y="352"/>
                  </a:lnTo>
                  <a:lnTo>
                    <a:pt x="989" y="350"/>
                  </a:lnTo>
                  <a:lnTo>
                    <a:pt x="989" y="350"/>
                  </a:lnTo>
                  <a:lnTo>
                    <a:pt x="992" y="348"/>
                  </a:lnTo>
                  <a:lnTo>
                    <a:pt x="994" y="345"/>
                  </a:lnTo>
                  <a:lnTo>
                    <a:pt x="996" y="343"/>
                  </a:lnTo>
                  <a:lnTo>
                    <a:pt x="999" y="343"/>
                  </a:lnTo>
                  <a:lnTo>
                    <a:pt x="1001" y="338"/>
                  </a:lnTo>
                  <a:lnTo>
                    <a:pt x="1001" y="338"/>
                  </a:lnTo>
                  <a:lnTo>
                    <a:pt x="1001" y="338"/>
                  </a:lnTo>
                  <a:lnTo>
                    <a:pt x="1004" y="336"/>
                  </a:lnTo>
                  <a:lnTo>
                    <a:pt x="1004" y="333"/>
                  </a:lnTo>
                  <a:lnTo>
                    <a:pt x="1011" y="329"/>
                  </a:lnTo>
                  <a:lnTo>
                    <a:pt x="1011" y="329"/>
                  </a:lnTo>
                  <a:lnTo>
                    <a:pt x="1013" y="329"/>
                  </a:lnTo>
                  <a:lnTo>
                    <a:pt x="1025" y="326"/>
                  </a:lnTo>
                  <a:lnTo>
                    <a:pt x="1030" y="324"/>
                  </a:lnTo>
                  <a:lnTo>
                    <a:pt x="1034" y="322"/>
                  </a:lnTo>
                  <a:lnTo>
                    <a:pt x="1044" y="315"/>
                  </a:lnTo>
                  <a:lnTo>
                    <a:pt x="1046" y="312"/>
                  </a:lnTo>
                  <a:lnTo>
                    <a:pt x="1048" y="310"/>
                  </a:lnTo>
                  <a:lnTo>
                    <a:pt x="1053" y="307"/>
                  </a:lnTo>
                  <a:lnTo>
                    <a:pt x="1055" y="303"/>
                  </a:lnTo>
                  <a:lnTo>
                    <a:pt x="1058" y="298"/>
                  </a:lnTo>
                  <a:lnTo>
                    <a:pt x="1060" y="293"/>
                  </a:lnTo>
                  <a:lnTo>
                    <a:pt x="1063" y="291"/>
                  </a:lnTo>
                  <a:lnTo>
                    <a:pt x="1065" y="281"/>
                  </a:lnTo>
                  <a:lnTo>
                    <a:pt x="1067" y="279"/>
                  </a:lnTo>
                  <a:lnTo>
                    <a:pt x="1067" y="277"/>
                  </a:lnTo>
                  <a:lnTo>
                    <a:pt x="1067" y="270"/>
                  </a:lnTo>
                  <a:lnTo>
                    <a:pt x="1072" y="265"/>
                  </a:lnTo>
                  <a:lnTo>
                    <a:pt x="1072" y="260"/>
                  </a:lnTo>
                  <a:lnTo>
                    <a:pt x="1077" y="258"/>
                  </a:lnTo>
                  <a:lnTo>
                    <a:pt x="1077" y="258"/>
                  </a:lnTo>
                  <a:lnTo>
                    <a:pt x="1077" y="256"/>
                  </a:lnTo>
                  <a:lnTo>
                    <a:pt x="1084" y="253"/>
                  </a:lnTo>
                  <a:lnTo>
                    <a:pt x="1089" y="251"/>
                  </a:lnTo>
                  <a:lnTo>
                    <a:pt x="1096" y="248"/>
                  </a:lnTo>
                  <a:lnTo>
                    <a:pt x="1098" y="248"/>
                  </a:lnTo>
                  <a:lnTo>
                    <a:pt x="1103" y="246"/>
                  </a:lnTo>
                  <a:lnTo>
                    <a:pt x="1107" y="246"/>
                  </a:lnTo>
                  <a:lnTo>
                    <a:pt x="1115" y="246"/>
                  </a:lnTo>
                  <a:lnTo>
                    <a:pt x="1117" y="256"/>
                  </a:lnTo>
                  <a:lnTo>
                    <a:pt x="1122" y="258"/>
                  </a:lnTo>
                  <a:lnTo>
                    <a:pt x="1122" y="265"/>
                  </a:lnTo>
                  <a:lnTo>
                    <a:pt x="1124" y="272"/>
                  </a:lnTo>
                  <a:lnTo>
                    <a:pt x="1122" y="274"/>
                  </a:lnTo>
                  <a:lnTo>
                    <a:pt x="1122" y="286"/>
                  </a:lnTo>
                  <a:lnTo>
                    <a:pt x="1122" y="291"/>
                  </a:lnTo>
                  <a:lnTo>
                    <a:pt x="1119" y="296"/>
                  </a:lnTo>
                  <a:lnTo>
                    <a:pt x="1126" y="296"/>
                  </a:lnTo>
                  <a:lnTo>
                    <a:pt x="1131" y="298"/>
                  </a:lnTo>
                  <a:lnTo>
                    <a:pt x="1131" y="298"/>
                  </a:lnTo>
                  <a:lnTo>
                    <a:pt x="1131" y="298"/>
                  </a:lnTo>
                  <a:lnTo>
                    <a:pt x="1133" y="296"/>
                  </a:lnTo>
                  <a:lnTo>
                    <a:pt x="1136" y="298"/>
                  </a:lnTo>
                  <a:lnTo>
                    <a:pt x="1136" y="298"/>
                  </a:lnTo>
                  <a:lnTo>
                    <a:pt x="1136" y="298"/>
                  </a:lnTo>
                  <a:lnTo>
                    <a:pt x="1138" y="298"/>
                  </a:lnTo>
                  <a:lnTo>
                    <a:pt x="1141" y="298"/>
                  </a:lnTo>
                  <a:lnTo>
                    <a:pt x="1148" y="296"/>
                  </a:lnTo>
                  <a:lnTo>
                    <a:pt x="1148" y="293"/>
                  </a:lnTo>
                  <a:lnTo>
                    <a:pt x="1150" y="296"/>
                  </a:lnTo>
                  <a:lnTo>
                    <a:pt x="1152" y="296"/>
                  </a:lnTo>
                  <a:lnTo>
                    <a:pt x="1155" y="296"/>
                  </a:lnTo>
                  <a:lnTo>
                    <a:pt x="1155" y="296"/>
                  </a:lnTo>
                  <a:lnTo>
                    <a:pt x="1157" y="293"/>
                  </a:lnTo>
                  <a:lnTo>
                    <a:pt x="1159" y="296"/>
                  </a:lnTo>
                  <a:lnTo>
                    <a:pt x="1162" y="298"/>
                  </a:lnTo>
                  <a:lnTo>
                    <a:pt x="1162" y="296"/>
                  </a:lnTo>
                  <a:lnTo>
                    <a:pt x="1159" y="293"/>
                  </a:lnTo>
                  <a:lnTo>
                    <a:pt x="1159" y="293"/>
                  </a:lnTo>
                  <a:lnTo>
                    <a:pt x="1162" y="293"/>
                  </a:lnTo>
                  <a:lnTo>
                    <a:pt x="1162" y="293"/>
                  </a:lnTo>
                  <a:lnTo>
                    <a:pt x="1162" y="293"/>
                  </a:lnTo>
                  <a:lnTo>
                    <a:pt x="1164" y="293"/>
                  </a:lnTo>
                  <a:lnTo>
                    <a:pt x="1164" y="293"/>
                  </a:lnTo>
                  <a:lnTo>
                    <a:pt x="1164" y="291"/>
                  </a:lnTo>
                  <a:lnTo>
                    <a:pt x="1169" y="291"/>
                  </a:lnTo>
                  <a:lnTo>
                    <a:pt x="1169" y="293"/>
                  </a:lnTo>
                  <a:lnTo>
                    <a:pt x="1171" y="293"/>
                  </a:lnTo>
                  <a:lnTo>
                    <a:pt x="1169" y="293"/>
                  </a:lnTo>
                  <a:lnTo>
                    <a:pt x="1171" y="293"/>
                  </a:lnTo>
                  <a:lnTo>
                    <a:pt x="1171" y="293"/>
                  </a:lnTo>
                  <a:lnTo>
                    <a:pt x="1174" y="293"/>
                  </a:lnTo>
                  <a:lnTo>
                    <a:pt x="1174" y="293"/>
                  </a:lnTo>
                  <a:lnTo>
                    <a:pt x="1174" y="296"/>
                  </a:lnTo>
                  <a:lnTo>
                    <a:pt x="1174" y="296"/>
                  </a:lnTo>
                  <a:lnTo>
                    <a:pt x="1176" y="298"/>
                  </a:lnTo>
                  <a:lnTo>
                    <a:pt x="1178" y="303"/>
                  </a:lnTo>
                  <a:lnTo>
                    <a:pt x="1181" y="307"/>
                  </a:lnTo>
                  <a:lnTo>
                    <a:pt x="1183" y="312"/>
                  </a:lnTo>
                  <a:lnTo>
                    <a:pt x="1188" y="319"/>
                  </a:lnTo>
                  <a:lnTo>
                    <a:pt x="1195" y="329"/>
                  </a:lnTo>
                  <a:lnTo>
                    <a:pt x="1195" y="329"/>
                  </a:lnTo>
                  <a:lnTo>
                    <a:pt x="1197" y="331"/>
                  </a:lnTo>
                  <a:lnTo>
                    <a:pt x="1197" y="329"/>
                  </a:lnTo>
                  <a:lnTo>
                    <a:pt x="1200" y="331"/>
                  </a:lnTo>
                  <a:lnTo>
                    <a:pt x="1200" y="331"/>
                  </a:lnTo>
                  <a:lnTo>
                    <a:pt x="1202" y="331"/>
                  </a:lnTo>
                  <a:lnTo>
                    <a:pt x="1202" y="331"/>
                  </a:lnTo>
                  <a:lnTo>
                    <a:pt x="1204" y="333"/>
                  </a:lnTo>
                  <a:lnTo>
                    <a:pt x="1204" y="333"/>
                  </a:lnTo>
                  <a:lnTo>
                    <a:pt x="1207" y="336"/>
                  </a:lnTo>
                  <a:lnTo>
                    <a:pt x="1207" y="336"/>
                  </a:lnTo>
                  <a:lnTo>
                    <a:pt x="1204" y="336"/>
                  </a:lnTo>
                  <a:lnTo>
                    <a:pt x="1204" y="336"/>
                  </a:lnTo>
                  <a:lnTo>
                    <a:pt x="1204" y="338"/>
                  </a:lnTo>
                  <a:lnTo>
                    <a:pt x="1207" y="338"/>
                  </a:lnTo>
                  <a:lnTo>
                    <a:pt x="1207" y="338"/>
                  </a:lnTo>
                  <a:lnTo>
                    <a:pt x="1254" y="359"/>
                  </a:lnTo>
                  <a:lnTo>
                    <a:pt x="1256" y="364"/>
                  </a:lnTo>
                  <a:lnTo>
                    <a:pt x="1261" y="367"/>
                  </a:lnTo>
                  <a:lnTo>
                    <a:pt x="1263" y="369"/>
                  </a:lnTo>
                  <a:lnTo>
                    <a:pt x="1266" y="369"/>
                  </a:lnTo>
                  <a:lnTo>
                    <a:pt x="1268" y="369"/>
                  </a:lnTo>
                  <a:lnTo>
                    <a:pt x="1268" y="369"/>
                  </a:lnTo>
                  <a:lnTo>
                    <a:pt x="1268" y="369"/>
                  </a:lnTo>
                  <a:lnTo>
                    <a:pt x="1270" y="367"/>
                  </a:lnTo>
                  <a:lnTo>
                    <a:pt x="1275" y="367"/>
                  </a:lnTo>
                  <a:lnTo>
                    <a:pt x="1275" y="369"/>
                  </a:lnTo>
                  <a:lnTo>
                    <a:pt x="1278" y="367"/>
                  </a:lnTo>
                  <a:lnTo>
                    <a:pt x="1278" y="369"/>
                  </a:lnTo>
                  <a:lnTo>
                    <a:pt x="1280" y="367"/>
                  </a:lnTo>
                  <a:lnTo>
                    <a:pt x="1280" y="367"/>
                  </a:lnTo>
                  <a:lnTo>
                    <a:pt x="1282" y="369"/>
                  </a:lnTo>
                  <a:lnTo>
                    <a:pt x="1285" y="371"/>
                  </a:lnTo>
                  <a:lnTo>
                    <a:pt x="1285" y="371"/>
                  </a:lnTo>
                  <a:lnTo>
                    <a:pt x="1287" y="371"/>
                  </a:lnTo>
                  <a:lnTo>
                    <a:pt x="1289" y="371"/>
                  </a:lnTo>
                  <a:lnTo>
                    <a:pt x="1292" y="374"/>
                  </a:lnTo>
                  <a:lnTo>
                    <a:pt x="1294" y="374"/>
                  </a:lnTo>
                  <a:lnTo>
                    <a:pt x="1296" y="371"/>
                  </a:lnTo>
                  <a:lnTo>
                    <a:pt x="1296" y="371"/>
                  </a:lnTo>
                  <a:lnTo>
                    <a:pt x="1301" y="369"/>
                  </a:lnTo>
                  <a:lnTo>
                    <a:pt x="1306" y="369"/>
                  </a:lnTo>
                  <a:lnTo>
                    <a:pt x="1306" y="371"/>
                  </a:lnTo>
                  <a:lnTo>
                    <a:pt x="1306" y="369"/>
                  </a:lnTo>
                  <a:lnTo>
                    <a:pt x="1311" y="371"/>
                  </a:lnTo>
                  <a:lnTo>
                    <a:pt x="1311" y="371"/>
                  </a:lnTo>
                  <a:lnTo>
                    <a:pt x="1311" y="371"/>
                  </a:lnTo>
                  <a:lnTo>
                    <a:pt x="1313" y="371"/>
                  </a:lnTo>
                  <a:lnTo>
                    <a:pt x="1315" y="371"/>
                  </a:lnTo>
                  <a:lnTo>
                    <a:pt x="1318" y="371"/>
                  </a:lnTo>
                  <a:lnTo>
                    <a:pt x="1322" y="369"/>
                  </a:lnTo>
                  <a:lnTo>
                    <a:pt x="1325" y="371"/>
                  </a:lnTo>
                  <a:lnTo>
                    <a:pt x="1327" y="374"/>
                  </a:lnTo>
                  <a:lnTo>
                    <a:pt x="1330" y="374"/>
                  </a:lnTo>
                  <a:lnTo>
                    <a:pt x="1330" y="374"/>
                  </a:lnTo>
                  <a:lnTo>
                    <a:pt x="1332" y="374"/>
                  </a:lnTo>
                  <a:lnTo>
                    <a:pt x="1332" y="376"/>
                  </a:lnTo>
                  <a:lnTo>
                    <a:pt x="1332" y="378"/>
                  </a:lnTo>
                  <a:lnTo>
                    <a:pt x="1332" y="385"/>
                  </a:lnTo>
                  <a:lnTo>
                    <a:pt x="1332" y="388"/>
                  </a:lnTo>
                  <a:lnTo>
                    <a:pt x="1327" y="393"/>
                  </a:lnTo>
                  <a:lnTo>
                    <a:pt x="1325" y="395"/>
                  </a:lnTo>
                  <a:lnTo>
                    <a:pt x="1325" y="402"/>
                  </a:lnTo>
                  <a:lnTo>
                    <a:pt x="1322" y="404"/>
                  </a:lnTo>
                  <a:lnTo>
                    <a:pt x="1351" y="414"/>
                  </a:lnTo>
                  <a:lnTo>
                    <a:pt x="1381" y="426"/>
                  </a:lnTo>
                  <a:lnTo>
                    <a:pt x="1381" y="428"/>
                  </a:lnTo>
                  <a:lnTo>
                    <a:pt x="1381" y="430"/>
                  </a:lnTo>
                  <a:lnTo>
                    <a:pt x="1381" y="430"/>
                  </a:lnTo>
                  <a:lnTo>
                    <a:pt x="1381" y="430"/>
                  </a:lnTo>
                  <a:lnTo>
                    <a:pt x="1384" y="430"/>
                  </a:lnTo>
                  <a:lnTo>
                    <a:pt x="1384" y="430"/>
                  </a:lnTo>
                  <a:lnTo>
                    <a:pt x="1384" y="430"/>
                  </a:lnTo>
                  <a:lnTo>
                    <a:pt x="1384" y="428"/>
                  </a:lnTo>
                  <a:lnTo>
                    <a:pt x="1386" y="428"/>
                  </a:lnTo>
                  <a:lnTo>
                    <a:pt x="1386" y="426"/>
                  </a:lnTo>
                  <a:lnTo>
                    <a:pt x="1386" y="423"/>
                  </a:lnTo>
                  <a:lnTo>
                    <a:pt x="1386" y="423"/>
                  </a:lnTo>
                  <a:lnTo>
                    <a:pt x="1389" y="421"/>
                  </a:lnTo>
                  <a:lnTo>
                    <a:pt x="1389" y="421"/>
                  </a:lnTo>
                  <a:lnTo>
                    <a:pt x="1391" y="421"/>
                  </a:lnTo>
                  <a:lnTo>
                    <a:pt x="1393" y="421"/>
                  </a:lnTo>
                  <a:lnTo>
                    <a:pt x="1393" y="418"/>
                  </a:lnTo>
                  <a:lnTo>
                    <a:pt x="1393" y="418"/>
                  </a:lnTo>
                  <a:lnTo>
                    <a:pt x="1393" y="418"/>
                  </a:lnTo>
                  <a:lnTo>
                    <a:pt x="1393" y="416"/>
                  </a:lnTo>
                  <a:lnTo>
                    <a:pt x="1393" y="416"/>
                  </a:lnTo>
                  <a:lnTo>
                    <a:pt x="1393" y="414"/>
                  </a:lnTo>
                  <a:lnTo>
                    <a:pt x="1396" y="414"/>
                  </a:lnTo>
                  <a:lnTo>
                    <a:pt x="1396" y="414"/>
                  </a:lnTo>
                  <a:lnTo>
                    <a:pt x="1393" y="414"/>
                  </a:lnTo>
                  <a:lnTo>
                    <a:pt x="1393" y="411"/>
                  </a:lnTo>
                  <a:lnTo>
                    <a:pt x="1396" y="411"/>
                  </a:lnTo>
                  <a:lnTo>
                    <a:pt x="1396" y="411"/>
                  </a:lnTo>
                  <a:lnTo>
                    <a:pt x="1398" y="411"/>
                  </a:lnTo>
                  <a:lnTo>
                    <a:pt x="1400" y="414"/>
                  </a:lnTo>
                  <a:lnTo>
                    <a:pt x="1400" y="414"/>
                  </a:lnTo>
                  <a:lnTo>
                    <a:pt x="1400" y="416"/>
                  </a:lnTo>
                  <a:lnTo>
                    <a:pt x="1403" y="416"/>
                  </a:lnTo>
                  <a:lnTo>
                    <a:pt x="1400" y="416"/>
                  </a:lnTo>
                  <a:lnTo>
                    <a:pt x="1403" y="418"/>
                  </a:lnTo>
                  <a:lnTo>
                    <a:pt x="1400" y="418"/>
                  </a:lnTo>
                  <a:lnTo>
                    <a:pt x="1403" y="421"/>
                  </a:lnTo>
                  <a:lnTo>
                    <a:pt x="1400" y="421"/>
                  </a:lnTo>
                  <a:lnTo>
                    <a:pt x="1400" y="423"/>
                  </a:lnTo>
                  <a:lnTo>
                    <a:pt x="1398" y="426"/>
                  </a:lnTo>
                  <a:lnTo>
                    <a:pt x="1398" y="426"/>
                  </a:lnTo>
                  <a:lnTo>
                    <a:pt x="1398" y="428"/>
                  </a:lnTo>
                  <a:lnTo>
                    <a:pt x="1398" y="428"/>
                  </a:lnTo>
                  <a:lnTo>
                    <a:pt x="1400" y="428"/>
                  </a:lnTo>
                  <a:lnTo>
                    <a:pt x="1400" y="426"/>
                  </a:lnTo>
                  <a:lnTo>
                    <a:pt x="1403" y="428"/>
                  </a:lnTo>
                  <a:lnTo>
                    <a:pt x="1403" y="428"/>
                  </a:lnTo>
                  <a:lnTo>
                    <a:pt x="1405" y="426"/>
                  </a:lnTo>
                  <a:lnTo>
                    <a:pt x="1405" y="423"/>
                  </a:lnTo>
                  <a:lnTo>
                    <a:pt x="1405" y="423"/>
                  </a:lnTo>
                  <a:lnTo>
                    <a:pt x="1405" y="421"/>
                  </a:lnTo>
                  <a:lnTo>
                    <a:pt x="1405" y="418"/>
                  </a:lnTo>
                  <a:lnTo>
                    <a:pt x="1405" y="418"/>
                  </a:lnTo>
                  <a:lnTo>
                    <a:pt x="1405" y="416"/>
                  </a:lnTo>
                  <a:lnTo>
                    <a:pt x="1405" y="416"/>
                  </a:lnTo>
                  <a:lnTo>
                    <a:pt x="1405" y="414"/>
                  </a:lnTo>
                  <a:lnTo>
                    <a:pt x="1405" y="411"/>
                  </a:lnTo>
                  <a:lnTo>
                    <a:pt x="1407" y="411"/>
                  </a:lnTo>
                  <a:lnTo>
                    <a:pt x="1407" y="411"/>
                  </a:lnTo>
                  <a:lnTo>
                    <a:pt x="1407" y="411"/>
                  </a:lnTo>
                  <a:lnTo>
                    <a:pt x="1407" y="414"/>
                  </a:lnTo>
                  <a:lnTo>
                    <a:pt x="1407" y="414"/>
                  </a:lnTo>
                  <a:lnTo>
                    <a:pt x="1407" y="416"/>
                  </a:lnTo>
                  <a:lnTo>
                    <a:pt x="1407" y="416"/>
                  </a:lnTo>
                  <a:lnTo>
                    <a:pt x="1410" y="414"/>
                  </a:lnTo>
                  <a:lnTo>
                    <a:pt x="1412" y="416"/>
                  </a:lnTo>
                  <a:lnTo>
                    <a:pt x="1410" y="416"/>
                  </a:lnTo>
                  <a:lnTo>
                    <a:pt x="1412" y="421"/>
                  </a:lnTo>
                  <a:lnTo>
                    <a:pt x="1412" y="423"/>
                  </a:lnTo>
                  <a:lnTo>
                    <a:pt x="1412" y="421"/>
                  </a:lnTo>
                  <a:lnTo>
                    <a:pt x="1412" y="421"/>
                  </a:lnTo>
                  <a:lnTo>
                    <a:pt x="1412" y="418"/>
                  </a:lnTo>
                  <a:lnTo>
                    <a:pt x="1415" y="418"/>
                  </a:lnTo>
                  <a:lnTo>
                    <a:pt x="1415" y="416"/>
                  </a:lnTo>
                  <a:lnTo>
                    <a:pt x="1412" y="414"/>
                  </a:lnTo>
                  <a:lnTo>
                    <a:pt x="1412" y="414"/>
                  </a:lnTo>
                  <a:lnTo>
                    <a:pt x="1412" y="414"/>
                  </a:lnTo>
                  <a:lnTo>
                    <a:pt x="1412" y="411"/>
                  </a:lnTo>
                  <a:lnTo>
                    <a:pt x="1415" y="414"/>
                  </a:lnTo>
                  <a:lnTo>
                    <a:pt x="1415" y="411"/>
                  </a:lnTo>
                  <a:lnTo>
                    <a:pt x="1415" y="411"/>
                  </a:lnTo>
                  <a:lnTo>
                    <a:pt x="1417" y="409"/>
                  </a:lnTo>
                  <a:lnTo>
                    <a:pt x="1417" y="409"/>
                  </a:lnTo>
                  <a:lnTo>
                    <a:pt x="1419" y="409"/>
                  </a:lnTo>
                  <a:lnTo>
                    <a:pt x="1422" y="409"/>
                  </a:lnTo>
                  <a:lnTo>
                    <a:pt x="1419" y="411"/>
                  </a:lnTo>
                  <a:lnTo>
                    <a:pt x="1422" y="414"/>
                  </a:lnTo>
                  <a:lnTo>
                    <a:pt x="1422" y="414"/>
                  </a:lnTo>
                  <a:lnTo>
                    <a:pt x="1419" y="416"/>
                  </a:lnTo>
                  <a:lnTo>
                    <a:pt x="1422" y="418"/>
                  </a:lnTo>
                  <a:lnTo>
                    <a:pt x="1422" y="416"/>
                  </a:lnTo>
                  <a:lnTo>
                    <a:pt x="1422" y="416"/>
                  </a:lnTo>
                  <a:lnTo>
                    <a:pt x="1424" y="414"/>
                  </a:lnTo>
                  <a:lnTo>
                    <a:pt x="1426" y="416"/>
                  </a:lnTo>
                  <a:lnTo>
                    <a:pt x="1426" y="418"/>
                  </a:lnTo>
                  <a:lnTo>
                    <a:pt x="1429" y="421"/>
                  </a:lnTo>
                  <a:lnTo>
                    <a:pt x="1429" y="421"/>
                  </a:lnTo>
                  <a:lnTo>
                    <a:pt x="1429" y="421"/>
                  </a:lnTo>
                  <a:lnTo>
                    <a:pt x="1429" y="423"/>
                  </a:lnTo>
                  <a:lnTo>
                    <a:pt x="1429" y="423"/>
                  </a:lnTo>
                  <a:lnTo>
                    <a:pt x="1426" y="423"/>
                  </a:lnTo>
                  <a:lnTo>
                    <a:pt x="1429" y="426"/>
                  </a:lnTo>
                  <a:lnTo>
                    <a:pt x="1429" y="426"/>
                  </a:lnTo>
                  <a:lnTo>
                    <a:pt x="1426" y="430"/>
                  </a:lnTo>
                  <a:lnTo>
                    <a:pt x="1429" y="430"/>
                  </a:lnTo>
                  <a:lnTo>
                    <a:pt x="1429" y="430"/>
                  </a:lnTo>
                  <a:lnTo>
                    <a:pt x="1431" y="430"/>
                  </a:lnTo>
                  <a:lnTo>
                    <a:pt x="1431" y="430"/>
                  </a:lnTo>
                  <a:lnTo>
                    <a:pt x="1436" y="423"/>
                  </a:lnTo>
                  <a:lnTo>
                    <a:pt x="1433" y="421"/>
                  </a:lnTo>
                  <a:lnTo>
                    <a:pt x="1436" y="418"/>
                  </a:lnTo>
                  <a:lnTo>
                    <a:pt x="1433" y="416"/>
                  </a:lnTo>
                  <a:lnTo>
                    <a:pt x="1436" y="416"/>
                  </a:lnTo>
                  <a:lnTo>
                    <a:pt x="1436" y="414"/>
                  </a:lnTo>
                  <a:lnTo>
                    <a:pt x="1438" y="416"/>
                  </a:lnTo>
                  <a:lnTo>
                    <a:pt x="1438" y="418"/>
                  </a:lnTo>
                  <a:lnTo>
                    <a:pt x="1441" y="418"/>
                  </a:lnTo>
                  <a:lnTo>
                    <a:pt x="1441" y="421"/>
                  </a:lnTo>
                  <a:lnTo>
                    <a:pt x="1441" y="423"/>
                  </a:lnTo>
                  <a:lnTo>
                    <a:pt x="1441" y="423"/>
                  </a:lnTo>
                  <a:lnTo>
                    <a:pt x="1441" y="423"/>
                  </a:lnTo>
                  <a:lnTo>
                    <a:pt x="1443" y="423"/>
                  </a:lnTo>
                  <a:lnTo>
                    <a:pt x="1441" y="426"/>
                  </a:lnTo>
                  <a:lnTo>
                    <a:pt x="1443" y="428"/>
                  </a:lnTo>
                  <a:lnTo>
                    <a:pt x="1443" y="428"/>
                  </a:lnTo>
                  <a:lnTo>
                    <a:pt x="1443" y="428"/>
                  </a:lnTo>
                  <a:lnTo>
                    <a:pt x="1443" y="430"/>
                  </a:lnTo>
                  <a:lnTo>
                    <a:pt x="1445" y="430"/>
                  </a:lnTo>
                  <a:lnTo>
                    <a:pt x="1448" y="435"/>
                  </a:lnTo>
                  <a:lnTo>
                    <a:pt x="1448" y="437"/>
                  </a:lnTo>
                  <a:lnTo>
                    <a:pt x="1445" y="440"/>
                  </a:lnTo>
                  <a:lnTo>
                    <a:pt x="1448" y="437"/>
                  </a:lnTo>
                  <a:lnTo>
                    <a:pt x="1450" y="440"/>
                  </a:lnTo>
                  <a:lnTo>
                    <a:pt x="1450" y="437"/>
                  </a:lnTo>
                  <a:lnTo>
                    <a:pt x="1450" y="435"/>
                  </a:lnTo>
                  <a:lnTo>
                    <a:pt x="1450" y="430"/>
                  </a:lnTo>
                  <a:lnTo>
                    <a:pt x="1448" y="426"/>
                  </a:lnTo>
                  <a:lnTo>
                    <a:pt x="1450" y="421"/>
                  </a:lnTo>
                  <a:lnTo>
                    <a:pt x="1448" y="421"/>
                  </a:lnTo>
                  <a:lnTo>
                    <a:pt x="1448" y="421"/>
                  </a:lnTo>
                  <a:lnTo>
                    <a:pt x="1450" y="418"/>
                  </a:lnTo>
                  <a:lnTo>
                    <a:pt x="1448" y="418"/>
                  </a:lnTo>
                  <a:lnTo>
                    <a:pt x="1452" y="416"/>
                  </a:lnTo>
                  <a:lnTo>
                    <a:pt x="1455" y="416"/>
                  </a:lnTo>
                  <a:lnTo>
                    <a:pt x="1455" y="418"/>
                  </a:lnTo>
                  <a:lnTo>
                    <a:pt x="1455" y="421"/>
                  </a:lnTo>
                  <a:lnTo>
                    <a:pt x="1455" y="421"/>
                  </a:lnTo>
                  <a:lnTo>
                    <a:pt x="1455" y="423"/>
                  </a:lnTo>
                  <a:lnTo>
                    <a:pt x="1455" y="423"/>
                  </a:lnTo>
                  <a:lnTo>
                    <a:pt x="1455" y="423"/>
                  </a:lnTo>
                  <a:lnTo>
                    <a:pt x="1455" y="423"/>
                  </a:lnTo>
                  <a:lnTo>
                    <a:pt x="1455" y="423"/>
                  </a:lnTo>
                  <a:lnTo>
                    <a:pt x="1457" y="426"/>
                  </a:lnTo>
                  <a:lnTo>
                    <a:pt x="1457" y="426"/>
                  </a:lnTo>
                  <a:lnTo>
                    <a:pt x="1459" y="423"/>
                  </a:lnTo>
                  <a:lnTo>
                    <a:pt x="1459" y="421"/>
                  </a:lnTo>
                  <a:lnTo>
                    <a:pt x="1462" y="421"/>
                  </a:lnTo>
                  <a:lnTo>
                    <a:pt x="1462" y="421"/>
                  </a:lnTo>
                  <a:lnTo>
                    <a:pt x="1459" y="421"/>
                  </a:lnTo>
                  <a:lnTo>
                    <a:pt x="1459" y="418"/>
                  </a:lnTo>
                  <a:lnTo>
                    <a:pt x="1459" y="418"/>
                  </a:lnTo>
                  <a:lnTo>
                    <a:pt x="1464" y="418"/>
                  </a:lnTo>
                  <a:lnTo>
                    <a:pt x="1464" y="418"/>
                  </a:lnTo>
                  <a:lnTo>
                    <a:pt x="1467" y="418"/>
                  </a:lnTo>
                  <a:lnTo>
                    <a:pt x="1469" y="416"/>
                  </a:lnTo>
                  <a:lnTo>
                    <a:pt x="1471" y="418"/>
                  </a:lnTo>
                  <a:lnTo>
                    <a:pt x="1474" y="418"/>
                  </a:lnTo>
                  <a:lnTo>
                    <a:pt x="1471" y="418"/>
                  </a:lnTo>
                  <a:lnTo>
                    <a:pt x="1471" y="421"/>
                  </a:lnTo>
                  <a:lnTo>
                    <a:pt x="1471" y="418"/>
                  </a:lnTo>
                  <a:lnTo>
                    <a:pt x="1471" y="418"/>
                  </a:lnTo>
                  <a:lnTo>
                    <a:pt x="1471" y="421"/>
                  </a:lnTo>
                  <a:lnTo>
                    <a:pt x="1471" y="421"/>
                  </a:lnTo>
                  <a:lnTo>
                    <a:pt x="1471" y="423"/>
                  </a:lnTo>
                  <a:lnTo>
                    <a:pt x="1471" y="423"/>
                  </a:lnTo>
                  <a:lnTo>
                    <a:pt x="1474" y="423"/>
                  </a:lnTo>
                  <a:lnTo>
                    <a:pt x="1474" y="423"/>
                  </a:lnTo>
                  <a:lnTo>
                    <a:pt x="1474" y="423"/>
                  </a:lnTo>
                  <a:lnTo>
                    <a:pt x="1476" y="423"/>
                  </a:lnTo>
                  <a:lnTo>
                    <a:pt x="1476" y="423"/>
                  </a:lnTo>
                  <a:lnTo>
                    <a:pt x="1474" y="421"/>
                  </a:lnTo>
                  <a:lnTo>
                    <a:pt x="1476" y="421"/>
                  </a:lnTo>
                  <a:lnTo>
                    <a:pt x="1476" y="421"/>
                  </a:lnTo>
                  <a:lnTo>
                    <a:pt x="1476" y="421"/>
                  </a:lnTo>
                  <a:lnTo>
                    <a:pt x="1478" y="421"/>
                  </a:lnTo>
                  <a:lnTo>
                    <a:pt x="1481" y="423"/>
                  </a:lnTo>
                  <a:lnTo>
                    <a:pt x="1483" y="426"/>
                  </a:lnTo>
                  <a:lnTo>
                    <a:pt x="1481" y="428"/>
                  </a:lnTo>
                  <a:lnTo>
                    <a:pt x="1481" y="428"/>
                  </a:lnTo>
                  <a:lnTo>
                    <a:pt x="1481" y="428"/>
                  </a:lnTo>
                  <a:lnTo>
                    <a:pt x="1478" y="428"/>
                  </a:lnTo>
                  <a:lnTo>
                    <a:pt x="1478" y="428"/>
                  </a:lnTo>
                  <a:lnTo>
                    <a:pt x="1478" y="430"/>
                  </a:lnTo>
                  <a:lnTo>
                    <a:pt x="1481" y="430"/>
                  </a:lnTo>
                  <a:lnTo>
                    <a:pt x="1478" y="430"/>
                  </a:lnTo>
                  <a:lnTo>
                    <a:pt x="1481" y="430"/>
                  </a:lnTo>
                  <a:lnTo>
                    <a:pt x="1481" y="430"/>
                  </a:lnTo>
                  <a:lnTo>
                    <a:pt x="1481" y="430"/>
                  </a:lnTo>
                  <a:lnTo>
                    <a:pt x="1481" y="430"/>
                  </a:lnTo>
                  <a:lnTo>
                    <a:pt x="1483" y="430"/>
                  </a:lnTo>
                  <a:lnTo>
                    <a:pt x="1483" y="430"/>
                  </a:lnTo>
                  <a:lnTo>
                    <a:pt x="1485" y="430"/>
                  </a:lnTo>
                  <a:lnTo>
                    <a:pt x="1483" y="430"/>
                  </a:lnTo>
                  <a:lnTo>
                    <a:pt x="1483" y="428"/>
                  </a:lnTo>
                  <a:lnTo>
                    <a:pt x="1485" y="428"/>
                  </a:lnTo>
                  <a:lnTo>
                    <a:pt x="1485" y="426"/>
                  </a:lnTo>
                  <a:lnTo>
                    <a:pt x="1485" y="426"/>
                  </a:lnTo>
                  <a:lnTo>
                    <a:pt x="1485" y="428"/>
                  </a:lnTo>
                  <a:lnTo>
                    <a:pt x="1488" y="426"/>
                  </a:lnTo>
                  <a:lnTo>
                    <a:pt x="1488" y="426"/>
                  </a:lnTo>
                  <a:lnTo>
                    <a:pt x="1488" y="428"/>
                  </a:lnTo>
                  <a:lnTo>
                    <a:pt x="1488" y="428"/>
                  </a:lnTo>
                  <a:lnTo>
                    <a:pt x="1488" y="428"/>
                  </a:lnTo>
                  <a:lnTo>
                    <a:pt x="1488" y="428"/>
                  </a:lnTo>
                  <a:lnTo>
                    <a:pt x="1488" y="430"/>
                  </a:lnTo>
                  <a:lnTo>
                    <a:pt x="1488" y="435"/>
                  </a:lnTo>
                  <a:lnTo>
                    <a:pt x="1488" y="435"/>
                  </a:lnTo>
                  <a:lnTo>
                    <a:pt x="1485" y="437"/>
                  </a:lnTo>
                  <a:lnTo>
                    <a:pt x="1488" y="440"/>
                  </a:lnTo>
                  <a:lnTo>
                    <a:pt x="1488" y="440"/>
                  </a:lnTo>
                  <a:lnTo>
                    <a:pt x="1488" y="440"/>
                  </a:lnTo>
                  <a:lnTo>
                    <a:pt x="1488" y="440"/>
                  </a:lnTo>
                  <a:lnTo>
                    <a:pt x="1488" y="437"/>
                  </a:lnTo>
                  <a:lnTo>
                    <a:pt x="1488" y="440"/>
                  </a:lnTo>
                  <a:lnTo>
                    <a:pt x="1488" y="437"/>
                  </a:lnTo>
                  <a:lnTo>
                    <a:pt x="1488" y="437"/>
                  </a:lnTo>
                  <a:lnTo>
                    <a:pt x="1488" y="437"/>
                  </a:lnTo>
                  <a:lnTo>
                    <a:pt x="1490" y="433"/>
                  </a:lnTo>
                  <a:lnTo>
                    <a:pt x="1490" y="433"/>
                  </a:lnTo>
                  <a:lnTo>
                    <a:pt x="1490" y="435"/>
                  </a:lnTo>
                  <a:lnTo>
                    <a:pt x="1490" y="433"/>
                  </a:lnTo>
                  <a:lnTo>
                    <a:pt x="1490" y="433"/>
                  </a:lnTo>
                  <a:lnTo>
                    <a:pt x="1490" y="430"/>
                  </a:lnTo>
                  <a:lnTo>
                    <a:pt x="1490" y="430"/>
                  </a:lnTo>
                  <a:lnTo>
                    <a:pt x="1490" y="430"/>
                  </a:lnTo>
                  <a:lnTo>
                    <a:pt x="1490" y="428"/>
                  </a:lnTo>
                  <a:lnTo>
                    <a:pt x="1490" y="428"/>
                  </a:lnTo>
                  <a:lnTo>
                    <a:pt x="1493" y="428"/>
                  </a:lnTo>
                  <a:lnTo>
                    <a:pt x="1493" y="428"/>
                  </a:lnTo>
                  <a:lnTo>
                    <a:pt x="1495" y="428"/>
                  </a:lnTo>
                  <a:lnTo>
                    <a:pt x="1495" y="428"/>
                  </a:lnTo>
                  <a:lnTo>
                    <a:pt x="1497" y="426"/>
                  </a:lnTo>
                  <a:lnTo>
                    <a:pt x="1497" y="428"/>
                  </a:lnTo>
                  <a:lnTo>
                    <a:pt x="1497" y="428"/>
                  </a:lnTo>
                  <a:lnTo>
                    <a:pt x="1500" y="428"/>
                  </a:lnTo>
                  <a:lnTo>
                    <a:pt x="1500" y="430"/>
                  </a:lnTo>
                  <a:lnTo>
                    <a:pt x="1497" y="433"/>
                  </a:lnTo>
                  <a:lnTo>
                    <a:pt x="1497" y="433"/>
                  </a:lnTo>
                  <a:lnTo>
                    <a:pt x="1500" y="433"/>
                  </a:lnTo>
                  <a:lnTo>
                    <a:pt x="1500" y="435"/>
                  </a:lnTo>
                  <a:lnTo>
                    <a:pt x="1500" y="435"/>
                  </a:lnTo>
                  <a:lnTo>
                    <a:pt x="1500" y="435"/>
                  </a:lnTo>
                  <a:lnTo>
                    <a:pt x="1497" y="437"/>
                  </a:lnTo>
                  <a:lnTo>
                    <a:pt x="1500" y="437"/>
                  </a:lnTo>
                  <a:lnTo>
                    <a:pt x="1500" y="437"/>
                  </a:lnTo>
                  <a:lnTo>
                    <a:pt x="1500" y="437"/>
                  </a:lnTo>
                  <a:lnTo>
                    <a:pt x="1500" y="440"/>
                  </a:lnTo>
                  <a:lnTo>
                    <a:pt x="1500" y="440"/>
                  </a:lnTo>
                  <a:lnTo>
                    <a:pt x="1500" y="440"/>
                  </a:lnTo>
                  <a:lnTo>
                    <a:pt x="1500" y="440"/>
                  </a:lnTo>
                  <a:lnTo>
                    <a:pt x="1500" y="440"/>
                  </a:lnTo>
                  <a:lnTo>
                    <a:pt x="1500" y="440"/>
                  </a:lnTo>
                  <a:lnTo>
                    <a:pt x="1500" y="437"/>
                  </a:lnTo>
                  <a:lnTo>
                    <a:pt x="1502" y="435"/>
                  </a:lnTo>
                  <a:lnTo>
                    <a:pt x="1500" y="430"/>
                  </a:lnTo>
                  <a:lnTo>
                    <a:pt x="1502" y="433"/>
                  </a:lnTo>
                  <a:lnTo>
                    <a:pt x="1502" y="435"/>
                  </a:lnTo>
                  <a:lnTo>
                    <a:pt x="1502" y="440"/>
                  </a:lnTo>
                  <a:lnTo>
                    <a:pt x="1500" y="442"/>
                  </a:lnTo>
                  <a:lnTo>
                    <a:pt x="1500" y="444"/>
                  </a:lnTo>
                  <a:lnTo>
                    <a:pt x="1502" y="444"/>
                  </a:lnTo>
                  <a:lnTo>
                    <a:pt x="1502" y="442"/>
                  </a:lnTo>
                  <a:lnTo>
                    <a:pt x="1504" y="444"/>
                  </a:lnTo>
                  <a:lnTo>
                    <a:pt x="1504" y="444"/>
                  </a:lnTo>
                  <a:lnTo>
                    <a:pt x="1504" y="442"/>
                  </a:lnTo>
                  <a:lnTo>
                    <a:pt x="1502" y="442"/>
                  </a:lnTo>
                  <a:lnTo>
                    <a:pt x="1502" y="440"/>
                  </a:lnTo>
                  <a:lnTo>
                    <a:pt x="1504" y="440"/>
                  </a:lnTo>
                  <a:lnTo>
                    <a:pt x="1504" y="437"/>
                  </a:lnTo>
                  <a:lnTo>
                    <a:pt x="1504" y="435"/>
                  </a:lnTo>
                  <a:lnTo>
                    <a:pt x="1504" y="435"/>
                  </a:lnTo>
                  <a:lnTo>
                    <a:pt x="1504" y="435"/>
                  </a:lnTo>
                  <a:lnTo>
                    <a:pt x="1504" y="435"/>
                  </a:lnTo>
                  <a:lnTo>
                    <a:pt x="1507" y="435"/>
                  </a:lnTo>
                  <a:lnTo>
                    <a:pt x="1507" y="433"/>
                  </a:lnTo>
                  <a:lnTo>
                    <a:pt x="1509" y="433"/>
                  </a:lnTo>
                  <a:lnTo>
                    <a:pt x="1509" y="433"/>
                  </a:lnTo>
                  <a:lnTo>
                    <a:pt x="1511" y="430"/>
                  </a:lnTo>
                  <a:lnTo>
                    <a:pt x="1511" y="430"/>
                  </a:lnTo>
                  <a:lnTo>
                    <a:pt x="1514" y="430"/>
                  </a:lnTo>
                  <a:lnTo>
                    <a:pt x="1514" y="433"/>
                  </a:lnTo>
                  <a:lnTo>
                    <a:pt x="1516" y="435"/>
                  </a:lnTo>
                  <a:lnTo>
                    <a:pt x="1514" y="435"/>
                  </a:lnTo>
                  <a:lnTo>
                    <a:pt x="1514" y="435"/>
                  </a:lnTo>
                  <a:lnTo>
                    <a:pt x="1514" y="435"/>
                  </a:lnTo>
                  <a:lnTo>
                    <a:pt x="1514" y="437"/>
                  </a:lnTo>
                  <a:lnTo>
                    <a:pt x="1514" y="437"/>
                  </a:lnTo>
                  <a:lnTo>
                    <a:pt x="1514" y="437"/>
                  </a:lnTo>
                  <a:lnTo>
                    <a:pt x="1514" y="437"/>
                  </a:lnTo>
                  <a:lnTo>
                    <a:pt x="1514" y="440"/>
                  </a:lnTo>
                  <a:lnTo>
                    <a:pt x="1511" y="440"/>
                  </a:lnTo>
                  <a:lnTo>
                    <a:pt x="1511" y="442"/>
                  </a:lnTo>
                  <a:lnTo>
                    <a:pt x="1511" y="442"/>
                  </a:lnTo>
                  <a:lnTo>
                    <a:pt x="1514" y="440"/>
                  </a:lnTo>
                  <a:lnTo>
                    <a:pt x="1514" y="442"/>
                  </a:lnTo>
                  <a:lnTo>
                    <a:pt x="1514" y="442"/>
                  </a:lnTo>
                  <a:lnTo>
                    <a:pt x="1514" y="442"/>
                  </a:lnTo>
                  <a:lnTo>
                    <a:pt x="1514" y="442"/>
                  </a:lnTo>
                  <a:lnTo>
                    <a:pt x="1516" y="442"/>
                  </a:lnTo>
                  <a:lnTo>
                    <a:pt x="1516" y="442"/>
                  </a:lnTo>
                  <a:lnTo>
                    <a:pt x="1514" y="444"/>
                  </a:lnTo>
                  <a:lnTo>
                    <a:pt x="1516" y="444"/>
                  </a:lnTo>
                  <a:lnTo>
                    <a:pt x="1516" y="449"/>
                  </a:lnTo>
                  <a:lnTo>
                    <a:pt x="1516" y="449"/>
                  </a:lnTo>
                  <a:lnTo>
                    <a:pt x="1516" y="452"/>
                  </a:lnTo>
                  <a:lnTo>
                    <a:pt x="1516" y="452"/>
                  </a:lnTo>
                  <a:lnTo>
                    <a:pt x="1514" y="452"/>
                  </a:lnTo>
                  <a:lnTo>
                    <a:pt x="1514" y="452"/>
                  </a:lnTo>
                  <a:lnTo>
                    <a:pt x="1516" y="454"/>
                  </a:lnTo>
                  <a:lnTo>
                    <a:pt x="1518" y="454"/>
                  </a:lnTo>
                  <a:lnTo>
                    <a:pt x="1518" y="454"/>
                  </a:lnTo>
                  <a:lnTo>
                    <a:pt x="1518" y="452"/>
                  </a:lnTo>
                  <a:lnTo>
                    <a:pt x="1518" y="452"/>
                  </a:lnTo>
                  <a:lnTo>
                    <a:pt x="1518" y="452"/>
                  </a:lnTo>
                  <a:lnTo>
                    <a:pt x="1518" y="452"/>
                  </a:lnTo>
                  <a:lnTo>
                    <a:pt x="1521" y="452"/>
                  </a:lnTo>
                  <a:lnTo>
                    <a:pt x="1518" y="452"/>
                  </a:lnTo>
                  <a:lnTo>
                    <a:pt x="1518" y="449"/>
                  </a:lnTo>
                  <a:lnTo>
                    <a:pt x="1518" y="449"/>
                  </a:lnTo>
                  <a:lnTo>
                    <a:pt x="1518" y="447"/>
                  </a:lnTo>
                  <a:lnTo>
                    <a:pt x="1518" y="447"/>
                  </a:lnTo>
                  <a:lnTo>
                    <a:pt x="1521" y="444"/>
                  </a:lnTo>
                  <a:lnTo>
                    <a:pt x="1523" y="444"/>
                  </a:lnTo>
                  <a:lnTo>
                    <a:pt x="1523" y="444"/>
                  </a:lnTo>
                  <a:lnTo>
                    <a:pt x="1523" y="444"/>
                  </a:lnTo>
                  <a:lnTo>
                    <a:pt x="1523" y="442"/>
                  </a:lnTo>
                  <a:lnTo>
                    <a:pt x="1523" y="442"/>
                  </a:lnTo>
                  <a:lnTo>
                    <a:pt x="1523" y="442"/>
                  </a:lnTo>
                  <a:lnTo>
                    <a:pt x="1523" y="442"/>
                  </a:lnTo>
                  <a:lnTo>
                    <a:pt x="1523" y="440"/>
                  </a:lnTo>
                  <a:lnTo>
                    <a:pt x="1523" y="440"/>
                  </a:lnTo>
                  <a:lnTo>
                    <a:pt x="1526" y="437"/>
                  </a:lnTo>
                  <a:lnTo>
                    <a:pt x="1526" y="440"/>
                  </a:lnTo>
                  <a:lnTo>
                    <a:pt x="1526" y="440"/>
                  </a:lnTo>
                  <a:lnTo>
                    <a:pt x="1526" y="440"/>
                  </a:lnTo>
                  <a:lnTo>
                    <a:pt x="1526" y="437"/>
                  </a:lnTo>
                  <a:lnTo>
                    <a:pt x="1528" y="437"/>
                  </a:lnTo>
                  <a:lnTo>
                    <a:pt x="1528" y="437"/>
                  </a:lnTo>
                  <a:lnTo>
                    <a:pt x="1526" y="437"/>
                  </a:lnTo>
                  <a:lnTo>
                    <a:pt x="1526" y="435"/>
                  </a:lnTo>
                  <a:lnTo>
                    <a:pt x="1526" y="435"/>
                  </a:lnTo>
                  <a:lnTo>
                    <a:pt x="1528" y="435"/>
                  </a:lnTo>
                  <a:lnTo>
                    <a:pt x="1530" y="437"/>
                  </a:lnTo>
                  <a:lnTo>
                    <a:pt x="1530" y="437"/>
                  </a:lnTo>
                  <a:lnTo>
                    <a:pt x="1528" y="440"/>
                  </a:lnTo>
                  <a:lnTo>
                    <a:pt x="1528" y="440"/>
                  </a:lnTo>
                  <a:lnTo>
                    <a:pt x="1530" y="440"/>
                  </a:lnTo>
                  <a:lnTo>
                    <a:pt x="1530" y="442"/>
                  </a:lnTo>
                  <a:lnTo>
                    <a:pt x="1526" y="442"/>
                  </a:lnTo>
                  <a:lnTo>
                    <a:pt x="1528" y="442"/>
                  </a:lnTo>
                  <a:lnTo>
                    <a:pt x="1530" y="444"/>
                  </a:lnTo>
                  <a:lnTo>
                    <a:pt x="1528" y="447"/>
                  </a:lnTo>
                  <a:lnTo>
                    <a:pt x="1528" y="447"/>
                  </a:lnTo>
                  <a:lnTo>
                    <a:pt x="1528" y="447"/>
                  </a:lnTo>
                  <a:lnTo>
                    <a:pt x="1526" y="449"/>
                  </a:lnTo>
                  <a:lnTo>
                    <a:pt x="1528" y="449"/>
                  </a:lnTo>
                  <a:lnTo>
                    <a:pt x="1528" y="447"/>
                  </a:lnTo>
                  <a:lnTo>
                    <a:pt x="1530" y="447"/>
                  </a:lnTo>
                  <a:lnTo>
                    <a:pt x="1528" y="449"/>
                  </a:lnTo>
                  <a:lnTo>
                    <a:pt x="1528" y="449"/>
                  </a:lnTo>
                  <a:lnTo>
                    <a:pt x="1528" y="452"/>
                  </a:lnTo>
                  <a:lnTo>
                    <a:pt x="1528" y="452"/>
                  </a:lnTo>
                  <a:lnTo>
                    <a:pt x="1528" y="449"/>
                  </a:lnTo>
                  <a:lnTo>
                    <a:pt x="1528" y="449"/>
                  </a:lnTo>
                  <a:lnTo>
                    <a:pt x="1528" y="449"/>
                  </a:lnTo>
                  <a:lnTo>
                    <a:pt x="1530" y="449"/>
                  </a:lnTo>
                  <a:lnTo>
                    <a:pt x="1530" y="447"/>
                  </a:lnTo>
                  <a:lnTo>
                    <a:pt x="1533" y="447"/>
                  </a:lnTo>
                  <a:lnTo>
                    <a:pt x="1533" y="449"/>
                  </a:lnTo>
                  <a:lnTo>
                    <a:pt x="1533" y="452"/>
                  </a:lnTo>
                  <a:lnTo>
                    <a:pt x="1533" y="452"/>
                  </a:lnTo>
                  <a:lnTo>
                    <a:pt x="1533" y="452"/>
                  </a:lnTo>
                  <a:lnTo>
                    <a:pt x="1533" y="452"/>
                  </a:lnTo>
                  <a:lnTo>
                    <a:pt x="1530" y="454"/>
                  </a:lnTo>
                  <a:lnTo>
                    <a:pt x="1530" y="456"/>
                  </a:lnTo>
                  <a:lnTo>
                    <a:pt x="1530" y="456"/>
                  </a:lnTo>
                  <a:lnTo>
                    <a:pt x="1533" y="456"/>
                  </a:lnTo>
                  <a:lnTo>
                    <a:pt x="1533" y="456"/>
                  </a:lnTo>
                  <a:lnTo>
                    <a:pt x="1533" y="454"/>
                  </a:lnTo>
                  <a:lnTo>
                    <a:pt x="1533" y="452"/>
                  </a:lnTo>
                  <a:lnTo>
                    <a:pt x="1535" y="454"/>
                  </a:lnTo>
                  <a:lnTo>
                    <a:pt x="1535" y="456"/>
                  </a:lnTo>
                  <a:lnTo>
                    <a:pt x="1535" y="456"/>
                  </a:lnTo>
                  <a:lnTo>
                    <a:pt x="1535" y="456"/>
                  </a:lnTo>
                  <a:lnTo>
                    <a:pt x="1535" y="456"/>
                  </a:lnTo>
                  <a:lnTo>
                    <a:pt x="1535" y="454"/>
                  </a:lnTo>
                  <a:lnTo>
                    <a:pt x="1535" y="452"/>
                  </a:lnTo>
                  <a:lnTo>
                    <a:pt x="1535" y="452"/>
                  </a:lnTo>
                  <a:lnTo>
                    <a:pt x="1535" y="452"/>
                  </a:lnTo>
                  <a:lnTo>
                    <a:pt x="1535" y="452"/>
                  </a:lnTo>
                  <a:lnTo>
                    <a:pt x="1535" y="452"/>
                  </a:lnTo>
                  <a:lnTo>
                    <a:pt x="1535" y="449"/>
                  </a:lnTo>
                  <a:lnTo>
                    <a:pt x="1535" y="449"/>
                  </a:lnTo>
                  <a:lnTo>
                    <a:pt x="1537" y="449"/>
                  </a:lnTo>
                  <a:lnTo>
                    <a:pt x="1537" y="449"/>
                  </a:lnTo>
                  <a:lnTo>
                    <a:pt x="1537" y="447"/>
                  </a:lnTo>
                  <a:lnTo>
                    <a:pt x="1537" y="447"/>
                  </a:lnTo>
                  <a:lnTo>
                    <a:pt x="1540" y="447"/>
                  </a:lnTo>
                  <a:lnTo>
                    <a:pt x="1540" y="447"/>
                  </a:lnTo>
                  <a:lnTo>
                    <a:pt x="1542" y="452"/>
                  </a:lnTo>
                  <a:lnTo>
                    <a:pt x="1542" y="456"/>
                  </a:lnTo>
                  <a:lnTo>
                    <a:pt x="1542" y="456"/>
                  </a:lnTo>
                  <a:lnTo>
                    <a:pt x="1542" y="459"/>
                  </a:lnTo>
                  <a:lnTo>
                    <a:pt x="1542" y="459"/>
                  </a:lnTo>
                  <a:lnTo>
                    <a:pt x="1542" y="459"/>
                  </a:lnTo>
                  <a:lnTo>
                    <a:pt x="1542" y="456"/>
                  </a:lnTo>
                  <a:lnTo>
                    <a:pt x="1544" y="456"/>
                  </a:lnTo>
                  <a:lnTo>
                    <a:pt x="1544" y="454"/>
                  </a:lnTo>
                  <a:lnTo>
                    <a:pt x="1542" y="452"/>
                  </a:lnTo>
                  <a:lnTo>
                    <a:pt x="1544" y="447"/>
                  </a:lnTo>
                  <a:lnTo>
                    <a:pt x="1547" y="447"/>
                  </a:lnTo>
                  <a:lnTo>
                    <a:pt x="1547" y="447"/>
                  </a:lnTo>
                  <a:lnTo>
                    <a:pt x="1547" y="449"/>
                  </a:lnTo>
                  <a:lnTo>
                    <a:pt x="1549" y="452"/>
                  </a:lnTo>
                  <a:lnTo>
                    <a:pt x="1549" y="452"/>
                  </a:lnTo>
                  <a:lnTo>
                    <a:pt x="1549" y="452"/>
                  </a:lnTo>
                  <a:lnTo>
                    <a:pt x="1549" y="449"/>
                  </a:lnTo>
                  <a:lnTo>
                    <a:pt x="1552" y="449"/>
                  </a:lnTo>
                  <a:lnTo>
                    <a:pt x="1552" y="452"/>
                  </a:lnTo>
                  <a:lnTo>
                    <a:pt x="1552" y="449"/>
                  </a:lnTo>
                  <a:lnTo>
                    <a:pt x="1552" y="449"/>
                  </a:lnTo>
                  <a:lnTo>
                    <a:pt x="1549" y="449"/>
                  </a:lnTo>
                  <a:lnTo>
                    <a:pt x="1547" y="447"/>
                  </a:lnTo>
                  <a:lnTo>
                    <a:pt x="1547" y="444"/>
                  </a:lnTo>
                  <a:lnTo>
                    <a:pt x="1549" y="444"/>
                  </a:lnTo>
                  <a:lnTo>
                    <a:pt x="1552" y="447"/>
                  </a:lnTo>
                  <a:lnTo>
                    <a:pt x="1552" y="444"/>
                  </a:lnTo>
                  <a:lnTo>
                    <a:pt x="1549" y="442"/>
                  </a:lnTo>
                  <a:lnTo>
                    <a:pt x="1552" y="442"/>
                  </a:lnTo>
                  <a:lnTo>
                    <a:pt x="1552" y="442"/>
                  </a:lnTo>
                  <a:lnTo>
                    <a:pt x="1552" y="442"/>
                  </a:lnTo>
                  <a:lnTo>
                    <a:pt x="1554" y="442"/>
                  </a:lnTo>
                  <a:lnTo>
                    <a:pt x="1554" y="442"/>
                  </a:lnTo>
                  <a:lnTo>
                    <a:pt x="1554" y="442"/>
                  </a:lnTo>
                  <a:lnTo>
                    <a:pt x="1554" y="444"/>
                  </a:lnTo>
                  <a:lnTo>
                    <a:pt x="1554" y="444"/>
                  </a:lnTo>
                  <a:lnTo>
                    <a:pt x="1556" y="447"/>
                  </a:lnTo>
                  <a:lnTo>
                    <a:pt x="1556" y="447"/>
                  </a:lnTo>
                  <a:lnTo>
                    <a:pt x="1556" y="447"/>
                  </a:lnTo>
                  <a:lnTo>
                    <a:pt x="1556" y="449"/>
                  </a:lnTo>
                  <a:lnTo>
                    <a:pt x="1559" y="449"/>
                  </a:lnTo>
                  <a:lnTo>
                    <a:pt x="1559" y="449"/>
                  </a:lnTo>
                  <a:lnTo>
                    <a:pt x="1559" y="452"/>
                  </a:lnTo>
                  <a:lnTo>
                    <a:pt x="1559" y="452"/>
                  </a:lnTo>
                  <a:lnTo>
                    <a:pt x="1559" y="452"/>
                  </a:lnTo>
                  <a:lnTo>
                    <a:pt x="1559" y="449"/>
                  </a:lnTo>
                  <a:lnTo>
                    <a:pt x="1556" y="452"/>
                  </a:lnTo>
                  <a:lnTo>
                    <a:pt x="1556" y="449"/>
                  </a:lnTo>
                  <a:lnTo>
                    <a:pt x="1556" y="449"/>
                  </a:lnTo>
                  <a:lnTo>
                    <a:pt x="1556" y="452"/>
                  </a:lnTo>
                  <a:lnTo>
                    <a:pt x="1556" y="452"/>
                  </a:lnTo>
                  <a:lnTo>
                    <a:pt x="1556" y="452"/>
                  </a:lnTo>
                  <a:lnTo>
                    <a:pt x="1554" y="454"/>
                  </a:lnTo>
                  <a:lnTo>
                    <a:pt x="1554" y="452"/>
                  </a:lnTo>
                  <a:lnTo>
                    <a:pt x="1554" y="452"/>
                  </a:lnTo>
                  <a:lnTo>
                    <a:pt x="1554" y="456"/>
                  </a:lnTo>
                  <a:lnTo>
                    <a:pt x="1552" y="456"/>
                  </a:lnTo>
                  <a:lnTo>
                    <a:pt x="1554" y="456"/>
                  </a:lnTo>
                  <a:lnTo>
                    <a:pt x="1554" y="456"/>
                  </a:lnTo>
                  <a:lnTo>
                    <a:pt x="1554" y="459"/>
                  </a:lnTo>
                  <a:lnTo>
                    <a:pt x="1554" y="461"/>
                  </a:lnTo>
                  <a:lnTo>
                    <a:pt x="1554" y="463"/>
                  </a:lnTo>
                  <a:lnTo>
                    <a:pt x="1552" y="463"/>
                  </a:lnTo>
                  <a:lnTo>
                    <a:pt x="1552" y="463"/>
                  </a:lnTo>
                  <a:lnTo>
                    <a:pt x="1552" y="463"/>
                  </a:lnTo>
                  <a:lnTo>
                    <a:pt x="1552" y="463"/>
                  </a:lnTo>
                  <a:lnTo>
                    <a:pt x="1549" y="463"/>
                  </a:lnTo>
                  <a:lnTo>
                    <a:pt x="1549" y="463"/>
                  </a:lnTo>
                  <a:lnTo>
                    <a:pt x="1547" y="466"/>
                  </a:lnTo>
                  <a:lnTo>
                    <a:pt x="1549" y="466"/>
                  </a:lnTo>
                  <a:lnTo>
                    <a:pt x="1552" y="466"/>
                  </a:lnTo>
                  <a:lnTo>
                    <a:pt x="1549" y="466"/>
                  </a:lnTo>
                  <a:lnTo>
                    <a:pt x="1552" y="466"/>
                  </a:lnTo>
                  <a:lnTo>
                    <a:pt x="1554" y="463"/>
                  </a:lnTo>
                  <a:lnTo>
                    <a:pt x="1552" y="466"/>
                  </a:lnTo>
                  <a:lnTo>
                    <a:pt x="1554" y="466"/>
                  </a:lnTo>
                  <a:lnTo>
                    <a:pt x="1554" y="466"/>
                  </a:lnTo>
                  <a:lnTo>
                    <a:pt x="1556" y="463"/>
                  </a:lnTo>
                  <a:lnTo>
                    <a:pt x="1559" y="463"/>
                  </a:lnTo>
                  <a:lnTo>
                    <a:pt x="1559" y="463"/>
                  </a:lnTo>
                  <a:lnTo>
                    <a:pt x="1559" y="466"/>
                  </a:lnTo>
                  <a:lnTo>
                    <a:pt x="1561" y="466"/>
                  </a:lnTo>
                  <a:lnTo>
                    <a:pt x="1561" y="466"/>
                  </a:lnTo>
                  <a:lnTo>
                    <a:pt x="1561" y="466"/>
                  </a:lnTo>
                  <a:lnTo>
                    <a:pt x="1563" y="463"/>
                  </a:lnTo>
                  <a:lnTo>
                    <a:pt x="1563" y="463"/>
                  </a:lnTo>
                  <a:lnTo>
                    <a:pt x="1563" y="461"/>
                  </a:lnTo>
                  <a:lnTo>
                    <a:pt x="1563" y="461"/>
                  </a:lnTo>
                  <a:lnTo>
                    <a:pt x="1563" y="459"/>
                  </a:lnTo>
                  <a:lnTo>
                    <a:pt x="1563" y="459"/>
                  </a:lnTo>
                  <a:lnTo>
                    <a:pt x="1566" y="456"/>
                  </a:lnTo>
                  <a:lnTo>
                    <a:pt x="1568" y="459"/>
                  </a:lnTo>
                  <a:lnTo>
                    <a:pt x="1566" y="459"/>
                  </a:lnTo>
                  <a:lnTo>
                    <a:pt x="1566" y="461"/>
                  </a:lnTo>
                  <a:lnTo>
                    <a:pt x="1566" y="463"/>
                  </a:lnTo>
                  <a:lnTo>
                    <a:pt x="1568" y="466"/>
                  </a:lnTo>
                  <a:lnTo>
                    <a:pt x="1568" y="468"/>
                  </a:lnTo>
                  <a:lnTo>
                    <a:pt x="1568" y="466"/>
                  </a:lnTo>
                  <a:lnTo>
                    <a:pt x="1568" y="463"/>
                  </a:lnTo>
                  <a:lnTo>
                    <a:pt x="1568" y="466"/>
                  </a:lnTo>
                  <a:lnTo>
                    <a:pt x="1568" y="463"/>
                  </a:lnTo>
                  <a:lnTo>
                    <a:pt x="1568" y="463"/>
                  </a:lnTo>
                  <a:lnTo>
                    <a:pt x="1568" y="463"/>
                  </a:lnTo>
                  <a:lnTo>
                    <a:pt x="1570" y="463"/>
                  </a:lnTo>
                  <a:lnTo>
                    <a:pt x="1568" y="461"/>
                  </a:lnTo>
                  <a:lnTo>
                    <a:pt x="1568" y="459"/>
                  </a:lnTo>
                  <a:lnTo>
                    <a:pt x="1570" y="459"/>
                  </a:lnTo>
                  <a:lnTo>
                    <a:pt x="1570" y="456"/>
                  </a:lnTo>
                  <a:lnTo>
                    <a:pt x="1570" y="456"/>
                  </a:lnTo>
                  <a:lnTo>
                    <a:pt x="1570" y="456"/>
                  </a:lnTo>
                  <a:lnTo>
                    <a:pt x="1570" y="456"/>
                  </a:lnTo>
                  <a:lnTo>
                    <a:pt x="1570" y="456"/>
                  </a:lnTo>
                  <a:lnTo>
                    <a:pt x="1570" y="454"/>
                  </a:lnTo>
                  <a:lnTo>
                    <a:pt x="1573" y="454"/>
                  </a:lnTo>
                  <a:lnTo>
                    <a:pt x="1573" y="454"/>
                  </a:lnTo>
                  <a:lnTo>
                    <a:pt x="1575" y="454"/>
                  </a:lnTo>
                  <a:lnTo>
                    <a:pt x="1575" y="456"/>
                  </a:lnTo>
                  <a:lnTo>
                    <a:pt x="1578" y="456"/>
                  </a:lnTo>
                  <a:lnTo>
                    <a:pt x="1578" y="454"/>
                  </a:lnTo>
                  <a:lnTo>
                    <a:pt x="1578" y="452"/>
                  </a:lnTo>
                  <a:lnTo>
                    <a:pt x="1580" y="452"/>
                  </a:lnTo>
                  <a:lnTo>
                    <a:pt x="1580" y="452"/>
                  </a:lnTo>
                  <a:lnTo>
                    <a:pt x="1578" y="452"/>
                  </a:lnTo>
                  <a:lnTo>
                    <a:pt x="1582" y="452"/>
                  </a:lnTo>
                  <a:lnTo>
                    <a:pt x="1582" y="452"/>
                  </a:lnTo>
                  <a:lnTo>
                    <a:pt x="1582" y="454"/>
                  </a:lnTo>
                  <a:lnTo>
                    <a:pt x="1582" y="456"/>
                  </a:lnTo>
                  <a:lnTo>
                    <a:pt x="1580" y="456"/>
                  </a:lnTo>
                  <a:lnTo>
                    <a:pt x="1580" y="456"/>
                  </a:lnTo>
                  <a:lnTo>
                    <a:pt x="1578" y="456"/>
                  </a:lnTo>
                  <a:lnTo>
                    <a:pt x="1578" y="456"/>
                  </a:lnTo>
                  <a:lnTo>
                    <a:pt x="1575" y="459"/>
                  </a:lnTo>
                  <a:lnTo>
                    <a:pt x="1575" y="459"/>
                  </a:lnTo>
                  <a:lnTo>
                    <a:pt x="1575" y="459"/>
                  </a:lnTo>
                  <a:lnTo>
                    <a:pt x="1573" y="461"/>
                  </a:lnTo>
                  <a:lnTo>
                    <a:pt x="1575" y="461"/>
                  </a:lnTo>
                  <a:lnTo>
                    <a:pt x="1575" y="461"/>
                  </a:lnTo>
                  <a:lnTo>
                    <a:pt x="1575" y="461"/>
                  </a:lnTo>
                  <a:lnTo>
                    <a:pt x="1575" y="463"/>
                  </a:lnTo>
                  <a:lnTo>
                    <a:pt x="1578" y="463"/>
                  </a:lnTo>
                  <a:lnTo>
                    <a:pt x="1575" y="463"/>
                  </a:lnTo>
                  <a:lnTo>
                    <a:pt x="1575" y="463"/>
                  </a:lnTo>
                  <a:lnTo>
                    <a:pt x="1575" y="463"/>
                  </a:lnTo>
                  <a:lnTo>
                    <a:pt x="1578" y="466"/>
                  </a:lnTo>
                  <a:lnTo>
                    <a:pt x="1575" y="466"/>
                  </a:lnTo>
                  <a:lnTo>
                    <a:pt x="1575" y="466"/>
                  </a:lnTo>
                  <a:lnTo>
                    <a:pt x="1575" y="463"/>
                  </a:lnTo>
                  <a:lnTo>
                    <a:pt x="1573" y="466"/>
                  </a:lnTo>
                  <a:lnTo>
                    <a:pt x="1573" y="466"/>
                  </a:lnTo>
                  <a:lnTo>
                    <a:pt x="1573" y="466"/>
                  </a:lnTo>
                  <a:lnTo>
                    <a:pt x="1575" y="466"/>
                  </a:lnTo>
                  <a:lnTo>
                    <a:pt x="1578" y="466"/>
                  </a:lnTo>
                  <a:lnTo>
                    <a:pt x="1578" y="470"/>
                  </a:lnTo>
                  <a:lnTo>
                    <a:pt x="1575" y="470"/>
                  </a:lnTo>
                  <a:lnTo>
                    <a:pt x="1575" y="468"/>
                  </a:lnTo>
                  <a:lnTo>
                    <a:pt x="1573" y="470"/>
                  </a:lnTo>
                  <a:lnTo>
                    <a:pt x="1575" y="470"/>
                  </a:lnTo>
                  <a:lnTo>
                    <a:pt x="1575" y="473"/>
                  </a:lnTo>
                  <a:lnTo>
                    <a:pt x="1575" y="473"/>
                  </a:lnTo>
                  <a:lnTo>
                    <a:pt x="1575" y="473"/>
                  </a:lnTo>
                  <a:lnTo>
                    <a:pt x="1575" y="475"/>
                  </a:lnTo>
                  <a:lnTo>
                    <a:pt x="1573" y="475"/>
                  </a:lnTo>
                  <a:lnTo>
                    <a:pt x="1575" y="475"/>
                  </a:lnTo>
                  <a:lnTo>
                    <a:pt x="1575" y="478"/>
                  </a:lnTo>
                  <a:lnTo>
                    <a:pt x="1575" y="475"/>
                  </a:lnTo>
                  <a:lnTo>
                    <a:pt x="1578" y="473"/>
                  </a:lnTo>
                  <a:lnTo>
                    <a:pt x="1578" y="475"/>
                  </a:lnTo>
                  <a:lnTo>
                    <a:pt x="1578" y="473"/>
                  </a:lnTo>
                  <a:lnTo>
                    <a:pt x="1578" y="473"/>
                  </a:lnTo>
                  <a:lnTo>
                    <a:pt x="1578" y="473"/>
                  </a:lnTo>
                  <a:lnTo>
                    <a:pt x="1580" y="473"/>
                  </a:lnTo>
                  <a:lnTo>
                    <a:pt x="1582" y="473"/>
                  </a:lnTo>
                  <a:lnTo>
                    <a:pt x="1582" y="473"/>
                  </a:lnTo>
                  <a:lnTo>
                    <a:pt x="1582" y="475"/>
                  </a:lnTo>
                  <a:lnTo>
                    <a:pt x="1582" y="475"/>
                  </a:lnTo>
                  <a:lnTo>
                    <a:pt x="1582" y="475"/>
                  </a:lnTo>
                  <a:lnTo>
                    <a:pt x="1580" y="478"/>
                  </a:lnTo>
                  <a:lnTo>
                    <a:pt x="1580" y="478"/>
                  </a:lnTo>
                  <a:lnTo>
                    <a:pt x="1582" y="478"/>
                  </a:lnTo>
                  <a:lnTo>
                    <a:pt x="1582" y="478"/>
                  </a:lnTo>
                  <a:lnTo>
                    <a:pt x="1582" y="478"/>
                  </a:lnTo>
                  <a:lnTo>
                    <a:pt x="1582" y="478"/>
                  </a:lnTo>
                  <a:lnTo>
                    <a:pt x="1585" y="475"/>
                  </a:lnTo>
                  <a:lnTo>
                    <a:pt x="1582" y="473"/>
                  </a:lnTo>
                  <a:lnTo>
                    <a:pt x="1582" y="470"/>
                  </a:lnTo>
                  <a:lnTo>
                    <a:pt x="1582" y="470"/>
                  </a:lnTo>
                  <a:lnTo>
                    <a:pt x="1582" y="468"/>
                  </a:lnTo>
                  <a:lnTo>
                    <a:pt x="1582" y="468"/>
                  </a:lnTo>
                  <a:lnTo>
                    <a:pt x="1585" y="468"/>
                  </a:lnTo>
                  <a:lnTo>
                    <a:pt x="1587" y="468"/>
                  </a:lnTo>
                  <a:lnTo>
                    <a:pt x="1587" y="473"/>
                  </a:lnTo>
                  <a:lnTo>
                    <a:pt x="1587" y="475"/>
                  </a:lnTo>
                  <a:lnTo>
                    <a:pt x="1587" y="475"/>
                  </a:lnTo>
                  <a:lnTo>
                    <a:pt x="1587" y="478"/>
                  </a:lnTo>
                  <a:lnTo>
                    <a:pt x="1589" y="478"/>
                  </a:lnTo>
                  <a:lnTo>
                    <a:pt x="1587" y="475"/>
                  </a:lnTo>
                  <a:lnTo>
                    <a:pt x="1587" y="473"/>
                  </a:lnTo>
                  <a:lnTo>
                    <a:pt x="1589" y="473"/>
                  </a:lnTo>
                  <a:lnTo>
                    <a:pt x="1589" y="473"/>
                  </a:lnTo>
                  <a:lnTo>
                    <a:pt x="1589" y="470"/>
                  </a:lnTo>
                  <a:lnTo>
                    <a:pt x="1592" y="468"/>
                  </a:lnTo>
                  <a:lnTo>
                    <a:pt x="1592" y="468"/>
                  </a:lnTo>
                  <a:lnTo>
                    <a:pt x="1592" y="470"/>
                  </a:lnTo>
                  <a:lnTo>
                    <a:pt x="1592" y="473"/>
                  </a:lnTo>
                  <a:lnTo>
                    <a:pt x="1592" y="475"/>
                  </a:lnTo>
                  <a:lnTo>
                    <a:pt x="1592" y="475"/>
                  </a:lnTo>
                  <a:lnTo>
                    <a:pt x="1592" y="478"/>
                  </a:lnTo>
                  <a:lnTo>
                    <a:pt x="1592" y="480"/>
                  </a:lnTo>
                  <a:lnTo>
                    <a:pt x="1592" y="480"/>
                  </a:lnTo>
                  <a:lnTo>
                    <a:pt x="1592" y="480"/>
                  </a:lnTo>
                  <a:lnTo>
                    <a:pt x="1594" y="480"/>
                  </a:lnTo>
                  <a:lnTo>
                    <a:pt x="1596" y="482"/>
                  </a:lnTo>
                  <a:lnTo>
                    <a:pt x="1596" y="480"/>
                  </a:lnTo>
                  <a:lnTo>
                    <a:pt x="1596" y="478"/>
                  </a:lnTo>
                  <a:lnTo>
                    <a:pt x="1592" y="478"/>
                  </a:lnTo>
                  <a:lnTo>
                    <a:pt x="1592" y="478"/>
                  </a:lnTo>
                  <a:lnTo>
                    <a:pt x="1594" y="478"/>
                  </a:lnTo>
                  <a:lnTo>
                    <a:pt x="1594" y="475"/>
                  </a:lnTo>
                  <a:lnTo>
                    <a:pt x="1594" y="473"/>
                  </a:lnTo>
                  <a:lnTo>
                    <a:pt x="1596" y="473"/>
                  </a:lnTo>
                  <a:lnTo>
                    <a:pt x="1596" y="473"/>
                  </a:lnTo>
                  <a:lnTo>
                    <a:pt x="1596" y="473"/>
                  </a:lnTo>
                  <a:lnTo>
                    <a:pt x="1599" y="475"/>
                  </a:lnTo>
                  <a:lnTo>
                    <a:pt x="1596" y="478"/>
                  </a:lnTo>
                  <a:lnTo>
                    <a:pt x="1599" y="478"/>
                  </a:lnTo>
                  <a:lnTo>
                    <a:pt x="1599" y="475"/>
                  </a:lnTo>
                  <a:lnTo>
                    <a:pt x="1599" y="475"/>
                  </a:lnTo>
                  <a:lnTo>
                    <a:pt x="1599" y="475"/>
                  </a:lnTo>
                  <a:lnTo>
                    <a:pt x="1599" y="475"/>
                  </a:lnTo>
                  <a:lnTo>
                    <a:pt x="1599" y="473"/>
                  </a:lnTo>
                  <a:lnTo>
                    <a:pt x="1596" y="470"/>
                  </a:lnTo>
                  <a:lnTo>
                    <a:pt x="1599" y="468"/>
                  </a:lnTo>
                  <a:lnTo>
                    <a:pt x="1599" y="470"/>
                  </a:lnTo>
                  <a:lnTo>
                    <a:pt x="1601" y="468"/>
                  </a:lnTo>
                  <a:lnTo>
                    <a:pt x="1601" y="468"/>
                  </a:lnTo>
                  <a:lnTo>
                    <a:pt x="1601" y="468"/>
                  </a:lnTo>
                  <a:lnTo>
                    <a:pt x="1601" y="468"/>
                  </a:lnTo>
                  <a:lnTo>
                    <a:pt x="1599" y="468"/>
                  </a:lnTo>
                  <a:lnTo>
                    <a:pt x="1601" y="466"/>
                  </a:lnTo>
                  <a:lnTo>
                    <a:pt x="1601" y="466"/>
                  </a:lnTo>
                  <a:lnTo>
                    <a:pt x="1601" y="463"/>
                  </a:lnTo>
                  <a:lnTo>
                    <a:pt x="1601" y="463"/>
                  </a:lnTo>
                  <a:lnTo>
                    <a:pt x="1601" y="461"/>
                  </a:lnTo>
                  <a:lnTo>
                    <a:pt x="1604" y="463"/>
                  </a:lnTo>
                  <a:lnTo>
                    <a:pt x="1601" y="461"/>
                  </a:lnTo>
                  <a:lnTo>
                    <a:pt x="1606" y="461"/>
                  </a:lnTo>
                  <a:lnTo>
                    <a:pt x="1604" y="461"/>
                  </a:lnTo>
                  <a:lnTo>
                    <a:pt x="1601" y="461"/>
                  </a:lnTo>
                  <a:lnTo>
                    <a:pt x="1601" y="461"/>
                  </a:lnTo>
                  <a:lnTo>
                    <a:pt x="1601" y="459"/>
                  </a:lnTo>
                  <a:lnTo>
                    <a:pt x="1604" y="459"/>
                  </a:lnTo>
                  <a:lnTo>
                    <a:pt x="1604" y="459"/>
                  </a:lnTo>
                  <a:lnTo>
                    <a:pt x="1604" y="459"/>
                  </a:lnTo>
                  <a:lnTo>
                    <a:pt x="1606" y="459"/>
                  </a:lnTo>
                  <a:lnTo>
                    <a:pt x="1606" y="459"/>
                  </a:lnTo>
                  <a:lnTo>
                    <a:pt x="1608" y="456"/>
                  </a:lnTo>
                  <a:lnTo>
                    <a:pt x="1608" y="456"/>
                  </a:lnTo>
                  <a:lnTo>
                    <a:pt x="1608" y="456"/>
                  </a:lnTo>
                  <a:lnTo>
                    <a:pt x="1611" y="456"/>
                  </a:lnTo>
                  <a:lnTo>
                    <a:pt x="1611" y="456"/>
                  </a:lnTo>
                  <a:lnTo>
                    <a:pt x="1611" y="461"/>
                  </a:lnTo>
                  <a:lnTo>
                    <a:pt x="1611" y="461"/>
                  </a:lnTo>
                  <a:lnTo>
                    <a:pt x="1608" y="461"/>
                  </a:lnTo>
                  <a:lnTo>
                    <a:pt x="1608" y="463"/>
                  </a:lnTo>
                  <a:lnTo>
                    <a:pt x="1608" y="463"/>
                  </a:lnTo>
                  <a:lnTo>
                    <a:pt x="1611" y="463"/>
                  </a:lnTo>
                  <a:lnTo>
                    <a:pt x="1608" y="466"/>
                  </a:lnTo>
                  <a:lnTo>
                    <a:pt x="1608" y="466"/>
                  </a:lnTo>
                  <a:lnTo>
                    <a:pt x="1606" y="466"/>
                  </a:lnTo>
                  <a:lnTo>
                    <a:pt x="1608" y="468"/>
                  </a:lnTo>
                  <a:lnTo>
                    <a:pt x="1606" y="468"/>
                  </a:lnTo>
                  <a:lnTo>
                    <a:pt x="1606" y="468"/>
                  </a:lnTo>
                  <a:lnTo>
                    <a:pt x="1606" y="468"/>
                  </a:lnTo>
                  <a:lnTo>
                    <a:pt x="1604" y="468"/>
                  </a:lnTo>
                  <a:lnTo>
                    <a:pt x="1606" y="468"/>
                  </a:lnTo>
                  <a:lnTo>
                    <a:pt x="1608" y="468"/>
                  </a:lnTo>
                  <a:lnTo>
                    <a:pt x="1608" y="468"/>
                  </a:lnTo>
                  <a:lnTo>
                    <a:pt x="1608" y="468"/>
                  </a:lnTo>
                  <a:lnTo>
                    <a:pt x="1608" y="468"/>
                  </a:lnTo>
                  <a:lnTo>
                    <a:pt x="1608" y="468"/>
                  </a:lnTo>
                  <a:lnTo>
                    <a:pt x="1608" y="473"/>
                  </a:lnTo>
                  <a:lnTo>
                    <a:pt x="1608" y="473"/>
                  </a:lnTo>
                  <a:lnTo>
                    <a:pt x="1608" y="473"/>
                  </a:lnTo>
                  <a:lnTo>
                    <a:pt x="1608" y="475"/>
                  </a:lnTo>
                  <a:lnTo>
                    <a:pt x="1608" y="478"/>
                  </a:lnTo>
                  <a:lnTo>
                    <a:pt x="1608" y="478"/>
                  </a:lnTo>
                  <a:lnTo>
                    <a:pt x="1606" y="480"/>
                  </a:lnTo>
                  <a:lnTo>
                    <a:pt x="1604" y="485"/>
                  </a:lnTo>
                  <a:lnTo>
                    <a:pt x="1601" y="485"/>
                  </a:lnTo>
                  <a:lnTo>
                    <a:pt x="1601" y="487"/>
                  </a:lnTo>
                  <a:lnTo>
                    <a:pt x="1601" y="489"/>
                  </a:lnTo>
                  <a:lnTo>
                    <a:pt x="1601" y="492"/>
                  </a:lnTo>
                  <a:lnTo>
                    <a:pt x="1601" y="492"/>
                  </a:lnTo>
                  <a:lnTo>
                    <a:pt x="1601" y="492"/>
                  </a:lnTo>
                  <a:lnTo>
                    <a:pt x="1604" y="489"/>
                  </a:lnTo>
                  <a:lnTo>
                    <a:pt x="1604" y="487"/>
                  </a:lnTo>
                  <a:lnTo>
                    <a:pt x="1606" y="487"/>
                  </a:lnTo>
                  <a:lnTo>
                    <a:pt x="1606" y="485"/>
                  </a:lnTo>
                  <a:lnTo>
                    <a:pt x="1606" y="482"/>
                  </a:lnTo>
                  <a:lnTo>
                    <a:pt x="1611" y="478"/>
                  </a:lnTo>
                  <a:lnTo>
                    <a:pt x="1611" y="475"/>
                  </a:lnTo>
                  <a:lnTo>
                    <a:pt x="1611" y="473"/>
                  </a:lnTo>
                  <a:lnTo>
                    <a:pt x="1613" y="470"/>
                  </a:lnTo>
                  <a:lnTo>
                    <a:pt x="1613" y="468"/>
                  </a:lnTo>
                  <a:lnTo>
                    <a:pt x="1615" y="468"/>
                  </a:lnTo>
                  <a:lnTo>
                    <a:pt x="1615" y="470"/>
                  </a:lnTo>
                  <a:lnTo>
                    <a:pt x="1615" y="473"/>
                  </a:lnTo>
                  <a:lnTo>
                    <a:pt x="1615" y="473"/>
                  </a:lnTo>
                  <a:lnTo>
                    <a:pt x="1615" y="475"/>
                  </a:lnTo>
                  <a:lnTo>
                    <a:pt x="1615" y="475"/>
                  </a:lnTo>
                  <a:lnTo>
                    <a:pt x="1615" y="478"/>
                  </a:lnTo>
                  <a:lnTo>
                    <a:pt x="1615" y="478"/>
                  </a:lnTo>
                  <a:lnTo>
                    <a:pt x="1613" y="480"/>
                  </a:lnTo>
                  <a:lnTo>
                    <a:pt x="1611" y="485"/>
                  </a:lnTo>
                  <a:lnTo>
                    <a:pt x="1608" y="487"/>
                  </a:lnTo>
                  <a:lnTo>
                    <a:pt x="1611" y="487"/>
                  </a:lnTo>
                  <a:lnTo>
                    <a:pt x="1611" y="487"/>
                  </a:lnTo>
                  <a:lnTo>
                    <a:pt x="1613" y="489"/>
                  </a:lnTo>
                  <a:lnTo>
                    <a:pt x="1613" y="489"/>
                  </a:lnTo>
                  <a:lnTo>
                    <a:pt x="1615" y="489"/>
                  </a:lnTo>
                  <a:lnTo>
                    <a:pt x="1613" y="485"/>
                  </a:lnTo>
                  <a:lnTo>
                    <a:pt x="1613" y="485"/>
                  </a:lnTo>
                  <a:lnTo>
                    <a:pt x="1615" y="480"/>
                  </a:lnTo>
                  <a:lnTo>
                    <a:pt x="1615" y="480"/>
                  </a:lnTo>
                  <a:lnTo>
                    <a:pt x="1615" y="482"/>
                  </a:lnTo>
                  <a:lnTo>
                    <a:pt x="1618" y="487"/>
                  </a:lnTo>
                  <a:lnTo>
                    <a:pt x="1615" y="487"/>
                  </a:lnTo>
                  <a:lnTo>
                    <a:pt x="1618" y="487"/>
                  </a:lnTo>
                  <a:lnTo>
                    <a:pt x="1618" y="485"/>
                  </a:lnTo>
                  <a:lnTo>
                    <a:pt x="1618" y="485"/>
                  </a:lnTo>
                  <a:lnTo>
                    <a:pt x="1618" y="485"/>
                  </a:lnTo>
                  <a:lnTo>
                    <a:pt x="1618" y="482"/>
                  </a:lnTo>
                  <a:lnTo>
                    <a:pt x="1615" y="480"/>
                  </a:lnTo>
                  <a:lnTo>
                    <a:pt x="1618" y="478"/>
                  </a:lnTo>
                  <a:lnTo>
                    <a:pt x="1618" y="478"/>
                  </a:lnTo>
                  <a:lnTo>
                    <a:pt x="1622" y="475"/>
                  </a:lnTo>
                  <a:lnTo>
                    <a:pt x="1622" y="475"/>
                  </a:lnTo>
                  <a:lnTo>
                    <a:pt x="1625" y="475"/>
                  </a:lnTo>
                  <a:lnTo>
                    <a:pt x="1625" y="473"/>
                  </a:lnTo>
                  <a:lnTo>
                    <a:pt x="1625" y="473"/>
                  </a:lnTo>
                  <a:lnTo>
                    <a:pt x="1625" y="473"/>
                  </a:lnTo>
                  <a:lnTo>
                    <a:pt x="1627" y="473"/>
                  </a:lnTo>
                  <a:lnTo>
                    <a:pt x="1627" y="475"/>
                  </a:lnTo>
                  <a:lnTo>
                    <a:pt x="1622" y="478"/>
                  </a:lnTo>
                  <a:lnTo>
                    <a:pt x="1622" y="480"/>
                  </a:lnTo>
                  <a:lnTo>
                    <a:pt x="1625" y="482"/>
                  </a:lnTo>
                  <a:lnTo>
                    <a:pt x="1625" y="482"/>
                  </a:lnTo>
                  <a:lnTo>
                    <a:pt x="1625" y="482"/>
                  </a:lnTo>
                  <a:lnTo>
                    <a:pt x="1627" y="485"/>
                  </a:lnTo>
                  <a:lnTo>
                    <a:pt x="1625" y="487"/>
                  </a:lnTo>
                  <a:lnTo>
                    <a:pt x="1625" y="492"/>
                  </a:lnTo>
                  <a:lnTo>
                    <a:pt x="1625" y="494"/>
                  </a:lnTo>
                  <a:lnTo>
                    <a:pt x="1622" y="496"/>
                  </a:lnTo>
                  <a:lnTo>
                    <a:pt x="1622" y="496"/>
                  </a:lnTo>
                  <a:lnTo>
                    <a:pt x="1620" y="496"/>
                  </a:lnTo>
                  <a:lnTo>
                    <a:pt x="1618" y="496"/>
                  </a:lnTo>
                  <a:lnTo>
                    <a:pt x="1615" y="499"/>
                  </a:lnTo>
                  <a:lnTo>
                    <a:pt x="1618" y="504"/>
                  </a:lnTo>
                  <a:lnTo>
                    <a:pt x="1615" y="506"/>
                  </a:lnTo>
                  <a:lnTo>
                    <a:pt x="1615" y="511"/>
                  </a:lnTo>
                  <a:lnTo>
                    <a:pt x="1618" y="511"/>
                  </a:lnTo>
                  <a:lnTo>
                    <a:pt x="1618" y="513"/>
                  </a:lnTo>
                  <a:lnTo>
                    <a:pt x="1618" y="513"/>
                  </a:lnTo>
                  <a:lnTo>
                    <a:pt x="1622" y="513"/>
                  </a:lnTo>
                  <a:lnTo>
                    <a:pt x="1622" y="513"/>
                  </a:lnTo>
                  <a:lnTo>
                    <a:pt x="1620" y="515"/>
                  </a:lnTo>
                  <a:lnTo>
                    <a:pt x="1620" y="518"/>
                  </a:lnTo>
                  <a:lnTo>
                    <a:pt x="1620" y="520"/>
                  </a:lnTo>
                  <a:lnTo>
                    <a:pt x="1618" y="522"/>
                  </a:lnTo>
                  <a:lnTo>
                    <a:pt x="1615" y="525"/>
                  </a:lnTo>
                  <a:lnTo>
                    <a:pt x="1618" y="527"/>
                  </a:lnTo>
                  <a:lnTo>
                    <a:pt x="1618" y="527"/>
                  </a:lnTo>
                  <a:lnTo>
                    <a:pt x="1613" y="532"/>
                  </a:lnTo>
                  <a:lnTo>
                    <a:pt x="1615" y="534"/>
                  </a:lnTo>
                  <a:lnTo>
                    <a:pt x="1615" y="534"/>
                  </a:lnTo>
                  <a:lnTo>
                    <a:pt x="1618" y="537"/>
                  </a:lnTo>
                  <a:lnTo>
                    <a:pt x="1618" y="539"/>
                  </a:lnTo>
                  <a:lnTo>
                    <a:pt x="1618" y="546"/>
                  </a:lnTo>
                  <a:lnTo>
                    <a:pt x="1615" y="546"/>
                  </a:lnTo>
                  <a:lnTo>
                    <a:pt x="1615" y="548"/>
                  </a:lnTo>
                  <a:lnTo>
                    <a:pt x="1618" y="548"/>
                  </a:lnTo>
                  <a:lnTo>
                    <a:pt x="1618" y="548"/>
                  </a:lnTo>
                  <a:lnTo>
                    <a:pt x="1615" y="551"/>
                  </a:lnTo>
                  <a:lnTo>
                    <a:pt x="1615" y="556"/>
                  </a:lnTo>
                  <a:lnTo>
                    <a:pt x="1615" y="556"/>
                  </a:lnTo>
                  <a:lnTo>
                    <a:pt x="1615" y="556"/>
                  </a:lnTo>
                  <a:lnTo>
                    <a:pt x="1615" y="558"/>
                  </a:lnTo>
                  <a:lnTo>
                    <a:pt x="1615" y="560"/>
                  </a:lnTo>
                  <a:lnTo>
                    <a:pt x="1613" y="560"/>
                  </a:lnTo>
                  <a:lnTo>
                    <a:pt x="1611" y="563"/>
                  </a:lnTo>
                  <a:lnTo>
                    <a:pt x="1611" y="563"/>
                  </a:lnTo>
                  <a:lnTo>
                    <a:pt x="1608" y="563"/>
                  </a:lnTo>
                  <a:lnTo>
                    <a:pt x="1608" y="565"/>
                  </a:lnTo>
                  <a:lnTo>
                    <a:pt x="1608" y="565"/>
                  </a:lnTo>
                  <a:lnTo>
                    <a:pt x="1608" y="565"/>
                  </a:lnTo>
                  <a:lnTo>
                    <a:pt x="1606" y="565"/>
                  </a:lnTo>
                  <a:lnTo>
                    <a:pt x="1606" y="565"/>
                  </a:lnTo>
                  <a:lnTo>
                    <a:pt x="1601" y="565"/>
                  </a:lnTo>
                  <a:lnTo>
                    <a:pt x="1599" y="565"/>
                  </a:lnTo>
                  <a:lnTo>
                    <a:pt x="1596" y="565"/>
                  </a:lnTo>
                  <a:lnTo>
                    <a:pt x="1596" y="565"/>
                  </a:lnTo>
                  <a:lnTo>
                    <a:pt x="1596" y="567"/>
                  </a:lnTo>
                  <a:lnTo>
                    <a:pt x="1594" y="570"/>
                  </a:lnTo>
                  <a:lnTo>
                    <a:pt x="1596" y="574"/>
                  </a:lnTo>
                  <a:lnTo>
                    <a:pt x="1596" y="574"/>
                  </a:lnTo>
                  <a:lnTo>
                    <a:pt x="1599" y="574"/>
                  </a:lnTo>
                  <a:lnTo>
                    <a:pt x="1599" y="574"/>
                  </a:lnTo>
                  <a:lnTo>
                    <a:pt x="1599" y="574"/>
                  </a:lnTo>
                  <a:lnTo>
                    <a:pt x="1601" y="574"/>
                  </a:lnTo>
                  <a:lnTo>
                    <a:pt x="1606" y="574"/>
                  </a:lnTo>
                  <a:lnTo>
                    <a:pt x="1608" y="577"/>
                  </a:lnTo>
                  <a:lnTo>
                    <a:pt x="1608" y="577"/>
                  </a:lnTo>
                  <a:lnTo>
                    <a:pt x="1608" y="579"/>
                  </a:lnTo>
                  <a:lnTo>
                    <a:pt x="1606" y="584"/>
                  </a:lnTo>
                  <a:lnTo>
                    <a:pt x="1606" y="586"/>
                  </a:lnTo>
                  <a:lnTo>
                    <a:pt x="1606" y="586"/>
                  </a:lnTo>
                  <a:lnTo>
                    <a:pt x="1608" y="589"/>
                  </a:lnTo>
                  <a:lnTo>
                    <a:pt x="1606" y="596"/>
                  </a:lnTo>
                  <a:lnTo>
                    <a:pt x="1604" y="600"/>
                  </a:lnTo>
                  <a:lnTo>
                    <a:pt x="1604" y="603"/>
                  </a:lnTo>
                  <a:lnTo>
                    <a:pt x="1601" y="605"/>
                  </a:lnTo>
                  <a:lnTo>
                    <a:pt x="1601" y="607"/>
                  </a:lnTo>
                  <a:lnTo>
                    <a:pt x="1601" y="607"/>
                  </a:lnTo>
                  <a:lnTo>
                    <a:pt x="1601" y="612"/>
                  </a:lnTo>
                  <a:lnTo>
                    <a:pt x="1601" y="612"/>
                  </a:lnTo>
                  <a:lnTo>
                    <a:pt x="1601" y="615"/>
                  </a:lnTo>
                  <a:lnTo>
                    <a:pt x="1601" y="617"/>
                  </a:lnTo>
                  <a:lnTo>
                    <a:pt x="1599" y="619"/>
                  </a:lnTo>
                  <a:lnTo>
                    <a:pt x="1599" y="619"/>
                  </a:lnTo>
                  <a:lnTo>
                    <a:pt x="1599" y="622"/>
                  </a:lnTo>
                  <a:lnTo>
                    <a:pt x="1599" y="622"/>
                  </a:lnTo>
                  <a:lnTo>
                    <a:pt x="1596" y="624"/>
                  </a:lnTo>
                  <a:lnTo>
                    <a:pt x="1594" y="624"/>
                  </a:lnTo>
                  <a:lnTo>
                    <a:pt x="1592" y="629"/>
                  </a:lnTo>
                  <a:lnTo>
                    <a:pt x="1592" y="629"/>
                  </a:lnTo>
                  <a:lnTo>
                    <a:pt x="1589" y="631"/>
                  </a:lnTo>
                  <a:lnTo>
                    <a:pt x="1589" y="631"/>
                  </a:lnTo>
                  <a:lnTo>
                    <a:pt x="1587" y="633"/>
                  </a:lnTo>
                  <a:lnTo>
                    <a:pt x="1587" y="633"/>
                  </a:lnTo>
                  <a:lnTo>
                    <a:pt x="1585" y="633"/>
                  </a:lnTo>
                  <a:lnTo>
                    <a:pt x="1582" y="631"/>
                  </a:lnTo>
                  <a:lnTo>
                    <a:pt x="1580" y="631"/>
                  </a:lnTo>
                  <a:lnTo>
                    <a:pt x="1580" y="633"/>
                  </a:lnTo>
                  <a:lnTo>
                    <a:pt x="1582" y="633"/>
                  </a:lnTo>
                  <a:lnTo>
                    <a:pt x="1582" y="638"/>
                  </a:lnTo>
                  <a:lnTo>
                    <a:pt x="1580" y="641"/>
                  </a:lnTo>
                  <a:lnTo>
                    <a:pt x="1580" y="643"/>
                  </a:lnTo>
                  <a:lnTo>
                    <a:pt x="1580" y="643"/>
                  </a:lnTo>
                  <a:lnTo>
                    <a:pt x="1580" y="645"/>
                  </a:lnTo>
                  <a:lnTo>
                    <a:pt x="1578" y="648"/>
                  </a:lnTo>
                  <a:lnTo>
                    <a:pt x="1578" y="650"/>
                  </a:lnTo>
                  <a:lnTo>
                    <a:pt x="1578" y="650"/>
                  </a:lnTo>
                  <a:lnTo>
                    <a:pt x="1578" y="650"/>
                  </a:lnTo>
                  <a:lnTo>
                    <a:pt x="1580" y="650"/>
                  </a:lnTo>
                  <a:lnTo>
                    <a:pt x="1582" y="648"/>
                  </a:lnTo>
                  <a:lnTo>
                    <a:pt x="1582" y="648"/>
                  </a:lnTo>
                  <a:lnTo>
                    <a:pt x="1582" y="650"/>
                  </a:lnTo>
                  <a:lnTo>
                    <a:pt x="1582" y="650"/>
                  </a:lnTo>
                  <a:lnTo>
                    <a:pt x="1582" y="652"/>
                  </a:lnTo>
                  <a:lnTo>
                    <a:pt x="1580" y="655"/>
                  </a:lnTo>
                  <a:lnTo>
                    <a:pt x="1580" y="657"/>
                  </a:lnTo>
                  <a:lnTo>
                    <a:pt x="1580" y="659"/>
                  </a:lnTo>
                  <a:lnTo>
                    <a:pt x="1580" y="659"/>
                  </a:lnTo>
                  <a:lnTo>
                    <a:pt x="1580" y="659"/>
                  </a:lnTo>
                  <a:lnTo>
                    <a:pt x="1580" y="662"/>
                  </a:lnTo>
                  <a:lnTo>
                    <a:pt x="1580" y="664"/>
                  </a:lnTo>
                  <a:lnTo>
                    <a:pt x="1580" y="667"/>
                  </a:lnTo>
                  <a:lnTo>
                    <a:pt x="1580" y="667"/>
                  </a:lnTo>
                  <a:lnTo>
                    <a:pt x="1580" y="669"/>
                  </a:lnTo>
                  <a:lnTo>
                    <a:pt x="1582" y="669"/>
                  </a:lnTo>
                  <a:lnTo>
                    <a:pt x="1582" y="669"/>
                  </a:lnTo>
                  <a:lnTo>
                    <a:pt x="1578" y="671"/>
                  </a:lnTo>
                  <a:lnTo>
                    <a:pt x="1575" y="671"/>
                  </a:lnTo>
                  <a:lnTo>
                    <a:pt x="1573" y="671"/>
                  </a:lnTo>
                  <a:lnTo>
                    <a:pt x="1573" y="671"/>
                  </a:lnTo>
                  <a:lnTo>
                    <a:pt x="1573" y="671"/>
                  </a:lnTo>
                  <a:lnTo>
                    <a:pt x="1573" y="674"/>
                  </a:lnTo>
                  <a:lnTo>
                    <a:pt x="1573" y="674"/>
                  </a:lnTo>
                  <a:lnTo>
                    <a:pt x="1573" y="676"/>
                  </a:lnTo>
                  <a:lnTo>
                    <a:pt x="1573" y="676"/>
                  </a:lnTo>
                  <a:lnTo>
                    <a:pt x="1573" y="676"/>
                  </a:lnTo>
                  <a:lnTo>
                    <a:pt x="1570" y="678"/>
                  </a:lnTo>
                  <a:lnTo>
                    <a:pt x="1570" y="681"/>
                  </a:lnTo>
                  <a:lnTo>
                    <a:pt x="1568" y="681"/>
                  </a:lnTo>
                  <a:lnTo>
                    <a:pt x="1566" y="683"/>
                  </a:lnTo>
                  <a:lnTo>
                    <a:pt x="1563" y="683"/>
                  </a:lnTo>
                  <a:lnTo>
                    <a:pt x="1563" y="683"/>
                  </a:lnTo>
                  <a:lnTo>
                    <a:pt x="1561" y="683"/>
                  </a:lnTo>
                  <a:lnTo>
                    <a:pt x="1561" y="688"/>
                  </a:lnTo>
                  <a:lnTo>
                    <a:pt x="1561" y="688"/>
                  </a:lnTo>
                  <a:lnTo>
                    <a:pt x="1559" y="685"/>
                  </a:lnTo>
                  <a:lnTo>
                    <a:pt x="1556" y="685"/>
                  </a:lnTo>
                  <a:lnTo>
                    <a:pt x="1556" y="685"/>
                  </a:lnTo>
                  <a:lnTo>
                    <a:pt x="1556" y="688"/>
                  </a:lnTo>
                  <a:lnTo>
                    <a:pt x="1556" y="688"/>
                  </a:lnTo>
                  <a:lnTo>
                    <a:pt x="1554" y="688"/>
                  </a:lnTo>
                  <a:lnTo>
                    <a:pt x="1554" y="690"/>
                  </a:lnTo>
                  <a:lnTo>
                    <a:pt x="1554" y="690"/>
                  </a:lnTo>
                  <a:lnTo>
                    <a:pt x="1554" y="690"/>
                  </a:lnTo>
                  <a:lnTo>
                    <a:pt x="1554" y="690"/>
                  </a:lnTo>
                  <a:lnTo>
                    <a:pt x="1552" y="690"/>
                  </a:lnTo>
                  <a:lnTo>
                    <a:pt x="1549" y="695"/>
                  </a:lnTo>
                  <a:lnTo>
                    <a:pt x="1552" y="695"/>
                  </a:lnTo>
                  <a:lnTo>
                    <a:pt x="1552" y="697"/>
                  </a:lnTo>
                  <a:lnTo>
                    <a:pt x="1552" y="695"/>
                  </a:lnTo>
                  <a:lnTo>
                    <a:pt x="1552" y="697"/>
                  </a:lnTo>
                  <a:lnTo>
                    <a:pt x="1552" y="697"/>
                  </a:lnTo>
                  <a:lnTo>
                    <a:pt x="1554" y="700"/>
                  </a:lnTo>
                  <a:lnTo>
                    <a:pt x="1554" y="700"/>
                  </a:lnTo>
                  <a:lnTo>
                    <a:pt x="1554" y="700"/>
                  </a:lnTo>
                  <a:lnTo>
                    <a:pt x="1554" y="700"/>
                  </a:lnTo>
                  <a:lnTo>
                    <a:pt x="1554" y="702"/>
                  </a:lnTo>
                  <a:lnTo>
                    <a:pt x="1554" y="704"/>
                  </a:lnTo>
                  <a:lnTo>
                    <a:pt x="1556" y="707"/>
                  </a:lnTo>
                  <a:lnTo>
                    <a:pt x="1556" y="704"/>
                  </a:lnTo>
                  <a:lnTo>
                    <a:pt x="1559" y="704"/>
                  </a:lnTo>
                  <a:lnTo>
                    <a:pt x="1559" y="704"/>
                  </a:lnTo>
                  <a:lnTo>
                    <a:pt x="1559" y="704"/>
                  </a:lnTo>
                  <a:lnTo>
                    <a:pt x="1559" y="704"/>
                  </a:lnTo>
                  <a:lnTo>
                    <a:pt x="1559" y="707"/>
                  </a:lnTo>
                  <a:lnTo>
                    <a:pt x="1559" y="707"/>
                  </a:lnTo>
                  <a:lnTo>
                    <a:pt x="1561" y="707"/>
                  </a:lnTo>
                  <a:lnTo>
                    <a:pt x="1561" y="709"/>
                  </a:lnTo>
                  <a:lnTo>
                    <a:pt x="1561" y="709"/>
                  </a:lnTo>
                  <a:lnTo>
                    <a:pt x="1561" y="709"/>
                  </a:lnTo>
                  <a:lnTo>
                    <a:pt x="1561" y="709"/>
                  </a:lnTo>
                  <a:lnTo>
                    <a:pt x="1561" y="709"/>
                  </a:lnTo>
                  <a:lnTo>
                    <a:pt x="1561" y="709"/>
                  </a:lnTo>
                  <a:lnTo>
                    <a:pt x="1563" y="709"/>
                  </a:lnTo>
                  <a:lnTo>
                    <a:pt x="1561" y="709"/>
                  </a:lnTo>
                  <a:lnTo>
                    <a:pt x="1561" y="711"/>
                  </a:lnTo>
                  <a:lnTo>
                    <a:pt x="1559" y="709"/>
                  </a:lnTo>
                  <a:lnTo>
                    <a:pt x="1556" y="709"/>
                  </a:lnTo>
                  <a:lnTo>
                    <a:pt x="1556" y="709"/>
                  </a:lnTo>
                  <a:lnTo>
                    <a:pt x="1556" y="709"/>
                  </a:lnTo>
                  <a:lnTo>
                    <a:pt x="1556" y="711"/>
                  </a:lnTo>
                  <a:lnTo>
                    <a:pt x="1559" y="711"/>
                  </a:lnTo>
                  <a:lnTo>
                    <a:pt x="1556" y="714"/>
                  </a:lnTo>
                  <a:lnTo>
                    <a:pt x="1554" y="711"/>
                  </a:lnTo>
                  <a:lnTo>
                    <a:pt x="1554" y="711"/>
                  </a:lnTo>
                  <a:lnTo>
                    <a:pt x="1554" y="714"/>
                  </a:lnTo>
                  <a:lnTo>
                    <a:pt x="1554" y="714"/>
                  </a:lnTo>
                  <a:lnTo>
                    <a:pt x="1554" y="714"/>
                  </a:lnTo>
                  <a:lnTo>
                    <a:pt x="1554" y="714"/>
                  </a:lnTo>
                  <a:lnTo>
                    <a:pt x="1554" y="716"/>
                  </a:lnTo>
                  <a:lnTo>
                    <a:pt x="1554" y="716"/>
                  </a:lnTo>
                  <a:lnTo>
                    <a:pt x="1552" y="716"/>
                  </a:lnTo>
                  <a:lnTo>
                    <a:pt x="1552" y="716"/>
                  </a:lnTo>
                  <a:lnTo>
                    <a:pt x="1549" y="716"/>
                  </a:lnTo>
                  <a:lnTo>
                    <a:pt x="1549" y="716"/>
                  </a:lnTo>
                  <a:lnTo>
                    <a:pt x="1549" y="716"/>
                  </a:lnTo>
                  <a:lnTo>
                    <a:pt x="1552" y="718"/>
                  </a:lnTo>
                  <a:lnTo>
                    <a:pt x="1552" y="718"/>
                  </a:lnTo>
                  <a:lnTo>
                    <a:pt x="1552" y="721"/>
                  </a:lnTo>
                  <a:lnTo>
                    <a:pt x="1552" y="721"/>
                  </a:lnTo>
                  <a:lnTo>
                    <a:pt x="1552" y="723"/>
                  </a:lnTo>
                  <a:lnTo>
                    <a:pt x="1552" y="723"/>
                  </a:lnTo>
                  <a:lnTo>
                    <a:pt x="1552" y="723"/>
                  </a:lnTo>
                  <a:lnTo>
                    <a:pt x="1552" y="726"/>
                  </a:lnTo>
                  <a:lnTo>
                    <a:pt x="1552" y="726"/>
                  </a:lnTo>
                  <a:lnTo>
                    <a:pt x="1554" y="726"/>
                  </a:lnTo>
                  <a:lnTo>
                    <a:pt x="1554" y="728"/>
                  </a:lnTo>
                  <a:lnTo>
                    <a:pt x="1552" y="728"/>
                  </a:lnTo>
                  <a:lnTo>
                    <a:pt x="1552" y="728"/>
                  </a:lnTo>
                  <a:lnTo>
                    <a:pt x="1552" y="728"/>
                  </a:lnTo>
                  <a:lnTo>
                    <a:pt x="1554" y="730"/>
                  </a:lnTo>
                  <a:lnTo>
                    <a:pt x="1552" y="730"/>
                  </a:lnTo>
                  <a:lnTo>
                    <a:pt x="1552" y="730"/>
                  </a:lnTo>
                  <a:lnTo>
                    <a:pt x="1549" y="730"/>
                  </a:lnTo>
                  <a:lnTo>
                    <a:pt x="1549" y="733"/>
                  </a:lnTo>
                  <a:lnTo>
                    <a:pt x="1552" y="733"/>
                  </a:lnTo>
                  <a:lnTo>
                    <a:pt x="1549" y="735"/>
                  </a:lnTo>
                  <a:lnTo>
                    <a:pt x="1552" y="735"/>
                  </a:lnTo>
                  <a:lnTo>
                    <a:pt x="1549" y="735"/>
                  </a:lnTo>
                  <a:lnTo>
                    <a:pt x="1549" y="740"/>
                  </a:lnTo>
                  <a:lnTo>
                    <a:pt x="1549" y="740"/>
                  </a:lnTo>
                  <a:lnTo>
                    <a:pt x="1549" y="742"/>
                  </a:lnTo>
                  <a:lnTo>
                    <a:pt x="1549" y="744"/>
                  </a:lnTo>
                  <a:lnTo>
                    <a:pt x="1547" y="742"/>
                  </a:lnTo>
                  <a:lnTo>
                    <a:pt x="1544" y="744"/>
                  </a:lnTo>
                  <a:lnTo>
                    <a:pt x="1547" y="747"/>
                  </a:lnTo>
                  <a:lnTo>
                    <a:pt x="1544" y="749"/>
                  </a:lnTo>
                  <a:lnTo>
                    <a:pt x="1544" y="749"/>
                  </a:lnTo>
                  <a:lnTo>
                    <a:pt x="1544" y="744"/>
                  </a:lnTo>
                  <a:lnTo>
                    <a:pt x="1544" y="744"/>
                  </a:lnTo>
                  <a:lnTo>
                    <a:pt x="1542" y="747"/>
                  </a:lnTo>
                  <a:lnTo>
                    <a:pt x="1542" y="747"/>
                  </a:lnTo>
                  <a:lnTo>
                    <a:pt x="1542" y="747"/>
                  </a:lnTo>
                  <a:lnTo>
                    <a:pt x="1540" y="747"/>
                  </a:lnTo>
                  <a:lnTo>
                    <a:pt x="1542" y="749"/>
                  </a:lnTo>
                  <a:lnTo>
                    <a:pt x="1542" y="749"/>
                  </a:lnTo>
                  <a:lnTo>
                    <a:pt x="1542" y="749"/>
                  </a:lnTo>
                  <a:lnTo>
                    <a:pt x="1544" y="752"/>
                  </a:lnTo>
                  <a:lnTo>
                    <a:pt x="1542" y="752"/>
                  </a:lnTo>
                  <a:lnTo>
                    <a:pt x="1542" y="752"/>
                  </a:lnTo>
                  <a:lnTo>
                    <a:pt x="1540" y="752"/>
                  </a:lnTo>
                  <a:lnTo>
                    <a:pt x="1542" y="754"/>
                  </a:lnTo>
                  <a:lnTo>
                    <a:pt x="1540" y="756"/>
                  </a:lnTo>
                  <a:lnTo>
                    <a:pt x="1537" y="754"/>
                  </a:lnTo>
                  <a:lnTo>
                    <a:pt x="1537" y="754"/>
                  </a:lnTo>
                  <a:lnTo>
                    <a:pt x="1540" y="756"/>
                  </a:lnTo>
                  <a:lnTo>
                    <a:pt x="1540" y="756"/>
                  </a:lnTo>
                  <a:lnTo>
                    <a:pt x="1537" y="759"/>
                  </a:lnTo>
                  <a:lnTo>
                    <a:pt x="1540" y="759"/>
                  </a:lnTo>
                  <a:lnTo>
                    <a:pt x="1540" y="759"/>
                  </a:lnTo>
                  <a:lnTo>
                    <a:pt x="1540" y="761"/>
                  </a:lnTo>
                  <a:lnTo>
                    <a:pt x="1537" y="759"/>
                  </a:lnTo>
                  <a:lnTo>
                    <a:pt x="1537" y="759"/>
                  </a:lnTo>
                  <a:lnTo>
                    <a:pt x="1535" y="761"/>
                  </a:lnTo>
                  <a:lnTo>
                    <a:pt x="1537" y="761"/>
                  </a:lnTo>
                  <a:lnTo>
                    <a:pt x="1535" y="763"/>
                  </a:lnTo>
                  <a:lnTo>
                    <a:pt x="1535" y="763"/>
                  </a:lnTo>
                  <a:lnTo>
                    <a:pt x="1535" y="761"/>
                  </a:lnTo>
                  <a:lnTo>
                    <a:pt x="1533" y="763"/>
                  </a:lnTo>
                  <a:lnTo>
                    <a:pt x="1533" y="766"/>
                  </a:lnTo>
                  <a:lnTo>
                    <a:pt x="1533" y="766"/>
                  </a:lnTo>
                  <a:lnTo>
                    <a:pt x="1533" y="766"/>
                  </a:lnTo>
                  <a:lnTo>
                    <a:pt x="1530" y="766"/>
                  </a:lnTo>
                  <a:lnTo>
                    <a:pt x="1533" y="768"/>
                  </a:lnTo>
                  <a:lnTo>
                    <a:pt x="1530" y="770"/>
                  </a:lnTo>
                  <a:lnTo>
                    <a:pt x="1533" y="770"/>
                  </a:lnTo>
                  <a:lnTo>
                    <a:pt x="1533" y="773"/>
                  </a:lnTo>
                  <a:lnTo>
                    <a:pt x="1530" y="773"/>
                  </a:lnTo>
                  <a:lnTo>
                    <a:pt x="1530" y="773"/>
                  </a:lnTo>
                  <a:lnTo>
                    <a:pt x="1528" y="773"/>
                  </a:lnTo>
                  <a:lnTo>
                    <a:pt x="1528" y="773"/>
                  </a:lnTo>
                  <a:lnTo>
                    <a:pt x="1528" y="775"/>
                  </a:lnTo>
                  <a:lnTo>
                    <a:pt x="1528" y="775"/>
                  </a:lnTo>
                  <a:lnTo>
                    <a:pt x="1526" y="775"/>
                  </a:lnTo>
                  <a:lnTo>
                    <a:pt x="1526" y="773"/>
                  </a:lnTo>
                  <a:lnTo>
                    <a:pt x="1526" y="773"/>
                  </a:lnTo>
                  <a:lnTo>
                    <a:pt x="1526" y="775"/>
                  </a:lnTo>
                  <a:lnTo>
                    <a:pt x="1526" y="775"/>
                  </a:lnTo>
                  <a:lnTo>
                    <a:pt x="1523" y="778"/>
                  </a:lnTo>
                  <a:lnTo>
                    <a:pt x="1523" y="775"/>
                  </a:lnTo>
                  <a:lnTo>
                    <a:pt x="1523" y="775"/>
                  </a:lnTo>
                  <a:lnTo>
                    <a:pt x="1523" y="775"/>
                  </a:lnTo>
                  <a:lnTo>
                    <a:pt x="1521" y="778"/>
                  </a:lnTo>
                  <a:lnTo>
                    <a:pt x="1521" y="778"/>
                  </a:lnTo>
                  <a:lnTo>
                    <a:pt x="1521" y="778"/>
                  </a:lnTo>
                  <a:lnTo>
                    <a:pt x="1521" y="778"/>
                  </a:lnTo>
                  <a:lnTo>
                    <a:pt x="1521" y="780"/>
                  </a:lnTo>
                  <a:lnTo>
                    <a:pt x="1518" y="778"/>
                  </a:lnTo>
                  <a:lnTo>
                    <a:pt x="1518" y="780"/>
                  </a:lnTo>
                  <a:lnTo>
                    <a:pt x="1518" y="780"/>
                  </a:lnTo>
                  <a:lnTo>
                    <a:pt x="1518" y="780"/>
                  </a:lnTo>
                  <a:lnTo>
                    <a:pt x="1518" y="780"/>
                  </a:lnTo>
                  <a:lnTo>
                    <a:pt x="1516" y="780"/>
                  </a:lnTo>
                  <a:lnTo>
                    <a:pt x="1516" y="780"/>
                  </a:lnTo>
                  <a:lnTo>
                    <a:pt x="1516" y="782"/>
                  </a:lnTo>
                  <a:lnTo>
                    <a:pt x="1516" y="782"/>
                  </a:lnTo>
                  <a:lnTo>
                    <a:pt x="1516" y="782"/>
                  </a:lnTo>
                  <a:lnTo>
                    <a:pt x="1516" y="785"/>
                  </a:lnTo>
                  <a:lnTo>
                    <a:pt x="1516" y="787"/>
                  </a:lnTo>
                  <a:lnTo>
                    <a:pt x="1516" y="787"/>
                  </a:lnTo>
                  <a:lnTo>
                    <a:pt x="1516" y="787"/>
                  </a:lnTo>
                  <a:lnTo>
                    <a:pt x="1516" y="787"/>
                  </a:lnTo>
                  <a:lnTo>
                    <a:pt x="1514" y="787"/>
                  </a:lnTo>
                  <a:lnTo>
                    <a:pt x="1514" y="789"/>
                  </a:lnTo>
                  <a:lnTo>
                    <a:pt x="1516" y="789"/>
                  </a:lnTo>
                  <a:lnTo>
                    <a:pt x="1516" y="789"/>
                  </a:lnTo>
                  <a:lnTo>
                    <a:pt x="1514" y="789"/>
                  </a:lnTo>
                  <a:lnTo>
                    <a:pt x="1516" y="792"/>
                  </a:lnTo>
                  <a:lnTo>
                    <a:pt x="1514" y="792"/>
                  </a:lnTo>
                  <a:lnTo>
                    <a:pt x="1514" y="792"/>
                  </a:lnTo>
                  <a:lnTo>
                    <a:pt x="1516" y="792"/>
                  </a:lnTo>
                  <a:lnTo>
                    <a:pt x="1516" y="794"/>
                  </a:lnTo>
                  <a:lnTo>
                    <a:pt x="1514" y="792"/>
                  </a:lnTo>
                  <a:lnTo>
                    <a:pt x="1514" y="796"/>
                  </a:lnTo>
                  <a:lnTo>
                    <a:pt x="1514" y="796"/>
                  </a:lnTo>
                  <a:lnTo>
                    <a:pt x="1514" y="796"/>
                  </a:lnTo>
                  <a:lnTo>
                    <a:pt x="1511" y="796"/>
                  </a:lnTo>
                  <a:lnTo>
                    <a:pt x="1511" y="796"/>
                  </a:lnTo>
                  <a:lnTo>
                    <a:pt x="1514" y="799"/>
                  </a:lnTo>
                  <a:lnTo>
                    <a:pt x="1511" y="799"/>
                  </a:lnTo>
                  <a:lnTo>
                    <a:pt x="1511" y="799"/>
                  </a:lnTo>
                  <a:lnTo>
                    <a:pt x="1509" y="801"/>
                  </a:lnTo>
                  <a:lnTo>
                    <a:pt x="1509" y="801"/>
                  </a:lnTo>
                  <a:lnTo>
                    <a:pt x="1507" y="801"/>
                  </a:lnTo>
                  <a:lnTo>
                    <a:pt x="1507" y="804"/>
                  </a:lnTo>
                  <a:lnTo>
                    <a:pt x="1507" y="804"/>
                  </a:lnTo>
                  <a:lnTo>
                    <a:pt x="1507" y="806"/>
                  </a:lnTo>
                  <a:lnTo>
                    <a:pt x="1504" y="806"/>
                  </a:lnTo>
                  <a:lnTo>
                    <a:pt x="1504" y="806"/>
                  </a:lnTo>
                  <a:lnTo>
                    <a:pt x="1504" y="806"/>
                  </a:lnTo>
                  <a:lnTo>
                    <a:pt x="1504" y="806"/>
                  </a:lnTo>
                  <a:lnTo>
                    <a:pt x="1504" y="808"/>
                  </a:lnTo>
                  <a:lnTo>
                    <a:pt x="1504" y="808"/>
                  </a:lnTo>
                  <a:lnTo>
                    <a:pt x="1504" y="811"/>
                  </a:lnTo>
                  <a:lnTo>
                    <a:pt x="1504" y="811"/>
                  </a:lnTo>
                  <a:lnTo>
                    <a:pt x="1504" y="813"/>
                  </a:lnTo>
                  <a:lnTo>
                    <a:pt x="1502" y="813"/>
                  </a:lnTo>
                  <a:lnTo>
                    <a:pt x="1504" y="813"/>
                  </a:lnTo>
                  <a:lnTo>
                    <a:pt x="1502" y="815"/>
                  </a:lnTo>
                  <a:lnTo>
                    <a:pt x="1504" y="815"/>
                  </a:lnTo>
                  <a:lnTo>
                    <a:pt x="1502" y="815"/>
                  </a:lnTo>
                  <a:lnTo>
                    <a:pt x="1504" y="815"/>
                  </a:lnTo>
                  <a:lnTo>
                    <a:pt x="1502" y="815"/>
                  </a:lnTo>
                  <a:lnTo>
                    <a:pt x="1502" y="815"/>
                  </a:lnTo>
                  <a:lnTo>
                    <a:pt x="1502" y="818"/>
                  </a:lnTo>
                  <a:lnTo>
                    <a:pt x="1502" y="818"/>
                  </a:lnTo>
                  <a:lnTo>
                    <a:pt x="1502" y="818"/>
                  </a:lnTo>
                  <a:lnTo>
                    <a:pt x="1504" y="818"/>
                  </a:lnTo>
                  <a:lnTo>
                    <a:pt x="1504" y="818"/>
                  </a:lnTo>
                  <a:lnTo>
                    <a:pt x="1502" y="820"/>
                  </a:lnTo>
                  <a:lnTo>
                    <a:pt x="1502" y="825"/>
                  </a:lnTo>
                  <a:lnTo>
                    <a:pt x="1502" y="825"/>
                  </a:lnTo>
                  <a:lnTo>
                    <a:pt x="1500" y="827"/>
                  </a:lnTo>
                  <a:lnTo>
                    <a:pt x="1502" y="827"/>
                  </a:lnTo>
                  <a:lnTo>
                    <a:pt x="1502" y="830"/>
                  </a:lnTo>
                  <a:lnTo>
                    <a:pt x="1500" y="832"/>
                  </a:lnTo>
                  <a:lnTo>
                    <a:pt x="1500" y="832"/>
                  </a:lnTo>
                  <a:lnTo>
                    <a:pt x="1500" y="834"/>
                  </a:lnTo>
                  <a:lnTo>
                    <a:pt x="1500" y="834"/>
                  </a:lnTo>
                  <a:lnTo>
                    <a:pt x="1500" y="837"/>
                  </a:lnTo>
                  <a:lnTo>
                    <a:pt x="1500" y="837"/>
                  </a:lnTo>
                  <a:lnTo>
                    <a:pt x="1500" y="839"/>
                  </a:lnTo>
                  <a:lnTo>
                    <a:pt x="1497" y="839"/>
                  </a:lnTo>
                  <a:lnTo>
                    <a:pt x="1497" y="841"/>
                  </a:lnTo>
                  <a:lnTo>
                    <a:pt x="1497" y="844"/>
                  </a:lnTo>
                  <a:lnTo>
                    <a:pt x="1495" y="844"/>
                  </a:lnTo>
                  <a:lnTo>
                    <a:pt x="1495" y="846"/>
                  </a:lnTo>
                  <a:lnTo>
                    <a:pt x="1495" y="846"/>
                  </a:lnTo>
                  <a:lnTo>
                    <a:pt x="1493" y="846"/>
                  </a:lnTo>
                  <a:lnTo>
                    <a:pt x="1493" y="846"/>
                  </a:lnTo>
                  <a:lnTo>
                    <a:pt x="1490" y="846"/>
                  </a:lnTo>
                  <a:lnTo>
                    <a:pt x="1490" y="848"/>
                  </a:lnTo>
                  <a:lnTo>
                    <a:pt x="1490" y="851"/>
                  </a:lnTo>
                  <a:lnTo>
                    <a:pt x="1490" y="848"/>
                  </a:lnTo>
                  <a:lnTo>
                    <a:pt x="1488" y="851"/>
                  </a:lnTo>
                  <a:lnTo>
                    <a:pt x="1488" y="851"/>
                  </a:lnTo>
                  <a:lnTo>
                    <a:pt x="1488" y="853"/>
                  </a:lnTo>
                  <a:lnTo>
                    <a:pt x="1485" y="855"/>
                  </a:lnTo>
                  <a:lnTo>
                    <a:pt x="1485" y="855"/>
                  </a:lnTo>
                  <a:lnTo>
                    <a:pt x="1485" y="855"/>
                  </a:lnTo>
                  <a:lnTo>
                    <a:pt x="1485" y="858"/>
                  </a:lnTo>
                  <a:lnTo>
                    <a:pt x="1485" y="858"/>
                  </a:lnTo>
                  <a:lnTo>
                    <a:pt x="1485" y="860"/>
                  </a:lnTo>
                  <a:lnTo>
                    <a:pt x="1483" y="858"/>
                  </a:lnTo>
                  <a:lnTo>
                    <a:pt x="1483" y="860"/>
                  </a:lnTo>
                  <a:lnTo>
                    <a:pt x="1481" y="860"/>
                  </a:lnTo>
                  <a:lnTo>
                    <a:pt x="1481" y="863"/>
                  </a:lnTo>
                  <a:lnTo>
                    <a:pt x="1481" y="863"/>
                  </a:lnTo>
                  <a:lnTo>
                    <a:pt x="1478" y="863"/>
                  </a:lnTo>
                  <a:lnTo>
                    <a:pt x="1478" y="863"/>
                  </a:lnTo>
                  <a:lnTo>
                    <a:pt x="1474" y="865"/>
                  </a:lnTo>
                  <a:lnTo>
                    <a:pt x="1474" y="865"/>
                  </a:lnTo>
                  <a:lnTo>
                    <a:pt x="1474" y="865"/>
                  </a:lnTo>
                  <a:lnTo>
                    <a:pt x="1471" y="867"/>
                  </a:lnTo>
                  <a:lnTo>
                    <a:pt x="1471" y="867"/>
                  </a:lnTo>
                  <a:lnTo>
                    <a:pt x="1471" y="867"/>
                  </a:lnTo>
                  <a:lnTo>
                    <a:pt x="1471" y="870"/>
                  </a:lnTo>
                  <a:lnTo>
                    <a:pt x="1469" y="870"/>
                  </a:lnTo>
                  <a:lnTo>
                    <a:pt x="1469" y="870"/>
                  </a:lnTo>
                  <a:lnTo>
                    <a:pt x="1469" y="870"/>
                  </a:lnTo>
                  <a:lnTo>
                    <a:pt x="1469" y="870"/>
                  </a:lnTo>
                  <a:lnTo>
                    <a:pt x="1469" y="870"/>
                  </a:lnTo>
                  <a:lnTo>
                    <a:pt x="1467" y="870"/>
                  </a:lnTo>
                  <a:lnTo>
                    <a:pt x="1467" y="872"/>
                  </a:lnTo>
                  <a:lnTo>
                    <a:pt x="1467" y="872"/>
                  </a:lnTo>
                  <a:lnTo>
                    <a:pt x="1467" y="872"/>
                  </a:lnTo>
                  <a:lnTo>
                    <a:pt x="1467" y="874"/>
                  </a:lnTo>
                  <a:lnTo>
                    <a:pt x="1464" y="874"/>
                  </a:lnTo>
                  <a:lnTo>
                    <a:pt x="1464" y="877"/>
                  </a:lnTo>
                  <a:lnTo>
                    <a:pt x="1464" y="877"/>
                  </a:lnTo>
                  <a:lnTo>
                    <a:pt x="1464" y="879"/>
                  </a:lnTo>
                  <a:lnTo>
                    <a:pt x="1464" y="881"/>
                  </a:lnTo>
                  <a:lnTo>
                    <a:pt x="1464" y="881"/>
                  </a:lnTo>
                  <a:lnTo>
                    <a:pt x="1464" y="881"/>
                  </a:lnTo>
                  <a:lnTo>
                    <a:pt x="1464" y="884"/>
                  </a:lnTo>
                  <a:lnTo>
                    <a:pt x="1464" y="886"/>
                  </a:lnTo>
                  <a:lnTo>
                    <a:pt x="1464" y="886"/>
                  </a:lnTo>
                  <a:lnTo>
                    <a:pt x="1464" y="886"/>
                  </a:lnTo>
                  <a:lnTo>
                    <a:pt x="1462" y="886"/>
                  </a:lnTo>
                  <a:lnTo>
                    <a:pt x="1462" y="886"/>
                  </a:lnTo>
                  <a:lnTo>
                    <a:pt x="1462" y="889"/>
                  </a:lnTo>
                  <a:lnTo>
                    <a:pt x="1462" y="889"/>
                  </a:lnTo>
                  <a:lnTo>
                    <a:pt x="1462" y="891"/>
                  </a:lnTo>
                  <a:lnTo>
                    <a:pt x="1462" y="891"/>
                  </a:lnTo>
                  <a:lnTo>
                    <a:pt x="1459" y="891"/>
                  </a:lnTo>
                  <a:lnTo>
                    <a:pt x="1462" y="896"/>
                  </a:lnTo>
                  <a:lnTo>
                    <a:pt x="1459" y="896"/>
                  </a:lnTo>
                  <a:lnTo>
                    <a:pt x="1459" y="896"/>
                  </a:lnTo>
                  <a:lnTo>
                    <a:pt x="1457" y="898"/>
                  </a:lnTo>
                  <a:lnTo>
                    <a:pt x="1457" y="898"/>
                  </a:lnTo>
                  <a:lnTo>
                    <a:pt x="1455" y="898"/>
                  </a:lnTo>
                  <a:lnTo>
                    <a:pt x="1455" y="898"/>
                  </a:lnTo>
                  <a:lnTo>
                    <a:pt x="1455" y="900"/>
                  </a:lnTo>
                  <a:lnTo>
                    <a:pt x="1452" y="900"/>
                  </a:lnTo>
                  <a:lnTo>
                    <a:pt x="1452" y="900"/>
                  </a:lnTo>
                  <a:lnTo>
                    <a:pt x="1452" y="900"/>
                  </a:lnTo>
                  <a:lnTo>
                    <a:pt x="1448" y="903"/>
                  </a:lnTo>
                  <a:lnTo>
                    <a:pt x="1450" y="905"/>
                  </a:lnTo>
                  <a:lnTo>
                    <a:pt x="1448" y="905"/>
                  </a:lnTo>
                  <a:lnTo>
                    <a:pt x="1448" y="907"/>
                  </a:lnTo>
                  <a:lnTo>
                    <a:pt x="1448" y="907"/>
                  </a:lnTo>
                  <a:lnTo>
                    <a:pt x="1448" y="907"/>
                  </a:lnTo>
                  <a:lnTo>
                    <a:pt x="1445" y="910"/>
                  </a:lnTo>
                  <a:lnTo>
                    <a:pt x="1445" y="912"/>
                  </a:lnTo>
                  <a:lnTo>
                    <a:pt x="1445" y="915"/>
                  </a:lnTo>
                  <a:lnTo>
                    <a:pt x="1445" y="915"/>
                  </a:lnTo>
                  <a:lnTo>
                    <a:pt x="1443" y="917"/>
                  </a:lnTo>
                  <a:lnTo>
                    <a:pt x="1441" y="919"/>
                  </a:lnTo>
                  <a:lnTo>
                    <a:pt x="1436" y="924"/>
                  </a:lnTo>
                  <a:lnTo>
                    <a:pt x="1436" y="929"/>
                  </a:lnTo>
                  <a:lnTo>
                    <a:pt x="1431" y="933"/>
                  </a:lnTo>
                  <a:lnTo>
                    <a:pt x="1431" y="936"/>
                  </a:lnTo>
                  <a:lnTo>
                    <a:pt x="1429" y="936"/>
                  </a:lnTo>
                  <a:lnTo>
                    <a:pt x="1426" y="936"/>
                  </a:lnTo>
                  <a:lnTo>
                    <a:pt x="1426" y="938"/>
                  </a:lnTo>
                  <a:lnTo>
                    <a:pt x="1422" y="943"/>
                  </a:lnTo>
                  <a:lnTo>
                    <a:pt x="1419" y="941"/>
                  </a:lnTo>
                  <a:lnTo>
                    <a:pt x="1417" y="941"/>
                  </a:lnTo>
                  <a:lnTo>
                    <a:pt x="1417" y="941"/>
                  </a:lnTo>
                  <a:lnTo>
                    <a:pt x="1415" y="941"/>
                  </a:lnTo>
                  <a:lnTo>
                    <a:pt x="1415" y="941"/>
                  </a:lnTo>
                  <a:lnTo>
                    <a:pt x="1412" y="938"/>
                  </a:lnTo>
                  <a:lnTo>
                    <a:pt x="1412" y="938"/>
                  </a:lnTo>
                  <a:lnTo>
                    <a:pt x="1407" y="938"/>
                  </a:lnTo>
                  <a:lnTo>
                    <a:pt x="1407" y="941"/>
                  </a:lnTo>
                  <a:lnTo>
                    <a:pt x="1405" y="943"/>
                  </a:lnTo>
                  <a:lnTo>
                    <a:pt x="1389" y="955"/>
                  </a:lnTo>
                  <a:lnTo>
                    <a:pt x="1379" y="964"/>
                  </a:lnTo>
                  <a:lnTo>
                    <a:pt x="1374" y="969"/>
                  </a:lnTo>
                  <a:lnTo>
                    <a:pt x="1372" y="969"/>
                  </a:lnTo>
                  <a:lnTo>
                    <a:pt x="1358" y="981"/>
                  </a:lnTo>
                  <a:lnTo>
                    <a:pt x="1355" y="983"/>
                  </a:lnTo>
                  <a:lnTo>
                    <a:pt x="1332" y="1002"/>
                  </a:lnTo>
                  <a:lnTo>
                    <a:pt x="1330" y="1004"/>
                  </a:lnTo>
                  <a:lnTo>
                    <a:pt x="1327" y="1002"/>
                  </a:lnTo>
                  <a:lnTo>
                    <a:pt x="1327" y="1002"/>
                  </a:lnTo>
                  <a:lnTo>
                    <a:pt x="1325" y="1004"/>
                  </a:lnTo>
                  <a:lnTo>
                    <a:pt x="1327" y="1007"/>
                  </a:lnTo>
                  <a:lnTo>
                    <a:pt x="1325" y="1007"/>
                  </a:lnTo>
                  <a:lnTo>
                    <a:pt x="1322" y="1009"/>
                  </a:lnTo>
                  <a:lnTo>
                    <a:pt x="1311" y="1018"/>
                  </a:lnTo>
                  <a:lnTo>
                    <a:pt x="1287" y="1037"/>
                  </a:lnTo>
                  <a:lnTo>
                    <a:pt x="1287" y="1040"/>
                  </a:lnTo>
                  <a:lnTo>
                    <a:pt x="1287" y="1040"/>
                  </a:lnTo>
                  <a:lnTo>
                    <a:pt x="1287" y="1040"/>
                  </a:lnTo>
                  <a:lnTo>
                    <a:pt x="1289" y="1042"/>
                  </a:lnTo>
                  <a:lnTo>
                    <a:pt x="1289" y="1042"/>
                  </a:lnTo>
                  <a:lnTo>
                    <a:pt x="1289" y="1042"/>
                  </a:lnTo>
                  <a:lnTo>
                    <a:pt x="1296" y="1042"/>
                  </a:lnTo>
                  <a:lnTo>
                    <a:pt x="1299" y="1044"/>
                  </a:lnTo>
                  <a:lnTo>
                    <a:pt x="1299" y="1044"/>
                  </a:lnTo>
                  <a:lnTo>
                    <a:pt x="1301" y="1047"/>
                  </a:lnTo>
                  <a:lnTo>
                    <a:pt x="1306" y="1047"/>
                  </a:lnTo>
                  <a:lnTo>
                    <a:pt x="1306" y="1047"/>
                  </a:lnTo>
                  <a:lnTo>
                    <a:pt x="1311" y="1047"/>
                  </a:lnTo>
                  <a:lnTo>
                    <a:pt x="1318" y="1049"/>
                  </a:lnTo>
                  <a:lnTo>
                    <a:pt x="1320" y="1049"/>
                  </a:lnTo>
                  <a:lnTo>
                    <a:pt x="1322" y="1047"/>
                  </a:lnTo>
                  <a:lnTo>
                    <a:pt x="1322" y="1047"/>
                  </a:lnTo>
                  <a:lnTo>
                    <a:pt x="1325" y="1047"/>
                  </a:lnTo>
                  <a:lnTo>
                    <a:pt x="1325" y="1047"/>
                  </a:lnTo>
                  <a:lnTo>
                    <a:pt x="1325" y="1047"/>
                  </a:lnTo>
                  <a:lnTo>
                    <a:pt x="1330" y="1044"/>
                  </a:lnTo>
                  <a:lnTo>
                    <a:pt x="1332" y="1047"/>
                  </a:lnTo>
                  <a:lnTo>
                    <a:pt x="1332" y="1044"/>
                  </a:lnTo>
                  <a:lnTo>
                    <a:pt x="1332" y="1044"/>
                  </a:lnTo>
                  <a:lnTo>
                    <a:pt x="1334" y="1044"/>
                  </a:lnTo>
                  <a:lnTo>
                    <a:pt x="1334" y="1047"/>
                  </a:lnTo>
                  <a:lnTo>
                    <a:pt x="1337" y="1047"/>
                  </a:lnTo>
                  <a:lnTo>
                    <a:pt x="1339" y="1049"/>
                  </a:lnTo>
                  <a:lnTo>
                    <a:pt x="1339" y="1052"/>
                  </a:lnTo>
                  <a:lnTo>
                    <a:pt x="1339" y="1052"/>
                  </a:lnTo>
                  <a:lnTo>
                    <a:pt x="1339" y="1054"/>
                  </a:lnTo>
                  <a:lnTo>
                    <a:pt x="1341" y="1056"/>
                  </a:lnTo>
                  <a:lnTo>
                    <a:pt x="1341" y="1059"/>
                  </a:lnTo>
                  <a:lnTo>
                    <a:pt x="1341" y="1056"/>
                  </a:lnTo>
                  <a:lnTo>
                    <a:pt x="1341" y="1059"/>
                  </a:lnTo>
                  <a:lnTo>
                    <a:pt x="1344" y="1061"/>
                  </a:lnTo>
                  <a:lnTo>
                    <a:pt x="1344" y="1063"/>
                  </a:lnTo>
                  <a:lnTo>
                    <a:pt x="1346" y="1063"/>
                  </a:lnTo>
                  <a:lnTo>
                    <a:pt x="1348" y="1063"/>
                  </a:lnTo>
                  <a:lnTo>
                    <a:pt x="1353" y="1066"/>
                  </a:lnTo>
                  <a:lnTo>
                    <a:pt x="1355" y="1066"/>
                  </a:lnTo>
                  <a:lnTo>
                    <a:pt x="1358" y="1066"/>
                  </a:lnTo>
                  <a:lnTo>
                    <a:pt x="1358" y="1068"/>
                  </a:lnTo>
                  <a:lnTo>
                    <a:pt x="1360" y="1068"/>
                  </a:lnTo>
                  <a:lnTo>
                    <a:pt x="1365" y="1073"/>
                  </a:lnTo>
                  <a:lnTo>
                    <a:pt x="1365" y="1073"/>
                  </a:lnTo>
                  <a:lnTo>
                    <a:pt x="1365" y="1075"/>
                  </a:lnTo>
                  <a:lnTo>
                    <a:pt x="1363" y="1078"/>
                  </a:lnTo>
                  <a:lnTo>
                    <a:pt x="1360" y="1082"/>
                  </a:lnTo>
                  <a:lnTo>
                    <a:pt x="1360" y="1085"/>
                  </a:lnTo>
                  <a:lnTo>
                    <a:pt x="1358" y="1087"/>
                  </a:lnTo>
                  <a:lnTo>
                    <a:pt x="1358" y="1087"/>
                  </a:lnTo>
                  <a:lnTo>
                    <a:pt x="1355" y="1087"/>
                  </a:lnTo>
                  <a:lnTo>
                    <a:pt x="1353" y="1089"/>
                  </a:lnTo>
                  <a:lnTo>
                    <a:pt x="1348" y="1087"/>
                  </a:lnTo>
                  <a:lnTo>
                    <a:pt x="1346" y="1089"/>
                  </a:lnTo>
                  <a:lnTo>
                    <a:pt x="1344" y="1089"/>
                  </a:lnTo>
                  <a:lnTo>
                    <a:pt x="1344" y="1092"/>
                  </a:lnTo>
                  <a:lnTo>
                    <a:pt x="1344" y="1094"/>
                  </a:lnTo>
                  <a:lnTo>
                    <a:pt x="1344" y="1096"/>
                  </a:lnTo>
                  <a:lnTo>
                    <a:pt x="1344" y="1101"/>
                  </a:lnTo>
                  <a:lnTo>
                    <a:pt x="1344" y="1104"/>
                  </a:lnTo>
                  <a:lnTo>
                    <a:pt x="1346" y="1104"/>
                  </a:lnTo>
                  <a:lnTo>
                    <a:pt x="1348" y="1106"/>
                  </a:lnTo>
                  <a:lnTo>
                    <a:pt x="1351" y="1111"/>
                  </a:lnTo>
                  <a:lnTo>
                    <a:pt x="1351" y="1111"/>
                  </a:lnTo>
                  <a:lnTo>
                    <a:pt x="1353" y="1113"/>
                  </a:lnTo>
                  <a:lnTo>
                    <a:pt x="1353" y="1113"/>
                  </a:lnTo>
                  <a:lnTo>
                    <a:pt x="1353" y="1118"/>
                  </a:lnTo>
                  <a:lnTo>
                    <a:pt x="1351" y="1118"/>
                  </a:lnTo>
                  <a:lnTo>
                    <a:pt x="1344" y="1120"/>
                  </a:lnTo>
                  <a:lnTo>
                    <a:pt x="1344" y="1120"/>
                  </a:lnTo>
                  <a:lnTo>
                    <a:pt x="1341" y="1122"/>
                  </a:lnTo>
                  <a:lnTo>
                    <a:pt x="1339" y="1125"/>
                  </a:lnTo>
                  <a:lnTo>
                    <a:pt x="1339" y="1127"/>
                  </a:lnTo>
                  <a:lnTo>
                    <a:pt x="1339" y="1127"/>
                  </a:lnTo>
                  <a:lnTo>
                    <a:pt x="1339" y="1130"/>
                  </a:lnTo>
                  <a:lnTo>
                    <a:pt x="1344" y="1130"/>
                  </a:lnTo>
                  <a:lnTo>
                    <a:pt x="1346" y="1132"/>
                  </a:lnTo>
                  <a:lnTo>
                    <a:pt x="1346" y="1134"/>
                  </a:lnTo>
                  <a:lnTo>
                    <a:pt x="1344" y="1137"/>
                  </a:lnTo>
                  <a:lnTo>
                    <a:pt x="1344" y="1139"/>
                  </a:lnTo>
                  <a:lnTo>
                    <a:pt x="1339" y="1141"/>
                  </a:lnTo>
                  <a:lnTo>
                    <a:pt x="1334" y="1144"/>
                  </a:lnTo>
                  <a:lnTo>
                    <a:pt x="1332" y="1144"/>
                  </a:lnTo>
                  <a:lnTo>
                    <a:pt x="1330" y="1144"/>
                  </a:lnTo>
                  <a:lnTo>
                    <a:pt x="1330" y="1146"/>
                  </a:lnTo>
                  <a:lnTo>
                    <a:pt x="1327" y="1146"/>
                  </a:lnTo>
                  <a:lnTo>
                    <a:pt x="1327" y="1148"/>
                  </a:lnTo>
                  <a:lnTo>
                    <a:pt x="1327" y="1153"/>
                  </a:lnTo>
                  <a:lnTo>
                    <a:pt x="1327" y="1155"/>
                  </a:lnTo>
                  <a:lnTo>
                    <a:pt x="1330" y="1158"/>
                  </a:lnTo>
                  <a:lnTo>
                    <a:pt x="1330" y="1160"/>
                  </a:lnTo>
                  <a:lnTo>
                    <a:pt x="1330" y="1163"/>
                  </a:lnTo>
                  <a:lnTo>
                    <a:pt x="1330" y="1163"/>
                  </a:lnTo>
                  <a:lnTo>
                    <a:pt x="1330" y="1165"/>
                  </a:lnTo>
                  <a:lnTo>
                    <a:pt x="1332" y="1165"/>
                  </a:lnTo>
                  <a:lnTo>
                    <a:pt x="1332" y="1165"/>
                  </a:lnTo>
                  <a:lnTo>
                    <a:pt x="1334" y="1167"/>
                  </a:lnTo>
                  <a:lnTo>
                    <a:pt x="1334" y="1170"/>
                  </a:lnTo>
                  <a:lnTo>
                    <a:pt x="1334" y="1172"/>
                  </a:lnTo>
                  <a:lnTo>
                    <a:pt x="1332" y="1174"/>
                  </a:lnTo>
                  <a:lnTo>
                    <a:pt x="1332" y="1172"/>
                  </a:lnTo>
                  <a:lnTo>
                    <a:pt x="1327" y="1170"/>
                  </a:lnTo>
                  <a:lnTo>
                    <a:pt x="1325" y="1170"/>
                  </a:lnTo>
                  <a:lnTo>
                    <a:pt x="1318" y="1170"/>
                  </a:lnTo>
                  <a:lnTo>
                    <a:pt x="1318" y="1170"/>
                  </a:lnTo>
                  <a:lnTo>
                    <a:pt x="1315" y="1172"/>
                  </a:lnTo>
                  <a:lnTo>
                    <a:pt x="1315" y="1174"/>
                  </a:lnTo>
                  <a:lnTo>
                    <a:pt x="1313" y="1177"/>
                  </a:lnTo>
                  <a:lnTo>
                    <a:pt x="1311" y="1177"/>
                  </a:lnTo>
                  <a:lnTo>
                    <a:pt x="1304" y="1184"/>
                  </a:lnTo>
                  <a:lnTo>
                    <a:pt x="1304" y="1186"/>
                  </a:lnTo>
                  <a:lnTo>
                    <a:pt x="1301" y="1186"/>
                  </a:lnTo>
                  <a:lnTo>
                    <a:pt x="1299" y="1191"/>
                  </a:lnTo>
                  <a:lnTo>
                    <a:pt x="1299" y="1193"/>
                  </a:lnTo>
                  <a:lnTo>
                    <a:pt x="1299" y="1193"/>
                  </a:lnTo>
                  <a:lnTo>
                    <a:pt x="1296" y="1196"/>
                  </a:lnTo>
                  <a:lnTo>
                    <a:pt x="1296" y="1198"/>
                  </a:lnTo>
                  <a:lnTo>
                    <a:pt x="1299" y="1203"/>
                  </a:lnTo>
                  <a:lnTo>
                    <a:pt x="1299" y="1207"/>
                  </a:lnTo>
                  <a:lnTo>
                    <a:pt x="1299" y="1210"/>
                  </a:lnTo>
                  <a:lnTo>
                    <a:pt x="1296" y="1210"/>
                  </a:lnTo>
                  <a:lnTo>
                    <a:pt x="1294" y="1212"/>
                  </a:lnTo>
                  <a:lnTo>
                    <a:pt x="1287" y="1215"/>
                  </a:lnTo>
                  <a:lnTo>
                    <a:pt x="1285" y="1219"/>
                  </a:lnTo>
                  <a:lnTo>
                    <a:pt x="1285" y="1219"/>
                  </a:lnTo>
                  <a:lnTo>
                    <a:pt x="1282" y="1219"/>
                  </a:lnTo>
                  <a:lnTo>
                    <a:pt x="1278" y="1222"/>
                  </a:lnTo>
                  <a:lnTo>
                    <a:pt x="1278" y="1222"/>
                  </a:lnTo>
                  <a:lnTo>
                    <a:pt x="1275" y="1222"/>
                  </a:lnTo>
                  <a:lnTo>
                    <a:pt x="1275" y="1222"/>
                  </a:lnTo>
                  <a:lnTo>
                    <a:pt x="1270" y="1222"/>
                  </a:lnTo>
                  <a:lnTo>
                    <a:pt x="1266" y="1222"/>
                  </a:lnTo>
                  <a:lnTo>
                    <a:pt x="1263" y="1224"/>
                  </a:lnTo>
                  <a:lnTo>
                    <a:pt x="1261" y="1224"/>
                  </a:lnTo>
                  <a:lnTo>
                    <a:pt x="1259" y="1226"/>
                  </a:lnTo>
                  <a:lnTo>
                    <a:pt x="1252" y="1226"/>
                  </a:lnTo>
                  <a:lnTo>
                    <a:pt x="1252" y="1229"/>
                  </a:lnTo>
                  <a:lnTo>
                    <a:pt x="1249" y="1231"/>
                  </a:lnTo>
                  <a:lnTo>
                    <a:pt x="1244" y="1233"/>
                  </a:lnTo>
                  <a:lnTo>
                    <a:pt x="1240" y="1238"/>
                  </a:lnTo>
                  <a:lnTo>
                    <a:pt x="1235" y="1241"/>
                  </a:lnTo>
                  <a:lnTo>
                    <a:pt x="1233" y="1241"/>
                  </a:lnTo>
                  <a:lnTo>
                    <a:pt x="1233" y="1241"/>
                  </a:lnTo>
                  <a:lnTo>
                    <a:pt x="1230" y="1243"/>
                  </a:lnTo>
                  <a:lnTo>
                    <a:pt x="1228" y="1245"/>
                  </a:lnTo>
                  <a:lnTo>
                    <a:pt x="1228" y="1248"/>
                  </a:lnTo>
                  <a:lnTo>
                    <a:pt x="1228" y="1250"/>
                  </a:lnTo>
                  <a:lnTo>
                    <a:pt x="1228" y="1250"/>
                  </a:lnTo>
                  <a:lnTo>
                    <a:pt x="1228" y="1252"/>
                  </a:lnTo>
                  <a:lnTo>
                    <a:pt x="1230" y="1257"/>
                  </a:lnTo>
                  <a:lnTo>
                    <a:pt x="1230" y="1259"/>
                  </a:lnTo>
                  <a:lnTo>
                    <a:pt x="1230" y="1264"/>
                  </a:lnTo>
                  <a:lnTo>
                    <a:pt x="1230" y="1264"/>
                  </a:lnTo>
                  <a:lnTo>
                    <a:pt x="1230" y="1271"/>
                  </a:lnTo>
                  <a:lnTo>
                    <a:pt x="1230" y="1278"/>
                  </a:lnTo>
                  <a:lnTo>
                    <a:pt x="1233" y="1283"/>
                  </a:lnTo>
                  <a:lnTo>
                    <a:pt x="1230" y="1285"/>
                  </a:lnTo>
                  <a:lnTo>
                    <a:pt x="1228" y="1290"/>
                  </a:lnTo>
                  <a:lnTo>
                    <a:pt x="1228" y="1292"/>
                  </a:lnTo>
                  <a:lnTo>
                    <a:pt x="1226" y="1297"/>
                  </a:lnTo>
                  <a:lnTo>
                    <a:pt x="1223" y="1300"/>
                  </a:lnTo>
                  <a:lnTo>
                    <a:pt x="1221" y="1302"/>
                  </a:lnTo>
                  <a:lnTo>
                    <a:pt x="1221" y="1304"/>
                  </a:lnTo>
                  <a:lnTo>
                    <a:pt x="1218" y="1304"/>
                  </a:lnTo>
                  <a:lnTo>
                    <a:pt x="1214" y="1311"/>
                  </a:lnTo>
                  <a:lnTo>
                    <a:pt x="1211" y="1314"/>
                  </a:lnTo>
                  <a:lnTo>
                    <a:pt x="1209" y="1318"/>
                  </a:lnTo>
                  <a:lnTo>
                    <a:pt x="1207" y="1318"/>
                  </a:lnTo>
                  <a:lnTo>
                    <a:pt x="1207" y="1326"/>
                  </a:lnTo>
                  <a:lnTo>
                    <a:pt x="1207" y="1328"/>
                  </a:lnTo>
                  <a:lnTo>
                    <a:pt x="1209" y="1333"/>
                  </a:lnTo>
                  <a:lnTo>
                    <a:pt x="1209" y="1335"/>
                  </a:lnTo>
                  <a:lnTo>
                    <a:pt x="1211" y="1340"/>
                  </a:lnTo>
                  <a:lnTo>
                    <a:pt x="1211" y="1342"/>
                  </a:lnTo>
                  <a:lnTo>
                    <a:pt x="1214" y="1344"/>
                  </a:lnTo>
                  <a:lnTo>
                    <a:pt x="1218" y="1347"/>
                  </a:lnTo>
                  <a:lnTo>
                    <a:pt x="1221" y="1349"/>
                  </a:lnTo>
                  <a:lnTo>
                    <a:pt x="1223" y="1352"/>
                  </a:lnTo>
                  <a:lnTo>
                    <a:pt x="1228" y="1354"/>
                  </a:lnTo>
                  <a:lnTo>
                    <a:pt x="1230" y="1356"/>
                  </a:lnTo>
                  <a:lnTo>
                    <a:pt x="1233" y="1356"/>
                  </a:lnTo>
                  <a:lnTo>
                    <a:pt x="1235" y="1359"/>
                  </a:lnTo>
                  <a:lnTo>
                    <a:pt x="1235" y="1359"/>
                  </a:lnTo>
                  <a:lnTo>
                    <a:pt x="1235" y="1361"/>
                  </a:lnTo>
                  <a:lnTo>
                    <a:pt x="1235" y="1361"/>
                  </a:lnTo>
                  <a:lnTo>
                    <a:pt x="1233" y="1363"/>
                  </a:lnTo>
                  <a:lnTo>
                    <a:pt x="1233" y="1366"/>
                  </a:lnTo>
                  <a:lnTo>
                    <a:pt x="1233" y="1366"/>
                  </a:lnTo>
                  <a:lnTo>
                    <a:pt x="1235" y="1373"/>
                  </a:lnTo>
                  <a:lnTo>
                    <a:pt x="1233" y="1375"/>
                  </a:lnTo>
                  <a:lnTo>
                    <a:pt x="1233" y="1380"/>
                  </a:lnTo>
                  <a:lnTo>
                    <a:pt x="1233" y="1382"/>
                  </a:lnTo>
                  <a:lnTo>
                    <a:pt x="1233" y="1387"/>
                  </a:lnTo>
                  <a:lnTo>
                    <a:pt x="1233" y="1387"/>
                  </a:lnTo>
                  <a:lnTo>
                    <a:pt x="1233" y="1392"/>
                  </a:lnTo>
                  <a:lnTo>
                    <a:pt x="1233" y="1394"/>
                  </a:lnTo>
                  <a:lnTo>
                    <a:pt x="1230" y="1394"/>
                  </a:lnTo>
                  <a:lnTo>
                    <a:pt x="1230" y="1396"/>
                  </a:lnTo>
                  <a:lnTo>
                    <a:pt x="1230" y="1396"/>
                  </a:lnTo>
                  <a:lnTo>
                    <a:pt x="1230" y="1399"/>
                  </a:lnTo>
                  <a:lnTo>
                    <a:pt x="1228" y="1401"/>
                  </a:lnTo>
                  <a:lnTo>
                    <a:pt x="1230" y="1404"/>
                  </a:lnTo>
                  <a:lnTo>
                    <a:pt x="1228" y="1408"/>
                  </a:lnTo>
                  <a:lnTo>
                    <a:pt x="1228" y="1411"/>
                  </a:lnTo>
                  <a:lnTo>
                    <a:pt x="1228" y="1413"/>
                  </a:lnTo>
                  <a:lnTo>
                    <a:pt x="1226" y="1415"/>
                  </a:lnTo>
                  <a:lnTo>
                    <a:pt x="1223" y="1420"/>
                  </a:lnTo>
                  <a:lnTo>
                    <a:pt x="1221" y="1427"/>
                  </a:lnTo>
                  <a:lnTo>
                    <a:pt x="1221" y="1430"/>
                  </a:lnTo>
                  <a:lnTo>
                    <a:pt x="1218" y="1434"/>
                  </a:lnTo>
                  <a:lnTo>
                    <a:pt x="1218" y="1437"/>
                  </a:lnTo>
                  <a:lnTo>
                    <a:pt x="1214" y="1439"/>
                  </a:lnTo>
                  <a:lnTo>
                    <a:pt x="1211" y="1439"/>
                  </a:lnTo>
                  <a:lnTo>
                    <a:pt x="1211" y="1439"/>
                  </a:lnTo>
                  <a:lnTo>
                    <a:pt x="1207" y="1444"/>
                  </a:lnTo>
                  <a:lnTo>
                    <a:pt x="1207" y="1448"/>
                  </a:lnTo>
                  <a:lnTo>
                    <a:pt x="1204" y="1448"/>
                  </a:lnTo>
                  <a:lnTo>
                    <a:pt x="1204" y="1458"/>
                  </a:lnTo>
                  <a:lnTo>
                    <a:pt x="1204" y="1458"/>
                  </a:lnTo>
                  <a:lnTo>
                    <a:pt x="1202" y="1460"/>
                  </a:lnTo>
                  <a:lnTo>
                    <a:pt x="1197" y="1465"/>
                  </a:lnTo>
                  <a:lnTo>
                    <a:pt x="1197" y="1467"/>
                  </a:lnTo>
                  <a:lnTo>
                    <a:pt x="1195" y="1470"/>
                  </a:lnTo>
                  <a:lnTo>
                    <a:pt x="1195" y="1472"/>
                  </a:lnTo>
                  <a:lnTo>
                    <a:pt x="1193" y="1477"/>
                  </a:lnTo>
                  <a:lnTo>
                    <a:pt x="1185" y="1484"/>
                  </a:lnTo>
                  <a:lnTo>
                    <a:pt x="1183" y="1489"/>
                  </a:lnTo>
                  <a:lnTo>
                    <a:pt x="1181" y="1493"/>
                  </a:lnTo>
                  <a:lnTo>
                    <a:pt x="1178" y="1496"/>
                  </a:lnTo>
                  <a:lnTo>
                    <a:pt x="1176" y="1496"/>
                  </a:lnTo>
                  <a:lnTo>
                    <a:pt x="1174" y="1496"/>
                  </a:lnTo>
                  <a:lnTo>
                    <a:pt x="1169" y="1498"/>
                  </a:lnTo>
                  <a:lnTo>
                    <a:pt x="1162" y="1503"/>
                  </a:lnTo>
                  <a:lnTo>
                    <a:pt x="1159" y="1503"/>
                  </a:lnTo>
                  <a:lnTo>
                    <a:pt x="1159" y="1505"/>
                  </a:lnTo>
                  <a:lnTo>
                    <a:pt x="1157" y="1507"/>
                  </a:lnTo>
                  <a:lnTo>
                    <a:pt x="1155" y="1512"/>
                  </a:lnTo>
                  <a:lnTo>
                    <a:pt x="1155" y="1515"/>
                  </a:lnTo>
                  <a:lnTo>
                    <a:pt x="1148" y="1519"/>
                  </a:lnTo>
                  <a:lnTo>
                    <a:pt x="1148" y="1522"/>
                  </a:lnTo>
                  <a:lnTo>
                    <a:pt x="1148" y="1524"/>
                  </a:lnTo>
                  <a:lnTo>
                    <a:pt x="1145" y="1526"/>
                  </a:lnTo>
                  <a:lnTo>
                    <a:pt x="1145" y="1531"/>
                  </a:lnTo>
                  <a:lnTo>
                    <a:pt x="1141" y="1536"/>
                  </a:lnTo>
                  <a:lnTo>
                    <a:pt x="1141" y="1536"/>
                  </a:lnTo>
                  <a:lnTo>
                    <a:pt x="1141" y="1538"/>
                  </a:lnTo>
                  <a:lnTo>
                    <a:pt x="1141" y="1538"/>
                  </a:lnTo>
                  <a:lnTo>
                    <a:pt x="1136" y="1543"/>
                  </a:lnTo>
                  <a:lnTo>
                    <a:pt x="1131" y="1545"/>
                  </a:lnTo>
                  <a:lnTo>
                    <a:pt x="1129" y="1545"/>
                  </a:lnTo>
                  <a:lnTo>
                    <a:pt x="1129" y="1552"/>
                  </a:lnTo>
                  <a:lnTo>
                    <a:pt x="1124" y="1552"/>
                  </a:lnTo>
                  <a:lnTo>
                    <a:pt x="1124" y="1555"/>
                  </a:lnTo>
                  <a:lnTo>
                    <a:pt x="1122" y="1555"/>
                  </a:lnTo>
                  <a:lnTo>
                    <a:pt x="1122" y="1557"/>
                  </a:lnTo>
                  <a:lnTo>
                    <a:pt x="1122" y="1559"/>
                  </a:lnTo>
                  <a:lnTo>
                    <a:pt x="1122" y="1562"/>
                  </a:lnTo>
                  <a:lnTo>
                    <a:pt x="1122" y="1564"/>
                  </a:lnTo>
                  <a:lnTo>
                    <a:pt x="1122" y="1564"/>
                  </a:lnTo>
                  <a:lnTo>
                    <a:pt x="1119" y="1569"/>
                  </a:lnTo>
                  <a:lnTo>
                    <a:pt x="1117" y="1571"/>
                  </a:lnTo>
                  <a:lnTo>
                    <a:pt x="1115" y="1578"/>
                  </a:lnTo>
                  <a:lnTo>
                    <a:pt x="1115" y="1581"/>
                  </a:lnTo>
                  <a:lnTo>
                    <a:pt x="1115" y="1581"/>
                  </a:lnTo>
                  <a:lnTo>
                    <a:pt x="1115" y="1581"/>
                  </a:lnTo>
                  <a:lnTo>
                    <a:pt x="1115" y="1583"/>
                  </a:lnTo>
                  <a:lnTo>
                    <a:pt x="1115" y="1585"/>
                  </a:lnTo>
                  <a:lnTo>
                    <a:pt x="1117" y="1588"/>
                  </a:lnTo>
                  <a:lnTo>
                    <a:pt x="1115" y="1590"/>
                  </a:lnTo>
                  <a:lnTo>
                    <a:pt x="1115" y="1590"/>
                  </a:lnTo>
                  <a:lnTo>
                    <a:pt x="1115" y="1595"/>
                  </a:lnTo>
                  <a:lnTo>
                    <a:pt x="1112" y="1595"/>
                  </a:lnTo>
                  <a:lnTo>
                    <a:pt x="1112" y="1597"/>
                  </a:lnTo>
                  <a:lnTo>
                    <a:pt x="1110" y="1597"/>
                  </a:lnTo>
                  <a:lnTo>
                    <a:pt x="1110" y="1602"/>
                  </a:lnTo>
                  <a:lnTo>
                    <a:pt x="1110" y="1604"/>
                  </a:lnTo>
                  <a:lnTo>
                    <a:pt x="1110" y="1607"/>
                  </a:lnTo>
                  <a:lnTo>
                    <a:pt x="1107" y="1607"/>
                  </a:lnTo>
                  <a:lnTo>
                    <a:pt x="1107" y="1609"/>
                  </a:lnTo>
                  <a:lnTo>
                    <a:pt x="1103" y="1616"/>
                  </a:lnTo>
                  <a:lnTo>
                    <a:pt x="1103" y="1618"/>
                  </a:lnTo>
                  <a:lnTo>
                    <a:pt x="1100" y="1623"/>
                  </a:lnTo>
                  <a:lnTo>
                    <a:pt x="1100" y="1626"/>
                  </a:lnTo>
                  <a:lnTo>
                    <a:pt x="1100" y="1626"/>
                  </a:lnTo>
                  <a:lnTo>
                    <a:pt x="1020" y="1621"/>
                  </a:lnTo>
                  <a:lnTo>
                    <a:pt x="994" y="1618"/>
                  </a:lnTo>
                  <a:lnTo>
                    <a:pt x="963" y="1616"/>
                  </a:lnTo>
                  <a:lnTo>
                    <a:pt x="942" y="1616"/>
                  </a:lnTo>
                  <a:lnTo>
                    <a:pt x="843" y="1609"/>
                  </a:lnTo>
                  <a:lnTo>
                    <a:pt x="796" y="1604"/>
                  </a:lnTo>
                  <a:lnTo>
                    <a:pt x="789" y="1604"/>
                  </a:lnTo>
                  <a:lnTo>
                    <a:pt x="732" y="1600"/>
                  </a:lnTo>
                  <a:lnTo>
                    <a:pt x="673" y="1597"/>
                  </a:lnTo>
                  <a:lnTo>
                    <a:pt x="607" y="1590"/>
                  </a:lnTo>
                  <a:lnTo>
                    <a:pt x="543" y="1585"/>
                  </a:lnTo>
                  <a:lnTo>
                    <a:pt x="526" y="1585"/>
                  </a:lnTo>
                  <a:lnTo>
                    <a:pt x="493" y="1581"/>
                  </a:lnTo>
                  <a:lnTo>
                    <a:pt x="394" y="1574"/>
                  </a:lnTo>
                  <a:lnTo>
                    <a:pt x="347" y="1569"/>
                  </a:lnTo>
                  <a:lnTo>
                    <a:pt x="333" y="1569"/>
                  </a:lnTo>
                  <a:lnTo>
                    <a:pt x="283" y="1564"/>
                  </a:lnTo>
                  <a:lnTo>
                    <a:pt x="278" y="1564"/>
                  </a:lnTo>
                  <a:lnTo>
                    <a:pt x="276" y="1564"/>
                  </a:lnTo>
                  <a:lnTo>
                    <a:pt x="276" y="1564"/>
                  </a:lnTo>
                  <a:lnTo>
                    <a:pt x="276" y="1567"/>
                  </a:lnTo>
                  <a:lnTo>
                    <a:pt x="274" y="1569"/>
                  </a:lnTo>
                  <a:lnTo>
                    <a:pt x="271" y="1569"/>
                  </a:lnTo>
                  <a:lnTo>
                    <a:pt x="269" y="1569"/>
                  </a:lnTo>
                  <a:lnTo>
                    <a:pt x="269" y="1567"/>
                  </a:lnTo>
                  <a:lnTo>
                    <a:pt x="269" y="1564"/>
                  </a:lnTo>
                  <a:lnTo>
                    <a:pt x="269" y="1564"/>
                  </a:lnTo>
                  <a:lnTo>
                    <a:pt x="269" y="1559"/>
                  </a:lnTo>
                  <a:lnTo>
                    <a:pt x="269" y="1557"/>
                  </a:lnTo>
                  <a:lnTo>
                    <a:pt x="266" y="1557"/>
                  </a:lnTo>
                  <a:lnTo>
                    <a:pt x="264" y="1550"/>
                  </a:lnTo>
                  <a:lnTo>
                    <a:pt x="264" y="1548"/>
                  </a:lnTo>
                  <a:lnTo>
                    <a:pt x="259" y="1548"/>
                  </a:lnTo>
                  <a:lnTo>
                    <a:pt x="257" y="1545"/>
                  </a:lnTo>
                  <a:lnTo>
                    <a:pt x="257" y="1548"/>
                  </a:lnTo>
                  <a:lnTo>
                    <a:pt x="255" y="1548"/>
                  </a:lnTo>
                  <a:lnTo>
                    <a:pt x="248" y="1545"/>
                  </a:lnTo>
                  <a:lnTo>
                    <a:pt x="245" y="1545"/>
                  </a:lnTo>
                  <a:lnTo>
                    <a:pt x="241" y="1545"/>
                  </a:lnTo>
                  <a:lnTo>
                    <a:pt x="238" y="1545"/>
                  </a:lnTo>
                  <a:lnTo>
                    <a:pt x="238" y="1545"/>
                  </a:lnTo>
                  <a:lnTo>
                    <a:pt x="236" y="1543"/>
                  </a:lnTo>
                  <a:lnTo>
                    <a:pt x="236" y="1543"/>
                  </a:lnTo>
                  <a:lnTo>
                    <a:pt x="233" y="1541"/>
                  </a:lnTo>
                  <a:lnTo>
                    <a:pt x="231" y="1541"/>
                  </a:lnTo>
                  <a:lnTo>
                    <a:pt x="231" y="1538"/>
                  </a:lnTo>
                  <a:lnTo>
                    <a:pt x="233" y="1536"/>
                  </a:lnTo>
                  <a:lnTo>
                    <a:pt x="231" y="1533"/>
                  </a:lnTo>
                  <a:lnTo>
                    <a:pt x="236" y="1531"/>
                  </a:lnTo>
                  <a:lnTo>
                    <a:pt x="236" y="1529"/>
                  </a:lnTo>
                  <a:lnTo>
                    <a:pt x="233" y="1526"/>
                  </a:lnTo>
                  <a:lnTo>
                    <a:pt x="231" y="1526"/>
                  </a:lnTo>
                  <a:lnTo>
                    <a:pt x="231" y="1524"/>
                  </a:lnTo>
                  <a:lnTo>
                    <a:pt x="231" y="1524"/>
                  </a:lnTo>
                  <a:lnTo>
                    <a:pt x="229" y="1522"/>
                  </a:lnTo>
                  <a:lnTo>
                    <a:pt x="229" y="1517"/>
                  </a:lnTo>
                  <a:lnTo>
                    <a:pt x="222" y="1515"/>
                  </a:lnTo>
                  <a:lnTo>
                    <a:pt x="217" y="1507"/>
                  </a:lnTo>
                  <a:lnTo>
                    <a:pt x="215" y="1505"/>
                  </a:lnTo>
                  <a:lnTo>
                    <a:pt x="212" y="1505"/>
                  </a:lnTo>
                  <a:lnTo>
                    <a:pt x="210" y="1505"/>
                  </a:lnTo>
                  <a:lnTo>
                    <a:pt x="210" y="1503"/>
                  </a:lnTo>
                  <a:lnTo>
                    <a:pt x="207" y="1505"/>
                  </a:lnTo>
                  <a:lnTo>
                    <a:pt x="203" y="1505"/>
                  </a:lnTo>
                  <a:lnTo>
                    <a:pt x="203" y="1505"/>
                  </a:lnTo>
                  <a:lnTo>
                    <a:pt x="200" y="1505"/>
                  </a:lnTo>
                  <a:lnTo>
                    <a:pt x="200" y="1503"/>
                  </a:lnTo>
                  <a:lnTo>
                    <a:pt x="196" y="1500"/>
                  </a:lnTo>
                  <a:lnTo>
                    <a:pt x="191" y="1500"/>
                  </a:lnTo>
                  <a:lnTo>
                    <a:pt x="189" y="1498"/>
                  </a:lnTo>
                  <a:lnTo>
                    <a:pt x="186" y="1498"/>
                  </a:lnTo>
                  <a:lnTo>
                    <a:pt x="186" y="1496"/>
                  </a:lnTo>
                  <a:lnTo>
                    <a:pt x="186" y="1493"/>
                  </a:lnTo>
                  <a:lnTo>
                    <a:pt x="186" y="1489"/>
                  </a:lnTo>
                  <a:lnTo>
                    <a:pt x="186" y="1489"/>
                  </a:lnTo>
                  <a:lnTo>
                    <a:pt x="184" y="1489"/>
                  </a:lnTo>
                  <a:lnTo>
                    <a:pt x="181" y="1489"/>
                  </a:lnTo>
                  <a:lnTo>
                    <a:pt x="179" y="1486"/>
                  </a:lnTo>
                  <a:lnTo>
                    <a:pt x="172" y="1484"/>
                  </a:lnTo>
                  <a:lnTo>
                    <a:pt x="167" y="1484"/>
                  </a:lnTo>
                  <a:lnTo>
                    <a:pt x="165" y="1484"/>
                  </a:lnTo>
                  <a:lnTo>
                    <a:pt x="165" y="1481"/>
                  </a:lnTo>
                  <a:lnTo>
                    <a:pt x="165" y="1477"/>
                  </a:lnTo>
                  <a:lnTo>
                    <a:pt x="163" y="1472"/>
                  </a:lnTo>
                  <a:lnTo>
                    <a:pt x="163" y="1470"/>
                  </a:lnTo>
                  <a:lnTo>
                    <a:pt x="160" y="1470"/>
                  </a:lnTo>
                  <a:lnTo>
                    <a:pt x="163" y="1463"/>
                  </a:lnTo>
                  <a:lnTo>
                    <a:pt x="160" y="1463"/>
                  </a:lnTo>
                  <a:lnTo>
                    <a:pt x="158" y="1460"/>
                  </a:lnTo>
                  <a:lnTo>
                    <a:pt x="158" y="1460"/>
                  </a:lnTo>
                  <a:lnTo>
                    <a:pt x="158" y="1458"/>
                  </a:lnTo>
                  <a:lnTo>
                    <a:pt x="158" y="1455"/>
                  </a:lnTo>
                  <a:lnTo>
                    <a:pt x="160" y="1453"/>
                  </a:lnTo>
                  <a:lnTo>
                    <a:pt x="158" y="1453"/>
                  </a:lnTo>
                  <a:lnTo>
                    <a:pt x="155" y="1451"/>
                  </a:lnTo>
                  <a:lnTo>
                    <a:pt x="155" y="1451"/>
                  </a:lnTo>
                  <a:lnTo>
                    <a:pt x="158" y="1448"/>
                  </a:lnTo>
                  <a:lnTo>
                    <a:pt x="158" y="1446"/>
                  </a:lnTo>
                  <a:lnTo>
                    <a:pt x="153" y="1441"/>
                  </a:lnTo>
                  <a:lnTo>
                    <a:pt x="153" y="1439"/>
                  </a:lnTo>
                  <a:lnTo>
                    <a:pt x="153" y="1439"/>
                  </a:lnTo>
                  <a:lnTo>
                    <a:pt x="155" y="1434"/>
                  </a:lnTo>
                  <a:lnTo>
                    <a:pt x="155" y="1434"/>
                  </a:lnTo>
                  <a:lnTo>
                    <a:pt x="155" y="1432"/>
                  </a:lnTo>
                  <a:lnTo>
                    <a:pt x="153" y="1430"/>
                  </a:lnTo>
                  <a:lnTo>
                    <a:pt x="153" y="1427"/>
                  </a:lnTo>
                  <a:lnTo>
                    <a:pt x="153" y="1427"/>
                  </a:lnTo>
                  <a:lnTo>
                    <a:pt x="155" y="1425"/>
                  </a:lnTo>
                  <a:lnTo>
                    <a:pt x="155" y="1420"/>
                  </a:lnTo>
                  <a:lnTo>
                    <a:pt x="158" y="1415"/>
                  </a:lnTo>
                  <a:lnTo>
                    <a:pt x="158" y="1415"/>
                  </a:lnTo>
                  <a:lnTo>
                    <a:pt x="158" y="1413"/>
                  </a:lnTo>
                  <a:lnTo>
                    <a:pt x="155" y="1408"/>
                  </a:lnTo>
                  <a:lnTo>
                    <a:pt x="153" y="1408"/>
                  </a:lnTo>
                  <a:lnTo>
                    <a:pt x="151" y="1406"/>
                  </a:lnTo>
                  <a:lnTo>
                    <a:pt x="148" y="1406"/>
                  </a:lnTo>
                  <a:lnTo>
                    <a:pt x="148" y="1404"/>
                  </a:lnTo>
                  <a:lnTo>
                    <a:pt x="148" y="1396"/>
                  </a:lnTo>
                  <a:lnTo>
                    <a:pt x="141" y="1392"/>
                  </a:lnTo>
                  <a:lnTo>
                    <a:pt x="139" y="1385"/>
                  </a:lnTo>
                  <a:lnTo>
                    <a:pt x="134" y="1382"/>
                  </a:lnTo>
                  <a:lnTo>
                    <a:pt x="134" y="1380"/>
                  </a:lnTo>
                  <a:lnTo>
                    <a:pt x="134" y="1370"/>
                  </a:lnTo>
                  <a:lnTo>
                    <a:pt x="134" y="1368"/>
                  </a:lnTo>
                  <a:lnTo>
                    <a:pt x="129" y="1359"/>
                  </a:lnTo>
                  <a:lnTo>
                    <a:pt x="127" y="1354"/>
                  </a:lnTo>
                  <a:lnTo>
                    <a:pt x="127" y="1342"/>
                  </a:lnTo>
                  <a:lnTo>
                    <a:pt x="125" y="1342"/>
                  </a:lnTo>
                  <a:lnTo>
                    <a:pt x="125" y="1340"/>
                  </a:lnTo>
                  <a:lnTo>
                    <a:pt x="122" y="1340"/>
                  </a:lnTo>
                  <a:lnTo>
                    <a:pt x="120" y="1340"/>
                  </a:lnTo>
                  <a:lnTo>
                    <a:pt x="120" y="1333"/>
                  </a:lnTo>
                  <a:lnTo>
                    <a:pt x="120" y="1333"/>
                  </a:lnTo>
                  <a:lnTo>
                    <a:pt x="118" y="1323"/>
                  </a:lnTo>
                  <a:lnTo>
                    <a:pt x="113" y="1318"/>
                  </a:lnTo>
                  <a:lnTo>
                    <a:pt x="108" y="1314"/>
                  </a:lnTo>
                  <a:lnTo>
                    <a:pt x="106" y="1307"/>
                  </a:lnTo>
                  <a:lnTo>
                    <a:pt x="103" y="1304"/>
                  </a:lnTo>
                  <a:lnTo>
                    <a:pt x="99" y="1302"/>
                  </a:lnTo>
                  <a:lnTo>
                    <a:pt x="96" y="1300"/>
                  </a:lnTo>
                  <a:lnTo>
                    <a:pt x="96" y="1302"/>
                  </a:lnTo>
                  <a:lnTo>
                    <a:pt x="94" y="1300"/>
                  </a:lnTo>
                  <a:lnTo>
                    <a:pt x="92" y="1295"/>
                  </a:lnTo>
                  <a:lnTo>
                    <a:pt x="92" y="1295"/>
                  </a:lnTo>
                  <a:lnTo>
                    <a:pt x="92" y="1290"/>
                  </a:lnTo>
                  <a:lnTo>
                    <a:pt x="92" y="1285"/>
                  </a:lnTo>
                  <a:lnTo>
                    <a:pt x="89" y="1278"/>
                  </a:lnTo>
                  <a:lnTo>
                    <a:pt x="87" y="1276"/>
                  </a:lnTo>
                  <a:lnTo>
                    <a:pt x="87" y="1271"/>
                  </a:lnTo>
                  <a:lnTo>
                    <a:pt x="85" y="1271"/>
                  </a:lnTo>
                  <a:lnTo>
                    <a:pt x="85" y="1269"/>
                  </a:lnTo>
                  <a:lnTo>
                    <a:pt x="82" y="1267"/>
                  </a:lnTo>
                  <a:lnTo>
                    <a:pt x="82" y="1267"/>
                  </a:lnTo>
                  <a:lnTo>
                    <a:pt x="80" y="1264"/>
                  </a:lnTo>
                  <a:lnTo>
                    <a:pt x="75" y="1262"/>
                  </a:lnTo>
                  <a:lnTo>
                    <a:pt x="73" y="1255"/>
                  </a:lnTo>
                  <a:lnTo>
                    <a:pt x="70" y="1252"/>
                  </a:lnTo>
                  <a:lnTo>
                    <a:pt x="68" y="1250"/>
                  </a:lnTo>
                  <a:lnTo>
                    <a:pt x="66" y="1250"/>
                  </a:lnTo>
                  <a:lnTo>
                    <a:pt x="63" y="1250"/>
                  </a:lnTo>
                  <a:lnTo>
                    <a:pt x="63" y="1248"/>
                  </a:lnTo>
                  <a:lnTo>
                    <a:pt x="61" y="1248"/>
                  </a:lnTo>
                  <a:lnTo>
                    <a:pt x="59" y="1243"/>
                  </a:lnTo>
                  <a:lnTo>
                    <a:pt x="54" y="1233"/>
                  </a:lnTo>
                  <a:lnTo>
                    <a:pt x="54" y="1229"/>
                  </a:lnTo>
                  <a:lnTo>
                    <a:pt x="52" y="1226"/>
                  </a:lnTo>
                  <a:lnTo>
                    <a:pt x="52" y="1215"/>
                  </a:lnTo>
                  <a:lnTo>
                    <a:pt x="54" y="1212"/>
                  </a:lnTo>
                  <a:lnTo>
                    <a:pt x="56" y="1210"/>
                  </a:lnTo>
                  <a:lnTo>
                    <a:pt x="59" y="1205"/>
                  </a:lnTo>
                  <a:lnTo>
                    <a:pt x="66" y="1198"/>
                  </a:lnTo>
                  <a:lnTo>
                    <a:pt x="68" y="1198"/>
                  </a:lnTo>
                  <a:lnTo>
                    <a:pt x="70" y="1196"/>
                  </a:lnTo>
                  <a:lnTo>
                    <a:pt x="70" y="1193"/>
                  </a:lnTo>
                  <a:lnTo>
                    <a:pt x="73" y="1189"/>
                  </a:lnTo>
                  <a:lnTo>
                    <a:pt x="73" y="1189"/>
                  </a:lnTo>
                  <a:lnTo>
                    <a:pt x="75" y="1189"/>
                  </a:lnTo>
                  <a:lnTo>
                    <a:pt x="78" y="1189"/>
                  </a:lnTo>
                  <a:lnTo>
                    <a:pt x="78" y="1186"/>
                  </a:lnTo>
                  <a:lnTo>
                    <a:pt x="80" y="1186"/>
                  </a:lnTo>
                  <a:lnTo>
                    <a:pt x="80" y="1184"/>
                  </a:lnTo>
                  <a:lnTo>
                    <a:pt x="129" y="1073"/>
                  </a:lnTo>
                  <a:lnTo>
                    <a:pt x="151" y="1028"/>
                  </a:lnTo>
                  <a:lnTo>
                    <a:pt x="163" y="1002"/>
                  </a:lnTo>
                  <a:lnTo>
                    <a:pt x="170" y="983"/>
                  </a:lnTo>
                  <a:lnTo>
                    <a:pt x="207" y="900"/>
                  </a:lnTo>
                  <a:lnTo>
                    <a:pt x="238" y="837"/>
                  </a:lnTo>
                  <a:lnTo>
                    <a:pt x="245" y="818"/>
                  </a:lnTo>
                  <a:lnTo>
                    <a:pt x="250" y="806"/>
                  </a:lnTo>
                  <a:lnTo>
                    <a:pt x="255" y="796"/>
                  </a:lnTo>
                  <a:lnTo>
                    <a:pt x="264" y="775"/>
                  </a:lnTo>
                  <a:lnTo>
                    <a:pt x="269" y="763"/>
                  </a:lnTo>
                  <a:lnTo>
                    <a:pt x="269" y="761"/>
                  </a:lnTo>
                  <a:lnTo>
                    <a:pt x="285" y="730"/>
                  </a:lnTo>
                  <a:lnTo>
                    <a:pt x="295" y="709"/>
                  </a:lnTo>
                  <a:lnTo>
                    <a:pt x="300" y="697"/>
                  </a:lnTo>
                  <a:lnTo>
                    <a:pt x="304" y="683"/>
                  </a:lnTo>
                  <a:lnTo>
                    <a:pt x="311" y="669"/>
                  </a:lnTo>
                  <a:lnTo>
                    <a:pt x="316" y="659"/>
                  </a:lnTo>
                  <a:lnTo>
                    <a:pt x="314" y="659"/>
                  </a:lnTo>
                  <a:lnTo>
                    <a:pt x="314" y="659"/>
                  </a:lnTo>
                  <a:lnTo>
                    <a:pt x="311" y="659"/>
                  </a:lnTo>
                  <a:lnTo>
                    <a:pt x="309" y="657"/>
                  </a:lnTo>
                  <a:lnTo>
                    <a:pt x="309" y="657"/>
                  </a:lnTo>
                  <a:lnTo>
                    <a:pt x="309" y="657"/>
                  </a:lnTo>
                  <a:lnTo>
                    <a:pt x="314" y="650"/>
                  </a:lnTo>
                  <a:lnTo>
                    <a:pt x="314" y="648"/>
                  </a:lnTo>
                  <a:lnTo>
                    <a:pt x="314" y="645"/>
                  </a:lnTo>
                  <a:lnTo>
                    <a:pt x="314" y="643"/>
                  </a:lnTo>
                  <a:lnTo>
                    <a:pt x="318" y="638"/>
                  </a:lnTo>
                  <a:lnTo>
                    <a:pt x="318" y="636"/>
                  </a:lnTo>
                  <a:lnTo>
                    <a:pt x="321" y="633"/>
                  </a:lnTo>
                  <a:lnTo>
                    <a:pt x="326" y="633"/>
                  </a:lnTo>
                  <a:lnTo>
                    <a:pt x="333" y="629"/>
                  </a:lnTo>
                  <a:lnTo>
                    <a:pt x="340" y="626"/>
                  </a:lnTo>
                  <a:lnTo>
                    <a:pt x="342" y="624"/>
                  </a:lnTo>
                  <a:lnTo>
                    <a:pt x="347" y="619"/>
                  </a:lnTo>
                  <a:lnTo>
                    <a:pt x="349" y="615"/>
                  </a:lnTo>
                  <a:lnTo>
                    <a:pt x="354" y="607"/>
                  </a:lnTo>
                  <a:lnTo>
                    <a:pt x="354" y="605"/>
                  </a:lnTo>
                  <a:lnTo>
                    <a:pt x="354" y="605"/>
                  </a:lnTo>
                  <a:lnTo>
                    <a:pt x="349" y="605"/>
                  </a:lnTo>
                  <a:lnTo>
                    <a:pt x="347" y="605"/>
                  </a:lnTo>
                  <a:lnTo>
                    <a:pt x="344" y="605"/>
                  </a:lnTo>
                  <a:lnTo>
                    <a:pt x="342" y="605"/>
                  </a:lnTo>
                  <a:lnTo>
                    <a:pt x="342" y="607"/>
                  </a:lnTo>
                  <a:lnTo>
                    <a:pt x="342" y="607"/>
                  </a:lnTo>
                  <a:lnTo>
                    <a:pt x="340" y="607"/>
                  </a:lnTo>
                  <a:lnTo>
                    <a:pt x="337" y="607"/>
                  </a:lnTo>
                  <a:lnTo>
                    <a:pt x="335" y="612"/>
                  </a:lnTo>
                  <a:lnTo>
                    <a:pt x="330" y="612"/>
                  </a:lnTo>
                  <a:lnTo>
                    <a:pt x="330" y="615"/>
                  </a:lnTo>
                  <a:lnTo>
                    <a:pt x="328" y="615"/>
                  </a:lnTo>
                  <a:lnTo>
                    <a:pt x="328" y="617"/>
                  </a:lnTo>
                  <a:lnTo>
                    <a:pt x="328" y="617"/>
                  </a:lnTo>
                  <a:lnTo>
                    <a:pt x="328" y="619"/>
                  </a:lnTo>
                  <a:lnTo>
                    <a:pt x="326" y="619"/>
                  </a:lnTo>
                  <a:lnTo>
                    <a:pt x="323" y="619"/>
                  </a:lnTo>
                  <a:lnTo>
                    <a:pt x="321" y="619"/>
                  </a:lnTo>
                  <a:lnTo>
                    <a:pt x="318" y="619"/>
                  </a:lnTo>
                  <a:lnTo>
                    <a:pt x="318" y="622"/>
                  </a:lnTo>
                  <a:lnTo>
                    <a:pt x="314" y="624"/>
                  </a:lnTo>
                  <a:lnTo>
                    <a:pt x="314" y="624"/>
                  </a:lnTo>
                  <a:lnTo>
                    <a:pt x="311" y="622"/>
                  </a:lnTo>
                  <a:lnTo>
                    <a:pt x="311" y="622"/>
                  </a:lnTo>
                  <a:lnTo>
                    <a:pt x="309" y="622"/>
                  </a:lnTo>
                  <a:lnTo>
                    <a:pt x="307" y="622"/>
                  </a:lnTo>
                  <a:lnTo>
                    <a:pt x="307" y="624"/>
                  </a:lnTo>
                  <a:lnTo>
                    <a:pt x="302" y="619"/>
                  </a:lnTo>
                  <a:lnTo>
                    <a:pt x="302" y="619"/>
                  </a:lnTo>
                  <a:lnTo>
                    <a:pt x="300" y="619"/>
                  </a:lnTo>
                  <a:lnTo>
                    <a:pt x="300" y="622"/>
                  </a:lnTo>
                  <a:lnTo>
                    <a:pt x="295" y="622"/>
                  </a:lnTo>
                  <a:lnTo>
                    <a:pt x="295" y="624"/>
                  </a:lnTo>
                  <a:lnTo>
                    <a:pt x="292" y="624"/>
                  </a:lnTo>
                  <a:lnTo>
                    <a:pt x="292" y="624"/>
                  </a:lnTo>
                  <a:lnTo>
                    <a:pt x="290" y="624"/>
                  </a:lnTo>
                  <a:lnTo>
                    <a:pt x="290" y="624"/>
                  </a:lnTo>
                  <a:lnTo>
                    <a:pt x="290" y="626"/>
                  </a:lnTo>
                  <a:lnTo>
                    <a:pt x="290" y="629"/>
                  </a:lnTo>
                  <a:lnTo>
                    <a:pt x="288" y="626"/>
                  </a:lnTo>
                  <a:lnTo>
                    <a:pt x="285" y="626"/>
                  </a:lnTo>
                  <a:lnTo>
                    <a:pt x="283" y="629"/>
                  </a:lnTo>
                  <a:lnTo>
                    <a:pt x="281" y="629"/>
                  </a:lnTo>
                  <a:lnTo>
                    <a:pt x="278" y="626"/>
                  </a:lnTo>
                  <a:lnTo>
                    <a:pt x="276" y="624"/>
                  </a:lnTo>
                  <a:lnTo>
                    <a:pt x="274" y="624"/>
                  </a:lnTo>
                  <a:lnTo>
                    <a:pt x="271" y="624"/>
                  </a:lnTo>
                  <a:lnTo>
                    <a:pt x="269" y="624"/>
                  </a:lnTo>
                  <a:lnTo>
                    <a:pt x="269" y="622"/>
                  </a:lnTo>
                  <a:lnTo>
                    <a:pt x="269" y="619"/>
                  </a:lnTo>
                  <a:lnTo>
                    <a:pt x="271" y="615"/>
                  </a:lnTo>
                  <a:lnTo>
                    <a:pt x="274" y="612"/>
                  </a:lnTo>
                  <a:lnTo>
                    <a:pt x="276" y="610"/>
                  </a:lnTo>
                  <a:lnTo>
                    <a:pt x="276" y="610"/>
                  </a:lnTo>
                  <a:lnTo>
                    <a:pt x="276" y="607"/>
                  </a:lnTo>
                  <a:lnTo>
                    <a:pt x="274" y="605"/>
                  </a:lnTo>
                  <a:lnTo>
                    <a:pt x="274" y="603"/>
                  </a:lnTo>
                  <a:lnTo>
                    <a:pt x="271" y="603"/>
                  </a:lnTo>
                  <a:lnTo>
                    <a:pt x="269" y="603"/>
                  </a:lnTo>
                  <a:lnTo>
                    <a:pt x="266" y="603"/>
                  </a:lnTo>
                  <a:lnTo>
                    <a:pt x="262" y="603"/>
                  </a:lnTo>
                  <a:lnTo>
                    <a:pt x="259" y="603"/>
                  </a:lnTo>
                  <a:lnTo>
                    <a:pt x="257" y="603"/>
                  </a:lnTo>
                  <a:lnTo>
                    <a:pt x="255" y="598"/>
                  </a:lnTo>
                  <a:lnTo>
                    <a:pt x="252" y="598"/>
                  </a:lnTo>
                  <a:lnTo>
                    <a:pt x="252" y="596"/>
                  </a:lnTo>
                  <a:lnTo>
                    <a:pt x="250" y="596"/>
                  </a:lnTo>
                  <a:lnTo>
                    <a:pt x="245" y="596"/>
                  </a:lnTo>
                  <a:lnTo>
                    <a:pt x="245" y="596"/>
                  </a:lnTo>
                  <a:lnTo>
                    <a:pt x="245" y="593"/>
                  </a:lnTo>
                  <a:lnTo>
                    <a:pt x="243" y="591"/>
                  </a:lnTo>
                  <a:lnTo>
                    <a:pt x="241" y="589"/>
                  </a:lnTo>
                  <a:lnTo>
                    <a:pt x="236" y="589"/>
                  </a:lnTo>
                  <a:lnTo>
                    <a:pt x="236" y="589"/>
                  </a:lnTo>
                  <a:lnTo>
                    <a:pt x="233" y="584"/>
                  </a:lnTo>
                  <a:lnTo>
                    <a:pt x="231" y="581"/>
                  </a:lnTo>
                  <a:lnTo>
                    <a:pt x="231" y="579"/>
                  </a:lnTo>
                  <a:lnTo>
                    <a:pt x="231" y="577"/>
                  </a:lnTo>
                  <a:lnTo>
                    <a:pt x="231" y="577"/>
                  </a:lnTo>
                  <a:lnTo>
                    <a:pt x="231" y="574"/>
                  </a:lnTo>
                  <a:lnTo>
                    <a:pt x="229" y="574"/>
                  </a:lnTo>
                  <a:lnTo>
                    <a:pt x="229" y="574"/>
                  </a:lnTo>
                  <a:lnTo>
                    <a:pt x="229" y="572"/>
                  </a:lnTo>
                  <a:lnTo>
                    <a:pt x="229" y="570"/>
                  </a:lnTo>
                  <a:lnTo>
                    <a:pt x="226" y="574"/>
                  </a:lnTo>
                  <a:lnTo>
                    <a:pt x="224" y="570"/>
                  </a:lnTo>
                  <a:lnTo>
                    <a:pt x="222" y="570"/>
                  </a:lnTo>
                  <a:lnTo>
                    <a:pt x="219" y="570"/>
                  </a:lnTo>
                  <a:lnTo>
                    <a:pt x="219" y="570"/>
                  </a:lnTo>
                  <a:lnTo>
                    <a:pt x="219" y="567"/>
                  </a:lnTo>
                  <a:lnTo>
                    <a:pt x="219" y="565"/>
                  </a:lnTo>
                  <a:lnTo>
                    <a:pt x="219" y="565"/>
                  </a:lnTo>
                  <a:lnTo>
                    <a:pt x="217" y="565"/>
                  </a:lnTo>
                  <a:lnTo>
                    <a:pt x="217" y="565"/>
                  </a:lnTo>
                  <a:lnTo>
                    <a:pt x="217" y="565"/>
                  </a:lnTo>
                  <a:lnTo>
                    <a:pt x="215" y="565"/>
                  </a:lnTo>
                  <a:lnTo>
                    <a:pt x="215" y="563"/>
                  </a:lnTo>
                  <a:lnTo>
                    <a:pt x="212" y="565"/>
                  </a:lnTo>
                  <a:lnTo>
                    <a:pt x="212" y="565"/>
                  </a:lnTo>
                  <a:lnTo>
                    <a:pt x="210" y="565"/>
                  </a:lnTo>
                  <a:lnTo>
                    <a:pt x="210" y="565"/>
                  </a:lnTo>
                  <a:lnTo>
                    <a:pt x="207" y="563"/>
                  </a:lnTo>
                  <a:lnTo>
                    <a:pt x="210" y="563"/>
                  </a:lnTo>
                  <a:lnTo>
                    <a:pt x="207" y="560"/>
                  </a:lnTo>
                  <a:lnTo>
                    <a:pt x="207" y="560"/>
                  </a:lnTo>
                  <a:lnTo>
                    <a:pt x="207" y="563"/>
                  </a:lnTo>
                  <a:lnTo>
                    <a:pt x="207" y="565"/>
                  </a:lnTo>
                  <a:lnTo>
                    <a:pt x="205" y="565"/>
                  </a:lnTo>
                  <a:lnTo>
                    <a:pt x="205" y="563"/>
                  </a:lnTo>
                  <a:lnTo>
                    <a:pt x="203" y="563"/>
                  </a:lnTo>
                  <a:lnTo>
                    <a:pt x="200" y="565"/>
                  </a:lnTo>
                  <a:lnTo>
                    <a:pt x="198" y="565"/>
                  </a:lnTo>
                  <a:lnTo>
                    <a:pt x="196" y="563"/>
                  </a:lnTo>
                  <a:lnTo>
                    <a:pt x="196" y="565"/>
                  </a:lnTo>
                  <a:lnTo>
                    <a:pt x="196" y="565"/>
                  </a:lnTo>
                  <a:lnTo>
                    <a:pt x="193" y="563"/>
                  </a:lnTo>
                  <a:lnTo>
                    <a:pt x="191" y="565"/>
                  </a:lnTo>
                  <a:lnTo>
                    <a:pt x="189" y="563"/>
                  </a:lnTo>
                  <a:lnTo>
                    <a:pt x="191" y="563"/>
                  </a:lnTo>
                  <a:lnTo>
                    <a:pt x="191" y="560"/>
                  </a:lnTo>
                  <a:lnTo>
                    <a:pt x="191" y="560"/>
                  </a:lnTo>
                  <a:lnTo>
                    <a:pt x="189" y="560"/>
                  </a:lnTo>
                  <a:lnTo>
                    <a:pt x="189" y="558"/>
                  </a:lnTo>
                  <a:lnTo>
                    <a:pt x="186" y="558"/>
                  </a:lnTo>
                  <a:lnTo>
                    <a:pt x="186" y="560"/>
                  </a:lnTo>
                  <a:lnTo>
                    <a:pt x="184" y="560"/>
                  </a:lnTo>
                  <a:lnTo>
                    <a:pt x="184" y="558"/>
                  </a:lnTo>
                  <a:lnTo>
                    <a:pt x="184" y="558"/>
                  </a:lnTo>
                  <a:lnTo>
                    <a:pt x="179" y="558"/>
                  </a:lnTo>
                  <a:lnTo>
                    <a:pt x="179" y="558"/>
                  </a:lnTo>
                  <a:lnTo>
                    <a:pt x="179" y="556"/>
                  </a:lnTo>
                  <a:lnTo>
                    <a:pt x="177" y="556"/>
                  </a:lnTo>
                  <a:lnTo>
                    <a:pt x="177" y="556"/>
                  </a:lnTo>
                  <a:lnTo>
                    <a:pt x="174" y="553"/>
                  </a:lnTo>
                  <a:lnTo>
                    <a:pt x="172" y="556"/>
                  </a:lnTo>
                  <a:lnTo>
                    <a:pt x="174" y="551"/>
                  </a:lnTo>
                  <a:lnTo>
                    <a:pt x="172" y="551"/>
                  </a:lnTo>
                  <a:lnTo>
                    <a:pt x="172" y="548"/>
                  </a:lnTo>
                  <a:lnTo>
                    <a:pt x="170" y="548"/>
                  </a:lnTo>
                  <a:lnTo>
                    <a:pt x="167" y="548"/>
                  </a:lnTo>
                  <a:lnTo>
                    <a:pt x="165" y="548"/>
                  </a:lnTo>
                  <a:lnTo>
                    <a:pt x="165" y="548"/>
                  </a:lnTo>
                  <a:lnTo>
                    <a:pt x="165" y="546"/>
                  </a:lnTo>
                  <a:lnTo>
                    <a:pt x="165" y="546"/>
                  </a:lnTo>
                  <a:lnTo>
                    <a:pt x="163" y="544"/>
                  </a:lnTo>
                  <a:lnTo>
                    <a:pt x="163" y="546"/>
                  </a:lnTo>
                  <a:lnTo>
                    <a:pt x="163" y="546"/>
                  </a:lnTo>
                  <a:lnTo>
                    <a:pt x="158" y="546"/>
                  </a:lnTo>
                  <a:lnTo>
                    <a:pt x="155" y="546"/>
                  </a:lnTo>
                  <a:lnTo>
                    <a:pt x="153" y="548"/>
                  </a:lnTo>
                  <a:lnTo>
                    <a:pt x="153" y="546"/>
                  </a:lnTo>
                  <a:lnTo>
                    <a:pt x="151" y="546"/>
                  </a:lnTo>
                  <a:lnTo>
                    <a:pt x="151" y="544"/>
                  </a:lnTo>
                  <a:lnTo>
                    <a:pt x="151" y="541"/>
                  </a:lnTo>
                  <a:lnTo>
                    <a:pt x="148" y="539"/>
                  </a:lnTo>
                  <a:lnTo>
                    <a:pt x="148" y="534"/>
                  </a:lnTo>
                  <a:lnTo>
                    <a:pt x="148" y="537"/>
                  </a:lnTo>
                  <a:lnTo>
                    <a:pt x="146" y="534"/>
                  </a:lnTo>
                  <a:lnTo>
                    <a:pt x="146" y="537"/>
                  </a:lnTo>
                  <a:lnTo>
                    <a:pt x="144" y="534"/>
                  </a:lnTo>
                  <a:lnTo>
                    <a:pt x="141" y="537"/>
                  </a:lnTo>
                  <a:lnTo>
                    <a:pt x="141" y="537"/>
                  </a:lnTo>
                  <a:lnTo>
                    <a:pt x="141" y="534"/>
                  </a:lnTo>
                  <a:lnTo>
                    <a:pt x="141" y="534"/>
                  </a:lnTo>
                  <a:lnTo>
                    <a:pt x="139" y="534"/>
                  </a:lnTo>
                  <a:lnTo>
                    <a:pt x="139" y="534"/>
                  </a:lnTo>
                  <a:lnTo>
                    <a:pt x="139" y="532"/>
                  </a:lnTo>
                  <a:lnTo>
                    <a:pt x="137" y="532"/>
                  </a:lnTo>
                  <a:lnTo>
                    <a:pt x="137" y="530"/>
                  </a:lnTo>
                  <a:lnTo>
                    <a:pt x="137" y="530"/>
                  </a:lnTo>
                  <a:lnTo>
                    <a:pt x="137" y="527"/>
                  </a:lnTo>
                  <a:lnTo>
                    <a:pt x="134" y="527"/>
                  </a:lnTo>
                  <a:lnTo>
                    <a:pt x="134" y="525"/>
                  </a:lnTo>
                  <a:lnTo>
                    <a:pt x="129" y="525"/>
                  </a:lnTo>
                  <a:lnTo>
                    <a:pt x="129" y="525"/>
                  </a:lnTo>
                  <a:lnTo>
                    <a:pt x="127" y="527"/>
                  </a:lnTo>
                  <a:lnTo>
                    <a:pt x="125" y="525"/>
                  </a:lnTo>
                  <a:lnTo>
                    <a:pt x="125" y="525"/>
                  </a:lnTo>
                  <a:lnTo>
                    <a:pt x="125" y="525"/>
                  </a:lnTo>
                  <a:lnTo>
                    <a:pt x="125" y="522"/>
                  </a:lnTo>
                  <a:lnTo>
                    <a:pt x="125" y="522"/>
                  </a:lnTo>
                  <a:lnTo>
                    <a:pt x="120" y="522"/>
                  </a:lnTo>
                  <a:lnTo>
                    <a:pt x="120" y="522"/>
                  </a:lnTo>
                  <a:lnTo>
                    <a:pt x="118" y="522"/>
                  </a:lnTo>
                  <a:lnTo>
                    <a:pt x="118" y="520"/>
                  </a:lnTo>
                  <a:lnTo>
                    <a:pt x="115" y="520"/>
                  </a:lnTo>
                  <a:lnTo>
                    <a:pt x="115" y="518"/>
                  </a:lnTo>
                  <a:lnTo>
                    <a:pt x="118" y="515"/>
                  </a:lnTo>
                  <a:lnTo>
                    <a:pt x="115" y="515"/>
                  </a:lnTo>
                  <a:lnTo>
                    <a:pt x="113" y="515"/>
                  </a:lnTo>
                  <a:lnTo>
                    <a:pt x="113" y="513"/>
                  </a:lnTo>
                  <a:lnTo>
                    <a:pt x="113" y="511"/>
                  </a:lnTo>
                  <a:lnTo>
                    <a:pt x="113" y="511"/>
                  </a:lnTo>
                  <a:lnTo>
                    <a:pt x="113" y="508"/>
                  </a:lnTo>
                  <a:lnTo>
                    <a:pt x="118" y="501"/>
                  </a:lnTo>
                  <a:lnTo>
                    <a:pt x="118" y="499"/>
                  </a:lnTo>
                  <a:lnTo>
                    <a:pt x="118" y="496"/>
                  </a:lnTo>
                  <a:lnTo>
                    <a:pt x="115" y="494"/>
                  </a:lnTo>
                  <a:lnTo>
                    <a:pt x="118" y="492"/>
                  </a:lnTo>
                  <a:lnTo>
                    <a:pt x="118" y="492"/>
                  </a:lnTo>
                  <a:lnTo>
                    <a:pt x="115" y="489"/>
                  </a:lnTo>
                  <a:lnTo>
                    <a:pt x="113" y="489"/>
                  </a:lnTo>
                  <a:lnTo>
                    <a:pt x="111" y="487"/>
                  </a:lnTo>
                  <a:lnTo>
                    <a:pt x="111" y="485"/>
                  </a:lnTo>
                  <a:lnTo>
                    <a:pt x="111" y="485"/>
                  </a:lnTo>
                  <a:lnTo>
                    <a:pt x="108" y="482"/>
                  </a:lnTo>
                  <a:lnTo>
                    <a:pt x="108" y="482"/>
                  </a:lnTo>
                  <a:lnTo>
                    <a:pt x="103" y="487"/>
                  </a:lnTo>
                  <a:lnTo>
                    <a:pt x="101" y="487"/>
                  </a:lnTo>
                  <a:lnTo>
                    <a:pt x="103" y="489"/>
                  </a:lnTo>
                  <a:lnTo>
                    <a:pt x="101" y="492"/>
                  </a:lnTo>
                  <a:lnTo>
                    <a:pt x="99" y="492"/>
                  </a:lnTo>
                  <a:lnTo>
                    <a:pt x="99" y="494"/>
                  </a:lnTo>
                  <a:lnTo>
                    <a:pt x="96" y="494"/>
                  </a:lnTo>
                  <a:lnTo>
                    <a:pt x="94" y="499"/>
                  </a:lnTo>
                  <a:lnTo>
                    <a:pt x="92" y="501"/>
                  </a:lnTo>
                  <a:lnTo>
                    <a:pt x="89" y="496"/>
                  </a:lnTo>
                  <a:lnTo>
                    <a:pt x="89" y="496"/>
                  </a:lnTo>
                  <a:lnTo>
                    <a:pt x="85" y="492"/>
                  </a:lnTo>
                  <a:lnTo>
                    <a:pt x="82" y="492"/>
                  </a:lnTo>
                  <a:lnTo>
                    <a:pt x="80" y="487"/>
                  </a:lnTo>
                  <a:lnTo>
                    <a:pt x="80" y="487"/>
                  </a:lnTo>
                  <a:lnTo>
                    <a:pt x="80" y="487"/>
                  </a:lnTo>
                  <a:lnTo>
                    <a:pt x="73" y="489"/>
                  </a:lnTo>
                  <a:lnTo>
                    <a:pt x="73" y="487"/>
                  </a:lnTo>
                  <a:lnTo>
                    <a:pt x="70" y="487"/>
                  </a:lnTo>
                  <a:lnTo>
                    <a:pt x="70" y="485"/>
                  </a:lnTo>
                  <a:lnTo>
                    <a:pt x="68" y="485"/>
                  </a:lnTo>
                  <a:lnTo>
                    <a:pt x="68" y="485"/>
                  </a:lnTo>
                  <a:lnTo>
                    <a:pt x="68" y="482"/>
                  </a:lnTo>
                  <a:lnTo>
                    <a:pt x="66" y="482"/>
                  </a:lnTo>
                  <a:lnTo>
                    <a:pt x="66" y="478"/>
                  </a:lnTo>
                  <a:lnTo>
                    <a:pt x="63" y="475"/>
                  </a:lnTo>
                  <a:lnTo>
                    <a:pt x="63" y="475"/>
                  </a:lnTo>
                  <a:lnTo>
                    <a:pt x="63" y="475"/>
                  </a:lnTo>
                  <a:lnTo>
                    <a:pt x="61" y="475"/>
                  </a:lnTo>
                  <a:lnTo>
                    <a:pt x="61" y="475"/>
                  </a:lnTo>
                  <a:lnTo>
                    <a:pt x="59" y="473"/>
                  </a:lnTo>
                  <a:lnTo>
                    <a:pt x="61" y="470"/>
                  </a:lnTo>
                  <a:lnTo>
                    <a:pt x="59" y="470"/>
                  </a:lnTo>
                  <a:lnTo>
                    <a:pt x="61" y="468"/>
                  </a:lnTo>
                  <a:lnTo>
                    <a:pt x="61" y="468"/>
                  </a:lnTo>
                  <a:lnTo>
                    <a:pt x="61" y="466"/>
                  </a:lnTo>
                  <a:lnTo>
                    <a:pt x="61" y="466"/>
                  </a:lnTo>
                  <a:lnTo>
                    <a:pt x="59" y="466"/>
                  </a:lnTo>
                  <a:lnTo>
                    <a:pt x="59" y="463"/>
                  </a:lnTo>
                  <a:lnTo>
                    <a:pt x="56" y="461"/>
                  </a:lnTo>
                  <a:lnTo>
                    <a:pt x="56" y="459"/>
                  </a:lnTo>
                  <a:lnTo>
                    <a:pt x="56" y="456"/>
                  </a:lnTo>
                  <a:lnTo>
                    <a:pt x="59" y="456"/>
                  </a:lnTo>
                  <a:lnTo>
                    <a:pt x="59" y="454"/>
                  </a:lnTo>
                  <a:lnTo>
                    <a:pt x="54" y="452"/>
                  </a:lnTo>
                  <a:lnTo>
                    <a:pt x="54" y="452"/>
                  </a:lnTo>
                  <a:lnTo>
                    <a:pt x="54" y="452"/>
                  </a:lnTo>
                  <a:lnTo>
                    <a:pt x="54" y="452"/>
                  </a:lnTo>
                  <a:lnTo>
                    <a:pt x="52" y="452"/>
                  </a:lnTo>
                  <a:lnTo>
                    <a:pt x="52" y="452"/>
                  </a:lnTo>
                  <a:lnTo>
                    <a:pt x="52" y="449"/>
                  </a:lnTo>
                  <a:lnTo>
                    <a:pt x="52" y="447"/>
                  </a:lnTo>
                  <a:lnTo>
                    <a:pt x="49" y="449"/>
                  </a:lnTo>
                  <a:lnTo>
                    <a:pt x="49" y="447"/>
                  </a:lnTo>
                  <a:lnTo>
                    <a:pt x="47" y="449"/>
                  </a:lnTo>
                  <a:lnTo>
                    <a:pt x="47" y="449"/>
                  </a:lnTo>
                  <a:lnTo>
                    <a:pt x="47" y="447"/>
                  </a:lnTo>
                  <a:lnTo>
                    <a:pt x="42" y="444"/>
                  </a:lnTo>
                  <a:lnTo>
                    <a:pt x="42" y="442"/>
                  </a:lnTo>
                  <a:lnTo>
                    <a:pt x="42" y="442"/>
                  </a:lnTo>
                  <a:lnTo>
                    <a:pt x="42" y="442"/>
                  </a:lnTo>
                  <a:lnTo>
                    <a:pt x="40" y="442"/>
                  </a:lnTo>
                  <a:lnTo>
                    <a:pt x="37" y="440"/>
                  </a:lnTo>
                  <a:lnTo>
                    <a:pt x="37" y="440"/>
                  </a:lnTo>
                  <a:lnTo>
                    <a:pt x="37" y="440"/>
                  </a:lnTo>
                  <a:lnTo>
                    <a:pt x="35" y="437"/>
                  </a:lnTo>
                  <a:lnTo>
                    <a:pt x="33" y="433"/>
                  </a:lnTo>
                  <a:lnTo>
                    <a:pt x="30" y="433"/>
                  </a:lnTo>
                  <a:lnTo>
                    <a:pt x="30" y="433"/>
                  </a:lnTo>
                  <a:lnTo>
                    <a:pt x="28" y="433"/>
                  </a:lnTo>
                  <a:lnTo>
                    <a:pt x="28" y="430"/>
                  </a:lnTo>
                  <a:lnTo>
                    <a:pt x="26" y="428"/>
                  </a:lnTo>
                  <a:lnTo>
                    <a:pt x="23" y="428"/>
                  </a:lnTo>
                  <a:lnTo>
                    <a:pt x="23" y="428"/>
                  </a:lnTo>
                  <a:lnTo>
                    <a:pt x="23" y="423"/>
                  </a:lnTo>
                  <a:lnTo>
                    <a:pt x="21" y="423"/>
                  </a:lnTo>
                  <a:lnTo>
                    <a:pt x="21" y="423"/>
                  </a:lnTo>
                  <a:lnTo>
                    <a:pt x="21" y="421"/>
                  </a:lnTo>
                  <a:lnTo>
                    <a:pt x="21" y="418"/>
                  </a:lnTo>
                  <a:lnTo>
                    <a:pt x="21" y="418"/>
                  </a:lnTo>
                  <a:lnTo>
                    <a:pt x="21" y="416"/>
                  </a:lnTo>
                  <a:lnTo>
                    <a:pt x="21" y="414"/>
                  </a:lnTo>
                  <a:lnTo>
                    <a:pt x="21" y="411"/>
                  </a:lnTo>
                  <a:lnTo>
                    <a:pt x="21" y="411"/>
                  </a:lnTo>
                  <a:lnTo>
                    <a:pt x="23" y="411"/>
                  </a:lnTo>
                  <a:lnTo>
                    <a:pt x="23" y="409"/>
                  </a:lnTo>
                  <a:lnTo>
                    <a:pt x="23" y="407"/>
                  </a:lnTo>
                  <a:lnTo>
                    <a:pt x="21" y="404"/>
                  </a:lnTo>
                  <a:lnTo>
                    <a:pt x="21" y="404"/>
                  </a:lnTo>
                  <a:lnTo>
                    <a:pt x="21" y="402"/>
                  </a:lnTo>
                  <a:lnTo>
                    <a:pt x="21" y="397"/>
                  </a:lnTo>
                  <a:lnTo>
                    <a:pt x="21" y="395"/>
                  </a:lnTo>
                  <a:lnTo>
                    <a:pt x="18" y="395"/>
                  </a:lnTo>
                  <a:lnTo>
                    <a:pt x="18" y="393"/>
                  </a:lnTo>
                  <a:lnTo>
                    <a:pt x="16" y="393"/>
                  </a:lnTo>
                  <a:lnTo>
                    <a:pt x="14" y="390"/>
                  </a:lnTo>
                  <a:lnTo>
                    <a:pt x="11" y="390"/>
                  </a:lnTo>
                  <a:lnTo>
                    <a:pt x="11" y="390"/>
                  </a:lnTo>
                  <a:lnTo>
                    <a:pt x="11" y="390"/>
                  </a:lnTo>
                  <a:lnTo>
                    <a:pt x="9" y="390"/>
                  </a:lnTo>
                  <a:lnTo>
                    <a:pt x="9" y="388"/>
                  </a:lnTo>
                  <a:lnTo>
                    <a:pt x="7" y="385"/>
                  </a:lnTo>
                  <a:lnTo>
                    <a:pt x="2" y="383"/>
                  </a:lnTo>
                  <a:lnTo>
                    <a:pt x="2" y="378"/>
                  </a:lnTo>
                  <a:lnTo>
                    <a:pt x="2" y="376"/>
                  </a:lnTo>
                  <a:lnTo>
                    <a:pt x="2" y="376"/>
                  </a:lnTo>
                  <a:lnTo>
                    <a:pt x="2" y="374"/>
                  </a:lnTo>
                  <a:lnTo>
                    <a:pt x="2" y="374"/>
                  </a:lnTo>
                  <a:lnTo>
                    <a:pt x="2" y="369"/>
                  </a:lnTo>
                  <a:lnTo>
                    <a:pt x="2" y="364"/>
                  </a:lnTo>
                  <a:lnTo>
                    <a:pt x="4" y="359"/>
                  </a:lnTo>
                  <a:lnTo>
                    <a:pt x="4" y="357"/>
                  </a:lnTo>
                  <a:lnTo>
                    <a:pt x="2" y="357"/>
                  </a:lnTo>
                  <a:lnTo>
                    <a:pt x="4" y="350"/>
                  </a:lnTo>
                  <a:lnTo>
                    <a:pt x="2" y="348"/>
                  </a:lnTo>
                  <a:lnTo>
                    <a:pt x="2" y="348"/>
                  </a:lnTo>
                  <a:lnTo>
                    <a:pt x="0" y="348"/>
                  </a:lnTo>
                  <a:lnTo>
                    <a:pt x="0" y="343"/>
                  </a:lnTo>
                  <a:lnTo>
                    <a:pt x="0" y="341"/>
                  </a:lnTo>
                  <a:lnTo>
                    <a:pt x="0" y="341"/>
                  </a:lnTo>
                  <a:lnTo>
                    <a:pt x="0" y="305"/>
                  </a:lnTo>
                  <a:lnTo>
                    <a:pt x="0" y="178"/>
                  </a:lnTo>
                  <a:close/>
                  <a:moveTo>
                    <a:pt x="1625" y="480"/>
                  </a:moveTo>
                  <a:lnTo>
                    <a:pt x="1625" y="478"/>
                  </a:lnTo>
                  <a:lnTo>
                    <a:pt x="1625" y="478"/>
                  </a:lnTo>
                  <a:lnTo>
                    <a:pt x="1625" y="478"/>
                  </a:lnTo>
                  <a:lnTo>
                    <a:pt x="1627" y="478"/>
                  </a:lnTo>
                  <a:lnTo>
                    <a:pt x="1625" y="478"/>
                  </a:lnTo>
                  <a:lnTo>
                    <a:pt x="1627" y="478"/>
                  </a:lnTo>
                  <a:lnTo>
                    <a:pt x="1627" y="482"/>
                  </a:lnTo>
                  <a:lnTo>
                    <a:pt x="1627" y="485"/>
                  </a:lnTo>
                  <a:lnTo>
                    <a:pt x="1627" y="482"/>
                  </a:lnTo>
                  <a:lnTo>
                    <a:pt x="1625" y="480"/>
                  </a:lnTo>
                  <a:lnTo>
                    <a:pt x="1625" y="480"/>
                  </a:lnTo>
                  <a:close/>
                  <a:moveTo>
                    <a:pt x="1507" y="433"/>
                  </a:moveTo>
                  <a:lnTo>
                    <a:pt x="1507" y="433"/>
                  </a:lnTo>
                  <a:lnTo>
                    <a:pt x="1507" y="433"/>
                  </a:lnTo>
                  <a:close/>
                  <a:moveTo>
                    <a:pt x="1611" y="461"/>
                  </a:moveTo>
                  <a:lnTo>
                    <a:pt x="1611" y="463"/>
                  </a:lnTo>
                  <a:lnTo>
                    <a:pt x="1608" y="463"/>
                  </a:lnTo>
                  <a:lnTo>
                    <a:pt x="1608" y="461"/>
                  </a:lnTo>
                  <a:lnTo>
                    <a:pt x="1611" y="461"/>
                  </a:lnTo>
                  <a:close/>
                  <a:moveTo>
                    <a:pt x="1504" y="433"/>
                  </a:moveTo>
                  <a:lnTo>
                    <a:pt x="1504" y="433"/>
                  </a:lnTo>
                  <a:lnTo>
                    <a:pt x="1504" y="433"/>
                  </a:lnTo>
                  <a:lnTo>
                    <a:pt x="1504" y="433"/>
                  </a:lnTo>
                  <a:lnTo>
                    <a:pt x="1504" y="433"/>
                  </a:lnTo>
                  <a:close/>
                  <a:moveTo>
                    <a:pt x="1559" y="447"/>
                  </a:moveTo>
                  <a:lnTo>
                    <a:pt x="1559" y="447"/>
                  </a:lnTo>
                  <a:lnTo>
                    <a:pt x="1559" y="447"/>
                  </a:lnTo>
                  <a:lnTo>
                    <a:pt x="1559" y="447"/>
                  </a:lnTo>
                  <a:lnTo>
                    <a:pt x="1559" y="447"/>
                  </a:lnTo>
                  <a:close/>
                  <a:moveTo>
                    <a:pt x="1594" y="463"/>
                  </a:moveTo>
                  <a:lnTo>
                    <a:pt x="1594" y="463"/>
                  </a:lnTo>
                  <a:lnTo>
                    <a:pt x="1594" y="463"/>
                  </a:lnTo>
                  <a:lnTo>
                    <a:pt x="1596" y="463"/>
                  </a:lnTo>
                  <a:lnTo>
                    <a:pt x="1594" y="463"/>
                  </a:lnTo>
                  <a:lnTo>
                    <a:pt x="1596" y="463"/>
                  </a:lnTo>
                  <a:lnTo>
                    <a:pt x="1594" y="463"/>
                  </a:lnTo>
                  <a:close/>
                  <a:moveTo>
                    <a:pt x="1580" y="470"/>
                  </a:moveTo>
                  <a:lnTo>
                    <a:pt x="1578" y="470"/>
                  </a:lnTo>
                  <a:lnTo>
                    <a:pt x="1580" y="470"/>
                  </a:lnTo>
                  <a:lnTo>
                    <a:pt x="1580" y="470"/>
                  </a:lnTo>
                  <a:lnTo>
                    <a:pt x="1580" y="470"/>
                  </a:lnTo>
                  <a:lnTo>
                    <a:pt x="1580" y="470"/>
                  </a:lnTo>
                  <a:lnTo>
                    <a:pt x="1580" y="470"/>
                  </a:lnTo>
                  <a:close/>
                  <a:moveTo>
                    <a:pt x="1403" y="426"/>
                  </a:moveTo>
                  <a:lnTo>
                    <a:pt x="1403" y="423"/>
                  </a:lnTo>
                  <a:lnTo>
                    <a:pt x="1403" y="426"/>
                  </a:lnTo>
                  <a:lnTo>
                    <a:pt x="1403" y="426"/>
                  </a:lnTo>
                  <a:lnTo>
                    <a:pt x="1403" y="426"/>
                  </a:lnTo>
                  <a:lnTo>
                    <a:pt x="1403" y="428"/>
                  </a:lnTo>
                  <a:lnTo>
                    <a:pt x="1403" y="426"/>
                  </a:lnTo>
                  <a:lnTo>
                    <a:pt x="1403" y="426"/>
                  </a:lnTo>
                  <a:close/>
                  <a:moveTo>
                    <a:pt x="1587" y="470"/>
                  </a:moveTo>
                  <a:lnTo>
                    <a:pt x="1587" y="468"/>
                  </a:lnTo>
                  <a:lnTo>
                    <a:pt x="1587" y="468"/>
                  </a:lnTo>
                  <a:lnTo>
                    <a:pt x="1589" y="468"/>
                  </a:lnTo>
                  <a:lnTo>
                    <a:pt x="1587" y="468"/>
                  </a:lnTo>
                  <a:lnTo>
                    <a:pt x="1587" y="473"/>
                  </a:lnTo>
                  <a:lnTo>
                    <a:pt x="1587" y="473"/>
                  </a:lnTo>
                  <a:lnTo>
                    <a:pt x="1587" y="470"/>
                  </a:lnTo>
                  <a:close/>
                  <a:moveTo>
                    <a:pt x="1504" y="430"/>
                  </a:moveTo>
                  <a:lnTo>
                    <a:pt x="1507" y="430"/>
                  </a:lnTo>
                  <a:lnTo>
                    <a:pt x="1507" y="430"/>
                  </a:lnTo>
                  <a:lnTo>
                    <a:pt x="1507" y="430"/>
                  </a:lnTo>
                  <a:lnTo>
                    <a:pt x="1507" y="430"/>
                  </a:lnTo>
                  <a:lnTo>
                    <a:pt x="1504" y="430"/>
                  </a:lnTo>
                  <a:lnTo>
                    <a:pt x="1504" y="430"/>
                  </a:lnTo>
                  <a:close/>
                  <a:moveTo>
                    <a:pt x="1585" y="463"/>
                  </a:moveTo>
                  <a:lnTo>
                    <a:pt x="1585" y="463"/>
                  </a:lnTo>
                  <a:lnTo>
                    <a:pt x="1582" y="463"/>
                  </a:lnTo>
                  <a:lnTo>
                    <a:pt x="1582" y="466"/>
                  </a:lnTo>
                  <a:lnTo>
                    <a:pt x="1580" y="468"/>
                  </a:lnTo>
                  <a:lnTo>
                    <a:pt x="1580" y="466"/>
                  </a:lnTo>
                  <a:lnTo>
                    <a:pt x="1582" y="463"/>
                  </a:lnTo>
                  <a:lnTo>
                    <a:pt x="1582" y="461"/>
                  </a:lnTo>
                  <a:lnTo>
                    <a:pt x="1582" y="461"/>
                  </a:lnTo>
                  <a:lnTo>
                    <a:pt x="1585" y="461"/>
                  </a:lnTo>
                  <a:lnTo>
                    <a:pt x="1585" y="463"/>
                  </a:lnTo>
                  <a:lnTo>
                    <a:pt x="1585" y="46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 cap="flat">
              <a:solidFill>
                <a:schemeClr val="bg2">
                  <a:lumMod val="7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>
                <a:solidFill>
                  <a:srgbClr val="000000"/>
                </a:solidFill>
              </a:endParaRPr>
            </a:p>
          </p:txBody>
        </p:sp>
        <p:sp>
          <p:nvSpPr>
            <p:cNvPr id="36" name="Freeform 32"/>
            <p:cNvSpPr>
              <a:spLocks/>
            </p:cNvSpPr>
            <p:nvPr/>
          </p:nvSpPr>
          <p:spPr bwMode="gray">
            <a:xfrm>
              <a:off x="921989" y="3753331"/>
              <a:ext cx="721584" cy="657411"/>
            </a:xfrm>
            <a:custGeom>
              <a:avLst/>
              <a:gdLst/>
              <a:ahLst/>
              <a:cxnLst>
                <a:cxn ang="0">
                  <a:pos x="54" y="191"/>
                </a:cxn>
                <a:cxn ang="0">
                  <a:pos x="106" y="191"/>
                </a:cxn>
                <a:cxn ang="0">
                  <a:pos x="146" y="196"/>
                </a:cxn>
                <a:cxn ang="0">
                  <a:pos x="179" y="179"/>
                </a:cxn>
                <a:cxn ang="0">
                  <a:pos x="222" y="189"/>
                </a:cxn>
                <a:cxn ang="0">
                  <a:pos x="241" y="142"/>
                </a:cxn>
                <a:cxn ang="0">
                  <a:pos x="297" y="132"/>
                </a:cxn>
                <a:cxn ang="0">
                  <a:pos x="342" y="99"/>
                </a:cxn>
                <a:cxn ang="0">
                  <a:pos x="359" y="59"/>
                </a:cxn>
                <a:cxn ang="0">
                  <a:pos x="404" y="9"/>
                </a:cxn>
                <a:cxn ang="0">
                  <a:pos x="526" y="35"/>
                </a:cxn>
                <a:cxn ang="0">
                  <a:pos x="564" y="57"/>
                </a:cxn>
                <a:cxn ang="0">
                  <a:pos x="588" y="90"/>
                </a:cxn>
                <a:cxn ang="0">
                  <a:pos x="628" y="111"/>
                </a:cxn>
                <a:cxn ang="0">
                  <a:pos x="663" y="111"/>
                </a:cxn>
                <a:cxn ang="0">
                  <a:pos x="670" y="170"/>
                </a:cxn>
                <a:cxn ang="0">
                  <a:pos x="663" y="198"/>
                </a:cxn>
                <a:cxn ang="0">
                  <a:pos x="663" y="231"/>
                </a:cxn>
                <a:cxn ang="0">
                  <a:pos x="663" y="279"/>
                </a:cxn>
                <a:cxn ang="0">
                  <a:pos x="675" y="321"/>
                </a:cxn>
                <a:cxn ang="0">
                  <a:pos x="675" y="366"/>
                </a:cxn>
                <a:cxn ang="0">
                  <a:pos x="807" y="399"/>
                </a:cxn>
                <a:cxn ang="0">
                  <a:pos x="829" y="409"/>
                </a:cxn>
                <a:cxn ang="0">
                  <a:pos x="864" y="413"/>
                </a:cxn>
                <a:cxn ang="0">
                  <a:pos x="874" y="446"/>
                </a:cxn>
                <a:cxn ang="0">
                  <a:pos x="850" y="475"/>
                </a:cxn>
                <a:cxn ang="0">
                  <a:pos x="850" y="501"/>
                </a:cxn>
                <a:cxn ang="0">
                  <a:pos x="867" y="517"/>
                </a:cxn>
                <a:cxn ang="0">
                  <a:pos x="876" y="555"/>
                </a:cxn>
                <a:cxn ang="0">
                  <a:pos x="871" y="593"/>
                </a:cxn>
                <a:cxn ang="0">
                  <a:pos x="843" y="657"/>
                </a:cxn>
                <a:cxn ang="0">
                  <a:pos x="822" y="690"/>
                </a:cxn>
                <a:cxn ang="0">
                  <a:pos x="810" y="723"/>
                </a:cxn>
                <a:cxn ang="0">
                  <a:pos x="777" y="742"/>
                </a:cxn>
                <a:cxn ang="0">
                  <a:pos x="746" y="730"/>
                </a:cxn>
                <a:cxn ang="0">
                  <a:pos x="725" y="723"/>
                </a:cxn>
                <a:cxn ang="0">
                  <a:pos x="701" y="723"/>
                </a:cxn>
                <a:cxn ang="0">
                  <a:pos x="659" y="725"/>
                </a:cxn>
                <a:cxn ang="0">
                  <a:pos x="630" y="730"/>
                </a:cxn>
                <a:cxn ang="0">
                  <a:pos x="609" y="706"/>
                </a:cxn>
                <a:cxn ang="0">
                  <a:pos x="588" y="678"/>
                </a:cxn>
                <a:cxn ang="0">
                  <a:pos x="559" y="675"/>
                </a:cxn>
                <a:cxn ang="0">
                  <a:pos x="529" y="661"/>
                </a:cxn>
                <a:cxn ang="0">
                  <a:pos x="503" y="652"/>
                </a:cxn>
                <a:cxn ang="0">
                  <a:pos x="472" y="621"/>
                </a:cxn>
                <a:cxn ang="0">
                  <a:pos x="451" y="616"/>
                </a:cxn>
                <a:cxn ang="0">
                  <a:pos x="396" y="588"/>
                </a:cxn>
                <a:cxn ang="0">
                  <a:pos x="349" y="593"/>
                </a:cxn>
                <a:cxn ang="0">
                  <a:pos x="321" y="595"/>
                </a:cxn>
                <a:cxn ang="0">
                  <a:pos x="264" y="548"/>
                </a:cxn>
                <a:cxn ang="0">
                  <a:pos x="243" y="529"/>
                </a:cxn>
                <a:cxn ang="0">
                  <a:pos x="212" y="491"/>
                </a:cxn>
                <a:cxn ang="0">
                  <a:pos x="191" y="442"/>
                </a:cxn>
                <a:cxn ang="0">
                  <a:pos x="193" y="380"/>
                </a:cxn>
                <a:cxn ang="0">
                  <a:pos x="179" y="326"/>
                </a:cxn>
                <a:cxn ang="0">
                  <a:pos x="186" y="238"/>
                </a:cxn>
                <a:cxn ang="0">
                  <a:pos x="153" y="243"/>
                </a:cxn>
                <a:cxn ang="0">
                  <a:pos x="134" y="238"/>
                </a:cxn>
                <a:cxn ang="0">
                  <a:pos x="118" y="234"/>
                </a:cxn>
                <a:cxn ang="0">
                  <a:pos x="89" y="241"/>
                </a:cxn>
                <a:cxn ang="0">
                  <a:pos x="66" y="246"/>
                </a:cxn>
                <a:cxn ang="0">
                  <a:pos x="40" y="253"/>
                </a:cxn>
              </a:cxnLst>
              <a:rect l="0" t="0" r="r" b="b"/>
              <a:pathLst>
                <a:path w="893" h="751">
                  <a:moveTo>
                    <a:pt x="0" y="243"/>
                  </a:moveTo>
                  <a:lnTo>
                    <a:pt x="4" y="238"/>
                  </a:lnTo>
                  <a:lnTo>
                    <a:pt x="4" y="236"/>
                  </a:lnTo>
                  <a:lnTo>
                    <a:pt x="2" y="236"/>
                  </a:lnTo>
                  <a:lnTo>
                    <a:pt x="4" y="234"/>
                  </a:lnTo>
                  <a:lnTo>
                    <a:pt x="4" y="236"/>
                  </a:lnTo>
                  <a:lnTo>
                    <a:pt x="7" y="236"/>
                  </a:lnTo>
                  <a:lnTo>
                    <a:pt x="11" y="236"/>
                  </a:lnTo>
                  <a:lnTo>
                    <a:pt x="14" y="234"/>
                  </a:lnTo>
                  <a:lnTo>
                    <a:pt x="16" y="231"/>
                  </a:lnTo>
                  <a:lnTo>
                    <a:pt x="16" y="229"/>
                  </a:lnTo>
                  <a:lnTo>
                    <a:pt x="23" y="224"/>
                  </a:lnTo>
                  <a:lnTo>
                    <a:pt x="26" y="224"/>
                  </a:lnTo>
                  <a:lnTo>
                    <a:pt x="28" y="224"/>
                  </a:lnTo>
                  <a:lnTo>
                    <a:pt x="28" y="224"/>
                  </a:lnTo>
                  <a:lnTo>
                    <a:pt x="33" y="222"/>
                  </a:lnTo>
                  <a:lnTo>
                    <a:pt x="35" y="220"/>
                  </a:lnTo>
                  <a:lnTo>
                    <a:pt x="40" y="220"/>
                  </a:lnTo>
                  <a:lnTo>
                    <a:pt x="40" y="217"/>
                  </a:lnTo>
                  <a:lnTo>
                    <a:pt x="40" y="217"/>
                  </a:lnTo>
                  <a:lnTo>
                    <a:pt x="40" y="215"/>
                  </a:lnTo>
                  <a:lnTo>
                    <a:pt x="44" y="212"/>
                  </a:lnTo>
                  <a:lnTo>
                    <a:pt x="47" y="208"/>
                  </a:lnTo>
                  <a:lnTo>
                    <a:pt x="49" y="205"/>
                  </a:lnTo>
                  <a:lnTo>
                    <a:pt x="54" y="201"/>
                  </a:lnTo>
                  <a:lnTo>
                    <a:pt x="54" y="196"/>
                  </a:lnTo>
                  <a:lnTo>
                    <a:pt x="52" y="194"/>
                  </a:lnTo>
                  <a:lnTo>
                    <a:pt x="49" y="191"/>
                  </a:lnTo>
                  <a:lnTo>
                    <a:pt x="49" y="191"/>
                  </a:lnTo>
                  <a:lnTo>
                    <a:pt x="49" y="189"/>
                  </a:lnTo>
                  <a:lnTo>
                    <a:pt x="54" y="191"/>
                  </a:lnTo>
                  <a:lnTo>
                    <a:pt x="56" y="191"/>
                  </a:lnTo>
                  <a:lnTo>
                    <a:pt x="56" y="191"/>
                  </a:lnTo>
                  <a:lnTo>
                    <a:pt x="59" y="191"/>
                  </a:lnTo>
                  <a:lnTo>
                    <a:pt x="61" y="191"/>
                  </a:lnTo>
                  <a:lnTo>
                    <a:pt x="63" y="191"/>
                  </a:lnTo>
                  <a:lnTo>
                    <a:pt x="63" y="194"/>
                  </a:lnTo>
                  <a:lnTo>
                    <a:pt x="63" y="194"/>
                  </a:lnTo>
                  <a:lnTo>
                    <a:pt x="66" y="194"/>
                  </a:lnTo>
                  <a:lnTo>
                    <a:pt x="66" y="191"/>
                  </a:lnTo>
                  <a:lnTo>
                    <a:pt x="66" y="189"/>
                  </a:lnTo>
                  <a:lnTo>
                    <a:pt x="68" y="189"/>
                  </a:lnTo>
                  <a:lnTo>
                    <a:pt x="68" y="189"/>
                  </a:lnTo>
                  <a:lnTo>
                    <a:pt x="73" y="191"/>
                  </a:lnTo>
                  <a:lnTo>
                    <a:pt x="73" y="191"/>
                  </a:lnTo>
                  <a:lnTo>
                    <a:pt x="75" y="191"/>
                  </a:lnTo>
                  <a:lnTo>
                    <a:pt x="75" y="191"/>
                  </a:lnTo>
                  <a:lnTo>
                    <a:pt x="80" y="194"/>
                  </a:lnTo>
                  <a:lnTo>
                    <a:pt x="82" y="191"/>
                  </a:lnTo>
                  <a:lnTo>
                    <a:pt x="82" y="191"/>
                  </a:lnTo>
                  <a:lnTo>
                    <a:pt x="85" y="189"/>
                  </a:lnTo>
                  <a:lnTo>
                    <a:pt x="87" y="189"/>
                  </a:lnTo>
                  <a:lnTo>
                    <a:pt x="87" y="189"/>
                  </a:lnTo>
                  <a:lnTo>
                    <a:pt x="89" y="191"/>
                  </a:lnTo>
                  <a:lnTo>
                    <a:pt x="94" y="191"/>
                  </a:lnTo>
                  <a:lnTo>
                    <a:pt x="96" y="189"/>
                  </a:lnTo>
                  <a:lnTo>
                    <a:pt x="96" y="189"/>
                  </a:lnTo>
                  <a:lnTo>
                    <a:pt x="99" y="189"/>
                  </a:lnTo>
                  <a:lnTo>
                    <a:pt x="101" y="189"/>
                  </a:lnTo>
                  <a:lnTo>
                    <a:pt x="104" y="189"/>
                  </a:lnTo>
                  <a:lnTo>
                    <a:pt x="106" y="189"/>
                  </a:lnTo>
                  <a:lnTo>
                    <a:pt x="106" y="191"/>
                  </a:lnTo>
                  <a:lnTo>
                    <a:pt x="108" y="191"/>
                  </a:lnTo>
                  <a:lnTo>
                    <a:pt x="108" y="194"/>
                  </a:lnTo>
                  <a:lnTo>
                    <a:pt x="111" y="196"/>
                  </a:lnTo>
                  <a:lnTo>
                    <a:pt x="113" y="198"/>
                  </a:lnTo>
                  <a:lnTo>
                    <a:pt x="113" y="198"/>
                  </a:lnTo>
                  <a:lnTo>
                    <a:pt x="115" y="201"/>
                  </a:lnTo>
                  <a:lnTo>
                    <a:pt x="118" y="201"/>
                  </a:lnTo>
                  <a:lnTo>
                    <a:pt x="120" y="203"/>
                  </a:lnTo>
                  <a:lnTo>
                    <a:pt x="120" y="203"/>
                  </a:lnTo>
                  <a:lnTo>
                    <a:pt x="122" y="203"/>
                  </a:lnTo>
                  <a:lnTo>
                    <a:pt x="122" y="205"/>
                  </a:lnTo>
                  <a:lnTo>
                    <a:pt x="122" y="205"/>
                  </a:lnTo>
                  <a:lnTo>
                    <a:pt x="125" y="205"/>
                  </a:lnTo>
                  <a:lnTo>
                    <a:pt x="125" y="210"/>
                  </a:lnTo>
                  <a:lnTo>
                    <a:pt x="127" y="210"/>
                  </a:lnTo>
                  <a:lnTo>
                    <a:pt x="127" y="210"/>
                  </a:lnTo>
                  <a:lnTo>
                    <a:pt x="127" y="212"/>
                  </a:lnTo>
                  <a:lnTo>
                    <a:pt x="130" y="212"/>
                  </a:lnTo>
                  <a:lnTo>
                    <a:pt x="130" y="210"/>
                  </a:lnTo>
                  <a:lnTo>
                    <a:pt x="132" y="210"/>
                  </a:lnTo>
                  <a:lnTo>
                    <a:pt x="132" y="210"/>
                  </a:lnTo>
                  <a:lnTo>
                    <a:pt x="134" y="208"/>
                  </a:lnTo>
                  <a:lnTo>
                    <a:pt x="134" y="208"/>
                  </a:lnTo>
                  <a:lnTo>
                    <a:pt x="137" y="210"/>
                  </a:lnTo>
                  <a:lnTo>
                    <a:pt x="137" y="210"/>
                  </a:lnTo>
                  <a:lnTo>
                    <a:pt x="141" y="203"/>
                  </a:lnTo>
                  <a:lnTo>
                    <a:pt x="141" y="201"/>
                  </a:lnTo>
                  <a:lnTo>
                    <a:pt x="144" y="196"/>
                  </a:lnTo>
                  <a:lnTo>
                    <a:pt x="144" y="196"/>
                  </a:lnTo>
                  <a:lnTo>
                    <a:pt x="146" y="196"/>
                  </a:lnTo>
                  <a:lnTo>
                    <a:pt x="146" y="196"/>
                  </a:lnTo>
                  <a:lnTo>
                    <a:pt x="148" y="194"/>
                  </a:lnTo>
                  <a:lnTo>
                    <a:pt x="148" y="191"/>
                  </a:lnTo>
                  <a:lnTo>
                    <a:pt x="151" y="191"/>
                  </a:lnTo>
                  <a:lnTo>
                    <a:pt x="153" y="191"/>
                  </a:lnTo>
                  <a:lnTo>
                    <a:pt x="155" y="191"/>
                  </a:lnTo>
                  <a:lnTo>
                    <a:pt x="158" y="191"/>
                  </a:lnTo>
                  <a:lnTo>
                    <a:pt x="158" y="191"/>
                  </a:lnTo>
                  <a:lnTo>
                    <a:pt x="163" y="196"/>
                  </a:lnTo>
                  <a:lnTo>
                    <a:pt x="165" y="196"/>
                  </a:lnTo>
                  <a:lnTo>
                    <a:pt x="165" y="196"/>
                  </a:lnTo>
                  <a:lnTo>
                    <a:pt x="165" y="196"/>
                  </a:lnTo>
                  <a:lnTo>
                    <a:pt x="165" y="198"/>
                  </a:lnTo>
                  <a:lnTo>
                    <a:pt x="167" y="198"/>
                  </a:lnTo>
                  <a:lnTo>
                    <a:pt x="170" y="198"/>
                  </a:lnTo>
                  <a:lnTo>
                    <a:pt x="170" y="196"/>
                  </a:lnTo>
                  <a:lnTo>
                    <a:pt x="172" y="198"/>
                  </a:lnTo>
                  <a:lnTo>
                    <a:pt x="174" y="196"/>
                  </a:lnTo>
                  <a:lnTo>
                    <a:pt x="174" y="198"/>
                  </a:lnTo>
                  <a:lnTo>
                    <a:pt x="174" y="196"/>
                  </a:lnTo>
                  <a:lnTo>
                    <a:pt x="172" y="191"/>
                  </a:lnTo>
                  <a:lnTo>
                    <a:pt x="172" y="189"/>
                  </a:lnTo>
                  <a:lnTo>
                    <a:pt x="172" y="189"/>
                  </a:lnTo>
                  <a:lnTo>
                    <a:pt x="172" y="184"/>
                  </a:lnTo>
                  <a:lnTo>
                    <a:pt x="172" y="182"/>
                  </a:lnTo>
                  <a:lnTo>
                    <a:pt x="172" y="179"/>
                  </a:lnTo>
                  <a:lnTo>
                    <a:pt x="172" y="179"/>
                  </a:lnTo>
                  <a:lnTo>
                    <a:pt x="172" y="177"/>
                  </a:lnTo>
                  <a:lnTo>
                    <a:pt x="174" y="177"/>
                  </a:lnTo>
                  <a:lnTo>
                    <a:pt x="177" y="179"/>
                  </a:lnTo>
                  <a:lnTo>
                    <a:pt x="179" y="179"/>
                  </a:lnTo>
                  <a:lnTo>
                    <a:pt x="179" y="179"/>
                  </a:lnTo>
                  <a:lnTo>
                    <a:pt x="181" y="179"/>
                  </a:lnTo>
                  <a:lnTo>
                    <a:pt x="181" y="179"/>
                  </a:lnTo>
                  <a:lnTo>
                    <a:pt x="184" y="179"/>
                  </a:lnTo>
                  <a:lnTo>
                    <a:pt x="186" y="177"/>
                  </a:lnTo>
                  <a:lnTo>
                    <a:pt x="191" y="172"/>
                  </a:lnTo>
                  <a:lnTo>
                    <a:pt x="193" y="172"/>
                  </a:lnTo>
                  <a:lnTo>
                    <a:pt x="198" y="170"/>
                  </a:lnTo>
                  <a:lnTo>
                    <a:pt x="198" y="170"/>
                  </a:lnTo>
                  <a:lnTo>
                    <a:pt x="203" y="172"/>
                  </a:lnTo>
                  <a:lnTo>
                    <a:pt x="203" y="172"/>
                  </a:lnTo>
                  <a:lnTo>
                    <a:pt x="203" y="175"/>
                  </a:lnTo>
                  <a:lnTo>
                    <a:pt x="203" y="175"/>
                  </a:lnTo>
                  <a:lnTo>
                    <a:pt x="203" y="177"/>
                  </a:lnTo>
                  <a:lnTo>
                    <a:pt x="205" y="182"/>
                  </a:lnTo>
                  <a:lnTo>
                    <a:pt x="205" y="184"/>
                  </a:lnTo>
                  <a:lnTo>
                    <a:pt x="205" y="184"/>
                  </a:lnTo>
                  <a:lnTo>
                    <a:pt x="207" y="187"/>
                  </a:lnTo>
                  <a:lnTo>
                    <a:pt x="207" y="189"/>
                  </a:lnTo>
                  <a:lnTo>
                    <a:pt x="205" y="191"/>
                  </a:lnTo>
                  <a:lnTo>
                    <a:pt x="205" y="191"/>
                  </a:lnTo>
                  <a:lnTo>
                    <a:pt x="205" y="191"/>
                  </a:lnTo>
                  <a:lnTo>
                    <a:pt x="207" y="191"/>
                  </a:lnTo>
                  <a:lnTo>
                    <a:pt x="210" y="194"/>
                  </a:lnTo>
                  <a:lnTo>
                    <a:pt x="212" y="196"/>
                  </a:lnTo>
                  <a:lnTo>
                    <a:pt x="215" y="191"/>
                  </a:lnTo>
                  <a:lnTo>
                    <a:pt x="217" y="191"/>
                  </a:lnTo>
                  <a:lnTo>
                    <a:pt x="219" y="191"/>
                  </a:lnTo>
                  <a:lnTo>
                    <a:pt x="217" y="189"/>
                  </a:lnTo>
                  <a:lnTo>
                    <a:pt x="219" y="189"/>
                  </a:lnTo>
                  <a:lnTo>
                    <a:pt x="219" y="189"/>
                  </a:lnTo>
                  <a:lnTo>
                    <a:pt x="222" y="189"/>
                  </a:lnTo>
                  <a:lnTo>
                    <a:pt x="224" y="189"/>
                  </a:lnTo>
                  <a:lnTo>
                    <a:pt x="224" y="187"/>
                  </a:lnTo>
                  <a:lnTo>
                    <a:pt x="224" y="184"/>
                  </a:lnTo>
                  <a:lnTo>
                    <a:pt x="224" y="182"/>
                  </a:lnTo>
                  <a:lnTo>
                    <a:pt x="224" y="182"/>
                  </a:lnTo>
                  <a:lnTo>
                    <a:pt x="226" y="182"/>
                  </a:lnTo>
                  <a:lnTo>
                    <a:pt x="226" y="182"/>
                  </a:lnTo>
                  <a:lnTo>
                    <a:pt x="229" y="182"/>
                  </a:lnTo>
                  <a:lnTo>
                    <a:pt x="229" y="179"/>
                  </a:lnTo>
                  <a:lnTo>
                    <a:pt x="229" y="177"/>
                  </a:lnTo>
                  <a:lnTo>
                    <a:pt x="229" y="175"/>
                  </a:lnTo>
                  <a:lnTo>
                    <a:pt x="231" y="175"/>
                  </a:lnTo>
                  <a:lnTo>
                    <a:pt x="233" y="175"/>
                  </a:lnTo>
                  <a:lnTo>
                    <a:pt x="236" y="172"/>
                  </a:lnTo>
                  <a:lnTo>
                    <a:pt x="236" y="172"/>
                  </a:lnTo>
                  <a:lnTo>
                    <a:pt x="238" y="170"/>
                  </a:lnTo>
                  <a:lnTo>
                    <a:pt x="238" y="170"/>
                  </a:lnTo>
                  <a:lnTo>
                    <a:pt x="238" y="168"/>
                  </a:lnTo>
                  <a:lnTo>
                    <a:pt x="238" y="165"/>
                  </a:lnTo>
                  <a:lnTo>
                    <a:pt x="241" y="165"/>
                  </a:lnTo>
                  <a:lnTo>
                    <a:pt x="238" y="163"/>
                  </a:lnTo>
                  <a:lnTo>
                    <a:pt x="238" y="163"/>
                  </a:lnTo>
                  <a:lnTo>
                    <a:pt x="238" y="161"/>
                  </a:lnTo>
                  <a:lnTo>
                    <a:pt x="238" y="161"/>
                  </a:lnTo>
                  <a:lnTo>
                    <a:pt x="238" y="156"/>
                  </a:lnTo>
                  <a:lnTo>
                    <a:pt x="238" y="156"/>
                  </a:lnTo>
                  <a:lnTo>
                    <a:pt x="238" y="153"/>
                  </a:lnTo>
                  <a:lnTo>
                    <a:pt x="238" y="153"/>
                  </a:lnTo>
                  <a:lnTo>
                    <a:pt x="238" y="151"/>
                  </a:lnTo>
                  <a:lnTo>
                    <a:pt x="241" y="146"/>
                  </a:lnTo>
                  <a:lnTo>
                    <a:pt x="241" y="142"/>
                  </a:lnTo>
                  <a:lnTo>
                    <a:pt x="241" y="142"/>
                  </a:lnTo>
                  <a:lnTo>
                    <a:pt x="241" y="142"/>
                  </a:lnTo>
                  <a:lnTo>
                    <a:pt x="243" y="142"/>
                  </a:lnTo>
                  <a:lnTo>
                    <a:pt x="243" y="139"/>
                  </a:lnTo>
                  <a:lnTo>
                    <a:pt x="245" y="137"/>
                  </a:lnTo>
                  <a:lnTo>
                    <a:pt x="250" y="135"/>
                  </a:lnTo>
                  <a:lnTo>
                    <a:pt x="252" y="135"/>
                  </a:lnTo>
                  <a:lnTo>
                    <a:pt x="255" y="135"/>
                  </a:lnTo>
                  <a:lnTo>
                    <a:pt x="257" y="135"/>
                  </a:lnTo>
                  <a:lnTo>
                    <a:pt x="257" y="135"/>
                  </a:lnTo>
                  <a:lnTo>
                    <a:pt x="259" y="139"/>
                  </a:lnTo>
                  <a:lnTo>
                    <a:pt x="259" y="139"/>
                  </a:lnTo>
                  <a:lnTo>
                    <a:pt x="262" y="137"/>
                  </a:lnTo>
                  <a:lnTo>
                    <a:pt x="267" y="135"/>
                  </a:lnTo>
                  <a:lnTo>
                    <a:pt x="267" y="135"/>
                  </a:lnTo>
                  <a:lnTo>
                    <a:pt x="269" y="135"/>
                  </a:lnTo>
                  <a:lnTo>
                    <a:pt x="269" y="135"/>
                  </a:lnTo>
                  <a:lnTo>
                    <a:pt x="271" y="137"/>
                  </a:lnTo>
                  <a:lnTo>
                    <a:pt x="274" y="137"/>
                  </a:lnTo>
                  <a:lnTo>
                    <a:pt x="276" y="137"/>
                  </a:lnTo>
                  <a:lnTo>
                    <a:pt x="278" y="137"/>
                  </a:lnTo>
                  <a:lnTo>
                    <a:pt x="281" y="137"/>
                  </a:lnTo>
                  <a:lnTo>
                    <a:pt x="281" y="137"/>
                  </a:lnTo>
                  <a:lnTo>
                    <a:pt x="283" y="137"/>
                  </a:lnTo>
                  <a:lnTo>
                    <a:pt x="283" y="135"/>
                  </a:lnTo>
                  <a:lnTo>
                    <a:pt x="283" y="135"/>
                  </a:lnTo>
                  <a:lnTo>
                    <a:pt x="285" y="135"/>
                  </a:lnTo>
                  <a:lnTo>
                    <a:pt x="285" y="132"/>
                  </a:lnTo>
                  <a:lnTo>
                    <a:pt x="288" y="132"/>
                  </a:lnTo>
                  <a:lnTo>
                    <a:pt x="293" y="135"/>
                  </a:lnTo>
                  <a:lnTo>
                    <a:pt x="297" y="132"/>
                  </a:lnTo>
                  <a:lnTo>
                    <a:pt x="297" y="132"/>
                  </a:lnTo>
                  <a:lnTo>
                    <a:pt x="300" y="132"/>
                  </a:lnTo>
                  <a:lnTo>
                    <a:pt x="302" y="132"/>
                  </a:lnTo>
                  <a:lnTo>
                    <a:pt x="304" y="132"/>
                  </a:lnTo>
                  <a:lnTo>
                    <a:pt x="307" y="130"/>
                  </a:lnTo>
                  <a:lnTo>
                    <a:pt x="314" y="127"/>
                  </a:lnTo>
                  <a:lnTo>
                    <a:pt x="316" y="127"/>
                  </a:lnTo>
                  <a:lnTo>
                    <a:pt x="316" y="127"/>
                  </a:lnTo>
                  <a:lnTo>
                    <a:pt x="316" y="130"/>
                  </a:lnTo>
                  <a:lnTo>
                    <a:pt x="314" y="135"/>
                  </a:lnTo>
                  <a:lnTo>
                    <a:pt x="314" y="135"/>
                  </a:lnTo>
                  <a:lnTo>
                    <a:pt x="316" y="135"/>
                  </a:lnTo>
                  <a:lnTo>
                    <a:pt x="318" y="135"/>
                  </a:lnTo>
                  <a:lnTo>
                    <a:pt x="323" y="135"/>
                  </a:lnTo>
                  <a:lnTo>
                    <a:pt x="326" y="135"/>
                  </a:lnTo>
                  <a:lnTo>
                    <a:pt x="333" y="132"/>
                  </a:lnTo>
                  <a:lnTo>
                    <a:pt x="337" y="132"/>
                  </a:lnTo>
                  <a:lnTo>
                    <a:pt x="337" y="130"/>
                  </a:lnTo>
                  <a:lnTo>
                    <a:pt x="337" y="127"/>
                  </a:lnTo>
                  <a:lnTo>
                    <a:pt x="337" y="123"/>
                  </a:lnTo>
                  <a:lnTo>
                    <a:pt x="337" y="118"/>
                  </a:lnTo>
                  <a:lnTo>
                    <a:pt x="335" y="116"/>
                  </a:lnTo>
                  <a:lnTo>
                    <a:pt x="335" y="116"/>
                  </a:lnTo>
                  <a:lnTo>
                    <a:pt x="335" y="116"/>
                  </a:lnTo>
                  <a:lnTo>
                    <a:pt x="340" y="113"/>
                  </a:lnTo>
                  <a:lnTo>
                    <a:pt x="340" y="111"/>
                  </a:lnTo>
                  <a:lnTo>
                    <a:pt x="337" y="106"/>
                  </a:lnTo>
                  <a:lnTo>
                    <a:pt x="337" y="104"/>
                  </a:lnTo>
                  <a:lnTo>
                    <a:pt x="340" y="99"/>
                  </a:lnTo>
                  <a:lnTo>
                    <a:pt x="340" y="99"/>
                  </a:lnTo>
                  <a:lnTo>
                    <a:pt x="342" y="99"/>
                  </a:lnTo>
                  <a:lnTo>
                    <a:pt x="344" y="99"/>
                  </a:lnTo>
                  <a:lnTo>
                    <a:pt x="347" y="99"/>
                  </a:lnTo>
                  <a:lnTo>
                    <a:pt x="347" y="99"/>
                  </a:lnTo>
                  <a:lnTo>
                    <a:pt x="352" y="99"/>
                  </a:lnTo>
                  <a:lnTo>
                    <a:pt x="352" y="97"/>
                  </a:lnTo>
                  <a:lnTo>
                    <a:pt x="354" y="92"/>
                  </a:lnTo>
                  <a:lnTo>
                    <a:pt x="354" y="92"/>
                  </a:lnTo>
                  <a:lnTo>
                    <a:pt x="354" y="90"/>
                  </a:lnTo>
                  <a:lnTo>
                    <a:pt x="356" y="90"/>
                  </a:lnTo>
                  <a:lnTo>
                    <a:pt x="356" y="87"/>
                  </a:lnTo>
                  <a:lnTo>
                    <a:pt x="356" y="87"/>
                  </a:lnTo>
                  <a:lnTo>
                    <a:pt x="359" y="83"/>
                  </a:lnTo>
                  <a:lnTo>
                    <a:pt x="359" y="80"/>
                  </a:lnTo>
                  <a:lnTo>
                    <a:pt x="359" y="80"/>
                  </a:lnTo>
                  <a:lnTo>
                    <a:pt x="361" y="83"/>
                  </a:lnTo>
                  <a:lnTo>
                    <a:pt x="361" y="83"/>
                  </a:lnTo>
                  <a:lnTo>
                    <a:pt x="361" y="85"/>
                  </a:lnTo>
                  <a:lnTo>
                    <a:pt x="363" y="85"/>
                  </a:lnTo>
                  <a:lnTo>
                    <a:pt x="366" y="80"/>
                  </a:lnTo>
                  <a:lnTo>
                    <a:pt x="366" y="78"/>
                  </a:lnTo>
                  <a:lnTo>
                    <a:pt x="366" y="78"/>
                  </a:lnTo>
                  <a:lnTo>
                    <a:pt x="363" y="78"/>
                  </a:lnTo>
                  <a:lnTo>
                    <a:pt x="363" y="73"/>
                  </a:lnTo>
                  <a:lnTo>
                    <a:pt x="361" y="71"/>
                  </a:lnTo>
                  <a:lnTo>
                    <a:pt x="359" y="68"/>
                  </a:lnTo>
                  <a:lnTo>
                    <a:pt x="359" y="68"/>
                  </a:lnTo>
                  <a:lnTo>
                    <a:pt x="363" y="64"/>
                  </a:lnTo>
                  <a:lnTo>
                    <a:pt x="363" y="64"/>
                  </a:lnTo>
                  <a:lnTo>
                    <a:pt x="361" y="61"/>
                  </a:lnTo>
                  <a:lnTo>
                    <a:pt x="359" y="61"/>
                  </a:lnTo>
                  <a:lnTo>
                    <a:pt x="359" y="59"/>
                  </a:lnTo>
                  <a:lnTo>
                    <a:pt x="363" y="57"/>
                  </a:lnTo>
                  <a:lnTo>
                    <a:pt x="363" y="50"/>
                  </a:lnTo>
                  <a:lnTo>
                    <a:pt x="366" y="47"/>
                  </a:lnTo>
                  <a:lnTo>
                    <a:pt x="368" y="50"/>
                  </a:lnTo>
                  <a:lnTo>
                    <a:pt x="368" y="47"/>
                  </a:lnTo>
                  <a:lnTo>
                    <a:pt x="370" y="45"/>
                  </a:lnTo>
                  <a:lnTo>
                    <a:pt x="370" y="42"/>
                  </a:lnTo>
                  <a:lnTo>
                    <a:pt x="373" y="42"/>
                  </a:lnTo>
                  <a:lnTo>
                    <a:pt x="373" y="42"/>
                  </a:lnTo>
                  <a:lnTo>
                    <a:pt x="375" y="45"/>
                  </a:lnTo>
                  <a:lnTo>
                    <a:pt x="378" y="45"/>
                  </a:lnTo>
                  <a:lnTo>
                    <a:pt x="382" y="50"/>
                  </a:lnTo>
                  <a:lnTo>
                    <a:pt x="385" y="50"/>
                  </a:lnTo>
                  <a:lnTo>
                    <a:pt x="385" y="47"/>
                  </a:lnTo>
                  <a:lnTo>
                    <a:pt x="387" y="45"/>
                  </a:lnTo>
                  <a:lnTo>
                    <a:pt x="387" y="42"/>
                  </a:lnTo>
                  <a:lnTo>
                    <a:pt x="387" y="40"/>
                  </a:lnTo>
                  <a:lnTo>
                    <a:pt x="392" y="38"/>
                  </a:lnTo>
                  <a:lnTo>
                    <a:pt x="387" y="33"/>
                  </a:lnTo>
                  <a:lnTo>
                    <a:pt x="387" y="31"/>
                  </a:lnTo>
                  <a:lnTo>
                    <a:pt x="389" y="28"/>
                  </a:lnTo>
                  <a:lnTo>
                    <a:pt x="394" y="26"/>
                  </a:lnTo>
                  <a:lnTo>
                    <a:pt x="396" y="21"/>
                  </a:lnTo>
                  <a:lnTo>
                    <a:pt x="399" y="21"/>
                  </a:lnTo>
                  <a:lnTo>
                    <a:pt x="399" y="19"/>
                  </a:lnTo>
                  <a:lnTo>
                    <a:pt x="399" y="16"/>
                  </a:lnTo>
                  <a:lnTo>
                    <a:pt x="399" y="16"/>
                  </a:lnTo>
                  <a:lnTo>
                    <a:pt x="401" y="14"/>
                  </a:lnTo>
                  <a:lnTo>
                    <a:pt x="401" y="12"/>
                  </a:lnTo>
                  <a:lnTo>
                    <a:pt x="404" y="9"/>
                  </a:lnTo>
                  <a:lnTo>
                    <a:pt x="404" y="9"/>
                  </a:lnTo>
                  <a:lnTo>
                    <a:pt x="404" y="7"/>
                  </a:lnTo>
                  <a:lnTo>
                    <a:pt x="404" y="0"/>
                  </a:lnTo>
                  <a:lnTo>
                    <a:pt x="415" y="2"/>
                  </a:lnTo>
                  <a:lnTo>
                    <a:pt x="420" y="2"/>
                  </a:lnTo>
                  <a:lnTo>
                    <a:pt x="441" y="2"/>
                  </a:lnTo>
                  <a:lnTo>
                    <a:pt x="500" y="2"/>
                  </a:lnTo>
                  <a:lnTo>
                    <a:pt x="500" y="5"/>
                  </a:lnTo>
                  <a:lnTo>
                    <a:pt x="503" y="5"/>
                  </a:lnTo>
                  <a:lnTo>
                    <a:pt x="503" y="5"/>
                  </a:lnTo>
                  <a:lnTo>
                    <a:pt x="505" y="5"/>
                  </a:lnTo>
                  <a:lnTo>
                    <a:pt x="505" y="7"/>
                  </a:lnTo>
                  <a:lnTo>
                    <a:pt x="507" y="9"/>
                  </a:lnTo>
                  <a:lnTo>
                    <a:pt x="510" y="9"/>
                  </a:lnTo>
                  <a:lnTo>
                    <a:pt x="515" y="12"/>
                  </a:lnTo>
                  <a:lnTo>
                    <a:pt x="517" y="14"/>
                  </a:lnTo>
                  <a:lnTo>
                    <a:pt x="519" y="16"/>
                  </a:lnTo>
                  <a:lnTo>
                    <a:pt x="522" y="16"/>
                  </a:lnTo>
                  <a:lnTo>
                    <a:pt x="522" y="19"/>
                  </a:lnTo>
                  <a:lnTo>
                    <a:pt x="524" y="21"/>
                  </a:lnTo>
                  <a:lnTo>
                    <a:pt x="524" y="21"/>
                  </a:lnTo>
                  <a:lnTo>
                    <a:pt x="524" y="24"/>
                  </a:lnTo>
                  <a:lnTo>
                    <a:pt x="524" y="24"/>
                  </a:lnTo>
                  <a:lnTo>
                    <a:pt x="524" y="26"/>
                  </a:lnTo>
                  <a:lnTo>
                    <a:pt x="524" y="26"/>
                  </a:lnTo>
                  <a:lnTo>
                    <a:pt x="524" y="28"/>
                  </a:lnTo>
                  <a:lnTo>
                    <a:pt x="524" y="28"/>
                  </a:lnTo>
                  <a:lnTo>
                    <a:pt x="524" y="31"/>
                  </a:lnTo>
                  <a:lnTo>
                    <a:pt x="526" y="31"/>
                  </a:lnTo>
                  <a:lnTo>
                    <a:pt x="526" y="35"/>
                  </a:lnTo>
                  <a:lnTo>
                    <a:pt x="526" y="35"/>
                  </a:lnTo>
                  <a:lnTo>
                    <a:pt x="526" y="35"/>
                  </a:lnTo>
                  <a:lnTo>
                    <a:pt x="533" y="40"/>
                  </a:lnTo>
                  <a:lnTo>
                    <a:pt x="533" y="40"/>
                  </a:lnTo>
                  <a:lnTo>
                    <a:pt x="533" y="42"/>
                  </a:lnTo>
                  <a:lnTo>
                    <a:pt x="536" y="40"/>
                  </a:lnTo>
                  <a:lnTo>
                    <a:pt x="536" y="42"/>
                  </a:lnTo>
                  <a:lnTo>
                    <a:pt x="536" y="42"/>
                  </a:lnTo>
                  <a:lnTo>
                    <a:pt x="538" y="42"/>
                  </a:lnTo>
                  <a:lnTo>
                    <a:pt x="538" y="42"/>
                  </a:lnTo>
                  <a:lnTo>
                    <a:pt x="541" y="45"/>
                  </a:lnTo>
                  <a:lnTo>
                    <a:pt x="538" y="47"/>
                  </a:lnTo>
                  <a:lnTo>
                    <a:pt x="541" y="47"/>
                  </a:lnTo>
                  <a:lnTo>
                    <a:pt x="541" y="50"/>
                  </a:lnTo>
                  <a:lnTo>
                    <a:pt x="541" y="50"/>
                  </a:lnTo>
                  <a:lnTo>
                    <a:pt x="541" y="52"/>
                  </a:lnTo>
                  <a:lnTo>
                    <a:pt x="541" y="52"/>
                  </a:lnTo>
                  <a:lnTo>
                    <a:pt x="543" y="54"/>
                  </a:lnTo>
                  <a:lnTo>
                    <a:pt x="543" y="54"/>
                  </a:lnTo>
                  <a:lnTo>
                    <a:pt x="543" y="54"/>
                  </a:lnTo>
                  <a:lnTo>
                    <a:pt x="543" y="54"/>
                  </a:lnTo>
                  <a:lnTo>
                    <a:pt x="545" y="52"/>
                  </a:lnTo>
                  <a:lnTo>
                    <a:pt x="548" y="52"/>
                  </a:lnTo>
                  <a:lnTo>
                    <a:pt x="550" y="50"/>
                  </a:lnTo>
                  <a:lnTo>
                    <a:pt x="550" y="50"/>
                  </a:lnTo>
                  <a:lnTo>
                    <a:pt x="550" y="50"/>
                  </a:lnTo>
                  <a:lnTo>
                    <a:pt x="552" y="52"/>
                  </a:lnTo>
                  <a:lnTo>
                    <a:pt x="552" y="52"/>
                  </a:lnTo>
                  <a:lnTo>
                    <a:pt x="555" y="54"/>
                  </a:lnTo>
                  <a:lnTo>
                    <a:pt x="559" y="54"/>
                  </a:lnTo>
                  <a:lnTo>
                    <a:pt x="559" y="54"/>
                  </a:lnTo>
                  <a:lnTo>
                    <a:pt x="562" y="54"/>
                  </a:lnTo>
                  <a:lnTo>
                    <a:pt x="564" y="57"/>
                  </a:lnTo>
                  <a:lnTo>
                    <a:pt x="564" y="57"/>
                  </a:lnTo>
                  <a:lnTo>
                    <a:pt x="564" y="59"/>
                  </a:lnTo>
                  <a:lnTo>
                    <a:pt x="564" y="61"/>
                  </a:lnTo>
                  <a:lnTo>
                    <a:pt x="562" y="64"/>
                  </a:lnTo>
                  <a:lnTo>
                    <a:pt x="564" y="68"/>
                  </a:lnTo>
                  <a:lnTo>
                    <a:pt x="564" y="71"/>
                  </a:lnTo>
                  <a:lnTo>
                    <a:pt x="564" y="71"/>
                  </a:lnTo>
                  <a:lnTo>
                    <a:pt x="564" y="73"/>
                  </a:lnTo>
                  <a:lnTo>
                    <a:pt x="567" y="73"/>
                  </a:lnTo>
                  <a:lnTo>
                    <a:pt x="569" y="73"/>
                  </a:lnTo>
                  <a:lnTo>
                    <a:pt x="567" y="78"/>
                  </a:lnTo>
                  <a:lnTo>
                    <a:pt x="569" y="78"/>
                  </a:lnTo>
                  <a:lnTo>
                    <a:pt x="569" y="80"/>
                  </a:lnTo>
                  <a:lnTo>
                    <a:pt x="567" y="83"/>
                  </a:lnTo>
                  <a:lnTo>
                    <a:pt x="567" y="83"/>
                  </a:lnTo>
                  <a:lnTo>
                    <a:pt x="567" y="85"/>
                  </a:lnTo>
                  <a:lnTo>
                    <a:pt x="574" y="90"/>
                  </a:lnTo>
                  <a:lnTo>
                    <a:pt x="574" y="90"/>
                  </a:lnTo>
                  <a:lnTo>
                    <a:pt x="574" y="87"/>
                  </a:lnTo>
                  <a:lnTo>
                    <a:pt x="571" y="85"/>
                  </a:lnTo>
                  <a:lnTo>
                    <a:pt x="571" y="83"/>
                  </a:lnTo>
                  <a:lnTo>
                    <a:pt x="574" y="83"/>
                  </a:lnTo>
                  <a:lnTo>
                    <a:pt x="574" y="80"/>
                  </a:lnTo>
                  <a:lnTo>
                    <a:pt x="576" y="80"/>
                  </a:lnTo>
                  <a:lnTo>
                    <a:pt x="578" y="80"/>
                  </a:lnTo>
                  <a:lnTo>
                    <a:pt x="581" y="83"/>
                  </a:lnTo>
                  <a:lnTo>
                    <a:pt x="583" y="83"/>
                  </a:lnTo>
                  <a:lnTo>
                    <a:pt x="585" y="83"/>
                  </a:lnTo>
                  <a:lnTo>
                    <a:pt x="588" y="85"/>
                  </a:lnTo>
                  <a:lnTo>
                    <a:pt x="588" y="87"/>
                  </a:lnTo>
                  <a:lnTo>
                    <a:pt x="588" y="90"/>
                  </a:lnTo>
                  <a:lnTo>
                    <a:pt x="585" y="90"/>
                  </a:lnTo>
                  <a:lnTo>
                    <a:pt x="583" y="90"/>
                  </a:lnTo>
                  <a:lnTo>
                    <a:pt x="588" y="92"/>
                  </a:lnTo>
                  <a:lnTo>
                    <a:pt x="588" y="94"/>
                  </a:lnTo>
                  <a:lnTo>
                    <a:pt x="588" y="97"/>
                  </a:lnTo>
                  <a:lnTo>
                    <a:pt x="588" y="97"/>
                  </a:lnTo>
                  <a:lnTo>
                    <a:pt x="590" y="99"/>
                  </a:lnTo>
                  <a:lnTo>
                    <a:pt x="590" y="99"/>
                  </a:lnTo>
                  <a:lnTo>
                    <a:pt x="590" y="101"/>
                  </a:lnTo>
                  <a:lnTo>
                    <a:pt x="590" y="101"/>
                  </a:lnTo>
                  <a:lnTo>
                    <a:pt x="593" y="111"/>
                  </a:lnTo>
                  <a:lnTo>
                    <a:pt x="597" y="111"/>
                  </a:lnTo>
                  <a:lnTo>
                    <a:pt x="600" y="109"/>
                  </a:lnTo>
                  <a:lnTo>
                    <a:pt x="604" y="109"/>
                  </a:lnTo>
                  <a:lnTo>
                    <a:pt x="607" y="109"/>
                  </a:lnTo>
                  <a:lnTo>
                    <a:pt x="607" y="113"/>
                  </a:lnTo>
                  <a:lnTo>
                    <a:pt x="609" y="113"/>
                  </a:lnTo>
                  <a:lnTo>
                    <a:pt x="611" y="116"/>
                  </a:lnTo>
                  <a:lnTo>
                    <a:pt x="611" y="118"/>
                  </a:lnTo>
                  <a:lnTo>
                    <a:pt x="611" y="120"/>
                  </a:lnTo>
                  <a:lnTo>
                    <a:pt x="614" y="118"/>
                  </a:lnTo>
                  <a:lnTo>
                    <a:pt x="618" y="120"/>
                  </a:lnTo>
                  <a:lnTo>
                    <a:pt x="618" y="120"/>
                  </a:lnTo>
                  <a:lnTo>
                    <a:pt x="623" y="120"/>
                  </a:lnTo>
                  <a:lnTo>
                    <a:pt x="623" y="118"/>
                  </a:lnTo>
                  <a:lnTo>
                    <a:pt x="626" y="118"/>
                  </a:lnTo>
                  <a:lnTo>
                    <a:pt x="628" y="116"/>
                  </a:lnTo>
                  <a:lnTo>
                    <a:pt x="628" y="113"/>
                  </a:lnTo>
                  <a:lnTo>
                    <a:pt x="628" y="113"/>
                  </a:lnTo>
                  <a:lnTo>
                    <a:pt x="628" y="113"/>
                  </a:lnTo>
                  <a:lnTo>
                    <a:pt x="628" y="111"/>
                  </a:lnTo>
                  <a:lnTo>
                    <a:pt x="628" y="109"/>
                  </a:lnTo>
                  <a:lnTo>
                    <a:pt x="630" y="106"/>
                  </a:lnTo>
                  <a:lnTo>
                    <a:pt x="630" y="104"/>
                  </a:lnTo>
                  <a:lnTo>
                    <a:pt x="630" y="101"/>
                  </a:lnTo>
                  <a:lnTo>
                    <a:pt x="633" y="101"/>
                  </a:lnTo>
                  <a:lnTo>
                    <a:pt x="635" y="104"/>
                  </a:lnTo>
                  <a:lnTo>
                    <a:pt x="637" y="104"/>
                  </a:lnTo>
                  <a:lnTo>
                    <a:pt x="637" y="104"/>
                  </a:lnTo>
                  <a:lnTo>
                    <a:pt x="640" y="101"/>
                  </a:lnTo>
                  <a:lnTo>
                    <a:pt x="640" y="101"/>
                  </a:lnTo>
                  <a:lnTo>
                    <a:pt x="642" y="99"/>
                  </a:lnTo>
                  <a:lnTo>
                    <a:pt x="642" y="99"/>
                  </a:lnTo>
                  <a:lnTo>
                    <a:pt x="642" y="99"/>
                  </a:lnTo>
                  <a:lnTo>
                    <a:pt x="642" y="97"/>
                  </a:lnTo>
                  <a:lnTo>
                    <a:pt x="642" y="97"/>
                  </a:lnTo>
                  <a:lnTo>
                    <a:pt x="644" y="97"/>
                  </a:lnTo>
                  <a:lnTo>
                    <a:pt x="647" y="94"/>
                  </a:lnTo>
                  <a:lnTo>
                    <a:pt x="647" y="97"/>
                  </a:lnTo>
                  <a:lnTo>
                    <a:pt x="647" y="99"/>
                  </a:lnTo>
                  <a:lnTo>
                    <a:pt x="652" y="97"/>
                  </a:lnTo>
                  <a:lnTo>
                    <a:pt x="654" y="99"/>
                  </a:lnTo>
                  <a:lnTo>
                    <a:pt x="654" y="99"/>
                  </a:lnTo>
                  <a:lnTo>
                    <a:pt x="656" y="99"/>
                  </a:lnTo>
                  <a:lnTo>
                    <a:pt x="656" y="101"/>
                  </a:lnTo>
                  <a:lnTo>
                    <a:pt x="656" y="104"/>
                  </a:lnTo>
                  <a:lnTo>
                    <a:pt x="656" y="104"/>
                  </a:lnTo>
                  <a:lnTo>
                    <a:pt x="661" y="109"/>
                  </a:lnTo>
                  <a:lnTo>
                    <a:pt x="661" y="109"/>
                  </a:lnTo>
                  <a:lnTo>
                    <a:pt x="663" y="109"/>
                  </a:lnTo>
                  <a:lnTo>
                    <a:pt x="663" y="111"/>
                  </a:lnTo>
                  <a:lnTo>
                    <a:pt x="663" y="111"/>
                  </a:lnTo>
                  <a:lnTo>
                    <a:pt x="668" y="113"/>
                  </a:lnTo>
                  <a:lnTo>
                    <a:pt x="668" y="113"/>
                  </a:lnTo>
                  <a:lnTo>
                    <a:pt x="670" y="113"/>
                  </a:lnTo>
                  <a:lnTo>
                    <a:pt x="670" y="113"/>
                  </a:lnTo>
                  <a:lnTo>
                    <a:pt x="670" y="113"/>
                  </a:lnTo>
                  <a:lnTo>
                    <a:pt x="670" y="116"/>
                  </a:lnTo>
                  <a:lnTo>
                    <a:pt x="673" y="118"/>
                  </a:lnTo>
                  <a:lnTo>
                    <a:pt x="675" y="120"/>
                  </a:lnTo>
                  <a:lnTo>
                    <a:pt x="675" y="123"/>
                  </a:lnTo>
                  <a:lnTo>
                    <a:pt x="678" y="125"/>
                  </a:lnTo>
                  <a:lnTo>
                    <a:pt x="675" y="127"/>
                  </a:lnTo>
                  <a:lnTo>
                    <a:pt x="673" y="130"/>
                  </a:lnTo>
                  <a:lnTo>
                    <a:pt x="670" y="137"/>
                  </a:lnTo>
                  <a:lnTo>
                    <a:pt x="670" y="139"/>
                  </a:lnTo>
                  <a:lnTo>
                    <a:pt x="670" y="142"/>
                  </a:lnTo>
                  <a:lnTo>
                    <a:pt x="668" y="144"/>
                  </a:lnTo>
                  <a:lnTo>
                    <a:pt x="668" y="144"/>
                  </a:lnTo>
                  <a:lnTo>
                    <a:pt x="666" y="144"/>
                  </a:lnTo>
                  <a:lnTo>
                    <a:pt x="666" y="146"/>
                  </a:lnTo>
                  <a:lnTo>
                    <a:pt x="666" y="149"/>
                  </a:lnTo>
                  <a:lnTo>
                    <a:pt x="666" y="151"/>
                  </a:lnTo>
                  <a:lnTo>
                    <a:pt x="666" y="153"/>
                  </a:lnTo>
                  <a:lnTo>
                    <a:pt x="668" y="156"/>
                  </a:lnTo>
                  <a:lnTo>
                    <a:pt x="668" y="156"/>
                  </a:lnTo>
                  <a:lnTo>
                    <a:pt x="670" y="158"/>
                  </a:lnTo>
                  <a:lnTo>
                    <a:pt x="670" y="161"/>
                  </a:lnTo>
                  <a:lnTo>
                    <a:pt x="670" y="161"/>
                  </a:lnTo>
                  <a:lnTo>
                    <a:pt x="670" y="163"/>
                  </a:lnTo>
                  <a:lnTo>
                    <a:pt x="670" y="165"/>
                  </a:lnTo>
                  <a:lnTo>
                    <a:pt x="670" y="168"/>
                  </a:lnTo>
                  <a:lnTo>
                    <a:pt x="670" y="170"/>
                  </a:lnTo>
                  <a:lnTo>
                    <a:pt x="668" y="168"/>
                  </a:lnTo>
                  <a:lnTo>
                    <a:pt x="666" y="168"/>
                  </a:lnTo>
                  <a:lnTo>
                    <a:pt x="663" y="168"/>
                  </a:lnTo>
                  <a:lnTo>
                    <a:pt x="661" y="168"/>
                  </a:lnTo>
                  <a:lnTo>
                    <a:pt x="661" y="170"/>
                  </a:lnTo>
                  <a:lnTo>
                    <a:pt x="656" y="170"/>
                  </a:lnTo>
                  <a:lnTo>
                    <a:pt x="656" y="170"/>
                  </a:lnTo>
                  <a:lnTo>
                    <a:pt x="656" y="172"/>
                  </a:lnTo>
                  <a:lnTo>
                    <a:pt x="656" y="172"/>
                  </a:lnTo>
                  <a:lnTo>
                    <a:pt x="659" y="172"/>
                  </a:lnTo>
                  <a:lnTo>
                    <a:pt x="659" y="172"/>
                  </a:lnTo>
                  <a:lnTo>
                    <a:pt x="659" y="175"/>
                  </a:lnTo>
                  <a:lnTo>
                    <a:pt x="659" y="177"/>
                  </a:lnTo>
                  <a:lnTo>
                    <a:pt x="659" y="179"/>
                  </a:lnTo>
                  <a:lnTo>
                    <a:pt x="656" y="179"/>
                  </a:lnTo>
                  <a:lnTo>
                    <a:pt x="656" y="182"/>
                  </a:lnTo>
                  <a:lnTo>
                    <a:pt x="656" y="184"/>
                  </a:lnTo>
                  <a:lnTo>
                    <a:pt x="659" y="182"/>
                  </a:lnTo>
                  <a:lnTo>
                    <a:pt x="659" y="184"/>
                  </a:lnTo>
                  <a:lnTo>
                    <a:pt x="661" y="184"/>
                  </a:lnTo>
                  <a:lnTo>
                    <a:pt x="663" y="184"/>
                  </a:lnTo>
                  <a:lnTo>
                    <a:pt x="666" y="187"/>
                  </a:lnTo>
                  <a:lnTo>
                    <a:pt x="666" y="187"/>
                  </a:lnTo>
                  <a:lnTo>
                    <a:pt x="666" y="189"/>
                  </a:lnTo>
                  <a:lnTo>
                    <a:pt x="666" y="191"/>
                  </a:lnTo>
                  <a:lnTo>
                    <a:pt x="666" y="191"/>
                  </a:lnTo>
                  <a:lnTo>
                    <a:pt x="666" y="194"/>
                  </a:lnTo>
                  <a:lnTo>
                    <a:pt x="666" y="194"/>
                  </a:lnTo>
                  <a:lnTo>
                    <a:pt x="663" y="196"/>
                  </a:lnTo>
                  <a:lnTo>
                    <a:pt x="663" y="196"/>
                  </a:lnTo>
                  <a:lnTo>
                    <a:pt x="663" y="198"/>
                  </a:lnTo>
                  <a:lnTo>
                    <a:pt x="663" y="198"/>
                  </a:lnTo>
                  <a:lnTo>
                    <a:pt x="666" y="198"/>
                  </a:lnTo>
                  <a:lnTo>
                    <a:pt x="670" y="201"/>
                  </a:lnTo>
                  <a:lnTo>
                    <a:pt x="666" y="203"/>
                  </a:lnTo>
                  <a:lnTo>
                    <a:pt x="666" y="203"/>
                  </a:lnTo>
                  <a:lnTo>
                    <a:pt x="670" y="205"/>
                  </a:lnTo>
                  <a:lnTo>
                    <a:pt x="670" y="205"/>
                  </a:lnTo>
                  <a:lnTo>
                    <a:pt x="670" y="208"/>
                  </a:lnTo>
                  <a:lnTo>
                    <a:pt x="673" y="208"/>
                  </a:lnTo>
                  <a:lnTo>
                    <a:pt x="673" y="210"/>
                  </a:lnTo>
                  <a:lnTo>
                    <a:pt x="673" y="210"/>
                  </a:lnTo>
                  <a:lnTo>
                    <a:pt x="673" y="210"/>
                  </a:lnTo>
                  <a:lnTo>
                    <a:pt x="673" y="210"/>
                  </a:lnTo>
                  <a:lnTo>
                    <a:pt x="673" y="212"/>
                  </a:lnTo>
                  <a:lnTo>
                    <a:pt x="673" y="217"/>
                  </a:lnTo>
                  <a:lnTo>
                    <a:pt x="673" y="217"/>
                  </a:lnTo>
                  <a:lnTo>
                    <a:pt x="675" y="217"/>
                  </a:lnTo>
                  <a:lnTo>
                    <a:pt x="675" y="217"/>
                  </a:lnTo>
                  <a:lnTo>
                    <a:pt x="675" y="217"/>
                  </a:lnTo>
                  <a:lnTo>
                    <a:pt x="675" y="217"/>
                  </a:lnTo>
                  <a:lnTo>
                    <a:pt x="675" y="220"/>
                  </a:lnTo>
                  <a:lnTo>
                    <a:pt x="673" y="222"/>
                  </a:lnTo>
                  <a:lnTo>
                    <a:pt x="673" y="222"/>
                  </a:lnTo>
                  <a:lnTo>
                    <a:pt x="673" y="224"/>
                  </a:lnTo>
                  <a:lnTo>
                    <a:pt x="673" y="227"/>
                  </a:lnTo>
                  <a:lnTo>
                    <a:pt x="670" y="227"/>
                  </a:lnTo>
                  <a:lnTo>
                    <a:pt x="670" y="229"/>
                  </a:lnTo>
                  <a:lnTo>
                    <a:pt x="668" y="229"/>
                  </a:lnTo>
                  <a:lnTo>
                    <a:pt x="666" y="229"/>
                  </a:lnTo>
                  <a:lnTo>
                    <a:pt x="663" y="229"/>
                  </a:lnTo>
                  <a:lnTo>
                    <a:pt x="663" y="231"/>
                  </a:lnTo>
                  <a:lnTo>
                    <a:pt x="666" y="231"/>
                  </a:lnTo>
                  <a:lnTo>
                    <a:pt x="670" y="234"/>
                  </a:lnTo>
                  <a:lnTo>
                    <a:pt x="670" y="236"/>
                  </a:lnTo>
                  <a:lnTo>
                    <a:pt x="666" y="238"/>
                  </a:lnTo>
                  <a:lnTo>
                    <a:pt x="668" y="238"/>
                  </a:lnTo>
                  <a:lnTo>
                    <a:pt x="670" y="241"/>
                  </a:lnTo>
                  <a:lnTo>
                    <a:pt x="670" y="241"/>
                  </a:lnTo>
                  <a:lnTo>
                    <a:pt x="670" y="243"/>
                  </a:lnTo>
                  <a:lnTo>
                    <a:pt x="670" y="243"/>
                  </a:lnTo>
                  <a:lnTo>
                    <a:pt x="670" y="246"/>
                  </a:lnTo>
                  <a:lnTo>
                    <a:pt x="673" y="248"/>
                  </a:lnTo>
                  <a:lnTo>
                    <a:pt x="673" y="250"/>
                  </a:lnTo>
                  <a:lnTo>
                    <a:pt x="673" y="253"/>
                  </a:lnTo>
                  <a:lnTo>
                    <a:pt x="670" y="255"/>
                  </a:lnTo>
                  <a:lnTo>
                    <a:pt x="670" y="257"/>
                  </a:lnTo>
                  <a:lnTo>
                    <a:pt x="670" y="257"/>
                  </a:lnTo>
                  <a:lnTo>
                    <a:pt x="670" y="260"/>
                  </a:lnTo>
                  <a:lnTo>
                    <a:pt x="670" y="260"/>
                  </a:lnTo>
                  <a:lnTo>
                    <a:pt x="670" y="260"/>
                  </a:lnTo>
                  <a:lnTo>
                    <a:pt x="668" y="262"/>
                  </a:lnTo>
                  <a:lnTo>
                    <a:pt x="670" y="262"/>
                  </a:lnTo>
                  <a:lnTo>
                    <a:pt x="670" y="264"/>
                  </a:lnTo>
                  <a:lnTo>
                    <a:pt x="668" y="267"/>
                  </a:lnTo>
                  <a:lnTo>
                    <a:pt x="668" y="267"/>
                  </a:lnTo>
                  <a:lnTo>
                    <a:pt x="666" y="272"/>
                  </a:lnTo>
                  <a:lnTo>
                    <a:pt x="663" y="274"/>
                  </a:lnTo>
                  <a:lnTo>
                    <a:pt x="663" y="274"/>
                  </a:lnTo>
                  <a:lnTo>
                    <a:pt x="663" y="274"/>
                  </a:lnTo>
                  <a:lnTo>
                    <a:pt x="663" y="279"/>
                  </a:lnTo>
                  <a:lnTo>
                    <a:pt x="663" y="279"/>
                  </a:lnTo>
                  <a:lnTo>
                    <a:pt x="663" y="279"/>
                  </a:lnTo>
                  <a:lnTo>
                    <a:pt x="661" y="281"/>
                  </a:lnTo>
                  <a:lnTo>
                    <a:pt x="661" y="283"/>
                  </a:lnTo>
                  <a:lnTo>
                    <a:pt x="661" y="288"/>
                  </a:lnTo>
                  <a:lnTo>
                    <a:pt x="661" y="288"/>
                  </a:lnTo>
                  <a:lnTo>
                    <a:pt x="663" y="288"/>
                  </a:lnTo>
                  <a:lnTo>
                    <a:pt x="663" y="288"/>
                  </a:lnTo>
                  <a:lnTo>
                    <a:pt x="666" y="290"/>
                  </a:lnTo>
                  <a:lnTo>
                    <a:pt x="666" y="290"/>
                  </a:lnTo>
                  <a:lnTo>
                    <a:pt x="666" y="293"/>
                  </a:lnTo>
                  <a:lnTo>
                    <a:pt x="666" y="293"/>
                  </a:lnTo>
                  <a:lnTo>
                    <a:pt x="663" y="293"/>
                  </a:lnTo>
                  <a:lnTo>
                    <a:pt x="663" y="295"/>
                  </a:lnTo>
                  <a:lnTo>
                    <a:pt x="663" y="298"/>
                  </a:lnTo>
                  <a:lnTo>
                    <a:pt x="663" y="300"/>
                  </a:lnTo>
                  <a:lnTo>
                    <a:pt x="663" y="300"/>
                  </a:lnTo>
                  <a:lnTo>
                    <a:pt x="666" y="302"/>
                  </a:lnTo>
                  <a:lnTo>
                    <a:pt x="668" y="307"/>
                  </a:lnTo>
                  <a:lnTo>
                    <a:pt x="666" y="307"/>
                  </a:lnTo>
                  <a:lnTo>
                    <a:pt x="666" y="309"/>
                  </a:lnTo>
                  <a:lnTo>
                    <a:pt x="668" y="309"/>
                  </a:lnTo>
                  <a:lnTo>
                    <a:pt x="668" y="309"/>
                  </a:lnTo>
                  <a:lnTo>
                    <a:pt x="670" y="309"/>
                  </a:lnTo>
                  <a:lnTo>
                    <a:pt x="670" y="309"/>
                  </a:lnTo>
                  <a:lnTo>
                    <a:pt x="673" y="312"/>
                  </a:lnTo>
                  <a:lnTo>
                    <a:pt x="673" y="312"/>
                  </a:lnTo>
                  <a:lnTo>
                    <a:pt x="673" y="316"/>
                  </a:lnTo>
                  <a:lnTo>
                    <a:pt x="673" y="319"/>
                  </a:lnTo>
                  <a:lnTo>
                    <a:pt x="675" y="319"/>
                  </a:lnTo>
                  <a:lnTo>
                    <a:pt x="675" y="319"/>
                  </a:lnTo>
                  <a:lnTo>
                    <a:pt x="678" y="319"/>
                  </a:lnTo>
                  <a:lnTo>
                    <a:pt x="675" y="321"/>
                  </a:lnTo>
                  <a:lnTo>
                    <a:pt x="675" y="321"/>
                  </a:lnTo>
                  <a:lnTo>
                    <a:pt x="678" y="321"/>
                  </a:lnTo>
                  <a:lnTo>
                    <a:pt x="678" y="321"/>
                  </a:lnTo>
                  <a:lnTo>
                    <a:pt x="678" y="326"/>
                  </a:lnTo>
                  <a:lnTo>
                    <a:pt x="675" y="326"/>
                  </a:lnTo>
                  <a:lnTo>
                    <a:pt x="678" y="328"/>
                  </a:lnTo>
                  <a:lnTo>
                    <a:pt x="675" y="331"/>
                  </a:lnTo>
                  <a:lnTo>
                    <a:pt x="675" y="335"/>
                  </a:lnTo>
                  <a:lnTo>
                    <a:pt x="678" y="338"/>
                  </a:lnTo>
                  <a:lnTo>
                    <a:pt x="678" y="340"/>
                  </a:lnTo>
                  <a:lnTo>
                    <a:pt x="675" y="340"/>
                  </a:lnTo>
                  <a:lnTo>
                    <a:pt x="675" y="345"/>
                  </a:lnTo>
                  <a:lnTo>
                    <a:pt x="675" y="345"/>
                  </a:lnTo>
                  <a:lnTo>
                    <a:pt x="675" y="347"/>
                  </a:lnTo>
                  <a:lnTo>
                    <a:pt x="675" y="349"/>
                  </a:lnTo>
                  <a:lnTo>
                    <a:pt x="675" y="349"/>
                  </a:lnTo>
                  <a:lnTo>
                    <a:pt x="675" y="349"/>
                  </a:lnTo>
                  <a:lnTo>
                    <a:pt x="675" y="352"/>
                  </a:lnTo>
                  <a:lnTo>
                    <a:pt x="675" y="354"/>
                  </a:lnTo>
                  <a:lnTo>
                    <a:pt x="675" y="354"/>
                  </a:lnTo>
                  <a:lnTo>
                    <a:pt x="675" y="354"/>
                  </a:lnTo>
                  <a:lnTo>
                    <a:pt x="673" y="357"/>
                  </a:lnTo>
                  <a:lnTo>
                    <a:pt x="673" y="359"/>
                  </a:lnTo>
                  <a:lnTo>
                    <a:pt x="675" y="361"/>
                  </a:lnTo>
                  <a:lnTo>
                    <a:pt x="675" y="361"/>
                  </a:lnTo>
                  <a:lnTo>
                    <a:pt x="675" y="361"/>
                  </a:lnTo>
                  <a:lnTo>
                    <a:pt x="675" y="361"/>
                  </a:lnTo>
                  <a:lnTo>
                    <a:pt x="675" y="364"/>
                  </a:lnTo>
                  <a:lnTo>
                    <a:pt x="675" y="364"/>
                  </a:lnTo>
                  <a:lnTo>
                    <a:pt x="675" y="366"/>
                  </a:lnTo>
                  <a:lnTo>
                    <a:pt x="675" y="366"/>
                  </a:lnTo>
                  <a:lnTo>
                    <a:pt x="675" y="371"/>
                  </a:lnTo>
                  <a:lnTo>
                    <a:pt x="675" y="371"/>
                  </a:lnTo>
                  <a:lnTo>
                    <a:pt x="675" y="371"/>
                  </a:lnTo>
                  <a:lnTo>
                    <a:pt x="675" y="371"/>
                  </a:lnTo>
                  <a:lnTo>
                    <a:pt x="673" y="371"/>
                  </a:lnTo>
                  <a:lnTo>
                    <a:pt x="673" y="368"/>
                  </a:lnTo>
                  <a:lnTo>
                    <a:pt x="673" y="371"/>
                  </a:lnTo>
                  <a:lnTo>
                    <a:pt x="673" y="371"/>
                  </a:lnTo>
                  <a:lnTo>
                    <a:pt x="673" y="373"/>
                  </a:lnTo>
                  <a:lnTo>
                    <a:pt x="673" y="373"/>
                  </a:lnTo>
                  <a:lnTo>
                    <a:pt x="673" y="375"/>
                  </a:lnTo>
                  <a:lnTo>
                    <a:pt x="670" y="378"/>
                  </a:lnTo>
                  <a:lnTo>
                    <a:pt x="670" y="380"/>
                  </a:lnTo>
                  <a:lnTo>
                    <a:pt x="670" y="383"/>
                  </a:lnTo>
                  <a:lnTo>
                    <a:pt x="670" y="383"/>
                  </a:lnTo>
                  <a:lnTo>
                    <a:pt x="670" y="383"/>
                  </a:lnTo>
                  <a:lnTo>
                    <a:pt x="670" y="385"/>
                  </a:lnTo>
                  <a:lnTo>
                    <a:pt x="670" y="385"/>
                  </a:lnTo>
                  <a:lnTo>
                    <a:pt x="670" y="387"/>
                  </a:lnTo>
                  <a:lnTo>
                    <a:pt x="670" y="390"/>
                  </a:lnTo>
                  <a:lnTo>
                    <a:pt x="670" y="392"/>
                  </a:lnTo>
                  <a:lnTo>
                    <a:pt x="670" y="392"/>
                  </a:lnTo>
                  <a:lnTo>
                    <a:pt x="670" y="394"/>
                  </a:lnTo>
                  <a:lnTo>
                    <a:pt x="668" y="394"/>
                  </a:lnTo>
                  <a:lnTo>
                    <a:pt x="666" y="394"/>
                  </a:lnTo>
                  <a:lnTo>
                    <a:pt x="666" y="394"/>
                  </a:lnTo>
                  <a:lnTo>
                    <a:pt x="682" y="397"/>
                  </a:lnTo>
                  <a:lnTo>
                    <a:pt x="737" y="397"/>
                  </a:lnTo>
                  <a:lnTo>
                    <a:pt x="805" y="397"/>
                  </a:lnTo>
                  <a:lnTo>
                    <a:pt x="807" y="397"/>
                  </a:lnTo>
                  <a:lnTo>
                    <a:pt x="807" y="399"/>
                  </a:lnTo>
                  <a:lnTo>
                    <a:pt x="807" y="399"/>
                  </a:lnTo>
                  <a:lnTo>
                    <a:pt x="807" y="399"/>
                  </a:lnTo>
                  <a:lnTo>
                    <a:pt x="807" y="404"/>
                  </a:lnTo>
                  <a:lnTo>
                    <a:pt x="807" y="404"/>
                  </a:lnTo>
                  <a:lnTo>
                    <a:pt x="810" y="401"/>
                  </a:lnTo>
                  <a:lnTo>
                    <a:pt x="810" y="404"/>
                  </a:lnTo>
                  <a:lnTo>
                    <a:pt x="812" y="404"/>
                  </a:lnTo>
                  <a:lnTo>
                    <a:pt x="810" y="406"/>
                  </a:lnTo>
                  <a:lnTo>
                    <a:pt x="812" y="406"/>
                  </a:lnTo>
                  <a:lnTo>
                    <a:pt x="812" y="406"/>
                  </a:lnTo>
                  <a:lnTo>
                    <a:pt x="812" y="409"/>
                  </a:lnTo>
                  <a:lnTo>
                    <a:pt x="812" y="409"/>
                  </a:lnTo>
                  <a:lnTo>
                    <a:pt x="812" y="409"/>
                  </a:lnTo>
                  <a:lnTo>
                    <a:pt x="815" y="411"/>
                  </a:lnTo>
                  <a:lnTo>
                    <a:pt x="815" y="411"/>
                  </a:lnTo>
                  <a:lnTo>
                    <a:pt x="817" y="411"/>
                  </a:lnTo>
                  <a:lnTo>
                    <a:pt x="817" y="411"/>
                  </a:lnTo>
                  <a:lnTo>
                    <a:pt x="819" y="411"/>
                  </a:lnTo>
                  <a:lnTo>
                    <a:pt x="819" y="411"/>
                  </a:lnTo>
                  <a:lnTo>
                    <a:pt x="819" y="411"/>
                  </a:lnTo>
                  <a:lnTo>
                    <a:pt x="819" y="409"/>
                  </a:lnTo>
                  <a:lnTo>
                    <a:pt x="819" y="409"/>
                  </a:lnTo>
                  <a:lnTo>
                    <a:pt x="822" y="409"/>
                  </a:lnTo>
                  <a:lnTo>
                    <a:pt x="824" y="406"/>
                  </a:lnTo>
                  <a:lnTo>
                    <a:pt x="824" y="406"/>
                  </a:lnTo>
                  <a:lnTo>
                    <a:pt x="826" y="404"/>
                  </a:lnTo>
                  <a:lnTo>
                    <a:pt x="826" y="406"/>
                  </a:lnTo>
                  <a:lnTo>
                    <a:pt x="826" y="406"/>
                  </a:lnTo>
                  <a:lnTo>
                    <a:pt x="829" y="406"/>
                  </a:lnTo>
                  <a:lnTo>
                    <a:pt x="829" y="406"/>
                  </a:lnTo>
                  <a:lnTo>
                    <a:pt x="829" y="409"/>
                  </a:lnTo>
                  <a:lnTo>
                    <a:pt x="829" y="409"/>
                  </a:lnTo>
                  <a:lnTo>
                    <a:pt x="829" y="411"/>
                  </a:lnTo>
                  <a:lnTo>
                    <a:pt x="829" y="411"/>
                  </a:lnTo>
                  <a:lnTo>
                    <a:pt x="831" y="411"/>
                  </a:lnTo>
                  <a:lnTo>
                    <a:pt x="833" y="411"/>
                  </a:lnTo>
                  <a:lnTo>
                    <a:pt x="836" y="411"/>
                  </a:lnTo>
                  <a:lnTo>
                    <a:pt x="836" y="411"/>
                  </a:lnTo>
                  <a:lnTo>
                    <a:pt x="838" y="411"/>
                  </a:lnTo>
                  <a:lnTo>
                    <a:pt x="838" y="413"/>
                  </a:lnTo>
                  <a:lnTo>
                    <a:pt x="841" y="411"/>
                  </a:lnTo>
                  <a:lnTo>
                    <a:pt x="841" y="411"/>
                  </a:lnTo>
                  <a:lnTo>
                    <a:pt x="843" y="411"/>
                  </a:lnTo>
                  <a:lnTo>
                    <a:pt x="845" y="411"/>
                  </a:lnTo>
                  <a:lnTo>
                    <a:pt x="845" y="411"/>
                  </a:lnTo>
                  <a:lnTo>
                    <a:pt x="848" y="411"/>
                  </a:lnTo>
                  <a:lnTo>
                    <a:pt x="848" y="411"/>
                  </a:lnTo>
                  <a:lnTo>
                    <a:pt x="850" y="411"/>
                  </a:lnTo>
                  <a:lnTo>
                    <a:pt x="850" y="411"/>
                  </a:lnTo>
                  <a:lnTo>
                    <a:pt x="850" y="411"/>
                  </a:lnTo>
                  <a:lnTo>
                    <a:pt x="852" y="411"/>
                  </a:lnTo>
                  <a:lnTo>
                    <a:pt x="852" y="411"/>
                  </a:lnTo>
                  <a:lnTo>
                    <a:pt x="852" y="411"/>
                  </a:lnTo>
                  <a:lnTo>
                    <a:pt x="855" y="411"/>
                  </a:lnTo>
                  <a:lnTo>
                    <a:pt x="855" y="413"/>
                  </a:lnTo>
                  <a:lnTo>
                    <a:pt x="857" y="413"/>
                  </a:lnTo>
                  <a:lnTo>
                    <a:pt x="859" y="413"/>
                  </a:lnTo>
                  <a:lnTo>
                    <a:pt x="859" y="413"/>
                  </a:lnTo>
                  <a:lnTo>
                    <a:pt x="859" y="413"/>
                  </a:lnTo>
                  <a:lnTo>
                    <a:pt x="862" y="413"/>
                  </a:lnTo>
                  <a:lnTo>
                    <a:pt x="862" y="413"/>
                  </a:lnTo>
                  <a:lnTo>
                    <a:pt x="864" y="413"/>
                  </a:lnTo>
                  <a:lnTo>
                    <a:pt x="864" y="413"/>
                  </a:lnTo>
                  <a:lnTo>
                    <a:pt x="864" y="413"/>
                  </a:lnTo>
                  <a:lnTo>
                    <a:pt x="867" y="413"/>
                  </a:lnTo>
                  <a:lnTo>
                    <a:pt x="867" y="416"/>
                  </a:lnTo>
                  <a:lnTo>
                    <a:pt x="864" y="416"/>
                  </a:lnTo>
                  <a:lnTo>
                    <a:pt x="867" y="418"/>
                  </a:lnTo>
                  <a:lnTo>
                    <a:pt x="864" y="418"/>
                  </a:lnTo>
                  <a:lnTo>
                    <a:pt x="864" y="418"/>
                  </a:lnTo>
                  <a:lnTo>
                    <a:pt x="864" y="418"/>
                  </a:lnTo>
                  <a:lnTo>
                    <a:pt x="864" y="420"/>
                  </a:lnTo>
                  <a:lnTo>
                    <a:pt x="867" y="420"/>
                  </a:lnTo>
                  <a:lnTo>
                    <a:pt x="867" y="420"/>
                  </a:lnTo>
                  <a:lnTo>
                    <a:pt x="867" y="423"/>
                  </a:lnTo>
                  <a:lnTo>
                    <a:pt x="869" y="423"/>
                  </a:lnTo>
                  <a:lnTo>
                    <a:pt x="867" y="423"/>
                  </a:lnTo>
                  <a:lnTo>
                    <a:pt x="867" y="423"/>
                  </a:lnTo>
                  <a:lnTo>
                    <a:pt x="867" y="423"/>
                  </a:lnTo>
                  <a:lnTo>
                    <a:pt x="867" y="425"/>
                  </a:lnTo>
                  <a:lnTo>
                    <a:pt x="867" y="427"/>
                  </a:lnTo>
                  <a:lnTo>
                    <a:pt x="867" y="430"/>
                  </a:lnTo>
                  <a:lnTo>
                    <a:pt x="867" y="432"/>
                  </a:lnTo>
                  <a:lnTo>
                    <a:pt x="869" y="435"/>
                  </a:lnTo>
                  <a:lnTo>
                    <a:pt x="869" y="437"/>
                  </a:lnTo>
                  <a:lnTo>
                    <a:pt x="871" y="437"/>
                  </a:lnTo>
                  <a:lnTo>
                    <a:pt x="874" y="439"/>
                  </a:lnTo>
                  <a:lnTo>
                    <a:pt x="874" y="442"/>
                  </a:lnTo>
                  <a:lnTo>
                    <a:pt x="874" y="444"/>
                  </a:lnTo>
                  <a:lnTo>
                    <a:pt x="874" y="444"/>
                  </a:lnTo>
                  <a:lnTo>
                    <a:pt x="874" y="444"/>
                  </a:lnTo>
                  <a:lnTo>
                    <a:pt x="874" y="444"/>
                  </a:lnTo>
                  <a:lnTo>
                    <a:pt x="874" y="446"/>
                  </a:lnTo>
                  <a:lnTo>
                    <a:pt x="874" y="449"/>
                  </a:lnTo>
                  <a:lnTo>
                    <a:pt x="874" y="449"/>
                  </a:lnTo>
                  <a:lnTo>
                    <a:pt x="874" y="451"/>
                  </a:lnTo>
                  <a:lnTo>
                    <a:pt x="874" y="453"/>
                  </a:lnTo>
                  <a:lnTo>
                    <a:pt x="871" y="453"/>
                  </a:lnTo>
                  <a:lnTo>
                    <a:pt x="871" y="453"/>
                  </a:lnTo>
                  <a:lnTo>
                    <a:pt x="871" y="453"/>
                  </a:lnTo>
                  <a:lnTo>
                    <a:pt x="869" y="456"/>
                  </a:lnTo>
                  <a:lnTo>
                    <a:pt x="867" y="456"/>
                  </a:lnTo>
                  <a:lnTo>
                    <a:pt x="864" y="458"/>
                  </a:lnTo>
                  <a:lnTo>
                    <a:pt x="864" y="461"/>
                  </a:lnTo>
                  <a:lnTo>
                    <a:pt x="862" y="461"/>
                  </a:lnTo>
                  <a:lnTo>
                    <a:pt x="862" y="463"/>
                  </a:lnTo>
                  <a:lnTo>
                    <a:pt x="859" y="463"/>
                  </a:lnTo>
                  <a:lnTo>
                    <a:pt x="859" y="463"/>
                  </a:lnTo>
                  <a:lnTo>
                    <a:pt x="859" y="463"/>
                  </a:lnTo>
                  <a:lnTo>
                    <a:pt x="859" y="463"/>
                  </a:lnTo>
                  <a:lnTo>
                    <a:pt x="857" y="465"/>
                  </a:lnTo>
                  <a:lnTo>
                    <a:pt x="857" y="468"/>
                  </a:lnTo>
                  <a:lnTo>
                    <a:pt x="857" y="468"/>
                  </a:lnTo>
                  <a:lnTo>
                    <a:pt x="855" y="470"/>
                  </a:lnTo>
                  <a:lnTo>
                    <a:pt x="855" y="470"/>
                  </a:lnTo>
                  <a:lnTo>
                    <a:pt x="852" y="470"/>
                  </a:lnTo>
                  <a:lnTo>
                    <a:pt x="852" y="472"/>
                  </a:lnTo>
                  <a:lnTo>
                    <a:pt x="852" y="470"/>
                  </a:lnTo>
                  <a:lnTo>
                    <a:pt x="850" y="472"/>
                  </a:lnTo>
                  <a:lnTo>
                    <a:pt x="852" y="472"/>
                  </a:lnTo>
                  <a:lnTo>
                    <a:pt x="850" y="472"/>
                  </a:lnTo>
                  <a:lnTo>
                    <a:pt x="852" y="472"/>
                  </a:lnTo>
                  <a:lnTo>
                    <a:pt x="850" y="472"/>
                  </a:lnTo>
                  <a:lnTo>
                    <a:pt x="850" y="475"/>
                  </a:lnTo>
                  <a:lnTo>
                    <a:pt x="850" y="475"/>
                  </a:lnTo>
                  <a:lnTo>
                    <a:pt x="850" y="475"/>
                  </a:lnTo>
                  <a:lnTo>
                    <a:pt x="848" y="475"/>
                  </a:lnTo>
                  <a:lnTo>
                    <a:pt x="850" y="475"/>
                  </a:lnTo>
                  <a:lnTo>
                    <a:pt x="848" y="477"/>
                  </a:lnTo>
                  <a:lnTo>
                    <a:pt x="850" y="477"/>
                  </a:lnTo>
                  <a:lnTo>
                    <a:pt x="848" y="479"/>
                  </a:lnTo>
                  <a:lnTo>
                    <a:pt x="850" y="479"/>
                  </a:lnTo>
                  <a:lnTo>
                    <a:pt x="848" y="482"/>
                  </a:lnTo>
                  <a:lnTo>
                    <a:pt x="850" y="482"/>
                  </a:lnTo>
                  <a:lnTo>
                    <a:pt x="848" y="482"/>
                  </a:lnTo>
                  <a:lnTo>
                    <a:pt x="848" y="484"/>
                  </a:lnTo>
                  <a:lnTo>
                    <a:pt x="848" y="484"/>
                  </a:lnTo>
                  <a:lnTo>
                    <a:pt x="848" y="487"/>
                  </a:lnTo>
                  <a:lnTo>
                    <a:pt x="848" y="487"/>
                  </a:lnTo>
                  <a:lnTo>
                    <a:pt x="848" y="487"/>
                  </a:lnTo>
                  <a:lnTo>
                    <a:pt x="848" y="489"/>
                  </a:lnTo>
                  <a:lnTo>
                    <a:pt x="848" y="491"/>
                  </a:lnTo>
                  <a:lnTo>
                    <a:pt x="848" y="491"/>
                  </a:lnTo>
                  <a:lnTo>
                    <a:pt x="850" y="491"/>
                  </a:lnTo>
                  <a:lnTo>
                    <a:pt x="848" y="494"/>
                  </a:lnTo>
                  <a:lnTo>
                    <a:pt x="850" y="496"/>
                  </a:lnTo>
                  <a:lnTo>
                    <a:pt x="850" y="496"/>
                  </a:lnTo>
                  <a:lnTo>
                    <a:pt x="850" y="496"/>
                  </a:lnTo>
                  <a:lnTo>
                    <a:pt x="850" y="498"/>
                  </a:lnTo>
                  <a:lnTo>
                    <a:pt x="850" y="498"/>
                  </a:lnTo>
                  <a:lnTo>
                    <a:pt x="850" y="498"/>
                  </a:lnTo>
                  <a:lnTo>
                    <a:pt x="850" y="501"/>
                  </a:lnTo>
                  <a:lnTo>
                    <a:pt x="850" y="501"/>
                  </a:lnTo>
                  <a:lnTo>
                    <a:pt x="850" y="501"/>
                  </a:lnTo>
                  <a:lnTo>
                    <a:pt x="850" y="501"/>
                  </a:lnTo>
                  <a:lnTo>
                    <a:pt x="850" y="501"/>
                  </a:lnTo>
                  <a:lnTo>
                    <a:pt x="850" y="503"/>
                  </a:lnTo>
                  <a:lnTo>
                    <a:pt x="850" y="503"/>
                  </a:lnTo>
                  <a:lnTo>
                    <a:pt x="850" y="503"/>
                  </a:lnTo>
                  <a:lnTo>
                    <a:pt x="850" y="503"/>
                  </a:lnTo>
                  <a:lnTo>
                    <a:pt x="850" y="505"/>
                  </a:lnTo>
                  <a:lnTo>
                    <a:pt x="850" y="505"/>
                  </a:lnTo>
                  <a:lnTo>
                    <a:pt x="850" y="505"/>
                  </a:lnTo>
                  <a:lnTo>
                    <a:pt x="850" y="508"/>
                  </a:lnTo>
                  <a:lnTo>
                    <a:pt x="850" y="505"/>
                  </a:lnTo>
                  <a:lnTo>
                    <a:pt x="850" y="508"/>
                  </a:lnTo>
                  <a:lnTo>
                    <a:pt x="850" y="508"/>
                  </a:lnTo>
                  <a:lnTo>
                    <a:pt x="850" y="510"/>
                  </a:lnTo>
                  <a:lnTo>
                    <a:pt x="850" y="510"/>
                  </a:lnTo>
                  <a:lnTo>
                    <a:pt x="852" y="510"/>
                  </a:lnTo>
                  <a:lnTo>
                    <a:pt x="852" y="510"/>
                  </a:lnTo>
                  <a:lnTo>
                    <a:pt x="852" y="510"/>
                  </a:lnTo>
                  <a:lnTo>
                    <a:pt x="852" y="510"/>
                  </a:lnTo>
                  <a:lnTo>
                    <a:pt x="855" y="512"/>
                  </a:lnTo>
                  <a:lnTo>
                    <a:pt x="855" y="512"/>
                  </a:lnTo>
                  <a:lnTo>
                    <a:pt x="855" y="512"/>
                  </a:lnTo>
                  <a:lnTo>
                    <a:pt x="855" y="515"/>
                  </a:lnTo>
                  <a:lnTo>
                    <a:pt x="857" y="515"/>
                  </a:lnTo>
                  <a:lnTo>
                    <a:pt x="857" y="515"/>
                  </a:lnTo>
                  <a:lnTo>
                    <a:pt x="859" y="515"/>
                  </a:lnTo>
                  <a:lnTo>
                    <a:pt x="859" y="515"/>
                  </a:lnTo>
                  <a:lnTo>
                    <a:pt x="859" y="515"/>
                  </a:lnTo>
                  <a:lnTo>
                    <a:pt x="862" y="515"/>
                  </a:lnTo>
                  <a:lnTo>
                    <a:pt x="864" y="517"/>
                  </a:lnTo>
                  <a:lnTo>
                    <a:pt x="864" y="517"/>
                  </a:lnTo>
                  <a:lnTo>
                    <a:pt x="867" y="517"/>
                  </a:lnTo>
                  <a:lnTo>
                    <a:pt x="864" y="520"/>
                  </a:lnTo>
                  <a:lnTo>
                    <a:pt x="867" y="522"/>
                  </a:lnTo>
                  <a:lnTo>
                    <a:pt x="867" y="522"/>
                  </a:lnTo>
                  <a:lnTo>
                    <a:pt x="867" y="522"/>
                  </a:lnTo>
                  <a:lnTo>
                    <a:pt x="864" y="522"/>
                  </a:lnTo>
                  <a:lnTo>
                    <a:pt x="867" y="524"/>
                  </a:lnTo>
                  <a:lnTo>
                    <a:pt x="867" y="527"/>
                  </a:lnTo>
                  <a:lnTo>
                    <a:pt x="867" y="527"/>
                  </a:lnTo>
                  <a:lnTo>
                    <a:pt x="867" y="527"/>
                  </a:lnTo>
                  <a:lnTo>
                    <a:pt x="867" y="527"/>
                  </a:lnTo>
                  <a:lnTo>
                    <a:pt x="867" y="527"/>
                  </a:lnTo>
                  <a:lnTo>
                    <a:pt x="867" y="529"/>
                  </a:lnTo>
                  <a:lnTo>
                    <a:pt x="867" y="529"/>
                  </a:lnTo>
                  <a:lnTo>
                    <a:pt x="867" y="531"/>
                  </a:lnTo>
                  <a:lnTo>
                    <a:pt x="867" y="531"/>
                  </a:lnTo>
                  <a:lnTo>
                    <a:pt x="867" y="531"/>
                  </a:lnTo>
                  <a:lnTo>
                    <a:pt x="867" y="534"/>
                  </a:lnTo>
                  <a:lnTo>
                    <a:pt x="869" y="536"/>
                  </a:lnTo>
                  <a:lnTo>
                    <a:pt x="869" y="536"/>
                  </a:lnTo>
                  <a:lnTo>
                    <a:pt x="869" y="536"/>
                  </a:lnTo>
                  <a:lnTo>
                    <a:pt x="869" y="536"/>
                  </a:lnTo>
                  <a:lnTo>
                    <a:pt x="871" y="536"/>
                  </a:lnTo>
                  <a:lnTo>
                    <a:pt x="874" y="538"/>
                  </a:lnTo>
                  <a:lnTo>
                    <a:pt x="874" y="541"/>
                  </a:lnTo>
                  <a:lnTo>
                    <a:pt x="874" y="541"/>
                  </a:lnTo>
                  <a:lnTo>
                    <a:pt x="876" y="543"/>
                  </a:lnTo>
                  <a:lnTo>
                    <a:pt x="876" y="548"/>
                  </a:lnTo>
                  <a:lnTo>
                    <a:pt x="876" y="550"/>
                  </a:lnTo>
                  <a:lnTo>
                    <a:pt x="876" y="550"/>
                  </a:lnTo>
                  <a:lnTo>
                    <a:pt x="876" y="553"/>
                  </a:lnTo>
                  <a:lnTo>
                    <a:pt x="876" y="555"/>
                  </a:lnTo>
                  <a:lnTo>
                    <a:pt x="876" y="557"/>
                  </a:lnTo>
                  <a:lnTo>
                    <a:pt x="876" y="557"/>
                  </a:lnTo>
                  <a:lnTo>
                    <a:pt x="876" y="560"/>
                  </a:lnTo>
                  <a:lnTo>
                    <a:pt x="876" y="560"/>
                  </a:lnTo>
                  <a:lnTo>
                    <a:pt x="876" y="560"/>
                  </a:lnTo>
                  <a:lnTo>
                    <a:pt x="878" y="560"/>
                  </a:lnTo>
                  <a:lnTo>
                    <a:pt x="893" y="574"/>
                  </a:lnTo>
                  <a:lnTo>
                    <a:pt x="890" y="574"/>
                  </a:lnTo>
                  <a:lnTo>
                    <a:pt x="888" y="576"/>
                  </a:lnTo>
                  <a:lnTo>
                    <a:pt x="888" y="576"/>
                  </a:lnTo>
                  <a:lnTo>
                    <a:pt x="885" y="579"/>
                  </a:lnTo>
                  <a:lnTo>
                    <a:pt x="885" y="579"/>
                  </a:lnTo>
                  <a:lnTo>
                    <a:pt x="885" y="579"/>
                  </a:lnTo>
                  <a:lnTo>
                    <a:pt x="885" y="581"/>
                  </a:lnTo>
                  <a:lnTo>
                    <a:pt x="885" y="583"/>
                  </a:lnTo>
                  <a:lnTo>
                    <a:pt x="883" y="583"/>
                  </a:lnTo>
                  <a:lnTo>
                    <a:pt x="883" y="588"/>
                  </a:lnTo>
                  <a:lnTo>
                    <a:pt x="883" y="590"/>
                  </a:lnTo>
                  <a:lnTo>
                    <a:pt x="883" y="590"/>
                  </a:lnTo>
                  <a:lnTo>
                    <a:pt x="881" y="593"/>
                  </a:lnTo>
                  <a:lnTo>
                    <a:pt x="878" y="590"/>
                  </a:lnTo>
                  <a:lnTo>
                    <a:pt x="878" y="590"/>
                  </a:lnTo>
                  <a:lnTo>
                    <a:pt x="876" y="590"/>
                  </a:lnTo>
                  <a:lnTo>
                    <a:pt x="876" y="590"/>
                  </a:lnTo>
                  <a:lnTo>
                    <a:pt x="876" y="590"/>
                  </a:lnTo>
                  <a:lnTo>
                    <a:pt x="874" y="590"/>
                  </a:lnTo>
                  <a:lnTo>
                    <a:pt x="874" y="590"/>
                  </a:lnTo>
                  <a:lnTo>
                    <a:pt x="874" y="593"/>
                  </a:lnTo>
                  <a:lnTo>
                    <a:pt x="871" y="593"/>
                  </a:lnTo>
                  <a:lnTo>
                    <a:pt x="871" y="593"/>
                  </a:lnTo>
                  <a:lnTo>
                    <a:pt x="871" y="593"/>
                  </a:lnTo>
                  <a:lnTo>
                    <a:pt x="869" y="595"/>
                  </a:lnTo>
                  <a:lnTo>
                    <a:pt x="867" y="598"/>
                  </a:lnTo>
                  <a:lnTo>
                    <a:pt x="864" y="598"/>
                  </a:lnTo>
                  <a:lnTo>
                    <a:pt x="862" y="600"/>
                  </a:lnTo>
                  <a:lnTo>
                    <a:pt x="859" y="602"/>
                  </a:lnTo>
                  <a:lnTo>
                    <a:pt x="859" y="602"/>
                  </a:lnTo>
                  <a:lnTo>
                    <a:pt x="859" y="605"/>
                  </a:lnTo>
                  <a:lnTo>
                    <a:pt x="859" y="607"/>
                  </a:lnTo>
                  <a:lnTo>
                    <a:pt x="857" y="607"/>
                  </a:lnTo>
                  <a:lnTo>
                    <a:pt x="857" y="607"/>
                  </a:lnTo>
                  <a:lnTo>
                    <a:pt x="855" y="609"/>
                  </a:lnTo>
                  <a:lnTo>
                    <a:pt x="855" y="612"/>
                  </a:lnTo>
                  <a:lnTo>
                    <a:pt x="855" y="612"/>
                  </a:lnTo>
                  <a:lnTo>
                    <a:pt x="855" y="614"/>
                  </a:lnTo>
                  <a:lnTo>
                    <a:pt x="855" y="619"/>
                  </a:lnTo>
                  <a:lnTo>
                    <a:pt x="852" y="624"/>
                  </a:lnTo>
                  <a:lnTo>
                    <a:pt x="852" y="624"/>
                  </a:lnTo>
                  <a:lnTo>
                    <a:pt x="852" y="626"/>
                  </a:lnTo>
                  <a:lnTo>
                    <a:pt x="855" y="631"/>
                  </a:lnTo>
                  <a:lnTo>
                    <a:pt x="855" y="633"/>
                  </a:lnTo>
                  <a:lnTo>
                    <a:pt x="852" y="638"/>
                  </a:lnTo>
                  <a:lnTo>
                    <a:pt x="855" y="642"/>
                  </a:lnTo>
                  <a:lnTo>
                    <a:pt x="852" y="647"/>
                  </a:lnTo>
                  <a:lnTo>
                    <a:pt x="850" y="649"/>
                  </a:lnTo>
                  <a:lnTo>
                    <a:pt x="848" y="654"/>
                  </a:lnTo>
                  <a:lnTo>
                    <a:pt x="848" y="654"/>
                  </a:lnTo>
                  <a:lnTo>
                    <a:pt x="845" y="657"/>
                  </a:lnTo>
                  <a:lnTo>
                    <a:pt x="845" y="654"/>
                  </a:lnTo>
                  <a:lnTo>
                    <a:pt x="845" y="654"/>
                  </a:lnTo>
                  <a:lnTo>
                    <a:pt x="843" y="654"/>
                  </a:lnTo>
                  <a:lnTo>
                    <a:pt x="843" y="657"/>
                  </a:lnTo>
                  <a:lnTo>
                    <a:pt x="841" y="654"/>
                  </a:lnTo>
                  <a:lnTo>
                    <a:pt x="838" y="657"/>
                  </a:lnTo>
                  <a:lnTo>
                    <a:pt x="838" y="657"/>
                  </a:lnTo>
                  <a:lnTo>
                    <a:pt x="838" y="657"/>
                  </a:lnTo>
                  <a:lnTo>
                    <a:pt x="838" y="659"/>
                  </a:lnTo>
                  <a:lnTo>
                    <a:pt x="836" y="659"/>
                  </a:lnTo>
                  <a:lnTo>
                    <a:pt x="836" y="661"/>
                  </a:lnTo>
                  <a:lnTo>
                    <a:pt x="836" y="661"/>
                  </a:lnTo>
                  <a:lnTo>
                    <a:pt x="836" y="664"/>
                  </a:lnTo>
                  <a:lnTo>
                    <a:pt x="833" y="664"/>
                  </a:lnTo>
                  <a:lnTo>
                    <a:pt x="833" y="666"/>
                  </a:lnTo>
                  <a:lnTo>
                    <a:pt x="831" y="666"/>
                  </a:lnTo>
                  <a:lnTo>
                    <a:pt x="831" y="666"/>
                  </a:lnTo>
                  <a:lnTo>
                    <a:pt x="829" y="668"/>
                  </a:lnTo>
                  <a:lnTo>
                    <a:pt x="829" y="668"/>
                  </a:lnTo>
                  <a:lnTo>
                    <a:pt x="829" y="671"/>
                  </a:lnTo>
                  <a:lnTo>
                    <a:pt x="826" y="671"/>
                  </a:lnTo>
                  <a:lnTo>
                    <a:pt x="829" y="673"/>
                  </a:lnTo>
                  <a:lnTo>
                    <a:pt x="829" y="673"/>
                  </a:lnTo>
                  <a:lnTo>
                    <a:pt x="829" y="675"/>
                  </a:lnTo>
                  <a:lnTo>
                    <a:pt x="829" y="675"/>
                  </a:lnTo>
                  <a:lnTo>
                    <a:pt x="829" y="678"/>
                  </a:lnTo>
                  <a:lnTo>
                    <a:pt x="829" y="678"/>
                  </a:lnTo>
                  <a:lnTo>
                    <a:pt x="826" y="683"/>
                  </a:lnTo>
                  <a:lnTo>
                    <a:pt x="826" y="683"/>
                  </a:lnTo>
                  <a:lnTo>
                    <a:pt x="824" y="683"/>
                  </a:lnTo>
                  <a:lnTo>
                    <a:pt x="824" y="685"/>
                  </a:lnTo>
                  <a:lnTo>
                    <a:pt x="824" y="685"/>
                  </a:lnTo>
                  <a:lnTo>
                    <a:pt x="822" y="687"/>
                  </a:lnTo>
                  <a:lnTo>
                    <a:pt x="822" y="690"/>
                  </a:lnTo>
                  <a:lnTo>
                    <a:pt x="822" y="690"/>
                  </a:lnTo>
                  <a:lnTo>
                    <a:pt x="822" y="692"/>
                  </a:lnTo>
                  <a:lnTo>
                    <a:pt x="822" y="692"/>
                  </a:lnTo>
                  <a:lnTo>
                    <a:pt x="819" y="694"/>
                  </a:lnTo>
                  <a:lnTo>
                    <a:pt x="819" y="694"/>
                  </a:lnTo>
                  <a:lnTo>
                    <a:pt x="819" y="697"/>
                  </a:lnTo>
                  <a:lnTo>
                    <a:pt x="819" y="697"/>
                  </a:lnTo>
                  <a:lnTo>
                    <a:pt x="817" y="699"/>
                  </a:lnTo>
                  <a:lnTo>
                    <a:pt x="817" y="697"/>
                  </a:lnTo>
                  <a:lnTo>
                    <a:pt x="817" y="699"/>
                  </a:lnTo>
                  <a:lnTo>
                    <a:pt x="817" y="699"/>
                  </a:lnTo>
                  <a:lnTo>
                    <a:pt x="817" y="701"/>
                  </a:lnTo>
                  <a:lnTo>
                    <a:pt x="817" y="701"/>
                  </a:lnTo>
                  <a:lnTo>
                    <a:pt x="817" y="704"/>
                  </a:lnTo>
                  <a:lnTo>
                    <a:pt x="817" y="704"/>
                  </a:lnTo>
                  <a:lnTo>
                    <a:pt x="817" y="704"/>
                  </a:lnTo>
                  <a:lnTo>
                    <a:pt x="817" y="706"/>
                  </a:lnTo>
                  <a:lnTo>
                    <a:pt x="817" y="706"/>
                  </a:lnTo>
                  <a:lnTo>
                    <a:pt x="817" y="706"/>
                  </a:lnTo>
                  <a:lnTo>
                    <a:pt x="817" y="709"/>
                  </a:lnTo>
                  <a:lnTo>
                    <a:pt x="815" y="709"/>
                  </a:lnTo>
                  <a:lnTo>
                    <a:pt x="815" y="711"/>
                  </a:lnTo>
                  <a:lnTo>
                    <a:pt x="817" y="713"/>
                  </a:lnTo>
                  <a:lnTo>
                    <a:pt x="815" y="713"/>
                  </a:lnTo>
                  <a:lnTo>
                    <a:pt x="815" y="713"/>
                  </a:lnTo>
                  <a:lnTo>
                    <a:pt x="815" y="716"/>
                  </a:lnTo>
                  <a:lnTo>
                    <a:pt x="815" y="718"/>
                  </a:lnTo>
                  <a:lnTo>
                    <a:pt x="812" y="718"/>
                  </a:lnTo>
                  <a:lnTo>
                    <a:pt x="812" y="720"/>
                  </a:lnTo>
                  <a:lnTo>
                    <a:pt x="812" y="720"/>
                  </a:lnTo>
                  <a:lnTo>
                    <a:pt x="810" y="723"/>
                  </a:lnTo>
                  <a:lnTo>
                    <a:pt x="810" y="723"/>
                  </a:lnTo>
                  <a:lnTo>
                    <a:pt x="805" y="723"/>
                  </a:lnTo>
                  <a:lnTo>
                    <a:pt x="805" y="723"/>
                  </a:lnTo>
                  <a:lnTo>
                    <a:pt x="803" y="723"/>
                  </a:lnTo>
                  <a:lnTo>
                    <a:pt x="803" y="725"/>
                  </a:lnTo>
                  <a:lnTo>
                    <a:pt x="803" y="723"/>
                  </a:lnTo>
                  <a:lnTo>
                    <a:pt x="800" y="725"/>
                  </a:lnTo>
                  <a:lnTo>
                    <a:pt x="796" y="727"/>
                  </a:lnTo>
                  <a:lnTo>
                    <a:pt x="796" y="730"/>
                  </a:lnTo>
                  <a:lnTo>
                    <a:pt x="793" y="730"/>
                  </a:lnTo>
                  <a:lnTo>
                    <a:pt x="793" y="730"/>
                  </a:lnTo>
                  <a:lnTo>
                    <a:pt x="793" y="730"/>
                  </a:lnTo>
                  <a:lnTo>
                    <a:pt x="793" y="732"/>
                  </a:lnTo>
                  <a:lnTo>
                    <a:pt x="791" y="732"/>
                  </a:lnTo>
                  <a:lnTo>
                    <a:pt x="789" y="732"/>
                  </a:lnTo>
                  <a:lnTo>
                    <a:pt x="789" y="735"/>
                  </a:lnTo>
                  <a:lnTo>
                    <a:pt x="789" y="735"/>
                  </a:lnTo>
                  <a:lnTo>
                    <a:pt x="786" y="732"/>
                  </a:lnTo>
                  <a:lnTo>
                    <a:pt x="784" y="735"/>
                  </a:lnTo>
                  <a:lnTo>
                    <a:pt x="784" y="735"/>
                  </a:lnTo>
                  <a:lnTo>
                    <a:pt x="781" y="735"/>
                  </a:lnTo>
                  <a:lnTo>
                    <a:pt x="781" y="737"/>
                  </a:lnTo>
                  <a:lnTo>
                    <a:pt x="781" y="737"/>
                  </a:lnTo>
                  <a:lnTo>
                    <a:pt x="781" y="737"/>
                  </a:lnTo>
                  <a:lnTo>
                    <a:pt x="781" y="739"/>
                  </a:lnTo>
                  <a:lnTo>
                    <a:pt x="779" y="739"/>
                  </a:lnTo>
                  <a:lnTo>
                    <a:pt x="779" y="739"/>
                  </a:lnTo>
                  <a:lnTo>
                    <a:pt x="779" y="739"/>
                  </a:lnTo>
                  <a:lnTo>
                    <a:pt x="779" y="739"/>
                  </a:lnTo>
                  <a:lnTo>
                    <a:pt x="777" y="742"/>
                  </a:lnTo>
                  <a:lnTo>
                    <a:pt x="777" y="742"/>
                  </a:lnTo>
                  <a:lnTo>
                    <a:pt x="777" y="742"/>
                  </a:lnTo>
                  <a:lnTo>
                    <a:pt x="774" y="744"/>
                  </a:lnTo>
                  <a:lnTo>
                    <a:pt x="777" y="744"/>
                  </a:lnTo>
                  <a:lnTo>
                    <a:pt x="774" y="744"/>
                  </a:lnTo>
                  <a:lnTo>
                    <a:pt x="774" y="744"/>
                  </a:lnTo>
                  <a:lnTo>
                    <a:pt x="774" y="744"/>
                  </a:lnTo>
                  <a:lnTo>
                    <a:pt x="774" y="744"/>
                  </a:lnTo>
                  <a:lnTo>
                    <a:pt x="774" y="746"/>
                  </a:lnTo>
                  <a:lnTo>
                    <a:pt x="774" y="746"/>
                  </a:lnTo>
                  <a:lnTo>
                    <a:pt x="774" y="746"/>
                  </a:lnTo>
                  <a:lnTo>
                    <a:pt x="774" y="749"/>
                  </a:lnTo>
                  <a:lnTo>
                    <a:pt x="772" y="749"/>
                  </a:lnTo>
                  <a:lnTo>
                    <a:pt x="772" y="749"/>
                  </a:lnTo>
                  <a:lnTo>
                    <a:pt x="774" y="749"/>
                  </a:lnTo>
                  <a:lnTo>
                    <a:pt x="772" y="751"/>
                  </a:lnTo>
                  <a:lnTo>
                    <a:pt x="770" y="749"/>
                  </a:lnTo>
                  <a:lnTo>
                    <a:pt x="767" y="749"/>
                  </a:lnTo>
                  <a:lnTo>
                    <a:pt x="765" y="749"/>
                  </a:lnTo>
                  <a:lnTo>
                    <a:pt x="765" y="746"/>
                  </a:lnTo>
                  <a:lnTo>
                    <a:pt x="765" y="746"/>
                  </a:lnTo>
                  <a:lnTo>
                    <a:pt x="763" y="744"/>
                  </a:lnTo>
                  <a:lnTo>
                    <a:pt x="760" y="744"/>
                  </a:lnTo>
                  <a:lnTo>
                    <a:pt x="760" y="742"/>
                  </a:lnTo>
                  <a:lnTo>
                    <a:pt x="758" y="742"/>
                  </a:lnTo>
                  <a:lnTo>
                    <a:pt x="756" y="742"/>
                  </a:lnTo>
                  <a:lnTo>
                    <a:pt x="753" y="739"/>
                  </a:lnTo>
                  <a:lnTo>
                    <a:pt x="751" y="739"/>
                  </a:lnTo>
                  <a:lnTo>
                    <a:pt x="748" y="735"/>
                  </a:lnTo>
                  <a:lnTo>
                    <a:pt x="746" y="735"/>
                  </a:lnTo>
                  <a:lnTo>
                    <a:pt x="746" y="732"/>
                  </a:lnTo>
                  <a:lnTo>
                    <a:pt x="746" y="730"/>
                  </a:lnTo>
                  <a:lnTo>
                    <a:pt x="746" y="730"/>
                  </a:lnTo>
                  <a:lnTo>
                    <a:pt x="746" y="730"/>
                  </a:lnTo>
                  <a:lnTo>
                    <a:pt x="744" y="732"/>
                  </a:lnTo>
                  <a:lnTo>
                    <a:pt x="741" y="732"/>
                  </a:lnTo>
                  <a:lnTo>
                    <a:pt x="741" y="730"/>
                  </a:lnTo>
                  <a:lnTo>
                    <a:pt x="739" y="730"/>
                  </a:lnTo>
                  <a:lnTo>
                    <a:pt x="739" y="730"/>
                  </a:lnTo>
                  <a:lnTo>
                    <a:pt x="739" y="730"/>
                  </a:lnTo>
                  <a:lnTo>
                    <a:pt x="739" y="730"/>
                  </a:lnTo>
                  <a:lnTo>
                    <a:pt x="737" y="732"/>
                  </a:lnTo>
                  <a:lnTo>
                    <a:pt x="734" y="727"/>
                  </a:lnTo>
                  <a:lnTo>
                    <a:pt x="737" y="727"/>
                  </a:lnTo>
                  <a:lnTo>
                    <a:pt x="737" y="730"/>
                  </a:lnTo>
                  <a:lnTo>
                    <a:pt x="737" y="727"/>
                  </a:lnTo>
                  <a:lnTo>
                    <a:pt x="737" y="727"/>
                  </a:lnTo>
                  <a:lnTo>
                    <a:pt x="737" y="725"/>
                  </a:lnTo>
                  <a:lnTo>
                    <a:pt x="737" y="725"/>
                  </a:lnTo>
                  <a:lnTo>
                    <a:pt x="737" y="725"/>
                  </a:lnTo>
                  <a:lnTo>
                    <a:pt x="739" y="725"/>
                  </a:lnTo>
                  <a:lnTo>
                    <a:pt x="734" y="723"/>
                  </a:lnTo>
                  <a:lnTo>
                    <a:pt x="734" y="723"/>
                  </a:lnTo>
                  <a:lnTo>
                    <a:pt x="732" y="723"/>
                  </a:lnTo>
                  <a:lnTo>
                    <a:pt x="730" y="723"/>
                  </a:lnTo>
                  <a:lnTo>
                    <a:pt x="730" y="723"/>
                  </a:lnTo>
                  <a:lnTo>
                    <a:pt x="730" y="723"/>
                  </a:lnTo>
                  <a:lnTo>
                    <a:pt x="732" y="725"/>
                  </a:lnTo>
                  <a:lnTo>
                    <a:pt x="732" y="725"/>
                  </a:lnTo>
                  <a:lnTo>
                    <a:pt x="730" y="725"/>
                  </a:lnTo>
                  <a:lnTo>
                    <a:pt x="730" y="725"/>
                  </a:lnTo>
                  <a:lnTo>
                    <a:pt x="727" y="725"/>
                  </a:lnTo>
                  <a:lnTo>
                    <a:pt x="727" y="725"/>
                  </a:lnTo>
                  <a:lnTo>
                    <a:pt x="725" y="723"/>
                  </a:lnTo>
                  <a:lnTo>
                    <a:pt x="725" y="723"/>
                  </a:lnTo>
                  <a:lnTo>
                    <a:pt x="725" y="725"/>
                  </a:lnTo>
                  <a:lnTo>
                    <a:pt x="725" y="727"/>
                  </a:lnTo>
                  <a:lnTo>
                    <a:pt x="725" y="727"/>
                  </a:lnTo>
                  <a:lnTo>
                    <a:pt x="722" y="730"/>
                  </a:lnTo>
                  <a:lnTo>
                    <a:pt x="720" y="727"/>
                  </a:lnTo>
                  <a:lnTo>
                    <a:pt x="718" y="730"/>
                  </a:lnTo>
                  <a:lnTo>
                    <a:pt x="720" y="725"/>
                  </a:lnTo>
                  <a:lnTo>
                    <a:pt x="718" y="725"/>
                  </a:lnTo>
                  <a:lnTo>
                    <a:pt x="718" y="727"/>
                  </a:lnTo>
                  <a:lnTo>
                    <a:pt x="718" y="727"/>
                  </a:lnTo>
                  <a:lnTo>
                    <a:pt x="718" y="730"/>
                  </a:lnTo>
                  <a:lnTo>
                    <a:pt x="718" y="727"/>
                  </a:lnTo>
                  <a:lnTo>
                    <a:pt x="718" y="727"/>
                  </a:lnTo>
                  <a:lnTo>
                    <a:pt x="715" y="725"/>
                  </a:lnTo>
                  <a:lnTo>
                    <a:pt x="713" y="725"/>
                  </a:lnTo>
                  <a:lnTo>
                    <a:pt x="713" y="725"/>
                  </a:lnTo>
                  <a:lnTo>
                    <a:pt x="713" y="727"/>
                  </a:lnTo>
                  <a:lnTo>
                    <a:pt x="713" y="727"/>
                  </a:lnTo>
                  <a:lnTo>
                    <a:pt x="711" y="730"/>
                  </a:lnTo>
                  <a:lnTo>
                    <a:pt x="711" y="727"/>
                  </a:lnTo>
                  <a:lnTo>
                    <a:pt x="708" y="730"/>
                  </a:lnTo>
                  <a:lnTo>
                    <a:pt x="708" y="727"/>
                  </a:lnTo>
                  <a:lnTo>
                    <a:pt x="706" y="727"/>
                  </a:lnTo>
                  <a:lnTo>
                    <a:pt x="706" y="725"/>
                  </a:lnTo>
                  <a:lnTo>
                    <a:pt x="706" y="725"/>
                  </a:lnTo>
                  <a:lnTo>
                    <a:pt x="706" y="725"/>
                  </a:lnTo>
                  <a:lnTo>
                    <a:pt x="704" y="725"/>
                  </a:lnTo>
                  <a:lnTo>
                    <a:pt x="701" y="725"/>
                  </a:lnTo>
                  <a:lnTo>
                    <a:pt x="701" y="725"/>
                  </a:lnTo>
                  <a:lnTo>
                    <a:pt x="701" y="723"/>
                  </a:lnTo>
                  <a:lnTo>
                    <a:pt x="699" y="723"/>
                  </a:lnTo>
                  <a:lnTo>
                    <a:pt x="699" y="723"/>
                  </a:lnTo>
                  <a:lnTo>
                    <a:pt x="699" y="725"/>
                  </a:lnTo>
                  <a:lnTo>
                    <a:pt x="696" y="725"/>
                  </a:lnTo>
                  <a:lnTo>
                    <a:pt x="694" y="725"/>
                  </a:lnTo>
                  <a:lnTo>
                    <a:pt x="694" y="727"/>
                  </a:lnTo>
                  <a:lnTo>
                    <a:pt x="692" y="727"/>
                  </a:lnTo>
                  <a:lnTo>
                    <a:pt x="687" y="727"/>
                  </a:lnTo>
                  <a:lnTo>
                    <a:pt x="685" y="727"/>
                  </a:lnTo>
                  <a:lnTo>
                    <a:pt x="685" y="730"/>
                  </a:lnTo>
                  <a:lnTo>
                    <a:pt x="685" y="730"/>
                  </a:lnTo>
                  <a:lnTo>
                    <a:pt x="685" y="730"/>
                  </a:lnTo>
                  <a:lnTo>
                    <a:pt x="682" y="730"/>
                  </a:lnTo>
                  <a:lnTo>
                    <a:pt x="678" y="732"/>
                  </a:lnTo>
                  <a:lnTo>
                    <a:pt x="675" y="730"/>
                  </a:lnTo>
                  <a:lnTo>
                    <a:pt x="673" y="730"/>
                  </a:lnTo>
                  <a:lnTo>
                    <a:pt x="670" y="730"/>
                  </a:lnTo>
                  <a:lnTo>
                    <a:pt x="668" y="730"/>
                  </a:lnTo>
                  <a:lnTo>
                    <a:pt x="668" y="727"/>
                  </a:lnTo>
                  <a:lnTo>
                    <a:pt x="666" y="727"/>
                  </a:lnTo>
                  <a:lnTo>
                    <a:pt x="666" y="727"/>
                  </a:lnTo>
                  <a:lnTo>
                    <a:pt x="663" y="727"/>
                  </a:lnTo>
                  <a:lnTo>
                    <a:pt x="663" y="725"/>
                  </a:lnTo>
                  <a:lnTo>
                    <a:pt x="663" y="723"/>
                  </a:lnTo>
                  <a:lnTo>
                    <a:pt x="663" y="723"/>
                  </a:lnTo>
                  <a:lnTo>
                    <a:pt x="663" y="723"/>
                  </a:lnTo>
                  <a:lnTo>
                    <a:pt x="663" y="725"/>
                  </a:lnTo>
                  <a:lnTo>
                    <a:pt x="661" y="725"/>
                  </a:lnTo>
                  <a:lnTo>
                    <a:pt x="659" y="725"/>
                  </a:lnTo>
                  <a:lnTo>
                    <a:pt x="659" y="725"/>
                  </a:lnTo>
                  <a:lnTo>
                    <a:pt x="659" y="725"/>
                  </a:lnTo>
                  <a:lnTo>
                    <a:pt x="656" y="725"/>
                  </a:lnTo>
                  <a:lnTo>
                    <a:pt x="656" y="725"/>
                  </a:lnTo>
                  <a:lnTo>
                    <a:pt x="656" y="725"/>
                  </a:lnTo>
                  <a:lnTo>
                    <a:pt x="654" y="725"/>
                  </a:lnTo>
                  <a:lnTo>
                    <a:pt x="654" y="727"/>
                  </a:lnTo>
                  <a:lnTo>
                    <a:pt x="654" y="727"/>
                  </a:lnTo>
                  <a:lnTo>
                    <a:pt x="652" y="725"/>
                  </a:lnTo>
                  <a:lnTo>
                    <a:pt x="652" y="725"/>
                  </a:lnTo>
                  <a:lnTo>
                    <a:pt x="649" y="725"/>
                  </a:lnTo>
                  <a:lnTo>
                    <a:pt x="647" y="725"/>
                  </a:lnTo>
                  <a:lnTo>
                    <a:pt x="649" y="725"/>
                  </a:lnTo>
                  <a:lnTo>
                    <a:pt x="647" y="725"/>
                  </a:lnTo>
                  <a:lnTo>
                    <a:pt x="644" y="727"/>
                  </a:lnTo>
                  <a:lnTo>
                    <a:pt x="644" y="727"/>
                  </a:lnTo>
                  <a:lnTo>
                    <a:pt x="644" y="727"/>
                  </a:lnTo>
                  <a:lnTo>
                    <a:pt x="642" y="727"/>
                  </a:lnTo>
                  <a:lnTo>
                    <a:pt x="642" y="727"/>
                  </a:lnTo>
                  <a:lnTo>
                    <a:pt x="640" y="727"/>
                  </a:lnTo>
                  <a:lnTo>
                    <a:pt x="642" y="730"/>
                  </a:lnTo>
                  <a:lnTo>
                    <a:pt x="640" y="730"/>
                  </a:lnTo>
                  <a:lnTo>
                    <a:pt x="640" y="730"/>
                  </a:lnTo>
                  <a:lnTo>
                    <a:pt x="640" y="727"/>
                  </a:lnTo>
                  <a:lnTo>
                    <a:pt x="637" y="727"/>
                  </a:lnTo>
                  <a:lnTo>
                    <a:pt x="637" y="730"/>
                  </a:lnTo>
                  <a:lnTo>
                    <a:pt x="637" y="730"/>
                  </a:lnTo>
                  <a:lnTo>
                    <a:pt x="635" y="730"/>
                  </a:lnTo>
                  <a:lnTo>
                    <a:pt x="633" y="727"/>
                  </a:lnTo>
                  <a:lnTo>
                    <a:pt x="633" y="730"/>
                  </a:lnTo>
                  <a:lnTo>
                    <a:pt x="633" y="730"/>
                  </a:lnTo>
                  <a:lnTo>
                    <a:pt x="633" y="730"/>
                  </a:lnTo>
                  <a:lnTo>
                    <a:pt x="630" y="730"/>
                  </a:lnTo>
                  <a:lnTo>
                    <a:pt x="630" y="732"/>
                  </a:lnTo>
                  <a:lnTo>
                    <a:pt x="630" y="730"/>
                  </a:lnTo>
                  <a:lnTo>
                    <a:pt x="630" y="730"/>
                  </a:lnTo>
                  <a:lnTo>
                    <a:pt x="630" y="727"/>
                  </a:lnTo>
                  <a:lnTo>
                    <a:pt x="628" y="727"/>
                  </a:lnTo>
                  <a:lnTo>
                    <a:pt x="628" y="730"/>
                  </a:lnTo>
                  <a:lnTo>
                    <a:pt x="626" y="730"/>
                  </a:lnTo>
                  <a:lnTo>
                    <a:pt x="626" y="725"/>
                  </a:lnTo>
                  <a:lnTo>
                    <a:pt x="626" y="725"/>
                  </a:lnTo>
                  <a:lnTo>
                    <a:pt x="626" y="723"/>
                  </a:lnTo>
                  <a:lnTo>
                    <a:pt x="626" y="720"/>
                  </a:lnTo>
                  <a:lnTo>
                    <a:pt x="623" y="716"/>
                  </a:lnTo>
                  <a:lnTo>
                    <a:pt x="623" y="716"/>
                  </a:lnTo>
                  <a:lnTo>
                    <a:pt x="621" y="716"/>
                  </a:lnTo>
                  <a:lnTo>
                    <a:pt x="621" y="716"/>
                  </a:lnTo>
                  <a:lnTo>
                    <a:pt x="618" y="716"/>
                  </a:lnTo>
                  <a:lnTo>
                    <a:pt x="618" y="713"/>
                  </a:lnTo>
                  <a:lnTo>
                    <a:pt x="616" y="713"/>
                  </a:lnTo>
                  <a:lnTo>
                    <a:pt x="616" y="713"/>
                  </a:lnTo>
                  <a:lnTo>
                    <a:pt x="616" y="713"/>
                  </a:lnTo>
                  <a:lnTo>
                    <a:pt x="614" y="713"/>
                  </a:lnTo>
                  <a:lnTo>
                    <a:pt x="614" y="711"/>
                  </a:lnTo>
                  <a:lnTo>
                    <a:pt x="614" y="711"/>
                  </a:lnTo>
                  <a:lnTo>
                    <a:pt x="614" y="711"/>
                  </a:lnTo>
                  <a:lnTo>
                    <a:pt x="614" y="709"/>
                  </a:lnTo>
                  <a:lnTo>
                    <a:pt x="614" y="706"/>
                  </a:lnTo>
                  <a:lnTo>
                    <a:pt x="609" y="706"/>
                  </a:lnTo>
                  <a:lnTo>
                    <a:pt x="609" y="706"/>
                  </a:lnTo>
                  <a:lnTo>
                    <a:pt x="611" y="706"/>
                  </a:lnTo>
                  <a:lnTo>
                    <a:pt x="609" y="709"/>
                  </a:lnTo>
                  <a:lnTo>
                    <a:pt x="609" y="706"/>
                  </a:lnTo>
                  <a:lnTo>
                    <a:pt x="609" y="701"/>
                  </a:lnTo>
                  <a:lnTo>
                    <a:pt x="607" y="701"/>
                  </a:lnTo>
                  <a:lnTo>
                    <a:pt x="607" y="701"/>
                  </a:lnTo>
                  <a:lnTo>
                    <a:pt x="607" y="704"/>
                  </a:lnTo>
                  <a:lnTo>
                    <a:pt x="604" y="701"/>
                  </a:lnTo>
                  <a:lnTo>
                    <a:pt x="602" y="701"/>
                  </a:lnTo>
                  <a:lnTo>
                    <a:pt x="602" y="697"/>
                  </a:lnTo>
                  <a:lnTo>
                    <a:pt x="600" y="697"/>
                  </a:lnTo>
                  <a:lnTo>
                    <a:pt x="600" y="697"/>
                  </a:lnTo>
                  <a:lnTo>
                    <a:pt x="600" y="697"/>
                  </a:lnTo>
                  <a:lnTo>
                    <a:pt x="597" y="697"/>
                  </a:lnTo>
                  <a:lnTo>
                    <a:pt x="597" y="694"/>
                  </a:lnTo>
                  <a:lnTo>
                    <a:pt x="595" y="692"/>
                  </a:lnTo>
                  <a:lnTo>
                    <a:pt x="595" y="692"/>
                  </a:lnTo>
                  <a:lnTo>
                    <a:pt x="597" y="690"/>
                  </a:lnTo>
                  <a:lnTo>
                    <a:pt x="597" y="687"/>
                  </a:lnTo>
                  <a:lnTo>
                    <a:pt x="595" y="687"/>
                  </a:lnTo>
                  <a:lnTo>
                    <a:pt x="595" y="683"/>
                  </a:lnTo>
                  <a:lnTo>
                    <a:pt x="595" y="680"/>
                  </a:lnTo>
                  <a:lnTo>
                    <a:pt x="595" y="680"/>
                  </a:lnTo>
                  <a:lnTo>
                    <a:pt x="593" y="678"/>
                  </a:lnTo>
                  <a:lnTo>
                    <a:pt x="593" y="678"/>
                  </a:lnTo>
                  <a:lnTo>
                    <a:pt x="593" y="680"/>
                  </a:lnTo>
                  <a:lnTo>
                    <a:pt x="590" y="680"/>
                  </a:lnTo>
                  <a:lnTo>
                    <a:pt x="590" y="678"/>
                  </a:lnTo>
                  <a:lnTo>
                    <a:pt x="590" y="678"/>
                  </a:lnTo>
                  <a:lnTo>
                    <a:pt x="588" y="678"/>
                  </a:lnTo>
                  <a:lnTo>
                    <a:pt x="588" y="675"/>
                  </a:lnTo>
                  <a:lnTo>
                    <a:pt x="588" y="675"/>
                  </a:lnTo>
                  <a:lnTo>
                    <a:pt x="588" y="675"/>
                  </a:lnTo>
                  <a:lnTo>
                    <a:pt x="588" y="678"/>
                  </a:lnTo>
                  <a:lnTo>
                    <a:pt x="588" y="678"/>
                  </a:lnTo>
                  <a:lnTo>
                    <a:pt x="585" y="680"/>
                  </a:lnTo>
                  <a:lnTo>
                    <a:pt x="583" y="678"/>
                  </a:lnTo>
                  <a:lnTo>
                    <a:pt x="583" y="675"/>
                  </a:lnTo>
                  <a:lnTo>
                    <a:pt x="583" y="673"/>
                  </a:lnTo>
                  <a:lnTo>
                    <a:pt x="581" y="673"/>
                  </a:lnTo>
                  <a:lnTo>
                    <a:pt x="581" y="675"/>
                  </a:lnTo>
                  <a:lnTo>
                    <a:pt x="581" y="675"/>
                  </a:lnTo>
                  <a:lnTo>
                    <a:pt x="578" y="675"/>
                  </a:lnTo>
                  <a:lnTo>
                    <a:pt x="578" y="678"/>
                  </a:lnTo>
                  <a:lnTo>
                    <a:pt x="576" y="678"/>
                  </a:lnTo>
                  <a:lnTo>
                    <a:pt x="576" y="678"/>
                  </a:lnTo>
                  <a:lnTo>
                    <a:pt x="574" y="678"/>
                  </a:lnTo>
                  <a:lnTo>
                    <a:pt x="576" y="680"/>
                  </a:lnTo>
                  <a:lnTo>
                    <a:pt x="574" y="680"/>
                  </a:lnTo>
                  <a:lnTo>
                    <a:pt x="574" y="678"/>
                  </a:lnTo>
                  <a:lnTo>
                    <a:pt x="571" y="678"/>
                  </a:lnTo>
                  <a:lnTo>
                    <a:pt x="571" y="678"/>
                  </a:lnTo>
                  <a:lnTo>
                    <a:pt x="569" y="678"/>
                  </a:lnTo>
                  <a:lnTo>
                    <a:pt x="569" y="678"/>
                  </a:lnTo>
                  <a:lnTo>
                    <a:pt x="569" y="678"/>
                  </a:lnTo>
                  <a:lnTo>
                    <a:pt x="567" y="678"/>
                  </a:lnTo>
                  <a:lnTo>
                    <a:pt x="567" y="678"/>
                  </a:lnTo>
                  <a:lnTo>
                    <a:pt x="567" y="678"/>
                  </a:lnTo>
                  <a:lnTo>
                    <a:pt x="567" y="678"/>
                  </a:lnTo>
                  <a:lnTo>
                    <a:pt x="564" y="678"/>
                  </a:lnTo>
                  <a:lnTo>
                    <a:pt x="564" y="678"/>
                  </a:lnTo>
                  <a:lnTo>
                    <a:pt x="562" y="678"/>
                  </a:lnTo>
                  <a:lnTo>
                    <a:pt x="562" y="675"/>
                  </a:lnTo>
                  <a:lnTo>
                    <a:pt x="559" y="678"/>
                  </a:lnTo>
                  <a:lnTo>
                    <a:pt x="559" y="675"/>
                  </a:lnTo>
                  <a:lnTo>
                    <a:pt x="559" y="675"/>
                  </a:lnTo>
                  <a:lnTo>
                    <a:pt x="559" y="673"/>
                  </a:lnTo>
                  <a:lnTo>
                    <a:pt x="557" y="675"/>
                  </a:lnTo>
                  <a:lnTo>
                    <a:pt x="557" y="675"/>
                  </a:lnTo>
                  <a:lnTo>
                    <a:pt x="555" y="673"/>
                  </a:lnTo>
                  <a:lnTo>
                    <a:pt x="555" y="671"/>
                  </a:lnTo>
                  <a:lnTo>
                    <a:pt x="555" y="668"/>
                  </a:lnTo>
                  <a:lnTo>
                    <a:pt x="552" y="668"/>
                  </a:lnTo>
                  <a:lnTo>
                    <a:pt x="552" y="671"/>
                  </a:lnTo>
                  <a:lnTo>
                    <a:pt x="552" y="671"/>
                  </a:lnTo>
                  <a:lnTo>
                    <a:pt x="552" y="668"/>
                  </a:lnTo>
                  <a:lnTo>
                    <a:pt x="552" y="668"/>
                  </a:lnTo>
                  <a:lnTo>
                    <a:pt x="552" y="668"/>
                  </a:lnTo>
                  <a:lnTo>
                    <a:pt x="550" y="668"/>
                  </a:lnTo>
                  <a:lnTo>
                    <a:pt x="550" y="668"/>
                  </a:lnTo>
                  <a:lnTo>
                    <a:pt x="550" y="666"/>
                  </a:lnTo>
                  <a:lnTo>
                    <a:pt x="550" y="666"/>
                  </a:lnTo>
                  <a:lnTo>
                    <a:pt x="548" y="668"/>
                  </a:lnTo>
                  <a:lnTo>
                    <a:pt x="550" y="668"/>
                  </a:lnTo>
                  <a:lnTo>
                    <a:pt x="545" y="671"/>
                  </a:lnTo>
                  <a:lnTo>
                    <a:pt x="543" y="668"/>
                  </a:lnTo>
                  <a:lnTo>
                    <a:pt x="543" y="668"/>
                  </a:lnTo>
                  <a:lnTo>
                    <a:pt x="541" y="668"/>
                  </a:lnTo>
                  <a:lnTo>
                    <a:pt x="538" y="668"/>
                  </a:lnTo>
                  <a:lnTo>
                    <a:pt x="531" y="664"/>
                  </a:lnTo>
                  <a:lnTo>
                    <a:pt x="531" y="661"/>
                  </a:lnTo>
                  <a:lnTo>
                    <a:pt x="533" y="661"/>
                  </a:lnTo>
                  <a:lnTo>
                    <a:pt x="533" y="661"/>
                  </a:lnTo>
                  <a:lnTo>
                    <a:pt x="531" y="661"/>
                  </a:lnTo>
                  <a:lnTo>
                    <a:pt x="531" y="661"/>
                  </a:lnTo>
                  <a:lnTo>
                    <a:pt x="529" y="661"/>
                  </a:lnTo>
                  <a:lnTo>
                    <a:pt x="531" y="659"/>
                  </a:lnTo>
                  <a:lnTo>
                    <a:pt x="531" y="659"/>
                  </a:lnTo>
                  <a:lnTo>
                    <a:pt x="529" y="659"/>
                  </a:lnTo>
                  <a:lnTo>
                    <a:pt x="526" y="659"/>
                  </a:lnTo>
                  <a:lnTo>
                    <a:pt x="529" y="657"/>
                  </a:lnTo>
                  <a:lnTo>
                    <a:pt x="529" y="654"/>
                  </a:lnTo>
                  <a:lnTo>
                    <a:pt x="526" y="654"/>
                  </a:lnTo>
                  <a:lnTo>
                    <a:pt x="526" y="657"/>
                  </a:lnTo>
                  <a:lnTo>
                    <a:pt x="526" y="657"/>
                  </a:lnTo>
                  <a:lnTo>
                    <a:pt x="524" y="659"/>
                  </a:lnTo>
                  <a:lnTo>
                    <a:pt x="522" y="659"/>
                  </a:lnTo>
                  <a:lnTo>
                    <a:pt x="522" y="659"/>
                  </a:lnTo>
                  <a:lnTo>
                    <a:pt x="522" y="659"/>
                  </a:lnTo>
                  <a:lnTo>
                    <a:pt x="519" y="659"/>
                  </a:lnTo>
                  <a:lnTo>
                    <a:pt x="517" y="659"/>
                  </a:lnTo>
                  <a:lnTo>
                    <a:pt x="517" y="661"/>
                  </a:lnTo>
                  <a:lnTo>
                    <a:pt x="517" y="661"/>
                  </a:lnTo>
                  <a:lnTo>
                    <a:pt x="517" y="661"/>
                  </a:lnTo>
                  <a:lnTo>
                    <a:pt x="515" y="661"/>
                  </a:lnTo>
                  <a:lnTo>
                    <a:pt x="515" y="659"/>
                  </a:lnTo>
                  <a:lnTo>
                    <a:pt x="515" y="659"/>
                  </a:lnTo>
                  <a:lnTo>
                    <a:pt x="515" y="661"/>
                  </a:lnTo>
                  <a:lnTo>
                    <a:pt x="510" y="661"/>
                  </a:lnTo>
                  <a:lnTo>
                    <a:pt x="510" y="659"/>
                  </a:lnTo>
                  <a:lnTo>
                    <a:pt x="507" y="654"/>
                  </a:lnTo>
                  <a:lnTo>
                    <a:pt x="507" y="654"/>
                  </a:lnTo>
                  <a:lnTo>
                    <a:pt x="507" y="652"/>
                  </a:lnTo>
                  <a:lnTo>
                    <a:pt x="507" y="652"/>
                  </a:lnTo>
                  <a:lnTo>
                    <a:pt x="505" y="649"/>
                  </a:lnTo>
                  <a:lnTo>
                    <a:pt x="505" y="652"/>
                  </a:lnTo>
                  <a:lnTo>
                    <a:pt x="503" y="652"/>
                  </a:lnTo>
                  <a:lnTo>
                    <a:pt x="503" y="652"/>
                  </a:lnTo>
                  <a:lnTo>
                    <a:pt x="500" y="652"/>
                  </a:lnTo>
                  <a:lnTo>
                    <a:pt x="503" y="649"/>
                  </a:lnTo>
                  <a:lnTo>
                    <a:pt x="500" y="647"/>
                  </a:lnTo>
                  <a:lnTo>
                    <a:pt x="500" y="647"/>
                  </a:lnTo>
                  <a:lnTo>
                    <a:pt x="498" y="645"/>
                  </a:lnTo>
                  <a:lnTo>
                    <a:pt x="496" y="642"/>
                  </a:lnTo>
                  <a:lnTo>
                    <a:pt x="496" y="640"/>
                  </a:lnTo>
                  <a:lnTo>
                    <a:pt x="496" y="640"/>
                  </a:lnTo>
                  <a:lnTo>
                    <a:pt x="493" y="638"/>
                  </a:lnTo>
                  <a:lnTo>
                    <a:pt x="491" y="638"/>
                  </a:lnTo>
                  <a:lnTo>
                    <a:pt x="491" y="640"/>
                  </a:lnTo>
                  <a:lnTo>
                    <a:pt x="491" y="640"/>
                  </a:lnTo>
                  <a:lnTo>
                    <a:pt x="489" y="640"/>
                  </a:lnTo>
                  <a:lnTo>
                    <a:pt x="489" y="640"/>
                  </a:lnTo>
                  <a:lnTo>
                    <a:pt x="489" y="640"/>
                  </a:lnTo>
                  <a:lnTo>
                    <a:pt x="486" y="640"/>
                  </a:lnTo>
                  <a:lnTo>
                    <a:pt x="486" y="640"/>
                  </a:lnTo>
                  <a:lnTo>
                    <a:pt x="486" y="640"/>
                  </a:lnTo>
                  <a:lnTo>
                    <a:pt x="486" y="640"/>
                  </a:lnTo>
                  <a:lnTo>
                    <a:pt x="481" y="638"/>
                  </a:lnTo>
                  <a:lnTo>
                    <a:pt x="481" y="638"/>
                  </a:lnTo>
                  <a:lnTo>
                    <a:pt x="481" y="633"/>
                  </a:lnTo>
                  <a:lnTo>
                    <a:pt x="479" y="633"/>
                  </a:lnTo>
                  <a:lnTo>
                    <a:pt x="479" y="631"/>
                  </a:lnTo>
                  <a:lnTo>
                    <a:pt x="479" y="631"/>
                  </a:lnTo>
                  <a:lnTo>
                    <a:pt x="477" y="626"/>
                  </a:lnTo>
                  <a:lnTo>
                    <a:pt x="477" y="624"/>
                  </a:lnTo>
                  <a:lnTo>
                    <a:pt x="474" y="624"/>
                  </a:lnTo>
                  <a:lnTo>
                    <a:pt x="472" y="624"/>
                  </a:lnTo>
                  <a:lnTo>
                    <a:pt x="472" y="621"/>
                  </a:lnTo>
                  <a:lnTo>
                    <a:pt x="474" y="619"/>
                  </a:lnTo>
                  <a:lnTo>
                    <a:pt x="474" y="619"/>
                  </a:lnTo>
                  <a:lnTo>
                    <a:pt x="474" y="619"/>
                  </a:lnTo>
                  <a:lnTo>
                    <a:pt x="472" y="619"/>
                  </a:lnTo>
                  <a:lnTo>
                    <a:pt x="470" y="619"/>
                  </a:lnTo>
                  <a:lnTo>
                    <a:pt x="470" y="616"/>
                  </a:lnTo>
                  <a:lnTo>
                    <a:pt x="472" y="616"/>
                  </a:lnTo>
                  <a:lnTo>
                    <a:pt x="472" y="614"/>
                  </a:lnTo>
                  <a:lnTo>
                    <a:pt x="470" y="614"/>
                  </a:lnTo>
                  <a:lnTo>
                    <a:pt x="467" y="614"/>
                  </a:lnTo>
                  <a:lnTo>
                    <a:pt x="467" y="614"/>
                  </a:lnTo>
                  <a:lnTo>
                    <a:pt x="467" y="612"/>
                  </a:lnTo>
                  <a:lnTo>
                    <a:pt x="465" y="614"/>
                  </a:lnTo>
                  <a:lnTo>
                    <a:pt x="465" y="612"/>
                  </a:lnTo>
                  <a:lnTo>
                    <a:pt x="465" y="612"/>
                  </a:lnTo>
                  <a:lnTo>
                    <a:pt x="463" y="612"/>
                  </a:lnTo>
                  <a:lnTo>
                    <a:pt x="463" y="609"/>
                  </a:lnTo>
                  <a:lnTo>
                    <a:pt x="463" y="609"/>
                  </a:lnTo>
                  <a:lnTo>
                    <a:pt x="463" y="609"/>
                  </a:lnTo>
                  <a:lnTo>
                    <a:pt x="463" y="612"/>
                  </a:lnTo>
                  <a:lnTo>
                    <a:pt x="460" y="612"/>
                  </a:lnTo>
                  <a:lnTo>
                    <a:pt x="460" y="612"/>
                  </a:lnTo>
                  <a:lnTo>
                    <a:pt x="458" y="609"/>
                  </a:lnTo>
                  <a:lnTo>
                    <a:pt x="458" y="612"/>
                  </a:lnTo>
                  <a:lnTo>
                    <a:pt x="458" y="612"/>
                  </a:lnTo>
                  <a:lnTo>
                    <a:pt x="458" y="614"/>
                  </a:lnTo>
                  <a:lnTo>
                    <a:pt x="458" y="614"/>
                  </a:lnTo>
                  <a:lnTo>
                    <a:pt x="455" y="614"/>
                  </a:lnTo>
                  <a:lnTo>
                    <a:pt x="453" y="614"/>
                  </a:lnTo>
                  <a:lnTo>
                    <a:pt x="451" y="614"/>
                  </a:lnTo>
                  <a:lnTo>
                    <a:pt x="451" y="616"/>
                  </a:lnTo>
                  <a:lnTo>
                    <a:pt x="453" y="616"/>
                  </a:lnTo>
                  <a:lnTo>
                    <a:pt x="453" y="616"/>
                  </a:lnTo>
                  <a:lnTo>
                    <a:pt x="453" y="619"/>
                  </a:lnTo>
                  <a:lnTo>
                    <a:pt x="453" y="619"/>
                  </a:lnTo>
                  <a:lnTo>
                    <a:pt x="451" y="619"/>
                  </a:lnTo>
                  <a:lnTo>
                    <a:pt x="451" y="619"/>
                  </a:lnTo>
                  <a:lnTo>
                    <a:pt x="451" y="619"/>
                  </a:lnTo>
                  <a:lnTo>
                    <a:pt x="446" y="619"/>
                  </a:lnTo>
                  <a:lnTo>
                    <a:pt x="441" y="616"/>
                  </a:lnTo>
                  <a:lnTo>
                    <a:pt x="439" y="614"/>
                  </a:lnTo>
                  <a:lnTo>
                    <a:pt x="437" y="614"/>
                  </a:lnTo>
                  <a:lnTo>
                    <a:pt x="434" y="614"/>
                  </a:lnTo>
                  <a:lnTo>
                    <a:pt x="432" y="612"/>
                  </a:lnTo>
                  <a:lnTo>
                    <a:pt x="432" y="609"/>
                  </a:lnTo>
                  <a:lnTo>
                    <a:pt x="430" y="607"/>
                  </a:lnTo>
                  <a:lnTo>
                    <a:pt x="427" y="609"/>
                  </a:lnTo>
                  <a:lnTo>
                    <a:pt x="427" y="607"/>
                  </a:lnTo>
                  <a:lnTo>
                    <a:pt x="427" y="607"/>
                  </a:lnTo>
                  <a:lnTo>
                    <a:pt x="430" y="607"/>
                  </a:lnTo>
                  <a:lnTo>
                    <a:pt x="427" y="605"/>
                  </a:lnTo>
                  <a:lnTo>
                    <a:pt x="427" y="602"/>
                  </a:lnTo>
                  <a:lnTo>
                    <a:pt x="422" y="602"/>
                  </a:lnTo>
                  <a:lnTo>
                    <a:pt x="418" y="602"/>
                  </a:lnTo>
                  <a:lnTo>
                    <a:pt x="415" y="600"/>
                  </a:lnTo>
                  <a:lnTo>
                    <a:pt x="413" y="595"/>
                  </a:lnTo>
                  <a:lnTo>
                    <a:pt x="411" y="593"/>
                  </a:lnTo>
                  <a:lnTo>
                    <a:pt x="408" y="593"/>
                  </a:lnTo>
                  <a:lnTo>
                    <a:pt x="406" y="593"/>
                  </a:lnTo>
                  <a:lnTo>
                    <a:pt x="404" y="590"/>
                  </a:lnTo>
                  <a:lnTo>
                    <a:pt x="399" y="588"/>
                  </a:lnTo>
                  <a:lnTo>
                    <a:pt x="396" y="588"/>
                  </a:lnTo>
                  <a:lnTo>
                    <a:pt x="396" y="588"/>
                  </a:lnTo>
                  <a:lnTo>
                    <a:pt x="389" y="586"/>
                  </a:lnTo>
                  <a:lnTo>
                    <a:pt x="387" y="586"/>
                  </a:lnTo>
                  <a:lnTo>
                    <a:pt x="385" y="583"/>
                  </a:lnTo>
                  <a:lnTo>
                    <a:pt x="382" y="586"/>
                  </a:lnTo>
                  <a:lnTo>
                    <a:pt x="380" y="586"/>
                  </a:lnTo>
                  <a:lnTo>
                    <a:pt x="380" y="588"/>
                  </a:lnTo>
                  <a:lnTo>
                    <a:pt x="380" y="586"/>
                  </a:lnTo>
                  <a:lnTo>
                    <a:pt x="378" y="588"/>
                  </a:lnTo>
                  <a:lnTo>
                    <a:pt x="375" y="588"/>
                  </a:lnTo>
                  <a:lnTo>
                    <a:pt x="373" y="586"/>
                  </a:lnTo>
                  <a:lnTo>
                    <a:pt x="370" y="586"/>
                  </a:lnTo>
                  <a:lnTo>
                    <a:pt x="370" y="588"/>
                  </a:lnTo>
                  <a:lnTo>
                    <a:pt x="370" y="588"/>
                  </a:lnTo>
                  <a:lnTo>
                    <a:pt x="368" y="593"/>
                  </a:lnTo>
                  <a:lnTo>
                    <a:pt x="368" y="593"/>
                  </a:lnTo>
                  <a:lnTo>
                    <a:pt x="368" y="595"/>
                  </a:lnTo>
                  <a:lnTo>
                    <a:pt x="368" y="595"/>
                  </a:lnTo>
                  <a:lnTo>
                    <a:pt x="366" y="595"/>
                  </a:lnTo>
                  <a:lnTo>
                    <a:pt x="363" y="598"/>
                  </a:lnTo>
                  <a:lnTo>
                    <a:pt x="361" y="598"/>
                  </a:lnTo>
                  <a:lnTo>
                    <a:pt x="361" y="598"/>
                  </a:lnTo>
                  <a:lnTo>
                    <a:pt x="356" y="595"/>
                  </a:lnTo>
                  <a:lnTo>
                    <a:pt x="356" y="595"/>
                  </a:lnTo>
                  <a:lnTo>
                    <a:pt x="356" y="595"/>
                  </a:lnTo>
                  <a:lnTo>
                    <a:pt x="356" y="595"/>
                  </a:lnTo>
                  <a:lnTo>
                    <a:pt x="354" y="595"/>
                  </a:lnTo>
                  <a:lnTo>
                    <a:pt x="352" y="595"/>
                  </a:lnTo>
                  <a:lnTo>
                    <a:pt x="352" y="595"/>
                  </a:lnTo>
                  <a:lnTo>
                    <a:pt x="349" y="593"/>
                  </a:lnTo>
                  <a:lnTo>
                    <a:pt x="349" y="593"/>
                  </a:lnTo>
                  <a:lnTo>
                    <a:pt x="347" y="593"/>
                  </a:lnTo>
                  <a:lnTo>
                    <a:pt x="347" y="593"/>
                  </a:lnTo>
                  <a:lnTo>
                    <a:pt x="344" y="593"/>
                  </a:lnTo>
                  <a:lnTo>
                    <a:pt x="344" y="593"/>
                  </a:lnTo>
                  <a:lnTo>
                    <a:pt x="344" y="593"/>
                  </a:lnTo>
                  <a:lnTo>
                    <a:pt x="344" y="593"/>
                  </a:lnTo>
                  <a:lnTo>
                    <a:pt x="342" y="593"/>
                  </a:lnTo>
                  <a:lnTo>
                    <a:pt x="342" y="595"/>
                  </a:lnTo>
                  <a:lnTo>
                    <a:pt x="340" y="595"/>
                  </a:lnTo>
                  <a:lnTo>
                    <a:pt x="340" y="593"/>
                  </a:lnTo>
                  <a:lnTo>
                    <a:pt x="340" y="590"/>
                  </a:lnTo>
                  <a:lnTo>
                    <a:pt x="340" y="590"/>
                  </a:lnTo>
                  <a:lnTo>
                    <a:pt x="337" y="590"/>
                  </a:lnTo>
                  <a:lnTo>
                    <a:pt x="337" y="595"/>
                  </a:lnTo>
                  <a:lnTo>
                    <a:pt x="337" y="595"/>
                  </a:lnTo>
                  <a:lnTo>
                    <a:pt x="335" y="595"/>
                  </a:lnTo>
                  <a:lnTo>
                    <a:pt x="335" y="595"/>
                  </a:lnTo>
                  <a:lnTo>
                    <a:pt x="335" y="595"/>
                  </a:lnTo>
                  <a:lnTo>
                    <a:pt x="333" y="595"/>
                  </a:lnTo>
                  <a:lnTo>
                    <a:pt x="335" y="593"/>
                  </a:lnTo>
                  <a:lnTo>
                    <a:pt x="335" y="588"/>
                  </a:lnTo>
                  <a:lnTo>
                    <a:pt x="333" y="588"/>
                  </a:lnTo>
                  <a:lnTo>
                    <a:pt x="333" y="590"/>
                  </a:lnTo>
                  <a:lnTo>
                    <a:pt x="330" y="590"/>
                  </a:lnTo>
                  <a:lnTo>
                    <a:pt x="330" y="588"/>
                  </a:lnTo>
                  <a:lnTo>
                    <a:pt x="328" y="588"/>
                  </a:lnTo>
                  <a:lnTo>
                    <a:pt x="326" y="588"/>
                  </a:lnTo>
                  <a:lnTo>
                    <a:pt x="323" y="590"/>
                  </a:lnTo>
                  <a:lnTo>
                    <a:pt x="321" y="593"/>
                  </a:lnTo>
                  <a:lnTo>
                    <a:pt x="321" y="593"/>
                  </a:lnTo>
                  <a:lnTo>
                    <a:pt x="321" y="595"/>
                  </a:lnTo>
                  <a:lnTo>
                    <a:pt x="318" y="593"/>
                  </a:lnTo>
                  <a:lnTo>
                    <a:pt x="318" y="593"/>
                  </a:lnTo>
                  <a:lnTo>
                    <a:pt x="318" y="590"/>
                  </a:lnTo>
                  <a:lnTo>
                    <a:pt x="318" y="588"/>
                  </a:lnTo>
                  <a:lnTo>
                    <a:pt x="314" y="588"/>
                  </a:lnTo>
                  <a:lnTo>
                    <a:pt x="311" y="588"/>
                  </a:lnTo>
                  <a:lnTo>
                    <a:pt x="304" y="588"/>
                  </a:lnTo>
                  <a:lnTo>
                    <a:pt x="304" y="586"/>
                  </a:lnTo>
                  <a:lnTo>
                    <a:pt x="302" y="586"/>
                  </a:lnTo>
                  <a:lnTo>
                    <a:pt x="300" y="581"/>
                  </a:lnTo>
                  <a:lnTo>
                    <a:pt x="297" y="579"/>
                  </a:lnTo>
                  <a:lnTo>
                    <a:pt x="295" y="579"/>
                  </a:lnTo>
                  <a:lnTo>
                    <a:pt x="293" y="576"/>
                  </a:lnTo>
                  <a:lnTo>
                    <a:pt x="293" y="574"/>
                  </a:lnTo>
                  <a:lnTo>
                    <a:pt x="293" y="574"/>
                  </a:lnTo>
                  <a:lnTo>
                    <a:pt x="293" y="572"/>
                  </a:lnTo>
                  <a:lnTo>
                    <a:pt x="293" y="567"/>
                  </a:lnTo>
                  <a:lnTo>
                    <a:pt x="293" y="562"/>
                  </a:lnTo>
                  <a:lnTo>
                    <a:pt x="293" y="557"/>
                  </a:lnTo>
                  <a:lnTo>
                    <a:pt x="293" y="557"/>
                  </a:lnTo>
                  <a:lnTo>
                    <a:pt x="290" y="557"/>
                  </a:lnTo>
                  <a:lnTo>
                    <a:pt x="285" y="560"/>
                  </a:lnTo>
                  <a:lnTo>
                    <a:pt x="285" y="560"/>
                  </a:lnTo>
                  <a:lnTo>
                    <a:pt x="283" y="557"/>
                  </a:lnTo>
                  <a:lnTo>
                    <a:pt x="283" y="557"/>
                  </a:lnTo>
                  <a:lnTo>
                    <a:pt x="281" y="557"/>
                  </a:lnTo>
                  <a:lnTo>
                    <a:pt x="278" y="557"/>
                  </a:lnTo>
                  <a:lnTo>
                    <a:pt x="271" y="555"/>
                  </a:lnTo>
                  <a:lnTo>
                    <a:pt x="267" y="553"/>
                  </a:lnTo>
                  <a:lnTo>
                    <a:pt x="267" y="550"/>
                  </a:lnTo>
                  <a:lnTo>
                    <a:pt x="264" y="548"/>
                  </a:lnTo>
                  <a:lnTo>
                    <a:pt x="267" y="546"/>
                  </a:lnTo>
                  <a:lnTo>
                    <a:pt x="267" y="541"/>
                  </a:lnTo>
                  <a:lnTo>
                    <a:pt x="267" y="541"/>
                  </a:lnTo>
                  <a:lnTo>
                    <a:pt x="267" y="538"/>
                  </a:lnTo>
                  <a:lnTo>
                    <a:pt x="264" y="541"/>
                  </a:lnTo>
                  <a:lnTo>
                    <a:pt x="262" y="541"/>
                  </a:lnTo>
                  <a:lnTo>
                    <a:pt x="262" y="543"/>
                  </a:lnTo>
                  <a:lnTo>
                    <a:pt x="262" y="546"/>
                  </a:lnTo>
                  <a:lnTo>
                    <a:pt x="262" y="548"/>
                  </a:lnTo>
                  <a:lnTo>
                    <a:pt x="259" y="548"/>
                  </a:lnTo>
                  <a:lnTo>
                    <a:pt x="259" y="548"/>
                  </a:lnTo>
                  <a:lnTo>
                    <a:pt x="259" y="548"/>
                  </a:lnTo>
                  <a:lnTo>
                    <a:pt x="259" y="543"/>
                  </a:lnTo>
                  <a:lnTo>
                    <a:pt x="259" y="541"/>
                  </a:lnTo>
                  <a:lnTo>
                    <a:pt x="259" y="541"/>
                  </a:lnTo>
                  <a:lnTo>
                    <a:pt x="257" y="538"/>
                  </a:lnTo>
                  <a:lnTo>
                    <a:pt x="255" y="538"/>
                  </a:lnTo>
                  <a:lnTo>
                    <a:pt x="252" y="541"/>
                  </a:lnTo>
                  <a:lnTo>
                    <a:pt x="250" y="546"/>
                  </a:lnTo>
                  <a:lnTo>
                    <a:pt x="250" y="546"/>
                  </a:lnTo>
                  <a:lnTo>
                    <a:pt x="250" y="543"/>
                  </a:lnTo>
                  <a:lnTo>
                    <a:pt x="250" y="541"/>
                  </a:lnTo>
                  <a:lnTo>
                    <a:pt x="250" y="538"/>
                  </a:lnTo>
                  <a:lnTo>
                    <a:pt x="252" y="538"/>
                  </a:lnTo>
                  <a:lnTo>
                    <a:pt x="252" y="536"/>
                  </a:lnTo>
                  <a:lnTo>
                    <a:pt x="252" y="534"/>
                  </a:lnTo>
                  <a:lnTo>
                    <a:pt x="250" y="531"/>
                  </a:lnTo>
                  <a:lnTo>
                    <a:pt x="250" y="529"/>
                  </a:lnTo>
                  <a:lnTo>
                    <a:pt x="248" y="529"/>
                  </a:lnTo>
                  <a:lnTo>
                    <a:pt x="248" y="529"/>
                  </a:lnTo>
                  <a:lnTo>
                    <a:pt x="243" y="529"/>
                  </a:lnTo>
                  <a:lnTo>
                    <a:pt x="241" y="531"/>
                  </a:lnTo>
                  <a:lnTo>
                    <a:pt x="238" y="531"/>
                  </a:lnTo>
                  <a:lnTo>
                    <a:pt x="236" y="529"/>
                  </a:lnTo>
                  <a:lnTo>
                    <a:pt x="236" y="527"/>
                  </a:lnTo>
                  <a:lnTo>
                    <a:pt x="233" y="529"/>
                  </a:lnTo>
                  <a:lnTo>
                    <a:pt x="233" y="531"/>
                  </a:lnTo>
                  <a:lnTo>
                    <a:pt x="231" y="531"/>
                  </a:lnTo>
                  <a:lnTo>
                    <a:pt x="231" y="531"/>
                  </a:lnTo>
                  <a:lnTo>
                    <a:pt x="229" y="527"/>
                  </a:lnTo>
                  <a:lnTo>
                    <a:pt x="229" y="527"/>
                  </a:lnTo>
                  <a:lnTo>
                    <a:pt x="226" y="529"/>
                  </a:lnTo>
                  <a:lnTo>
                    <a:pt x="224" y="529"/>
                  </a:lnTo>
                  <a:lnTo>
                    <a:pt x="224" y="527"/>
                  </a:lnTo>
                  <a:lnTo>
                    <a:pt x="226" y="524"/>
                  </a:lnTo>
                  <a:lnTo>
                    <a:pt x="224" y="524"/>
                  </a:lnTo>
                  <a:lnTo>
                    <a:pt x="224" y="524"/>
                  </a:lnTo>
                  <a:lnTo>
                    <a:pt x="224" y="524"/>
                  </a:lnTo>
                  <a:lnTo>
                    <a:pt x="226" y="522"/>
                  </a:lnTo>
                  <a:lnTo>
                    <a:pt x="229" y="515"/>
                  </a:lnTo>
                  <a:lnTo>
                    <a:pt x="226" y="515"/>
                  </a:lnTo>
                  <a:lnTo>
                    <a:pt x="224" y="512"/>
                  </a:lnTo>
                  <a:lnTo>
                    <a:pt x="222" y="512"/>
                  </a:lnTo>
                  <a:lnTo>
                    <a:pt x="219" y="510"/>
                  </a:lnTo>
                  <a:lnTo>
                    <a:pt x="219" y="510"/>
                  </a:lnTo>
                  <a:lnTo>
                    <a:pt x="222" y="505"/>
                  </a:lnTo>
                  <a:lnTo>
                    <a:pt x="222" y="501"/>
                  </a:lnTo>
                  <a:lnTo>
                    <a:pt x="219" y="494"/>
                  </a:lnTo>
                  <a:lnTo>
                    <a:pt x="219" y="491"/>
                  </a:lnTo>
                  <a:lnTo>
                    <a:pt x="219" y="491"/>
                  </a:lnTo>
                  <a:lnTo>
                    <a:pt x="217" y="491"/>
                  </a:lnTo>
                  <a:lnTo>
                    <a:pt x="212" y="491"/>
                  </a:lnTo>
                  <a:lnTo>
                    <a:pt x="205" y="491"/>
                  </a:lnTo>
                  <a:lnTo>
                    <a:pt x="205" y="494"/>
                  </a:lnTo>
                  <a:lnTo>
                    <a:pt x="207" y="494"/>
                  </a:lnTo>
                  <a:lnTo>
                    <a:pt x="207" y="496"/>
                  </a:lnTo>
                  <a:lnTo>
                    <a:pt x="207" y="496"/>
                  </a:lnTo>
                  <a:lnTo>
                    <a:pt x="205" y="496"/>
                  </a:lnTo>
                  <a:lnTo>
                    <a:pt x="200" y="494"/>
                  </a:lnTo>
                  <a:lnTo>
                    <a:pt x="196" y="491"/>
                  </a:lnTo>
                  <a:lnTo>
                    <a:pt x="196" y="491"/>
                  </a:lnTo>
                  <a:lnTo>
                    <a:pt x="196" y="489"/>
                  </a:lnTo>
                  <a:lnTo>
                    <a:pt x="200" y="487"/>
                  </a:lnTo>
                  <a:lnTo>
                    <a:pt x="203" y="482"/>
                  </a:lnTo>
                  <a:lnTo>
                    <a:pt x="203" y="482"/>
                  </a:lnTo>
                  <a:lnTo>
                    <a:pt x="200" y="477"/>
                  </a:lnTo>
                  <a:lnTo>
                    <a:pt x="200" y="477"/>
                  </a:lnTo>
                  <a:lnTo>
                    <a:pt x="200" y="475"/>
                  </a:lnTo>
                  <a:lnTo>
                    <a:pt x="200" y="475"/>
                  </a:lnTo>
                  <a:lnTo>
                    <a:pt x="200" y="472"/>
                  </a:lnTo>
                  <a:lnTo>
                    <a:pt x="203" y="470"/>
                  </a:lnTo>
                  <a:lnTo>
                    <a:pt x="203" y="468"/>
                  </a:lnTo>
                  <a:lnTo>
                    <a:pt x="203" y="465"/>
                  </a:lnTo>
                  <a:lnTo>
                    <a:pt x="200" y="465"/>
                  </a:lnTo>
                  <a:lnTo>
                    <a:pt x="196" y="465"/>
                  </a:lnTo>
                  <a:lnTo>
                    <a:pt x="191" y="463"/>
                  </a:lnTo>
                  <a:lnTo>
                    <a:pt x="191" y="463"/>
                  </a:lnTo>
                  <a:lnTo>
                    <a:pt x="191" y="463"/>
                  </a:lnTo>
                  <a:lnTo>
                    <a:pt x="189" y="453"/>
                  </a:lnTo>
                  <a:lnTo>
                    <a:pt x="189" y="449"/>
                  </a:lnTo>
                  <a:lnTo>
                    <a:pt x="186" y="444"/>
                  </a:lnTo>
                  <a:lnTo>
                    <a:pt x="186" y="442"/>
                  </a:lnTo>
                  <a:lnTo>
                    <a:pt x="191" y="442"/>
                  </a:lnTo>
                  <a:lnTo>
                    <a:pt x="193" y="439"/>
                  </a:lnTo>
                  <a:lnTo>
                    <a:pt x="191" y="439"/>
                  </a:lnTo>
                  <a:lnTo>
                    <a:pt x="186" y="439"/>
                  </a:lnTo>
                  <a:lnTo>
                    <a:pt x="186" y="437"/>
                  </a:lnTo>
                  <a:lnTo>
                    <a:pt x="184" y="430"/>
                  </a:lnTo>
                  <a:lnTo>
                    <a:pt x="184" y="427"/>
                  </a:lnTo>
                  <a:lnTo>
                    <a:pt x="184" y="425"/>
                  </a:lnTo>
                  <a:lnTo>
                    <a:pt x="189" y="425"/>
                  </a:lnTo>
                  <a:lnTo>
                    <a:pt x="189" y="423"/>
                  </a:lnTo>
                  <a:lnTo>
                    <a:pt x="189" y="423"/>
                  </a:lnTo>
                  <a:lnTo>
                    <a:pt x="186" y="423"/>
                  </a:lnTo>
                  <a:lnTo>
                    <a:pt x="186" y="423"/>
                  </a:lnTo>
                  <a:lnTo>
                    <a:pt x="184" y="423"/>
                  </a:lnTo>
                  <a:lnTo>
                    <a:pt x="184" y="418"/>
                  </a:lnTo>
                  <a:lnTo>
                    <a:pt x="184" y="416"/>
                  </a:lnTo>
                  <a:lnTo>
                    <a:pt x="184" y="413"/>
                  </a:lnTo>
                  <a:lnTo>
                    <a:pt x="186" y="411"/>
                  </a:lnTo>
                  <a:lnTo>
                    <a:pt x="193" y="409"/>
                  </a:lnTo>
                  <a:lnTo>
                    <a:pt x="193" y="409"/>
                  </a:lnTo>
                  <a:lnTo>
                    <a:pt x="193" y="406"/>
                  </a:lnTo>
                  <a:lnTo>
                    <a:pt x="191" y="401"/>
                  </a:lnTo>
                  <a:lnTo>
                    <a:pt x="191" y="401"/>
                  </a:lnTo>
                  <a:lnTo>
                    <a:pt x="196" y="399"/>
                  </a:lnTo>
                  <a:lnTo>
                    <a:pt x="198" y="397"/>
                  </a:lnTo>
                  <a:lnTo>
                    <a:pt x="198" y="394"/>
                  </a:lnTo>
                  <a:lnTo>
                    <a:pt x="196" y="392"/>
                  </a:lnTo>
                  <a:lnTo>
                    <a:pt x="193" y="390"/>
                  </a:lnTo>
                  <a:lnTo>
                    <a:pt x="193" y="387"/>
                  </a:lnTo>
                  <a:lnTo>
                    <a:pt x="193" y="387"/>
                  </a:lnTo>
                  <a:lnTo>
                    <a:pt x="196" y="387"/>
                  </a:lnTo>
                  <a:lnTo>
                    <a:pt x="193" y="380"/>
                  </a:lnTo>
                  <a:lnTo>
                    <a:pt x="189" y="373"/>
                  </a:lnTo>
                  <a:lnTo>
                    <a:pt x="186" y="373"/>
                  </a:lnTo>
                  <a:lnTo>
                    <a:pt x="184" y="373"/>
                  </a:lnTo>
                  <a:lnTo>
                    <a:pt x="184" y="371"/>
                  </a:lnTo>
                  <a:lnTo>
                    <a:pt x="184" y="368"/>
                  </a:lnTo>
                  <a:lnTo>
                    <a:pt x="184" y="368"/>
                  </a:lnTo>
                  <a:lnTo>
                    <a:pt x="186" y="366"/>
                  </a:lnTo>
                  <a:lnTo>
                    <a:pt x="184" y="364"/>
                  </a:lnTo>
                  <a:lnTo>
                    <a:pt x="186" y="361"/>
                  </a:lnTo>
                  <a:lnTo>
                    <a:pt x="186" y="357"/>
                  </a:lnTo>
                  <a:lnTo>
                    <a:pt x="184" y="354"/>
                  </a:lnTo>
                  <a:lnTo>
                    <a:pt x="184" y="352"/>
                  </a:lnTo>
                  <a:lnTo>
                    <a:pt x="181" y="352"/>
                  </a:lnTo>
                  <a:lnTo>
                    <a:pt x="179" y="352"/>
                  </a:lnTo>
                  <a:lnTo>
                    <a:pt x="177" y="349"/>
                  </a:lnTo>
                  <a:lnTo>
                    <a:pt x="177" y="349"/>
                  </a:lnTo>
                  <a:lnTo>
                    <a:pt x="177" y="349"/>
                  </a:lnTo>
                  <a:lnTo>
                    <a:pt x="177" y="347"/>
                  </a:lnTo>
                  <a:lnTo>
                    <a:pt x="177" y="347"/>
                  </a:lnTo>
                  <a:lnTo>
                    <a:pt x="177" y="345"/>
                  </a:lnTo>
                  <a:lnTo>
                    <a:pt x="179" y="345"/>
                  </a:lnTo>
                  <a:lnTo>
                    <a:pt x="179" y="345"/>
                  </a:lnTo>
                  <a:lnTo>
                    <a:pt x="179" y="342"/>
                  </a:lnTo>
                  <a:lnTo>
                    <a:pt x="177" y="340"/>
                  </a:lnTo>
                  <a:lnTo>
                    <a:pt x="177" y="338"/>
                  </a:lnTo>
                  <a:lnTo>
                    <a:pt x="177" y="333"/>
                  </a:lnTo>
                  <a:lnTo>
                    <a:pt x="174" y="331"/>
                  </a:lnTo>
                  <a:lnTo>
                    <a:pt x="174" y="331"/>
                  </a:lnTo>
                  <a:lnTo>
                    <a:pt x="174" y="328"/>
                  </a:lnTo>
                  <a:lnTo>
                    <a:pt x="177" y="328"/>
                  </a:lnTo>
                  <a:lnTo>
                    <a:pt x="179" y="326"/>
                  </a:lnTo>
                  <a:lnTo>
                    <a:pt x="181" y="324"/>
                  </a:lnTo>
                  <a:lnTo>
                    <a:pt x="181" y="319"/>
                  </a:lnTo>
                  <a:lnTo>
                    <a:pt x="179" y="316"/>
                  </a:lnTo>
                  <a:lnTo>
                    <a:pt x="181" y="312"/>
                  </a:lnTo>
                  <a:lnTo>
                    <a:pt x="184" y="312"/>
                  </a:lnTo>
                  <a:lnTo>
                    <a:pt x="186" y="309"/>
                  </a:lnTo>
                  <a:lnTo>
                    <a:pt x="189" y="307"/>
                  </a:lnTo>
                  <a:lnTo>
                    <a:pt x="191" y="300"/>
                  </a:lnTo>
                  <a:lnTo>
                    <a:pt x="191" y="300"/>
                  </a:lnTo>
                  <a:lnTo>
                    <a:pt x="191" y="298"/>
                  </a:lnTo>
                  <a:lnTo>
                    <a:pt x="193" y="298"/>
                  </a:lnTo>
                  <a:lnTo>
                    <a:pt x="193" y="295"/>
                  </a:lnTo>
                  <a:lnTo>
                    <a:pt x="193" y="295"/>
                  </a:lnTo>
                  <a:lnTo>
                    <a:pt x="191" y="290"/>
                  </a:lnTo>
                  <a:lnTo>
                    <a:pt x="191" y="288"/>
                  </a:lnTo>
                  <a:lnTo>
                    <a:pt x="191" y="286"/>
                  </a:lnTo>
                  <a:lnTo>
                    <a:pt x="191" y="281"/>
                  </a:lnTo>
                  <a:lnTo>
                    <a:pt x="189" y="279"/>
                  </a:lnTo>
                  <a:lnTo>
                    <a:pt x="189" y="274"/>
                  </a:lnTo>
                  <a:lnTo>
                    <a:pt x="186" y="274"/>
                  </a:lnTo>
                  <a:lnTo>
                    <a:pt x="189" y="267"/>
                  </a:lnTo>
                  <a:lnTo>
                    <a:pt x="189" y="264"/>
                  </a:lnTo>
                  <a:lnTo>
                    <a:pt x="186" y="262"/>
                  </a:lnTo>
                  <a:lnTo>
                    <a:pt x="186" y="260"/>
                  </a:lnTo>
                  <a:lnTo>
                    <a:pt x="186" y="257"/>
                  </a:lnTo>
                  <a:lnTo>
                    <a:pt x="189" y="255"/>
                  </a:lnTo>
                  <a:lnTo>
                    <a:pt x="193" y="250"/>
                  </a:lnTo>
                  <a:lnTo>
                    <a:pt x="193" y="246"/>
                  </a:lnTo>
                  <a:lnTo>
                    <a:pt x="193" y="246"/>
                  </a:lnTo>
                  <a:lnTo>
                    <a:pt x="189" y="243"/>
                  </a:lnTo>
                  <a:lnTo>
                    <a:pt x="186" y="238"/>
                  </a:lnTo>
                  <a:lnTo>
                    <a:pt x="186" y="234"/>
                  </a:lnTo>
                  <a:lnTo>
                    <a:pt x="184" y="231"/>
                  </a:lnTo>
                  <a:lnTo>
                    <a:pt x="184" y="229"/>
                  </a:lnTo>
                  <a:lnTo>
                    <a:pt x="179" y="227"/>
                  </a:lnTo>
                  <a:lnTo>
                    <a:pt x="172" y="224"/>
                  </a:lnTo>
                  <a:lnTo>
                    <a:pt x="172" y="224"/>
                  </a:lnTo>
                  <a:lnTo>
                    <a:pt x="174" y="224"/>
                  </a:lnTo>
                  <a:lnTo>
                    <a:pt x="174" y="227"/>
                  </a:lnTo>
                  <a:lnTo>
                    <a:pt x="172" y="227"/>
                  </a:lnTo>
                  <a:lnTo>
                    <a:pt x="170" y="229"/>
                  </a:lnTo>
                  <a:lnTo>
                    <a:pt x="167" y="229"/>
                  </a:lnTo>
                  <a:lnTo>
                    <a:pt x="167" y="229"/>
                  </a:lnTo>
                  <a:lnTo>
                    <a:pt x="167" y="229"/>
                  </a:lnTo>
                  <a:lnTo>
                    <a:pt x="167" y="231"/>
                  </a:lnTo>
                  <a:lnTo>
                    <a:pt x="165" y="231"/>
                  </a:lnTo>
                  <a:lnTo>
                    <a:pt x="165" y="236"/>
                  </a:lnTo>
                  <a:lnTo>
                    <a:pt x="165" y="238"/>
                  </a:lnTo>
                  <a:lnTo>
                    <a:pt x="165" y="238"/>
                  </a:lnTo>
                  <a:lnTo>
                    <a:pt x="165" y="238"/>
                  </a:lnTo>
                  <a:lnTo>
                    <a:pt x="160" y="238"/>
                  </a:lnTo>
                  <a:lnTo>
                    <a:pt x="160" y="241"/>
                  </a:lnTo>
                  <a:lnTo>
                    <a:pt x="158" y="241"/>
                  </a:lnTo>
                  <a:lnTo>
                    <a:pt x="158" y="243"/>
                  </a:lnTo>
                  <a:lnTo>
                    <a:pt x="158" y="243"/>
                  </a:lnTo>
                  <a:lnTo>
                    <a:pt x="158" y="246"/>
                  </a:lnTo>
                  <a:lnTo>
                    <a:pt x="158" y="246"/>
                  </a:lnTo>
                  <a:lnTo>
                    <a:pt x="158" y="246"/>
                  </a:lnTo>
                  <a:lnTo>
                    <a:pt x="158" y="246"/>
                  </a:lnTo>
                  <a:lnTo>
                    <a:pt x="153" y="246"/>
                  </a:lnTo>
                  <a:lnTo>
                    <a:pt x="153" y="243"/>
                  </a:lnTo>
                  <a:lnTo>
                    <a:pt x="153" y="243"/>
                  </a:lnTo>
                  <a:lnTo>
                    <a:pt x="151" y="246"/>
                  </a:lnTo>
                  <a:lnTo>
                    <a:pt x="151" y="246"/>
                  </a:lnTo>
                  <a:lnTo>
                    <a:pt x="148" y="246"/>
                  </a:lnTo>
                  <a:lnTo>
                    <a:pt x="148" y="241"/>
                  </a:lnTo>
                  <a:lnTo>
                    <a:pt x="148" y="241"/>
                  </a:lnTo>
                  <a:lnTo>
                    <a:pt x="146" y="243"/>
                  </a:lnTo>
                  <a:lnTo>
                    <a:pt x="146" y="243"/>
                  </a:lnTo>
                  <a:lnTo>
                    <a:pt x="146" y="241"/>
                  </a:lnTo>
                  <a:lnTo>
                    <a:pt x="148" y="238"/>
                  </a:lnTo>
                  <a:lnTo>
                    <a:pt x="146" y="238"/>
                  </a:lnTo>
                  <a:lnTo>
                    <a:pt x="146" y="238"/>
                  </a:lnTo>
                  <a:lnTo>
                    <a:pt x="144" y="238"/>
                  </a:lnTo>
                  <a:lnTo>
                    <a:pt x="141" y="241"/>
                  </a:lnTo>
                  <a:lnTo>
                    <a:pt x="141" y="243"/>
                  </a:lnTo>
                  <a:lnTo>
                    <a:pt x="139" y="241"/>
                  </a:lnTo>
                  <a:lnTo>
                    <a:pt x="141" y="238"/>
                  </a:lnTo>
                  <a:lnTo>
                    <a:pt x="139" y="236"/>
                  </a:lnTo>
                  <a:lnTo>
                    <a:pt x="139" y="236"/>
                  </a:lnTo>
                  <a:lnTo>
                    <a:pt x="139" y="236"/>
                  </a:lnTo>
                  <a:lnTo>
                    <a:pt x="141" y="236"/>
                  </a:lnTo>
                  <a:lnTo>
                    <a:pt x="141" y="236"/>
                  </a:lnTo>
                  <a:lnTo>
                    <a:pt x="144" y="236"/>
                  </a:lnTo>
                  <a:lnTo>
                    <a:pt x="141" y="236"/>
                  </a:lnTo>
                  <a:lnTo>
                    <a:pt x="141" y="234"/>
                  </a:lnTo>
                  <a:lnTo>
                    <a:pt x="141" y="234"/>
                  </a:lnTo>
                  <a:lnTo>
                    <a:pt x="139" y="236"/>
                  </a:lnTo>
                  <a:lnTo>
                    <a:pt x="139" y="236"/>
                  </a:lnTo>
                  <a:lnTo>
                    <a:pt x="137" y="236"/>
                  </a:lnTo>
                  <a:lnTo>
                    <a:pt x="137" y="236"/>
                  </a:lnTo>
                  <a:lnTo>
                    <a:pt x="137" y="238"/>
                  </a:lnTo>
                  <a:lnTo>
                    <a:pt x="134" y="238"/>
                  </a:lnTo>
                  <a:lnTo>
                    <a:pt x="132" y="236"/>
                  </a:lnTo>
                  <a:lnTo>
                    <a:pt x="132" y="236"/>
                  </a:lnTo>
                  <a:lnTo>
                    <a:pt x="132" y="234"/>
                  </a:lnTo>
                  <a:lnTo>
                    <a:pt x="132" y="231"/>
                  </a:lnTo>
                  <a:lnTo>
                    <a:pt x="130" y="234"/>
                  </a:lnTo>
                  <a:lnTo>
                    <a:pt x="130" y="234"/>
                  </a:lnTo>
                  <a:lnTo>
                    <a:pt x="132" y="236"/>
                  </a:lnTo>
                  <a:lnTo>
                    <a:pt x="130" y="236"/>
                  </a:lnTo>
                  <a:lnTo>
                    <a:pt x="130" y="238"/>
                  </a:lnTo>
                  <a:lnTo>
                    <a:pt x="130" y="238"/>
                  </a:lnTo>
                  <a:lnTo>
                    <a:pt x="127" y="238"/>
                  </a:lnTo>
                  <a:lnTo>
                    <a:pt x="127" y="238"/>
                  </a:lnTo>
                  <a:lnTo>
                    <a:pt x="127" y="238"/>
                  </a:lnTo>
                  <a:lnTo>
                    <a:pt x="127" y="236"/>
                  </a:lnTo>
                  <a:lnTo>
                    <a:pt x="127" y="236"/>
                  </a:lnTo>
                  <a:lnTo>
                    <a:pt x="127" y="236"/>
                  </a:lnTo>
                  <a:lnTo>
                    <a:pt x="127" y="236"/>
                  </a:lnTo>
                  <a:lnTo>
                    <a:pt x="127" y="234"/>
                  </a:lnTo>
                  <a:lnTo>
                    <a:pt x="125" y="234"/>
                  </a:lnTo>
                  <a:lnTo>
                    <a:pt x="125" y="236"/>
                  </a:lnTo>
                  <a:lnTo>
                    <a:pt x="122" y="236"/>
                  </a:lnTo>
                  <a:lnTo>
                    <a:pt x="122" y="238"/>
                  </a:lnTo>
                  <a:lnTo>
                    <a:pt x="122" y="238"/>
                  </a:lnTo>
                  <a:lnTo>
                    <a:pt x="122" y="238"/>
                  </a:lnTo>
                  <a:lnTo>
                    <a:pt x="120" y="238"/>
                  </a:lnTo>
                  <a:lnTo>
                    <a:pt x="118" y="238"/>
                  </a:lnTo>
                  <a:lnTo>
                    <a:pt x="120" y="238"/>
                  </a:lnTo>
                  <a:lnTo>
                    <a:pt x="120" y="236"/>
                  </a:lnTo>
                  <a:lnTo>
                    <a:pt x="120" y="236"/>
                  </a:lnTo>
                  <a:lnTo>
                    <a:pt x="120" y="236"/>
                  </a:lnTo>
                  <a:lnTo>
                    <a:pt x="118" y="234"/>
                  </a:lnTo>
                  <a:lnTo>
                    <a:pt x="118" y="234"/>
                  </a:lnTo>
                  <a:lnTo>
                    <a:pt x="115" y="236"/>
                  </a:lnTo>
                  <a:lnTo>
                    <a:pt x="115" y="236"/>
                  </a:lnTo>
                  <a:lnTo>
                    <a:pt x="113" y="236"/>
                  </a:lnTo>
                  <a:lnTo>
                    <a:pt x="113" y="234"/>
                  </a:lnTo>
                  <a:lnTo>
                    <a:pt x="113" y="234"/>
                  </a:lnTo>
                  <a:lnTo>
                    <a:pt x="111" y="236"/>
                  </a:lnTo>
                  <a:lnTo>
                    <a:pt x="113" y="236"/>
                  </a:lnTo>
                  <a:lnTo>
                    <a:pt x="111" y="236"/>
                  </a:lnTo>
                  <a:lnTo>
                    <a:pt x="111" y="236"/>
                  </a:lnTo>
                  <a:lnTo>
                    <a:pt x="111" y="236"/>
                  </a:lnTo>
                  <a:lnTo>
                    <a:pt x="111" y="236"/>
                  </a:lnTo>
                  <a:lnTo>
                    <a:pt x="108" y="236"/>
                  </a:lnTo>
                  <a:lnTo>
                    <a:pt x="106" y="236"/>
                  </a:lnTo>
                  <a:lnTo>
                    <a:pt x="106" y="241"/>
                  </a:lnTo>
                  <a:lnTo>
                    <a:pt x="108" y="241"/>
                  </a:lnTo>
                  <a:lnTo>
                    <a:pt x="106" y="241"/>
                  </a:lnTo>
                  <a:lnTo>
                    <a:pt x="104" y="241"/>
                  </a:lnTo>
                  <a:lnTo>
                    <a:pt x="104" y="243"/>
                  </a:lnTo>
                  <a:lnTo>
                    <a:pt x="104" y="241"/>
                  </a:lnTo>
                  <a:lnTo>
                    <a:pt x="104" y="241"/>
                  </a:lnTo>
                  <a:lnTo>
                    <a:pt x="104" y="238"/>
                  </a:lnTo>
                  <a:lnTo>
                    <a:pt x="101" y="243"/>
                  </a:lnTo>
                  <a:lnTo>
                    <a:pt x="99" y="243"/>
                  </a:lnTo>
                  <a:lnTo>
                    <a:pt x="99" y="238"/>
                  </a:lnTo>
                  <a:lnTo>
                    <a:pt x="94" y="238"/>
                  </a:lnTo>
                  <a:lnTo>
                    <a:pt x="92" y="238"/>
                  </a:lnTo>
                  <a:lnTo>
                    <a:pt x="92" y="241"/>
                  </a:lnTo>
                  <a:lnTo>
                    <a:pt x="92" y="241"/>
                  </a:lnTo>
                  <a:lnTo>
                    <a:pt x="92" y="243"/>
                  </a:lnTo>
                  <a:lnTo>
                    <a:pt x="89" y="241"/>
                  </a:lnTo>
                  <a:lnTo>
                    <a:pt x="89" y="238"/>
                  </a:lnTo>
                  <a:lnTo>
                    <a:pt x="89" y="238"/>
                  </a:lnTo>
                  <a:lnTo>
                    <a:pt x="89" y="238"/>
                  </a:lnTo>
                  <a:lnTo>
                    <a:pt x="87" y="238"/>
                  </a:lnTo>
                  <a:lnTo>
                    <a:pt x="87" y="238"/>
                  </a:lnTo>
                  <a:lnTo>
                    <a:pt x="87" y="238"/>
                  </a:lnTo>
                  <a:lnTo>
                    <a:pt x="87" y="238"/>
                  </a:lnTo>
                  <a:lnTo>
                    <a:pt x="85" y="238"/>
                  </a:lnTo>
                  <a:lnTo>
                    <a:pt x="85" y="238"/>
                  </a:lnTo>
                  <a:lnTo>
                    <a:pt x="85" y="238"/>
                  </a:lnTo>
                  <a:lnTo>
                    <a:pt x="82" y="238"/>
                  </a:lnTo>
                  <a:lnTo>
                    <a:pt x="80" y="238"/>
                  </a:lnTo>
                  <a:lnTo>
                    <a:pt x="80" y="241"/>
                  </a:lnTo>
                  <a:lnTo>
                    <a:pt x="78" y="241"/>
                  </a:lnTo>
                  <a:lnTo>
                    <a:pt x="78" y="243"/>
                  </a:lnTo>
                  <a:lnTo>
                    <a:pt x="78" y="243"/>
                  </a:lnTo>
                  <a:lnTo>
                    <a:pt x="78" y="243"/>
                  </a:lnTo>
                  <a:lnTo>
                    <a:pt x="78" y="243"/>
                  </a:lnTo>
                  <a:lnTo>
                    <a:pt x="78" y="243"/>
                  </a:lnTo>
                  <a:lnTo>
                    <a:pt x="75" y="246"/>
                  </a:lnTo>
                  <a:lnTo>
                    <a:pt x="75" y="246"/>
                  </a:lnTo>
                  <a:lnTo>
                    <a:pt x="75" y="243"/>
                  </a:lnTo>
                  <a:lnTo>
                    <a:pt x="73" y="243"/>
                  </a:lnTo>
                  <a:lnTo>
                    <a:pt x="73" y="243"/>
                  </a:lnTo>
                  <a:lnTo>
                    <a:pt x="70" y="243"/>
                  </a:lnTo>
                  <a:lnTo>
                    <a:pt x="70" y="243"/>
                  </a:lnTo>
                  <a:lnTo>
                    <a:pt x="70" y="246"/>
                  </a:lnTo>
                  <a:lnTo>
                    <a:pt x="68" y="246"/>
                  </a:lnTo>
                  <a:lnTo>
                    <a:pt x="68" y="246"/>
                  </a:lnTo>
                  <a:lnTo>
                    <a:pt x="68" y="243"/>
                  </a:lnTo>
                  <a:lnTo>
                    <a:pt x="66" y="246"/>
                  </a:lnTo>
                  <a:lnTo>
                    <a:pt x="66" y="246"/>
                  </a:lnTo>
                  <a:lnTo>
                    <a:pt x="66" y="246"/>
                  </a:lnTo>
                  <a:lnTo>
                    <a:pt x="63" y="246"/>
                  </a:lnTo>
                  <a:lnTo>
                    <a:pt x="63" y="246"/>
                  </a:lnTo>
                  <a:lnTo>
                    <a:pt x="63" y="246"/>
                  </a:lnTo>
                  <a:lnTo>
                    <a:pt x="61" y="246"/>
                  </a:lnTo>
                  <a:lnTo>
                    <a:pt x="59" y="246"/>
                  </a:lnTo>
                  <a:lnTo>
                    <a:pt x="56" y="246"/>
                  </a:lnTo>
                  <a:lnTo>
                    <a:pt x="56" y="248"/>
                  </a:lnTo>
                  <a:lnTo>
                    <a:pt x="56" y="248"/>
                  </a:lnTo>
                  <a:lnTo>
                    <a:pt x="54" y="250"/>
                  </a:lnTo>
                  <a:lnTo>
                    <a:pt x="52" y="248"/>
                  </a:lnTo>
                  <a:lnTo>
                    <a:pt x="52" y="250"/>
                  </a:lnTo>
                  <a:lnTo>
                    <a:pt x="49" y="250"/>
                  </a:lnTo>
                  <a:lnTo>
                    <a:pt x="49" y="253"/>
                  </a:lnTo>
                  <a:lnTo>
                    <a:pt x="49" y="253"/>
                  </a:lnTo>
                  <a:lnTo>
                    <a:pt x="49" y="253"/>
                  </a:lnTo>
                  <a:lnTo>
                    <a:pt x="49" y="253"/>
                  </a:lnTo>
                  <a:lnTo>
                    <a:pt x="49" y="253"/>
                  </a:lnTo>
                  <a:lnTo>
                    <a:pt x="49" y="253"/>
                  </a:lnTo>
                  <a:lnTo>
                    <a:pt x="47" y="253"/>
                  </a:lnTo>
                  <a:lnTo>
                    <a:pt x="49" y="250"/>
                  </a:lnTo>
                  <a:lnTo>
                    <a:pt x="47" y="248"/>
                  </a:lnTo>
                  <a:lnTo>
                    <a:pt x="47" y="250"/>
                  </a:lnTo>
                  <a:lnTo>
                    <a:pt x="44" y="250"/>
                  </a:lnTo>
                  <a:lnTo>
                    <a:pt x="44" y="250"/>
                  </a:lnTo>
                  <a:lnTo>
                    <a:pt x="44" y="250"/>
                  </a:lnTo>
                  <a:lnTo>
                    <a:pt x="42" y="250"/>
                  </a:lnTo>
                  <a:lnTo>
                    <a:pt x="42" y="250"/>
                  </a:lnTo>
                  <a:lnTo>
                    <a:pt x="40" y="250"/>
                  </a:lnTo>
                  <a:lnTo>
                    <a:pt x="40" y="253"/>
                  </a:lnTo>
                  <a:lnTo>
                    <a:pt x="40" y="253"/>
                  </a:lnTo>
                  <a:lnTo>
                    <a:pt x="40" y="250"/>
                  </a:lnTo>
                  <a:lnTo>
                    <a:pt x="37" y="250"/>
                  </a:lnTo>
                  <a:lnTo>
                    <a:pt x="37" y="253"/>
                  </a:lnTo>
                  <a:lnTo>
                    <a:pt x="35" y="253"/>
                  </a:lnTo>
                  <a:lnTo>
                    <a:pt x="33" y="250"/>
                  </a:lnTo>
                  <a:lnTo>
                    <a:pt x="33" y="253"/>
                  </a:lnTo>
                  <a:lnTo>
                    <a:pt x="30" y="253"/>
                  </a:lnTo>
                  <a:lnTo>
                    <a:pt x="30" y="253"/>
                  </a:lnTo>
                  <a:lnTo>
                    <a:pt x="30" y="253"/>
                  </a:lnTo>
                  <a:lnTo>
                    <a:pt x="30" y="253"/>
                  </a:lnTo>
                  <a:lnTo>
                    <a:pt x="30" y="253"/>
                  </a:lnTo>
                  <a:lnTo>
                    <a:pt x="28" y="253"/>
                  </a:lnTo>
                  <a:lnTo>
                    <a:pt x="28" y="255"/>
                  </a:lnTo>
                  <a:lnTo>
                    <a:pt x="28" y="253"/>
                  </a:lnTo>
                  <a:lnTo>
                    <a:pt x="23" y="253"/>
                  </a:lnTo>
                  <a:lnTo>
                    <a:pt x="0" y="24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 cap="flat">
              <a:solidFill>
                <a:schemeClr val="bg2">
                  <a:lumMod val="7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>
                <a:solidFill>
                  <a:srgbClr val="000000"/>
                </a:solidFill>
              </a:endParaRPr>
            </a:p>
          </p:txBody>
        </p:sp>
        <p:sp>
          <p:nvSpPr>
            <p:cNvPr id="37" name="Freeform 33"/>
            <p:cNvSpPr>
              <a:spLocks/>
            </p:cNvSpPr>
            <p:nvPr/>
          </p:nvSpPr>
          <p:spPr bwMode="gray">
            <a:xfrm>
              <a:off x="1125616" y="2237173"/>
              <a:ext cx="607650" cy="786092"/>
            </a:xfrm>
            <a:custGeom>
              <a:avLst/>
              <a:gdLst/>
              <a:ahLst/>
              <a:cxnLst>
                <a:cxn ang="0">
                  <a:pos x="17" y="166"/>
                </a:cxn>
                <a:cxn ang="0">
                  <a:pos x="69" y="152"/>
                </a:cxn>
                <a:cxn ang="0">
                  <a:pos x="114" y="178"/>
                </a:cxn>
                <a:cxn ang="0">
                  <a:pos x="142" y="175"/>
                </a:cxn>
                <a:cxn ang="0">
                  <a:pos x="163" y="187"/>
                </a:cxn>
                <a:cxn ang="0">
                  <a:pos x="187" y="173"/>
                </a:cxn>
                <a:cxn ang="0">
                  <a:pos x="222" y="201"/>
                </a:cxn>
                <a:cxn ang="0">
                  <a:pos x="258" y="206"/>
                </a:cxn>
                <a:cxn ang="0">
                  <a:pos x="258" y="175"/>
                </a:cxn>
                <a:cxn ang="0">
                  <a:pos x="289" y="159"/>
                </a:cxn>
                <a:cxn ang="0">
                  <a:pos x="305" y="145"/>
                </a:cxn>
                <a:cxn ang="0">
                  <a:pos x="338" y="156"/>
                </a:cxn>
                <a:cxn ang="0">
                  <a:pos x="359" y="145"/>
                </a:cxn>
                <a:cxn ang="0">
                  <a:pos x="383" y="142"/>
                </a:cxn>
                <a:cxn ang="0">
                  <a:pos x="404" y="135"/>
                </a:cxn>
                <a:cxn ang="0">
                  <a:pos x="430" y="111"/>
                </a:cxn>
                <a:cxn ang="0">
                  <a:pos x="449" y="97"/>
                </a:cxn>
                <a:cxn ang="0">
                  <a:pos x="485" y="100"/>
                </a:cxn>
                <a:cxn ang="0">
                  <a:pos x="508" y="71"/>
                </a:cxn>
                <a:cxn ang="0">
                  <a:pos x="537" y="41"/>
                </a:cxn>
                <a:cxn ang="0">
                  <a:pos x="529" y="8"/>
                </a:cxn>
                <a:cxn ang="0">
                  <a:pos x="572" y="10"/>
                </a:cxn>
                <a:cxn ang="0">
                  <a:pos x="610" y="26"/>
                </a:cxn>
                <a:cxn ang="0">
                  <a:pos x="607" y="71"/>
                </a:cxn>
                <a:cxn ang="0">
                  <a:pos x="600" y="100"/>
                </a:cxn>
                <a:cxn ang="0">
                  <a:pos x="624" y="109"/>
                </a:cxn>
                <a:cxn ang="0">
                  <a:pos x="650" y="123"/>
                </a:cxn>
                <a:cxn ang="0">
                  <a:pos x="662" y="166"/>
                </a:cxn>
                <a:cxn ang="0">
                  <a:pos x="669" y="178"/>
                </a:cxn>
                <a:cxn ang="0">
                  <a:pos x="655" y="196"/>
                </a:cxn>
                <a:cxn ang="0">
                  <a:pos x="633" y="218"/>
                </a:cxn>
                <a:cxn ang="0">
                  <a:pos x="636" y="248"/>
                </a:cxn>
                <a:cxn ang="0">
                  <a:pos x="624" y="282"/>
                </a:cxn>
                <a:cxn ang="0">
                  <a:pos x="612" y="333"/>
                </a:cxn>
                <a:cxn ang="0">
                  <a:pos x="624" y="378"/>
                </a:cxn>
                <a:cxn ang="0">
                  <a:pos x="645" y="407"/>
                </a:cxn>
                <a:cxn ang="0">
                  <a:pos x="643" y="442"/>
                </a:cxn>
                <a:cxn ang="0">
                  <a:pos x="655" y="463"/>
                </a:cxn>
                <a:cxn ang="0">
                  <a:pos x="685" y="485"/>
                </a:cxn>
                <a:cxn ang="0">
                  <a:pos x="702" y="506"/>
                </a:cxn>
                <a:cxn ang="0">
                  <a:pos x="740" y="518"/>
                </a:cxn>
                <a:cxn ang="0">
                  <a:pos x="596" y="681"/>
                </a:cxn>
                <a:cxn ang="0">
                  <a:pos x="574" y="726"/>
                </a:cxn>
                <a:cxn ang="0">
                  <a:pos x="565" y="770"/>
                </a:cxn>
                <a:cxn ang="0">
                  <a:pos x="548" y="796"/>
                </a:cxn>
                <a:cxn ang="0">
                  <a:pos x="515" y="799"/>
                </a:cxn>
                <a:cxn ang="0">
                  <a:pos x="494" y="763"/>
                </a:cxn>
                <a:cxn ang="0">
                  <a:pos x="449" y="766"/>
                </a:cxn>
                <a:cxn ang="0">
                  <a:pos x="411" y="815"/>
                </a:cxn>
                <a:cxn ang="0">
                  <a:pos x="411" y="865"/>
                </a:cxn>
                <a:cxn ang="0">
                  <a:pos x="388" y="872"/>
                </a:cxn>
                <a:cxn ang="0">
                  <a:pos x="338" y="825"/>
                </a:cxn>
                <a:cxn ang="0">
                  <a:pos x="300" y="796"/>
                </a:cxn>
                <a:cxn ang="0">
                  <a:pos x="310" y="780"/>
                </a:cxn>
                <a:cxn ang="0">
                  <a:pos x="322" y="754"/>
                </a:cxn>
                <a:cxn ang="0">
                  <a:pos x="326" y="719"/>
                </a:cxn>
                <a:cxn ang="0">
                  <a:pos x="298" y="655"/>
                </a:cxn>
                <a:cxn ang="0">
                  <a:pos x="300" y="563"/>
                </a:cxn>
                <a:cxn ang="0">
                  <a:pos x="263" y="489"/>
                </a:cxn>
                <a:cxn ang="0">
                  <a:pos x="215" y="414"/>
                </a:cxn>
                <a:cxn ang="0">
                  <a:pos x="118" y="374"/>
                </a:cxn>
                <a:cxn ang="0">
                  <a:pos x="107" y="341"/>
                </a:cxn>
                <a:cxn ang="0">
                  <a:pos x="74" y="282"/>
                </a:cxn>
              </a:cxnLst>
              <a:rect l="0" t="0" r="r" b="b"/>
              <a:pathLst>
                <a:path w="752" h="898">
                  <a:moveTo>
                    <a:pt x="81" y="234"/>
                  </a:moveTo>
                  <a:lnTo>
                    <a:pt x="81" y="232"/>
                  </a:lnTo>
                  <a:lnTo>
                    <a:pt x="81" y="230"/>
                  </a:lnTo>
                  <a:lnTo>
                    <a:pt x="81" y="225"/>
                  </a:lnTo>
                  <a:lnTo>
                    <a:pt x="78" y="222"/>
                  </a:lnTo>
                  <a:lnTo>
                    <a:pt x="74" y="218"/>
                  </a:lnTo>
                  <a:lnTo>
                    <a:pt x="71" y="213"/>
                  </a:lnTo>
                  <a:lnTo>
                    <a:pt x="69" y="213"/>
                  </a:lnTo>
                  <a:lnTo>
                    <a:pt x="69" y="211"/>
                  </a:lnTo>
                  <a:lnTo>
                    <a:pt x="66" y="206"/>
                  </a:lnTo>
                  <a:lnTo>
                    <a:pt x="62" y="204"/>
                  </a:lnTo>
                  <a:lnTo>
                    <a:pt x="62" y="204"/>
                  </a:lnTo>
                  <a:lnTo>
                    <a:pt x="55" y="199"/>
                  </a:lnTo>
                  <a:lnTo>
                    <a:pt x="52" y="199"/>
                  </a:lnTo>
                  <a:lnTo>
                    <a:pt x="50" y="196"/>
                  </a:lnTo>
                  <a:lnTo>
                    <a:pt x="48" y="196"/>
                  </a:lnTo>
                  <a:lnTo>
                    <a:pt x="43" y="196"/>
                  </a:lnTo>
                  <a:lnTo>
                    <a:pt x="43" y="196"/>
                  </a:lnTo>
                  <a:lnTo>
                    <a:pt x="41" y="192"/>
                  </a:lnTo>
                  <a:lnTo>
                    <a:pt x="38" y="187"/>
                  </a:lnTo>
                  <a:lnTo>
                    <a:pt x="33" y="185"/>
                  </a:lnTo>
                  <a:lnTo>
                    <a:pt x="31" y="182"/>
                  </a:lnTo>
                  <a:lnTo>
                    <a:pt x="31" y="178"/>
                  </a:lnTo>
                  <a:lnTo>
                    <a:pt x="29" y="175"/>
                  </a:lnTo>
                  <a:lnTo>
                    <a:pt x="26" y="175"/>
                  </a:lnTo>
                  <a:lnTo>
                    <a:pt x="24" y="171"/>
                  </a:lnTo>
                  <a:lnTo>
                    <a:pt x="22" y="168"/>
                  </a:lnTo>
                  <a:lnTo>
                    <a:pt x="19" y="168"/>
                  </a:lnTo>
                  <a:lnTo>
                    <a:pt x="19" y="166"/>
                  </a:lnTo>
                  <a:lnTo>
                    <a:pt x="17" y="166"/>
                  </a:lnTo>
                  <a:lnTo>
                    <a:pt x="17" y="163"/>
                  </a:lnTo>
                  <a:lnTo>
                    <a:pt x="15" y="159"/>
                  </a:lnTo>
                  <a:lnTo>
                    <a:pt x="12" y="154"/>
                  </a:lnTo>
                  <a:lnTo>
                    <a:pt x="10" y="152"/>
                  </a:lnTo>
                  <a:lnTo>
                    <a:pt x="7" y="149"/>
                  </a:lnTo>
                  <a:lnTo>
                    <a:pt x="5" y="147"/>
                  </a:lnTo>
                  <a:lnTo>
                    <a:pt x="0" y="145"/>
                  </a:lnTo>
                  <a:lnTo>
                    <a:pt x="0" y="140"/>
                  </a:lnTo>
                  <a:lnTo>
                    <a:pt x="0" y="135"/>
                  </a:lnTo>
                  <a:lnTo>
                    <a:pt x="0" y="133"/>
                  </a:lnTo>
                  <a:lnTo>
                    <a:pt x="3" y="130"/>
                  </a:lnTo>
                  <a:lnTo>
                    <a:pt x="5" y="130"/>
                  </a:lnTo>
                  <a:lnTo>
                    <a:pt x="17" y="135"/>
                  </a:lnTo>
                  <a:lnTo>
                    <a:pt x="22" y="140"/>
                  </a:lnTo>
                  <a:lnTo>
                    <a:pt x="24" y="149"/>
                  </a:lnTo>
                  <a:lnTo>
                    <a:pt x="29" y="154"/>
                  </a:lnTo>
                  <a:lnTo>
                    <a:pt x="33" y="154"/>
                  </a:lnTo>
                  <a:lnTo>
                    <a:pt x="36" y="154"/>
                  </a:lnTo>
                  <a:lnTo>
                    <a:pt x="38" y="154"/>
                  </a:lnTo>
                  <a:lnTo>
                    <a:pt x="41" y="154"/>
                  </a:lnTo>
                  <a:lnTo>
                    <a:pt x="41" y="154"/>
                  </a:lnTo>
                  <a:lnTo>
                    <a:pt x="45" y="152"/>
                  </a:lnTo>
                  <a:lnTo>
                    <a:pt x="50" y="149"/>
                  </a:lnTo>
                  <a:lnTo>
                    <a:pt x="52" y="149"/>
                  </a:lnTo>
                  <a:lnTo>
                    <a:pt x="55" y="149"/>
                  </a:lnTo>
                  <a:lnTo>
                    <a:pt x="62" y="152"/>
                  </a:lnTo>
                  <a:lnTo>
                    <a:pt x="64" y="149"/>
                  </a:lnTo>
                  <a:lnTo>
                    <a:pt x="66" y="149"/>
                  </a:lnTo>
                  <a:lnTo>
                    <a:pt x="69" y="149"/>
                  </a:lnTo>
                  <a:lnTo>
                    <a:pt x="69" y="152"/>
                  </a:lnTo>
                  <a:lnTo>
                    <a:pt x="71" y="152"/>
                  </a:lnTo>
                  <a:lnTo>
                    <a:pt x="71" y="152"/>
                  </a:lnTo>
                  <a:lnTo>
                    <a:pt x="74" y="152"/>
                  </a:lnTo>
                  <a:lnTo>
                    <a:pt x="76" y="154"/>
                  </a:lnTo>
                  <a:lnTo>
                    <a:pt x="81" y="154"/>
                  </a:lnTo>
                  <a:lnTo>
                    <a:pt x="83" y="152"/>
                  </a:lnTo>
                  <a:lnTo>
                    <a:pt x="83" y="152"/>
                  </a:lnTo>
                  <a:lnTo>
                    <a:pt x="85" y="154"/>
                  </a:lnTo>
                  <a:lnTo>
                    <a:pt x="88" y="154"/>
                  </a:lnTo>
                  <a:lnTo>
                    <a:pt x="90" y="156"/>
                  </a:lnTo>
                  <a:lnTo>
                    <a:pt x="92" y="161"/>
                  </a:lnTo>
                  <a:lnTo>
                    <a:pt x="92" y="163"/>
                  </a:lnTo>
                  <a:lnTo>
                    <a:pt x="90" y="163"/>
                  </a:lnTo>
                  <a:lnTo>
                    <a:pt x="92" y="166"/>
                  </a:lnTo>
                  <a:lnTo>
                    <a:pt x="95" y="168"/>
                  </a:lnTo>
                  <a:lnTo>
                    <a:pt x="97" y="175"/>
                  </a:lnTo>
                  <a:lnTo>
                    <a:pt x="100" y="175"/>
                  </a:lnTo>
                  <a:lnTo>
                    <a:pt x="100" y="175"/>
                  </a:lnTo>
                  <a:lnTo>
                    <a:pt x="104" y="178"/>
                  </a:lnTo>
                  <a:lnTo>
                    <a:pt x="104" y="180"/>
                  </a:lnTo>
                  <a:lnTo>
                    <a:pt x="107" y="182"/>
                  </a:lnTo>
                  <a:lnTo>
                    <a:pt x="107" y="182"/>
                  </a:lnTo>
                  <a:lnTo>
                    <a:pt x="109" y="185"/>
                  </a:lnTo>
                  <a:lnTo>
                    <a:pt x="109" y="185"/>
                  </a:lnTo>
                  <a:lnTo>
                    <a:pt x="109" y="182"/>
                  </a:lnTo>
                  <a:lnTo>
                    <a:pt x="109" y="182"/>
                  </a:lnTo>
                  <a:lnTo>
                    <a:pt x="109" y="182"/>
                  </a:lnTo>
                  <a:lnTo>
                    <a:pt x="111" y="182"/>
                  </a:lnTo>
                  <a:lnTo>
                    <a:pt x="111" y="180"/>
                  </a:lnTo>
                  <a:lnTo>
                    <a:pt x="114" y="178"/>
                  </a:lnTo>
                  <a:lnTo>
                    <a:pt x="114" y="178"/>
                  </a:lnTo>
                  <a:lnTo>
                    <a:pt x="116" y="178"/>
                  </a:lnTo>
                  <a:lnTo>
                    <a:pt x="116" y="178"/>
                  </a:lnTo>
                  <a:lnTo>
                    <a:pt x="116" y="175"/>
                  </a:lnTo>
                  <a:lnTo>
                    <a:pt x="118" y="178"/>
                  </a:lnTo>
                  <a:lnTo>
                    <a:pt x="121" y="175"/>
                  </a:lnTo>
                  <a:lnTo>
                    <a:pt x="123" y="175"/>
                  </a:lnTo>
                  <a:lnTo>
                    <a:pt x="123" y="175"/>
                  </a:lnTo>
                  <a:lnTo>
                    <a:pt x="123" y="175"/>
                  </a:lnTo>
                  <a:lnTo>
                    <a:pt x="123" y="175"/>
                  </a:lnTo>
                  <a:lnTo>
                    <a:pt x="126" y="175"/>
                  </a:lnTo>
                  <a:lnTo>
                    <a:pt x="126" y="175"/>
                  </a:lnTo>
                  <a:lnTo>
                    <a:pt x="128" y="175"/>
                  </a:lnTo>
                  <a:lnTo>
                    <a:pt x="130" y="178"/>
                  </a:lnTo>
                  <a:lnTo>
                    <a:pt x="133" y="175"/>
                  </a:lnTo>
                  <a:lnTo>
                    <a:pt x="135" y="175"/>
                  </a:lnTo>
                  <a:lnTo>
                    <a:pt x="137" y="178"/>
                  </a:lnTo>
                  <a:lnTo>
                    <a:pt x="137" y="178"/>
                  </a:lnTo>
                  <a:lnTo>
                    <a:pt x="137" y="178"/>
                  </a:lnTo>
                  <a:lnTo>
                    <a:pt x="140" y="180"/>
                  </a:lnTo>
                  <a:lnTo>
                    <a:pt x="140" y="180"/>
                  </a:lnTo>
                  <a:lnTo>
                    <a:pt x="142" y="180"/>
                  </a:lnTo>
                  <a:lnTo>
                    <a:pt x="142" y="180"/>
                  </a:lnTo>
                  <a:lnTo>
                    <a:pt x="142" y="180"/>
                  </a:lnTo>
                  <a:lnTo>
                    <a:pt x="144" y="180"/>
                  </a:lnTo>
                  <a:lnTo>
                    <a:pt x="147" y="178"/>
                  </a:lnTo>
                  <a:lnTo>
                    <a:pt x="144" y="178"/>
                  </a:lnTo>
                  <a:lnTo>
                    <a:pt x="144" y="178"/>
                  </a:lnTo>
                  <a:lnTo>
                    <a:pt x="144" y="175"/>
                  </a:lnTo>
                  <a:lnTo>
                    <a:pt x="142" y="175"/>
                  </a:lnTo>
                  <a:lnTo>
                    <a:pt x="142" y="175"/>
                  </a:lnTo>
                  <a:lnTo>
                    <a:pt x="142" y="175"/>
                  </a:lnTo>
                  <a:lnTo>
                    <a:pt x="142" y="173"/>
                  </a:lnTo>
                  <a:lnTo>
                    <a:pt x="142" y="173"/>
                  </a:lnTo>
                  <a:lnTo>
                    <a:pt x="144" y="171"/>
                  </a:lnTo>
                  <a:lnTo>
                    <a:pt x="144" y="168"/>
                  </a:lnTo>
                  <a:lnTo>
                    <a:pt x="144" y="168"/>
                  </a:lnTo>
                  <a:lnTo>
                    <a:pt x="144" y="166"/>
                  </a:lnTo>
                  <a:lnTo>
                    <a:pt x="144" y="166"/>
                  </a:lnTo>
                  <a:lnTo>
                    <a:pt x="144" y="166"/>
                  </a:lnTo>
                  <a:lnTo>
                    <a:pt x="147" y="166"/>
                  </a:lnTo>
                  <a:lnTo>
                    <a:pt x="147" y="168"/>
                  </a:lnTo>
                  <a:lnTo>
                    <a:pt x="149" y="171"/>
                  </a:lnTo>
                  <a:lnTo>
                    <a:pt x="152" y="173"/>
                  </a:lnTo>
                  <a:lnTo>
                    <a:pt x="154" y="175"/>
                  </a:lnTo>
                  <a:lnTo>
                    <a:pt x="156" y="178"/>
                  </a:lnTo>
                  <a:lnTo>
                    <a:pt x="156" y="178"/>
                  </a:lnTo>
                  <a:lnTo>
                    <a:pt x="156" y="180"/>
                  </a:lnTo>
                  <a:lnTo>
                    <a:pt x="156" y="182"/>
                  </a:lnTo>
                  <a:lnTo>
                    <a:pt x="156" y="182"/>
                  </a:lnTo>
                  <a:lnTo>
                    <a:pt x="156" y="182"/>
                  </a:lnTo>
                  <a:lnTo>
                    <a:pt x="156" y="182"/>
                  </a:lnTo>
                  <a:lnTo>
                    <a:pt x="159" y="182"/>
                  </a:lnTo>
                  <a:lnTo>
                    <a:pt x="161" y="182"/>
                  </a:lnTo>
                  <a:lnTo>
                    <a:pt x="161" y="185"/>
                  </a:lnTo>
                  <a:lnTo>
                    <a:pt x="161" y="185"/>
                  </a:lnTo>
                  <a:lnTo>
                    <a:pt x="161" y="185"/>
                  </a:lnTo>
                  <a:lnTo>
                    <a:pt x="163" y="185"/>
                  </a:lnTo>
                  <a:lnTo>
                    <a:pt x="163" y="187"/>
                  </a:lnTo>
                  <a:lnTo>
                    <a:pt x="163" y="187"/>
                  </a:lnTo>
                  <a:lnTo>
                    <a:pt x="166" y="187"/>
                  </a:lnTo>
                  <a:lnTo>
                    <a:pt x="166" y="187"/>
                  </a:lnTo>
                  <a:lnTo>
                    <a:pt x="168" y="189"/>
                  </a:lnTo>
                  <a:lnTo>
                    <a:pt x="168" y="187"/>
                  </a:lnTo>
                  <a:lnTo>
                    <a:pt x="166" y="185"/>
                  </a:lnTo>
                  <a:lnTo>
                    <a:pt x="168" y="185"/>
                  </a:lnTo>
                  <a:lnTo>
                    <a:pt x="168" y="185"/>
                  </a:lnTo>
                  <a:lnTo>
                    <a:pt x="168" y="185"/>
                  </a:lnTo>
                  <a:lnTo>
                    <a:pt x="170" y="185"/>
                  </a:lnTo>
                  <a:lnTo>
                    <a:pt x="170" y="185"/>
                  </a:lnTo>
                  <a:lnTo>
                    <a:pt x="173" y="185"/>
                  </a:lnTo>
                  <a:lnTo>
                    <a:pt x="173" y="187"/>
                  </a:lnTo>
                  <a:lnTo>
                    <a:pt x="175" y="185"/>
                  </a:lnTo>
                  <a:lnTo>
                    <a:pt x="175" y="185"/>
                  </a:lnTo>
                  <a:lnTo>
                    <a:pt x="175" y="182"/>
                  </a:lnTo>
                  <a:lnTo>
                    <a:pt x="178" y="180"/>
                  </a:lnTo>
                  <a:lnTo>
                    <a:pt x="180" y="180"/>
                  </a:lnTo>
                  <a:lnTo>
                    <a:pt x="178" y="178"/>
                  </a:lnTo>
                  <a:lnTo>
                    <a:pt x="178" y="178"/>
                  </a:lnTo>
                  <a:lnTo>
                    <a:pt x="178" y="175"/>
                  </a:lnTo>
                  <a:lnTo>
                    <a:pt x="175" y="175"/>
                  </a:lnTo>
                  <a:lnTo>
                    <a:pt x="175" y="175"/>
                  </a:lnTo>
                  <a:lnTo>
                    <a:pt x="175" y="175"/>
                  </a:lnTo>
                  <a:lnTo>
                    <a:pt x="175" y="175"/>
                  </a:lnTo>
                  <a:lnTo>
                    <a:pt x="173" y="175"/>
                  </a:lnTo>
                  <a:lnTo>
                    <a:pt x="173" y="173"/>
                  </a:lnTo>
                  <a:lnTo>
                    <a:pt x="175" y="171"/>
                  </a:lnTo>
                  <a:lnTo>
                    <a:pt x="178" y="171"/>
                  </a:lnTo>
                  <a:lnTo>
                    <a:pt x="180" y="171"/>
                  </a:lnTo>
                  <a:lnTo>
                    <a:pt x="187" y="173"/>
                  </a:lnTo>
                  <a:lnTo>
                    <a:pt x="189" y="173"/>
                  </a:lnTo>
                  <a:lnTo>
                    <a:pt x="189" y="173"/>
                  </a:lnTo>
                  <a:lnTo>
                    <a:pt x="192" y="173"/>
                  </a:lnTo>
                  <a:lnTo>
                    <a:pt x="192" y="173"/>
                  </a:lnTo>
                  <a:lnTo>
                    <a:pt x="192" y="171"/>
                  </a:lnTo>
                  <a:lnTo>
                    <a:pt x="192" y="171"/>
                  </a:lnTo>
                  <a:lnTo>
                    <a:pt x="194" y="173"/>
                  </a:lnTo>
                  <a:lnTo>
                    <a:pt x="194" y="173"/>
                  </a:lnTo>
                  <a:lnTo>
                    <a:pt x="196" y="173"/>
                  </a:lnTo>
                  <a:lnTo>
                    <a:pt x="199" y="173"/>
                  </a:lnTo>
                  <a:lnTo>
                    <a:pt x="199" y="173"/>
                  </a:lnTo>
                  <a:lnTo>
                    <a:pt x="203" y="175"/>
                  </a:lnTo>
                  <a:lnTo>
                    <a:pt x="206" y="175"/>
                  </a:lnTo>
                  <a:lnTo>
                    <a:pt x="203" y="182"/>
                  </a:lnTo>
                  <a:lnTo>
                    <a:pt x="201" y="182"/>
                  </a:lnTo>
                  <a:lnTo>
                    <a:pt x="201" y="187"/>
                  </a:lnTo>
                  <a:lnTo>
                    <a:pt x="201" y="187"/>
                  </a:lnTo>
                  <a:lnTo>
                    <a:pt x="201" y="189"/>
                  </a:lnTo>
                  <a:lnTo>
                    <a:pt x="206" y="192"/>
                  </a:lnTo>
                  <a:lnTo>
                    <a:pt x="206" y="192"/>
                  </a:lnTo>
                  <a:lnTo>
                    <a:pt x="208" y="192"/>
                  </a:lnTo>
                  <a:lnTo>
                    <a:pt x="211" y="194"/>
                  </a:lnTo>
                  <a:lnTo>
                    <a:pt x="211" y="194"/>
                  </a:lnTo>
                  <a:lnTo>
                    <a:pt x="213" y="194"/>
                  </a:lnTo>
                  <a:lnTo>
                    <a:pt x="215" y="194"/>
                  </a:lnTo>
                  <a:lnTo>
                    <a:pt x="218" y="194"/>
                  </a:lnTo>
                  <a:lnTo>
                    <a:pt x="220" y="196"/>
                  </a:lnTo>
                  <a:lnTo>
                    <a:pt x="220" y="199"/>
                  </a:lnTo>
                  <a:lnTo>
                    <a:pt x="222" y="201"/>
                  </a:lnTo>
                  <a:lnTo>
                    <a:pt x="222" y="201"/>
                  </a:lnTo>
                  <a:lnTo>
                    <a:pt x="225" y="201"/>
                  </a:lnTo>
                  <a:lnTo>
                    <a:pt x="225" y="201"/>
                  </a:lnTo>
                  <a:lnTo>
                    <a:pt x="222" y="204"/>
                  </a:lnTo>
                  <a:lnTo>
                    <a:pt x="222" y="206"/>
                  </a:lnTo>
                  <a:lnTo>
                    <a:pt x="222" y="208"/>
                  </a:lnTo>
                  <a:lnTo>
                    <a:pt x="220" y="208"/>
                  </a:lnTo>
                  <a:lnTo>
                    <a:pt x="222" y="208"/>
                  </a:lnTo>
                  <a:lnTo>
                    <a:pt x="227" y="211"/>
                  </a:lnTo>
                  <a:lnTo>
                    <a:pt x="227" y="213"/>
                  </a:lnTo>
                  <a:lnTo>
                    <a:pt x="229" y="213"/>
                  </a:lnTo>
                  <a:lnTo>
                    <a:pt x="229" y="218"/>
                  </a:lnTo>
                  <a:lnTo>
                    <a:pt x="232" y="218"/>
                  </a:lnTo>
                  <a:lnTo>
                    <a:pt x="234" y="220"/>
                  </a:lnTo>
                  <a:lnTo>
                    <a:pt x="234" y="220"/>
                  </a:lnTo>
                  <a:lnTo>
                    <a:pt x="237" y="220"/>
                  </a:lnTo>
                  <a:lnTo>
                    <a:pt x="237" y="218"/>
                  </a:lnTo>
                  <a:lnTo>
                    <a:pt x="239" y="215"/>
                  </a:lnTo>
                  <a:lnTo>
                    <a:pt x="241" y="213"/>
                  </a:lnTo>
                  <a:lnTo>
                    <a:pt x="241" y="211"/>
                  </a:lnTo>
                  <a:lnTo>
                    <a:pt x="244" y="211"/>
                  </a:lnTo>
                  <a:lnTo>
                    <a:pt x="246" y="208"/>
                  </a:lnTo>
                  <a:lnTo>
                    <a:pt x="246" y="206"/>
                  </a:lnTo>
                  <a:lnTo>
                    <a:pt x="248" y="206"/>
                  </a:lnTo>
                  <a:lnTo>
                    <a:pt x="253" y="201"/>
                  </a:lnTo>
                  <a:lnTo>
                    <a:pt x="253" y="204"/>
                  </a:lnTo>
                  <a:lnTo>
                    <a:pt x="255" y="204"/>
                  </a:lnTo>
                  <a:lnTo>
                    <a:pt x="255" y="204"/>
                  </a:lnTo>
                  <a:lnTo>
                    <a:pt x="255" y="204"/>
                  </a:lnTo>
                  <a:lnTo>
                    <a:pt x="258" y="204"/>
                  </a:lnTo>
                  <a:lnTo>
                    <a:pt x="258" y="206"/>
                  </a:lnTo>
                  <a:lnTo>
                    <a:pt x="258" y="206"/>
                  </a:lnTo>
                  <a:lnTo>
                    <a:pt x="260" y="208"/>
                  </a:lnTo>
                  <a:lnTo>
                    <a:pt x="263" y="211"/>
                  </a:lnTo>
                  <a:lnTo>
                    <a:pt x="263" y="211"/>
                  </a:lnTo>
                  <a:lnTo>
                    <a:pt x="263" y="208"/>
                  </a:lnTo>
                  <a:lnTo>
                    <a:pt x="265" y="208"/>
                  </a:lnTo>
                  <a:lnTo>
                    <a:pt x="265" y="206"/>
                  </a:lnTo>
                  <a:lnTo>
                    <a:pt x="265" y="206"/>
                  </a:lnTo>
                  <a:lnTo>
                    <a:pt x="265" y="204"/>
                  </a:lnTo>
                  <a:lnTo>
                    <a:pt x="265" y="201"/>
                  </a:lnTo>
                  <a:lnTo>
                    <a:pt x="265" y="199"/>
                  </a:lnTo>
                  <a:lnTo>
                    <a:pt x="265" y="196"/>
                  </a:lnTo>
                  <a:lnTo>
                    <a:pt x="263" y="196"/>
                  </a:lnTo>
                  <a:lnTo>
                    <a:pt x="265" y="194"/>
                  </a:lnTo>
                  <a:lnTo>
                    <a:pt x="265" y="194"/>
                  </a:lnTo>
                  <a:lnTo>
                    <a:pt x="263" y="194"/>
                  </a:lnTo>
                  <a:lnTo>
                    <a:pt x="263" y="192"/>
                  </a:lnTo>
                  <a:lnTo>
                    <a:pt x="260" y="189"/>
                  </a:lnTo>
                  <a:lnTo>
                    <a:pt x="260" y="189"/>
                  </a:lnTo>
                  <a:lnTo>
                    <a:pt x="263" y="187"/>
                  </a:lnTo>
                  <a:lnTo>
                    <a:pt x="263" y="187"/>
                  </a:lnTo>
                  <a:lnTo>
                    <a:pt x="263" y="187"/>
                  </a:lnTo>
                  <a:lnTo>
                    <a:pt x="260" y="185"/>
                  </a:lnTo>
                  <a:lnTo>
                    <a:pt x="258" y="185"/>
                  </a:lnTo>
                  <a:lnTo>
                    <a:pt x="258" y="182"/>
                  </a:lnTo>
                  <a:lnTo>
                    <a:pt x="258" y="182"/>
                  </a:lnTo>
                  <a:lnTo>
                    <a:pt x="258" y="178"/>
                  </a:lnTo>
                  <a:lnTo>
                    <a:pt x="258" y="178"/>
                  </a:lnTo>
                  <a:lnTo>
                    <a:pt x="258" y="178"/>
                  </a:lnTo>
                  <a:lnTo>
                    <a:pt x="258" y="175"/>
                  </a:lnTo>
                  <a:lnTo>
                    <a:pt x="260" y="175"/>
                  </a:lnTo>
                  <a:lnTo>
                    <a:pt x="263" y="173"/>
                  </a:lnTo>
                  <a:lnTo>
                    <a:pt x="263" y="171"/>
                  </a:lnTo>
                  <a:lnTo>
                    <a:pt x="260" y="171"/>
                  </a:lnTo>
                  <a:lnTo>
                    <a:pt x="260" y="166"/>
                  </a:lnTo>
                  <a:lnTo>
                    <a:pt x="260" y="166"/>
                  </a:lnTo>
                  <a:lnTo>
                    <a:pt x="263" y="166"/>
                  </a:lnTo>
                  <a:lnTo>
                    <a:pt x="263" y="163"/>
                  </a:lnTo>
                  <a:lnTo>
                    <a:pt x="263" y="163"/>
                  </a:lnTo>
                  <a:lnTo>
                    <a:pt x="265" y="163"/>
                  </a:lnTo>
                  <a:lnTo>
                    <a:pt x="270" y="163"/>
                  </a:lnTo>
                  <a:lnTo>
                    <a:pt x="270" y="163"/>
                  </a:lnTo>
                  <a:lnTo>
                    <a:pt x="272" y="163"/>
                  </a:lnTo>
                  <a:lnTo>
                    <a:pt x="274" y="163"/>
                  </a:lnTo>
                  <a:lnTo>
                    <a:pt x="274" y="163"/>
                  </a:lnTo>
                  <a:lnTo>
                    <a:pt x="274" y="161"/>
                  </a:lnTo>
                  <a:lnTo>
                    <a:pt x="279" y="163"/>
                  </a:lnTo>
                  <a:lnTo>
                    <a:pt x="281" y="163"/>
                  </a:lnTo>
                  <a:lnTo>
                    <a:pt x="281" y="163"/>
                  </a:lnTo>
                  <a:lnTo>
                    <a:pt x="284" y="163"/>
                  </a:lnTo>
                  <a:lnTo>
                    <a:pt x="284" y="166"/>
                  </a:lnTo>
                  <a:lnTo>
                    <a:pt x="284" y="166"/>
                  </a:lnTo>
                  <a:lnTo>
                    <a:pt x="284" y="166"/>
                  </a:lnTo>
                  <a:lnTo>
                    <a:pt x="289" y="166"/>
                  </a:lnTo>
                  <a:lnTo>
                    <a:pt x="286" y="166"/>
                  </a:lnTo>
                  <a:lnTo>
                    <a:pt x="286" y="163"/>
                  </a:lnTo>
                  <a:lnTo>
                    <a:pt x="289" y="163"/>
                  </a:lnTo>
                  <a:lnTo>
                    <a:pt x="289" y="163"/>
                  </a:lnTo>
                  <a:lnTo>
                    <a:pt x="291" y="161"/>
                  </a:lnTo>
                  <a:lnTo>
                    <a:pt x="289" y="159"/>
                  </a:lnTo>
                  <a:lnTo>
                    <a:pt x="289" y="156"/>
                  </a:lnTo>
                  <a:lnTo>
                    <a:pt x="289" y="159"/>
                  </a:lnTo>
                  <a:lnTo>
                    <a:pt x="286" y="156"/>
                  </a:lnTo>
                  <a:lnTo>
                    <a:pt x="289" y="156"/>
                  </a:lnTo>
                  <a:lnTo>
                    <a:pt x="289" y="156"/>
                  </a:lnTo>
                  <a:lnTo>
                    <a:pt x="289" y="154"/>
                  </a:lnTo>
                  <a:lnTo>
                    <a:pt x="289" y="154"/>
                  </a:lnTo>
                  <a:lnTo>
                    <a:pt x="291" y="154"/>
                  </a:lnTo>
                  <a:lnTo>
                    <a:pt x="291" y="152"/>
                  </a:lnTo>
                  <a:lnTo>
                    <a:pt x="291" y="149"/>
                  </a:lnTo>
                  <a:lnTo>
                    <a:pt x="293" y="152"/>
                  </a:lnTo>
                  <a:lnTo>
                    <a:pt x="293" y="149"/>
                  </a:lnTo>
                  <a:lnTo>
                    <a:pt x="293" y="149"/>
                  </a:lnTo>
                  <a:lnTo>
                    <a:pt x="296" y="149"/>
                  </a:lnTo>
                  <a:lnTo>
                    <a:pt x="296" y="149"/>
                  </a:lnTo>
                  <a:lnTo>
                    <a:pt x="298" y="152"/>
                  </a:lnTo>
                  <a:lnTo>
                    <a:pt x="298" y="149"/>
                  </a:lnTo>
                  <a:lnTo>
                    <a:pt x="298" y="149"/>
                  </a:lnTo>
                  <a:lnTo>
                    <a:pt x="300" y="149"/>
                  </a:lnTo>
                  <a:lnTo>
                    <a:pt x="300" y="147"/>
                  </a:lnTo>
                  <a:lnTo>
                    <a:pt x="300" y="147"/>
                  </a:lnTo>
                  <a:lnTo>
                    <a:pt x="300" y="147"/>
                  </a:lnTo>
                  <a:lnTo>
                    <a:pt x="298" y="147"/>
                  </a:lnTo>
                  <a:lnTo>
                    <a:pt x="298" y="145"/>
                  </a:lnTo>
                  <a:lnTo>
                    <a:pt x="300" y="145"/>
                  </a:lnTo>
                  <a:lnTo>
                    <a:pt x="300" y="145"/>
                  </a:lnTo>
                  <a:lnTo>
                    <a:pt x="300" y="145"/>
                  </a:lnTo>
                  <a:lnTo>
                    <a:pt x="300" y="145"/>
                  </a:lnTo>
                  <a:lnTo>
                    <a:pt x="303" y="145"/>
                  </a:lnTo>
                  <a:lnTo>
                    <a:pt x="305" y="145"/>
                  </a:lnTo>
                  <a:lnTo>
                    <a:pt x="305" y="145"/>
                  </a:lnTo>
                  <a:lnTo>
                    <a:pt x="305" y="145"/>
                  </a:lnTo>
                  <a:lnTo>
                    <a:pt x="307" y="145"/>
                  </a:lnTo>
                  <a:lnTo>
                    <a:pt x="307" y="145"/>
                  </a:lnTo>
                  <a:lnTo>
                    <a:pt x="307" y="145"/>
                  </a:lnTo>
                  <a:lnTo>
                    <a:pt x="307" y="145"/>
                  </a:lnTo>
                  <a:lnTo>
                    <a:pt x="310" y="147"/>
                  </a:lnTo>
                  <a:lnTo>
                    <a:pt x="312" y="147"/>
                  </a:lnTo>
                  <a:lnTo>
                    <a:pt x="312" y="147"/>
                  </a:lnTo>
                  <a:lnTo>
                    <a:pt x="312" y="147"/>
                  </a:lnTo>
                  <a:lnTo>
                    <a:pt x="312" y="149"/>
                  </a:lnTo>
                  <a:lnTo>
                    <a:pt x="315" y="149"/>
                  </a:lnTo>
                  <a:lnTo>
                    <a:pt x="317" y="149"/>
                  </a:lnTo>
                  <a:lnTo>
                    <a:pt x="317" y="149"/>
                  </a:lnTo>
                  <a:lnTo>
                    <a:pt x="317" y="149"/>
                  </a:lnTo>
                  <a:lnTo>
                    <a:pt x="317" y="149"/>
                  </a:lnTo>
                  <a:lnTo>
                    <a:pt x="319" y="149"/>
                  </a:lnTo>
                  <a:lnTo>
                    <a:pt x="322" y="149"/>
                  </a:lnTo>
                  <a:lnTo>
                    <a:pt x="322" y="152"/>
                  </a:lnTo>
                  <a:lnTo>
                    <a:pt x="326" y="152"/>
                  </a:lnTo>
                  <a:lnTo>
                    <a:pt x="326" y="154"/>
                  </a:lnTo>
                  <a:lnTo>
                    <a:pt x="329" y="152"/>
                  </a:lnTo>
                  <a:lnTo>
                    <a:pt x="329" y="154"/>
                  </a:lnTo>
                  <a:lnTo>
                    <a:pt x="331" y="154"/>
                  </a:lnTo>
                  <a:lnTo>
                    <a:pt x="333" y="154"/>
                  </a:lnTo>
                  <a:lnTo>
                    <a:pt x="333" y="154"/>
                  </a:lnTo>
                  <a:lnTo>
                    <a:pt x="333" y="156"/>
                  </a:lnTo>
                  <a:lnTo>
                    <a:pt x="336" y="156"/>
                  </a:lnTo>
                  <a:lnTo>
                    <a:pt x="336" y="156"/>
                  </a:lnTo>
                  <a:lnTo>
                    <a:pt x="338" y="156"/>
                  </a:lnTo>
                  <a:lnTo>
                    <a:pt x="338" y="156"/>
                  </a:lnTo>
                  <a:lnTo>
                    <a:pt x="338" y="159"/>
                  </a:lnTo>
                  <a:lnTo>
                    <a:pt x="341" y="156"/>
                  </a:lnTo>
                  <a:lnTo>
                    <a:pt x="341" y="156"/>
                  </a:lnTo>
                  <a:lnTo>
                    <a:pt x="343" y="156"/>
                  </a:lnTo>
                  <a:lnTo>
                    <a:pt x="343" y="156"/>
                  </a:lnTo>
                  <a:lnTo>
                    <a:pt x="343" y="154"/>
                  </a:lnTo>
                  <a:lnTo>
                    <a:pt x="343" y="154"/>
                  </a:lnTo>
                  <a:lnTo>
                    <a:pt x="343" y="154"/>
                  </a:lnTo>
                  <a:lnTo>
                    <a:pt x="345" y="154"/>
                  </a:lnTo>
                  <a:lnTo>
                    <a:pt x="345" y="152"/>
                  </a:lnTo>
                  <a:lnTo>
                    <a:pt x="345" y="152"/>
                  </a:lnTo>
                  <a:lnTo>
                    <a:pt x="345" y="152"/>
                  </a:lnTo>
                  <a:lnTo>
                    <a:pt x="348" y="152"/>
                  </a:lnTo>
                  <a:lnTo>
                    <a:pt x="348" y="152"/>
                  </a:lnTo>
                  <a:lnTo>
                    <a:pt x="348" y="152"/>
                  </a:lnTo>
                  <a:lnTo>
                    <a:pt x="348" y="149"/>
                  </a:lnTo>
                  <a:lnTo>
                    <a:pt x="348" y="149"/>
                  </a:lnTo>
                  <a:lnTo>
                    <a:pt x="348" y="147"/>
                  </a:lnTo>
                  <a:lnTo>
                    <a:pt x="350" y="147"/>
                  </a:lnTo>
                  <a:lnTo>
                    <a:pt x="352" y="149"/>
                  </a:lnTo>
                  <a:lnTo>
                    <a:pt x="352" y="147"/>
                  </a:lnTo>
                  <a:lnTo>
                    <a:pt x="355" y="147"/>
                  </a:lnTo>
                  <a:lnTo>
                    <a:pt x="355" y="147"/>
                  </a:lnTo>
                  <a:lnTo>
                    <a:pt x="355" y="149"/>
                  </a:lnTo>
                  <a:lnTo>
                    <a:pt x="355" y="147"/>
                  </a:lnTo>
                  <a:lnTo>
                    <a:pt x="357" y="147"/>
                  </a:lnTo>
                  <a:lnTo>
                    <a:pt x="357" y="147"/>
                  </a:lnTo>
                  <a:lnTo>
                    <a:pt x="357" y="147"/>
                  </a:lnTo>
                  <a:lnTo>
                    <a:pt x="359" y="145"/>
                  </a:lnTo>
                  <a:lnTo>
                    <a:pt x="359" y="145"/>
                  </a:lnTo>
                  <a:lnTo>
                    <a:pt x="362" y="145"/>
                  </a:lnTo>
                  <a:lnTo>
                    <a:pt x="359" y="145"/>
                  </a:lnTo>
                  <a:lnTo>
                    <a:pt x="359" y="147"/>
                  </a:lnTo>
                  <a:lnTo>
                    <a:pt x="362" y="147"/>
                  </a:lnTo>
                  <a:lnTo>
                    <a:pt x="364" y="152"/>
                  </a:lnTo>
                  <a:lnTo>
                    <a:pt x="364" y="154"/>
                  </a:lnTo>
                  <a:lnTo>
                    <a:pt x="366" y="154"/>
                  </a:lnTo>
                  <a:lnTo>
                    <a:pt x="366" y="154"/>
                  </a:lnTo>
                  <a:lnTo>
                    <a:pt x="366" y="154"/>
                  </a:lnTo>
                  <a:lnTo>
                    <a:pt x="366" y="152"/>
                  </a:lnTo>
                  <a:lnTo>
                    <a:pt x="366" y="149"/>
                  </a:lnTo>
                  <a:lnTo>
                    <a:pt x="366" y="147"/>
                  </a:lnTo>
                  <a:lnTo>
                    <a:pt x="369" y="147"/>
                  </a:lnTo>
                  <a:lnTo>
                    <a:pt x="371" y="147"/>
                  </a:lnTo>
                  <a:lnTo>
                    <a:pt x="371" y="147"/>
                  </a:lnTo>
                  <a:lnTo>
                    <a:pt x="374" y="147"/>
                  </a:lnTo>
                  <a:lnTo>
                    <a:pt x="374" y="147"/>
                  </a:lnTo>
                  <a:lnTo>
                    <a:pt x="374" y="147"/>
                  </a:lnTo>
                  <a:lnTo>
                    <a:pt x="374" y="147"/>
                  </a:lnTo>
                  <a:lnTo>
                    <a:pt x="374" y="145"/>
                  </a:lnTo>
                  <a:lnTo>
                    <a:pt x="376" y="145"/>
                  </a:lnTo>
                  <a:lnTo>
                    <a:pt x="376" y="145"/>
                  </a:lnTo>
                  <a:lnTo>
                    <a:pt x="376" y="147"/>
                  </a:lnTo>
                  <a:lnTo>
                    <a:pt x="378" y="147"/>
                  </a:lnTo>
                  <a:lnTo>
                    <a:pt x="381" y="147"/>
                  </a:lnTo>
                  <a:lnTo>
                    <a:pt x="381" y="147"/>
                  </a:lnTo>
                  <a:lnTo>
                    <a:pt x="381" y="145"/>
                  </a:lnTo>
                  <a:lnTo>
                    <a:pt x="381" y="142"/>
                  </a:lnTo>
                  <a:lnTo>
                    <a:pt x="383" y="142"/>
                  </a:lnTo>
                  <a:lnTo>
                    <a:pt x="383" y="140"/>
                  </a:lnTo>
                  <a:lnTo>
                    <a:pt x="383" y="140"/>
                  </a:lnTo>
                  <a:lnTo>
                    <a:pt x="383" y="137"/>
                  </a:lnTo>
                  <a:lnTo>
                    <a:pt x="385" y="137"/>
                  </a:lnTo>
                  <a:lnTo>
                    <a:pt x="385" y="137"/>
                  </a:lnTo>
                  <a:lnTo>
                    <a:pt x="385" y="137"/>
                  </a:lnTo>
                  <a:lnTo>
                    <a:pt x="388" y="137"/>
                  </a:lnTo>
                  <a:lnTo>
                    <a:pt x="388" y="137"/>
                  </a:lnTo>
                  <a:lnTo>
                    <a:pt x="385" y="137"/>
                  </a:lnTo>
                  <a:lnTo>
                    <a:pt x="385" y="135"/>
                  </a:lnTo>
                  <a:lnTo>
                    <a:pt x="388" y="135"/>
                  </a:lnTo>
                  <a:lnTo>
                    <a:pt x="390" y="135"/>
                  </a:lnTo>
                  <a:lnTo>
                    <a:pt x="392" y="133"/>
                  </a:lnTo>
                  <a:lnTo>
                    <a:pt x="392" y="133"/>
                  </a:lnTo>
                  <a:lnTo>
                    <a:pt x="392" y="135"/>
                  </a:lnTo>
                  <a:lnTo>
                    <a:pt x="392" y="135"/>
                  </a:lnTo>
                  <a:lnTo>
                    <a:pt x="392" y="135"/>
                  </a:lnTo>
                  <a:lnTo>
                    <a:pt x="395" y="135"/>
                  </a:lnTo>
                  <a:lnTo>
                    <a:pt x="397" y="135"/>
                  </a:lnTo>
                  <a:lnTo>
                    <a:pt x="397" y="135"/>
                  </a:lnTo>
                  <a:lnTo>
                    <a:pt x="400" y="135"/>
                  </a:lnTo>
                  <a:lnTo>
                    <a:pt x="400" y="135"/>
                  </a:lnTo>
                  <a:lnTo>
                    <a:pt x="400" y="135"/>
                  </a:lnTo>
                  <a:lnTo>
                    <a:pt x="402" y="135"/>
                  </a:lnTo>
                  <a:lnTo>
                    <a:pt x="402" y="135"/>
                  </a:lnTo>
                  <a:lnTo>
                    <a:pt x="402" y="135"/>
                  </a:lnTo>
                  <a:lnTo>
                    <a:pt x="402" y="137"/>
                  </a:lnTo>
                  <a:lnTo>
                    <a:pt x="404" y="137"/>
                  </a:lnTo>
                  <a:lnTo>
                    <a:pt x="404" y="137"/>
                  </a:lnTo>
                  <a:lnTo>
                    <a:pt x="404" y="135"/>
                  </a:lnTo>
                  <a:lnTo>
                    <a:pt x="407" y="135"/>
                  </a:lnTo>
                  <a:lnTo>
                    <a:pt x="409" y="135"/>
                  </a:lnTo>
                  <a:lnTo>
                    <a:pt x="409" y="135"/>
                  </a:lnTo>
                  <a:lnTo>
                    <a:pt x="411" y="135"/>
                  </a:lnTo>
                  <a:lnTo>
                    <a:pt x="414" y="135"/>
                  </a:lnTo>
                  <a:lnTo>
                    <a:pt x="414" y="135"/>
                  </a:lnTo>
                  <a:lnTo>
                    <a:pt x="414" y="133"/>
                  </a:lnTo>
                  <a:lnTo>
                    <a:pt x="416" y="133"/>
                  </a:lnTo>
                  <a:lnTo>
                    <a:pt x="418" y="130"/>
                  </a:lnTo>
                  <a:lnTo>
                    <a:pt x="418" y="130"/>
                  </a:lnTo>
                  <a:lnTo>
                    <a:pt x="418" y="130"/>
                  </a:lnTo>
                  <a:lnTo>
                    <a:pt x="418" y="128"/>
                  </a:lnTo>
                  <a:lnTo>
                    <a:pt x="421" y="126"/>
                  </a:lnTo>
                  <a:lnTo>
                    <a:pt x="418" y="126"/>
                  </a:lnTo>
                  <a:lnTo>
                    <a:pt x="418" y="123"/>
                  </a:lnTo>
                  <a:lnTo>
                    <a:pt x="418" y="123"/>
                  </a:lnTo>
                  <a:lnTo>
                    <a:pt x="418" y="123"/>
                  </a:lnTo>
                  <a:lnTo>
                    <a:pt x="418" y="121"/>
                  </a:lnTo>
                  <a:lnTo>
                    <a:pt x="418" y="119"/>
                  </a:lnTo>
                  <a:lnTo>
                    <a:pt x="418" y="119"/>
                  </a:lnTo>
                  <a:lnTo>
                    <a:pt x="418" y="116"/>
                  </a:lnTo>
                  <a:lnTo>
                    <a:pt x="418" y="116"/>
                  </a:lnTo>
                  <a:lnTo>
                    <a:pt x="418" y="114"/>
                  </a:lnTo>
                  <a:lnTo>
                    <a:pt x="423" y="114"/>
                  </a:lnTo>
                  <a:lnTo>
                    <a:pt x="423" y="111"/>
                  </a:lnTo>
                  <a:lnTo>
                    <a:pt x="426" y="111"/>
                  </a:lnTo>
                  <a:lnTo>
                    <a:pt x="426" y="111"/>
                  </a:lnTo>
                  <a:lnTo>
                    <a:pt x="428" y="111"/>
                  </a:lnTo>
                  <a:lnTo>
                    <a:pt x="428" y="111"/>
                  </a:lnTo>
                  <a:lnTo>
                    <a:pt x="430" y="111"/>
                  </a:lnTo>
                  <a:lnTo>
                    <a:pt x="428" y="111"/>
                  </a:lnTo>
                  <a:lnTo>
                    <a:pt x="430" y="111"/>
                  </a:lnTo>
                  <a:lnTo>
                    <a:pt x="430" y="111"/>
                  </a:lnTo>
                  <a:lnTo>
                    <a:pt x="430" y="111"/>
                  </a:lnTo>
                  <a:lnTo>
                    <a:pt x="433" y="111"/>
                  </a:lnTo>
                  <a:lnTo>
                    <a:pt x="433" y="111"/>
                  </a:lnTo>
                  <a:lnTo>
                    <a:pt x="437" y="111"/>
                  </a:lnTo>
                  <a:lnTo>
                    <a:pt x="440" y="114"/>
                  </a:lnTo>
                  <a:lnTo>
                    <a:pt x="442" y="114"/>
                  </a:lnTo>
                  <a:lnTo>
                    <a:pt x="442" y="111"/>
                  </a:lnTo>
                  <a:lnTo>
                    <a:pt x="444" y="111"/>
                  </a:lnTo>
                  <a:lnTo>
                    <a:pt x="444" y="109"/>
                  </a:lnTo>
                  <a:lnTo>
                    <a:pt x="444" y="109"/>
                  </a:lnTo>
                  <a:lnTo>
                    <a:pt x="444" y="109"/>
                  </a:lnTo>
                  <a:lnTo>
                    <a:pt x="449" y="109"/>
                  </a:lnTo>
                  <a:lnTo>
                    <a:pt x="447" y="107"/>
                  </a:lnTo>
                  <a:lnTo>
                    <a:pt x="449" y="107"/>
                  </a:lnTo>
                  <a:lnTo>
                    <a:pt x="449" y="104"/>
                  </a:lnTo>
                  <a:lnTo>
                    <a:pt x="447" y="104"/>
                  </a:lnTo>
                  <a:lnTo>
                    <a:pt x="447" y="102"/>
                  </a:lnTo>
                  <a:lnTo>
                    <a:pt x="447" y="102"/>
                  </a:lnTo>
                  <a:lnTo>
                    <a:pt x="444" y="102"/>
                  </a:lnTo>
                  <a:lnTo>
                    <a:pt x="444" y="102"/>
                  </a:lnTo>
                  <a:lnTo>
                    <a:pt x="444" y="102"/>
                  </a:lnTo>
                  <a:lnTo>
                    <a:pt x="442" y="100"/>
                  </a:lnTo>
                  <a:lnTo>
                    <a:pt x="444" y="97"/>
                  </a:lnTo>
                  <a:lnTo>
                    <a:pt x="447" y="97"/>
                  </a:lnTo>
                  <a:lnTo>
                    <a:pt x="447" y="97"/>
                  </a:lnTo>
                  <a:lnTo>
                    <a:pt x="447" y="97"/>
                  </a:lnTo>
                  <a:lnTo>
                    <a:pt x="449" y="97"/>
                  </a:lnTo>
                  <a:lnTo>
                    <a:pt x="449" y="100"/>
                  </a:lnTo>
                  <a:lnTo>
                    <a:pt x="449" y="100"/>
                  </a:lnTo>
                  <a:lnTo>
                    <a:pt x="449" y="97"/>
                  </a:lnTo>
                  <a:lnTo>
                    <a:pt x="452" y="97"/>
                  </a:lnTo>
                  <a:lnTo>
                    <a:pt x="454" y="100"/>
                  </a:lnTo>
                  <a:lnTo>
                    <a:pt x="454" y="97"/>
                  </a:lnTo>
                  <a:lnTo>
                    <a:pt x="456" y="100"/>
                  </a:lnTo>
                  <a:lnTo>
                    <a:pt x="456" y="97"/>
                  </a:lnTo>
                  <a:lnTo>
                    <a:pt x="459" y="100"/>
                  </a:lnTo>
                  <a:lnTo>
                    <a:pt x="459" y="100"/>
                  </a:lnTo>
                  <a:lnTo>
                    <a:pt x="461" y="100"/>
                  </a:lnTo>
                  <a:lnTo>
                    <a:pt x="463" y="102"/>
                  </a:lnTo>
                  <a:lnTo>
                    <a:pt x="463" y="102"/>
                  </a:lnTo>
                  <a:lnTo>
                    <a:pt x="463" y="102"/>
                  </a:lnTo>
                  <a:lnTo>
                    <a:pt x="463" y="102"/>
                  </a:lnTo>
                  <a:lnTo>
                    <a:pt x="466" y="102"/>
                  </a:lnTo>
                  <a:lnTo>
                    <a:pt x="466" y="104"/>
                  </a:lnTo>
                  <a:lnTo>
                    <a:pt x="468" y="102"/>
                  </a:lnTo>
                  <a:lnTo>
                    <a:pt x="468" y="102"/>
                  </a:lnTo>
                  <a:lnTo>
                    <a:pt x="468" y="102"/>
                  </a:lnTo>
                  <a:lnTo>
                    <a:pt x="470" y="102"/>
                  </a:lnTo>
                  <a:lnTo>
                    <a:pt x="473" y="100"/>
                  </a:lnTo>
                  <a:lnTo>
                    <a:pt x="475" y="100"/>
                  </a:lnTo>
                  <a:lnTo>
                    <a:pt x="475" y="100"/>
                  </a:lnTo>
                  <a:lnTo>
                    <a:pt x="475" y="100"/>
                  </a:lnTo>
                  <a:lnTo>
                    <a:pt x="478" y="100"/>
                  </a:lnTo>
                  <a:lnTo>
                    <a:pt x="482" y="100"/>
                  </a:lnTo>
                  <a:lnTo>
                    <a:pt x="482" y="100"/>
                  </a:lnTo>
                  <a:lnTo>
                    <a:pt x="485" y="100"/>
                  </a:lnTo>
                  <a:lnTo>
                    <a:pt x="485" y="100"/>
                  </a:lnTo>
                  <a:lnTo>
                    <a:pt x="485" y="100"/>
                  </a:lnTo>
                  <a:lnTo>
                    <a:pt x="487" y="97"/>
                  </a:lnTo>
                  <a:lnTo>
                    <a:pt x="489" y="97"/>
                  </a:lnTo>
                  <a:lnTo>
                    <a:pt x="489" y="95"/>
                  </a:lnTo>
                  <a:lnTo>
                    <a:pt x="492" y="95"/>
                  </a:lnTo>
                  <a:lnTo>
                    <a:pt x="489" y="93"/>
                  </a:lnTo>
                  <a:lnTo>
                    <a:pt x="492" y="93"/>
                  </a:lnTo>
                  <a:lnTo>
                    <a:pt x="494" y="90"/>
                  </a:lnTo>
                  <a:lnTo>
                    <a:pt x="492" y="90"/>
                  </a:lnTo>
                  <a:lnTo>
                    <a:pt x="492" y="90"/>
                  </a:lnTo>
                  <a:lnTo>
                    <a:pt x="494" y="88"/>
                  </a:lnTo>
                  <a:lnTo>
                    <a:pt x="492" y="85"/>
                  </a:lnTo>
                  <a:lnTo>
                    <a:pt x="492" y="85"/>
                  </a:lnTo>
                  <a:lnTo>
                    <a:pt x="492" y="83"/>
                  </a:lnTo>
                  <a:lnTo>
                    <a:pt x="492" y="83"/>
                  </a:lnTo>
                  <a:lnTo>
                    <a:pt x="492" y="83"/>
                  </a:lnTo>
                  <a:lnTo>
                    <a:pt x="494" y="83"/>
                  </a:lnTo>
                  <a:lnTo>
                    <a:pt x="494" y="81"/>
                  </a:lnTo>
                  <a:lnTo>
                    <a:pt x="494" y="81"/>
                  </a:lnTo>
                  <a:lnTo>
                    <a:pt x="496" y="78"/>
                  </a:lnTo>
                  <a:lnTo>
                    <a:pt x="496" y="76"/>
                  </a:lnTo>
                  <a:lnTo>
                    <a:pt x="496" y="74"/>
                  </a:lnTo>
                  <a:lnTo>
                    <a:pt x="501" y="74"/>
                  </a:lnTo>
                  <a:lnTo>
                    <a:pt x="501" y="76"/>
                  </a:lnTo>
                  <a:lnTo>
                    <a:pt x="504" y="76"/>
                  </a:lnTo>
                  <a:lnTo>
                    <a:pt x="506" y="74"/>
                  </a:lnTo>
                  <a:lnTo>
                    <a:pt x="506" y="74"/>
                  </a:lnTo>
                  <a:lnTo>
                    <a:pt x="508" y="71"/>
                  </a:lnTo>
                  <a:lnTo>
                    <a:pt x="508" y="71"/>
                  </a:lnTo>
                  <a:lnTo>
                    <a:pt x="508" y="71"/>
                  </a:lnTo>
                  <a:lnTo>
                    <a:pt x="511" y="71"/>
                  </a:lnTo>
                  <a:lnTo>
                    <a:pt x="511" y="69"/>
                  </a:lnTo>
                  <a:lnTo>
                    <a:pt x="515" y="69"/>
                  </a:lnTo>
                  <a:lnTo>
                    <a:pt x="515" y="69"/>
                  </a:lnTo>
                  <a:lnTo>
                    <a:pt x="518" y="69"/>
                  </a:lnTo>
                  <a:lnTo>
                    <a:pt x="518" y="67"/>
                  </a:lnTo>
                  <a:lnTo>
                    <a:pt x="520" y="67"/>
                  </a:lnTo>
                  <a:lnTo>
                    <a:pt x="520" y="67"/>
                  </a:lnTo>
                  <a:lnTo>
                    <a:pt x="520" y="67"/>
                  </a:lnTo>
                  <a:lnTo>
                    <a:pt x="520" y="64"/>
                  </a:lnTo>
                  <a:lnTo>
                    <a:pt x="520" y="64"/>
                  </a:lnTo>
                  <a:lnTo>
                    <a:pt x="520" y="64"/>
                  </a:lnTo>
                  <a:lnTo>
                    <a:pt x="522" y="62"/>
                  </a:lnTo>
                  <a:lnTo>
                    <a:pt x="522" y="62"/>
                  </a:lnTo>
                  <a:lnTo>
                    <a:pt x="525" y="62"/>
                  </a:lnTo>
                  <a:lnTo>
                    <a:pt x="525" y="59"/>
                  </a:lnTo>
                  <a:lnTo>
                    <a:pt x="527" y="59"/>
                  </a:lnTo>
                  <a:lnTo>
                    <a:pt x="527" y="57"/>
                  </a:lnTo>
                  <a:lnTo>
                    <a:pt x="527" y="57"/>
                  </a:lnTo>
                  <a:lnTo>
                    <a:pt x="529" y="55"/>
                  </a:lnTo>
                  <a:lnTo>
                    <a:pt x="529" y="55"/>
                  </a:lnTo>
                  <a:lnTo>
                    <a:pt x="529" y="52"/>
                  </a:lnTo>
                  <a:lnTo>
                    <a:pt x="529" y="52"/>
                  </a:lnTo>
                  <a:lnTo>
                    <a:pt x="532" y="52"/>
                  </a:lnTo>
                  <a:lnTo>
                    <a:pt x="532" y="50"/>
                  </a:lnTo>
                  <a:lnTo>
                    <a:pt x="534" y="48"/>
                  </a:lnTo>
                  <a:lnTo>
                    <a:pt x="534" y="48"/>
                  </a:lnTo>
                  <a:lnTo>
                    <a:pt x="537" y="48"/>
                  </a:lnTo>
                  <a:lnTo>
                    <a:pt x="537" y="43"/>
                  </a:lnTo>
                  <a:lnTo>
                    <a:pt x="537" y="41"/>
                  </a:lnTo>
                  <a:lnTo>
                    <a:pt x="537" y="38"/>
                  </a:lnTo>
                  <a:lnTo>
                    <a:pt x="534" y="36"/>
                  </a:lnTo>
                  <a:lnTo>
                    <a:pt x="534" y="36"/>
                  </a:lnTo>
                  <a:lnTo>
                    <a:pt x="532" y="34"/>
                  </a:lnTo>
                  <a:lnTo>
                    <a:pt x="532" y="31"/>
                  </a:lnTo>
                  <a:lnTo>
                    <a:pt x="529" y="29"/>
                  </a:lnTo>
                  <a:lnTo>
                    <a:pt x="529" y="26"/>
                  </a:lnTo>
                  <a:lnTo>
                    <a:pt x="529" y="24"/>
                  </a:lnTo>
                  <a:lnTo>
                    <a:pt x="529" y="22"/>
                  </a:lnTo>
                  <a:lnTo>
                    <a:pt x="529" y="22"/>
                  </a:lnTo>
                  <a:lnTo>
                    <a:pt x="529" y="22"/>
                  </a:lnTo>
                  <a:lnTo>
                    <a:pt x="529" y="22"/>
                  </a:lnTo>
                  <a:lnTo>
                    <a:pt x="529" y="22"/>
                  </a:lnTo>
                  <a:lnTo>
                    <a:pt x="527" y="19"/>
                  </a:lnTo>
                  <a:lnTo>
                    <a:pt x="529" y="17"/>
                  </a:lnTo>
                  <a:lnTo>
                    <a:pt x="527" y="17"/>
                  </a:lnTo>
                  <a:lnTo>
                    <a:pt x="525" y="15"/>
                  </a:lnTo>
                  <a:lnTo>
                    <a:pt x="525" y="12"/>
                  </a:lnTo>
                  <a:lnTo>
                    <a:pt x="525" y="12"/>
                  </a:lnTo>
                  <a:lnTo>
                    <a:pt x="522" y="12"/>
                  </a:lnTo>
                  <a:lnTo>
                    <a:pt x="522" y="12"/>
                  </a:lnTo>
                  <a:lnTo>
                    <a:pt x="520" y="12"/>
                  </a:lnTo>
                  <a:lnTo>
                    <a:pt x="518" y="10"/>
                  </a:lnTo>
                  <a:lnTo>
                    <a:pt x="520" y="8"/>
                  </a:lnTo>
                  <a:lnTo>
                    <a:pt x="522" y="8"/>
                  </a:lnTo>
                  <a:lnTo>
                    <a:pt x="522" y="8"/>
                  </a:lnTo>
                  <a:lnTo>
                    <a:pt x="525" y="8"/>
                  </a:lnTo>
                  <a:lnTo>
                    <a:pt x="527" y="8"/>
                  </a:lnTo>
                  <a:lnTo>
                    <a:pt x="529" y="8"/>
                  </a:lnTo>
                  <a:lnTo>
                    <a:pt x="529" y="8"/>
                  </a:lnTo>
                  <a:lnTo>
                    <a:pt x="532" y="10"/>
                  </a:lnTo>
                  <a:lnTo>
                    <a:pt x="534" y="8"/>
                  </a:lnTo>
                  <a:lnTo>
                    <a:pt x="534" y="10"/>
                  </a:lnTo>
                  <a:lnTo>
                    <a:pt x="537" y="8"/>
                  </a:lnTo>
                  <a:lnTo>
                    <a:pt x="537" y="8"/>
                  </a:lnTo>
                  <a:lnTo>
                    <a:pt x="537" y="10"/>
                  </a:lnTo>
                  <a:lnTo>
                    <a:pt x="539" y="12"/>
                  </a:lnTo>
                  <a:lnTo>
                    <a:pt x="541" y="12"/>
                  </a:lnTo>
                  <a:lnTo>
                    <a:pt x="544" y="10"/>
                  </a:lnTo>
                  <a:lnTo>
                    <a:pt x="546" y="10"/>
                  </a:lnTo>
                  <a:lnTo>
                    <a:pt x="548" y="10"/>
                  </a:lnTo>
                  <a:lnTo>
                    <a:pt x="551" y="10"/>
                  </a:lnTo>
                  <a:lnTo>
                    <a:pt x="551" y="10"/>
                  </a:lnTo>
                  <a:lnTo>
                    <a:pt x="553" y="10"/>
                  </a:lnTo>
                  <a:lnTo>
                    <a:pt x="555" y="10"/>
                  </a:lnTo>
                  <a:lnTo>
                    <a:pt x="555" y="12"/>
                  </a:lnTo>
                  <a:lnTo>
                    <a:pt x="555" y="12"/>
                  </a:lnTo>
                  <a:lnTo>
                    <a:pt x="558" y="12"/>
                  </a:lnTo>
                  <a:lnTo>
                    <a:pt x="558" y="10"/>
                  </a:lnTo>
                  <a:lnTo>
                    <a:pt x="558" y="10"/>
                  </a:lnTo>
                  <a:lnTo>
                    <a:pt x="560" y="10"/>
                  </a:lnTo>
                  <a:lnTo>
                    <a:pt x="563" y="8"/>
                  </a:lnTo>
                  <a:lnTo>
                    <a:pt x="565" y="10"/>
                  </a:lnTo>
                  <a:lnTo>
                    <a:pt x="565" y="10"/>
                  </a:lnTo>
                  <a:lnTo>
                    <a:pt x="565" y="10"/>
                  </a:lnTo>
                  <a:lnTo>
                    <a:pt x="567" y="10"/>
                  </a:lnTo>
                  <a:lnTo>
                    <a:pt x="567" y="10"/>
                  </a:lnTo>
                  <a:lnTo>
                    <a:pt x="570" y="10"/>
                  </a:lnTo>
                  <a:lnTo>
                    <a:pt x="570" y="10"/>
                  </a:lnTo>
                  <a:lnTo>
                    <a:pt x="572" y="10"/>
                  </a:lnTo>
                  <a:lnTo>
                    <a:pt x="572" y="8"/>
                  </a:lnTo>
                  <a:lnTo>
                    <a:pt x="577" y="8"/>
                  </a:lnTo>
                  <a:lnTo>
                    <a:pt x="577" y="8"/>
                  </a:lnTo>
                  <a:lnTo>
                    <a:pt x="577" y="8"/>
                  </a:lnTo>
                  <a:lnTo>
                    <a:pt x="577" y="5"/>
                  </a:lnTo>
                  <a:lnTo>
                    <a:pt x="577" y="3"/>
                  </a:lnTo>
                  <a:lnTo>
                    <a:pt x="579" y="3"/>
                  </a:lnTo>
                  <a:lnTo>
                    <a:pt x="581" y="3"/>
                  </a:lnTo>
                  <a:lnTo>
                    <a:pt x="584" y="3"/>
                  </a:lnTo>
                  <a:lnTo>
                    <a:pt x="584" y="0"/>
                  </a:lnTo>
                  <a:lnTo>
                    <a:pt x="586" y="3"/>
                  </a:lnTo>
                  <a:lnTo>
                    <a:pt x="586" y="3"/>
                  </a:lnTo>
                  <a:lnTo>
                    <a:pt x="586" y="5"/>
                  </a:lnTo>
                  <a:lnTo>
                    <a:pt x="589" y="8"/>
                  </a:lnTo>
                  <a:lnTo>
                    <a:pt x="591" y="8"/>
                  </a:lnTo>
                  <a:lnTo>
                    <a:pt x="593" y="5"/>
                  </a:lnTo>
                  <a:lnTo>
                    <a:pt x="596" y="8"/>
                  </a:lnTo>
                  <a:lnTo>
                    <a:pt x="598" y="12"/>
                  </a:lnTo>
                  <a:lnTo>
                    <a:pt x="598" y="17"/>
                  </a:lnTo>
                  <a:lnTo>
                    <a:pt x="598" y="19"/>
                  </a:lnTo>
                  <a:lnTo>
                    <a:pt x="603" y="19"/>
                  </a:lnTo>
                  <a:lnTo>
                    <a:pt x="603" y="19"/>
                  </a:lnTo>
                  <a:lnTo>
                    <a:pt x="603" y="19"/>
                  </a:lnTo>
                  <a:lnTo>
                    <a:pt x="603" y="22"/>
                  </a:lnTo>
                  <a:lnTo>
                    <a:pt x="605" y="22"/>
                  </a:lnTo>
                  <a:lnTo>
                    <a:pt x="605" y="22"/>
                  </a:lnTo>
                  <a:lnTo>
                    <a:pt x="607" y="24"/>
                  </a:lnTo>
                  <a:lnTo>
                    <a:pt x="607" y="26"/>
                  </a:lnTo>
                  <a:lnTo>
                    <a:pt x="607" y="24"/>
                  </a:lnTo>
                  <a:lnTo>
                    <a:pt x="610" y="26"/>
                  </a:lnTo>
                  <a:lnTo>
                    <a:pt x="612" y="26"/>
                  </a:lnTo>
                  <a:lnTo>
                    <a:pt x="612" y="26"/>
                  </a:lnTo>
                  <a:lnTo>
                    <a:pt x="612" y="26"/>
                  </a:lnTo>
                  <a:lnTo>
                    <a:pt x="612" y="29"/>
                  </a:lnTo>
                  <a:lnTo>
                    <a:pt x="610" y="29"/>
                  </a:lnTo>
                  <a:lnTo>
                    <a:pt x="612" y="31"/>
                  </a:lnTo>
                  <a:lnTo>
                    <a:pt x="612" y="31"/>
                  </a:lnTo>
                  <a:lnTo>
                    <a:pt x="612" y="31"/>
                  </a:lnTo>
                  <a:lnTo>
                    <a:pt x="612" y="34"/>
                  </a:lnTo>
                  <a:lnTo>
                    <a:pt x="612" y="34"/>
                  </a:lnTo>
                  <a:lnTo>
                    <a:pt x="612" y="36"/>
                  </a:lnTo>
                  <a:lnTo>
                    <a:pt x="612" y="38"/>
                  </a:lnTo>
                  <a:lnTo>
                    <a:pt x="612" y="41"/>
                  </a:lnTo>
                  <a:lnTo>
                    <a:pt x="612" y="41"/>
                  </a:lnTo>
                  <a:lnTo>
                    <a:pt x="612" y="43"/>
                  </a:lnTo>
                  <a:lnTo>
                    <a:pt x="612" y="45"/>
                  </a:lnTo>
                  <a:lnTo>
                    <a:pt x="612" y="45"/>
                  </a:lnTo>
                  <a:lnTo>
                    <a:pt x="612" y="45"/>
                  </a:lnTo>
                  <a:lnTo>
                    <a:pt x="612" y="48"/>
                  </a:lnTo>
                  <a:lnTo>
                    <a:pt x="610" y="50"/>
                  </a:lnTo>
                  <a:lnTo>
                    <a:pt x="610" y="57"/>
                  </a:lnTo>
                  <a:lnTo>
                    <a:pt x="607" y="59"/>
                  </a:lnTo>
                  <a:lnTo>
                    <a:pt x="607" y="59"/>
                  </a:lnTo>
                  <a:lnTo>
                    <a:pt x="607" y="62"/>
                  </a:lnTo>
                  <a:lnTo>
                    <a:pt x="607" y="62"/>
                  </a:lnTo>
                  <a:lnTo>
                    <a:pt x="607" y="64"/>
                  </a:lnTo>
                  <a:lnTo>
                    <a:pt x="605" y="64"/>
                  </a:lnTo>
                  <a:lnTo>
                    <a:pt x="607" y="67"/>
                  </a:lnTo>
                  <a:lnTo>
                    <a:pt x="607" y="69"/>
                  </a:lnTo>
                  <a:lnTo>
                    <a:pt x="607" y="71"/>
                  </a:lnTo>
                  <a:lnTo>
                    <a:pt x="605" y="74"/>
                  </a:lnTo>
                  <a:lnTo>
                    <a:pt x="607" y="76"/>
                  </a:lnTo>
                  <a:lnTo>
                    <a:pt x="607" y="76"/>
                  </a:lnTo>
                  <a:lnTo>
                    <a:pt x="603" y="81"/>
                  </a:lnTo>
                  <a:lnTo>
                    <a:pt x="603" y="83"/>
                  </a:lnTo>
                  <a:lnTo>
                    <a:pt x="600" y="83"/>
                  </a:lnTo>
                  <a:lnTo>
                    <a:pt x="603" y="85"/>
                  </a:lnTo>
                  <a:lnTo>
                    <a:pt x="603" y="85"/>
                  </a:lnTo>
                  <a:lnTo>
                    <a:pt x="603" y="88"/>
                  </a:lnTo>
                  <a:lnTo>
                    <a:pt x="598" y="90"/>
                  </a:lnTo>
                  <a:lnTo>
                    <a:pt x="598" y="90"/>
                  </a:lnTo>
                  <a:lnTo>
                    <a:pt x="596" y="90"/>
                  </a:lnTo>
                  <a:lnTo>
                    <a:pt x="596" y="90"/>
                  </a:lnTo>
                  <a:lnTo>
                    <a:pt x="593" y="90"/>
                  </a:lnTo>
                  <a:lnTo>
                    <a:pt x="596" y="93"/>
                  </a:lnTo>
                  <a:lnTo>
                    <a:pt x="593" y="93"/>
                  </a:lnTo>
                  <a:lnTo>
                    <a:pt x="593" y="95"/>
                  </a:lnTo>
                  <a:lnTo>
                    <a:pt x="593" y="95"/>
                  </a:lnTo>
                  <a:lnTo>
                    <a:pt x="593" y="95"/>
                  </a:lnTo>
                  <a:lnTo>
                    <a:pt x="591" y="95"/>
                  </a:lnTo>
                  <a:lnTo>
                    <a:pt x="591" y="95"/>
                  </a:lnTo>
                  <a:lnTo>
                    <a:pt x="591" y="97"/>
                  </a:lnTo>
                  <a:lnTo>
                    <a:pt x="591" y="97"/>
                  </a:lnTo>
                  <a:lnTo>
                    <a:pt x="591" y="102"/>
                  </a:lnTo>
                  <a:lnTo>
                    <a:pt x="591" y="102"/>
                  </a:lnTo>
                  <a:lnTo>
                    <a:pt x="593" y="102"/>
                  </a:lnTo>
                  <a:lnTo>
                    <a:pt x="596" y="102"/>
                  </a:lnTo>
                  <a:lnTo>
                    <a:pt x="598" y="102"/>
                  </a:lnTo>
                  <a:lnTo>
                    <a:pt x="598" y="100"/>
                  </a:lnTo>
                  <a:lnTo>
                    <a:pt x="600" y="100"/>
                  </a:lnTo>
                  <a:lnTo>
                    <a:pt x="600" y="100"/>
                  </a:lnTo>
                  <a:lnTo>
                    <a:pt x="600" y="102"/>
                  </a:lnTo>
                  <a:lnTo>
                    <a:pt x="603" y="100"/>
                  </a:lnTo>
                  <a:lnTo>
                    <a:pt x="603" y="102"/>
                  </a:lnTo>
                  <a:lnTo>
                    <a:pt x="603" y="102"/>
                  </a:lnTo>
                  <a:lnTo>
                    <a:pt x="603" y="102"/>
                  </a:lnTo>
                  <a:lnTo>
                    <a:pt x="603" y="102"/>
                  </a:lnTo>
                  <a:lnTo>
                    <a:pt x="605" y="102"/>
                  </a:lnTo>
                  <a:lnTo>
                    <a:pt x="607" y="104"/>
                  </a:lnTo>
                  <a:lnTo>
                    <a:pt x="607" y="102"/>
                  </a:lnTo>
                  <a:lnTo>
                    <a:pt x="610" y="104"/>
                  </a:lnTo>
                  <a:lnTo>
                    <a:pt x="610" y="102"/>
                  </a:lnTo>
                  <a:lnTo>
                    <a:pt x="612" y="102"/>
                  </a:lnTo>
                  <a:lnTo>
                    <a:pt x="612" y="104"/>
                  </a:lnTo>
                  <a:lnTo>
                    <a:pt x="615" y="104"/>
                  </a:lnTo>
                  <a:lnTo>
                    <a:pt x="615" y="104"/>
                  </a:lnTo>
                  <a:lnTo>
                    <a:pt x="615" y="104"/>
                  </a:lnTo>
                  <a:lnTo>
                    <a:pt x="615" y="104"/>
                  </a:lnTo>
                  <a:lnTo>
                    <a:pt x="615" y="104"/>
                  </a:lnTo>
                  <a:lnTo>
                    <a:pt x="615" y="102"/>
                  </a:lnTo>
                  <a:lnTo>
                    <a:pt x="617" y="102"/>
                  </a:lnTo>
                  <a:lnTo>
                    <a:pt x="617" y="102"/>
                  </a:lnTo>
                  <a:lnTo>
                    <a:pt x="619" y="104"/>
                  </a:lnTo>
                  <a:lnTo>
                    <a:pt x="619" y="102"/>
                  </a:lnTo>
                  <a:lnTo>
                    <a:pt x="619" y="104"/>
                  </a:lnTo>
                  <a:lnTo>
                    <a:pt x="622" y="104"/>
                  </a:lnTo>
                  <a:lnTo>
                    <a:pt x="622" y="104"/>
                  </a:lnTo>
                  <a:lnTo>
                    <a:pt x="624" y="107"/>
                  </a:lnTo>
                  <a:lnTo>
                    <a:pt x="622" y="107"/>
                  </a:lnTo>
                  <a:lnTo>
                    <a:pt x="624" y="109"/>
                  </a:lnTo>
                  <a:lnTo>
                    <a:pt x="624" y="107"/>
                  </a:lnTo>
                  <a:lnTo>
                    <a:pt x="626" y="107"/>
                  </a:lnTo>
                  <a:lnTo>
                    <a:pt x="629" y="104"/>
                  </a:lnTo>
                  <a:lnTo>
                    <a:pt x="629" y="104"/>
                  </a:lnTo>
                  <a:lnTo>
                    <a:pt x="629" y="107"/>
                  </a:lnTo>
                  <a:lnTo>
                    <a:pt x="629" y="109"/>
                  </a:lnTo>
                  <a:lnTo>
                    <a:pt x="629" y="109"/>
                  </a:lnTo>
                  <a:lnTo>
                    <a:pt x="631" y="109"/>
                  </a:lnTo>
                  <a:lnTo>
                    <a:pt x="631" y="109"/>
                  </a:lnTo>
                  <a:lnTo>
                    <a:pt x="633" y="109"/>
                  </a:lnTo>
                  <a:lnTo>
                    <a:pt x="633" y="109"/>
                  </a:lnTo>
                  <a:lnTo>
                    <a:pt x="636" y="109"/>
                  </a:lnTo>
                  <a:lnTo>
                    <a:pt x="636" y="109"/>
                  </a:lnTo>
                  <a:lnTo>
                    <a:pt x="636" y="107"/>
                  </a:lnTo>
                  <a:lnTo>
                    <a:pt x="638" y="107"/>
                  </a:lnTo>
                  <a:lnTo>
                    <a:pt x="638" y="109"/>
                  </a:lnTo>
                  <a:lnTo>
                    <a:pt x="641" y="109"/>
                  </a:lnTo>
                  <a:lnTo>
                    <a:pt x="641" y="111"/>
                  </a:lnTo>
                  <a:lnTo>
                    <a:pt x="641" y="111"/>
                  </a:lnTo>
                  <a:lnTo>
                    <a:pt x="643" y="114"/>
                  </a:lnTo>
                  <a:lnTo>
                    <a:pt x="645" y="114"/>
                  </a:lnTo>
                  <a:lnTo>
                    <a:pt x="648" y="114"/>
                  </a:lnTo>
                  <a:lnTo>
                    <a:pt x="648" y="116"/>
                  </a:lnTo>
                  <a:lnTo>
                    <a:pt x="650" y="119"/>
                  </a:lnTo>
                  <a:lnTo>
                    <a:pt x="652" y="119"/>
                  </a:lnTo>
                  <a:lnTo>
                    <a:pt x="652" y="119"/>
                  </a:lnTo>
                  <a:lnTo>
                    <a:pt x="652" y="121"/>
                  </a:lnTo>
                  <a:lnTo>
                    <a:pt x="652" y="123"/>
                  </a:lnTo>
                  <a:lnTo>
                    <a:pt x="652" y="123"/>
                  </a:lnTo>
                  <a:lnTo>
                    <a:pt x="650" y="123"/>
                  </a:lnTo>
                  <a:lnTo>
                    <a:pt x="650" y="126"/>
                  </a:lnTo>
                  <a:lnTo>
                    <a:pt x="650" y="128"/>
                  </a:lnTo>
                  <a:lnTo>
                    <a:pt x="648" y="128"/>
                  </a:lnTo>
                  <a:lnTo>
                    <a:pt x="648" y="128"/>
                  </a:lnTo>
                  <a:lnTo>
                    <a:pt x="648" y="130"/>
                  </a:lnTo>
                  <a:lnTo>
                    <a:pt x="645" y="130"/>
                  </a:lnTo>
                  <a:lnTo>
                    <a:pt x="645" y="130"/>
                  </a:lnTo>
                  <a:lnTo>
                    <a:pt x="645" y="133"/>
                  </a:lnTo>
                  <a:lnTo>
                    <a:pt x="648" y="133"/>
                  </a:lnTo>
                  <a:lnTo>
                    <a:pt x="648" y="133"/>
                  </a:lnTo>
                  <a:lnTo>
                    <a:pt x="645" y="137"/>
                  </a:lnTo>
                  <a:lnTo>
                    <a:pt x="645" y="137"/>
                  </a:lnTo>
                  <a:lnTo>
                    <a:pt x="645" y="140"/>
                  </a:lnTo>
                  <a:lnTo>
                    <a:pt x="648" y="145"/>
                  </a:lnTo>
                  <a:lnTo>
                    <a:pt x="648" y="145"/>
                  </a:lnTo>
                  <a:lnTo>
                    <a:pt x="648" y="147"/>
                  </a:lnTo>
                  <a:lnTo>
                    <a:pt x="650" y="147"/>
                  </a:lnTo>
                  <a:lnTo>
                    <a:pt x="652" y="149"/>
                  </a:lnTo>
                  <a:lnTo>
                    <a:pt x="657" y="149"/>
                  </a:lnTo>
                  <a:lnTo>
                    <a:pt x="659" y="149"/>
                  </a:lnTo>
                  <a:lnTo>
                    <a:pt x="659" y="154"/>
                  </a:lnTo>
                  <a:lnTo>
                    <a:pt x="659" y="154"/>
                  </a:lnTo>
                  <a:lnTo>
                    <a:pt x="657" y="159"/>
                  </a:lnTo>
                  <a:lnTo>
                    <a:pt x="657" y="159"/>
                  </a:lnTo>
                  <a:lnTo>
                    <a:pt x="659" y="161"/>
                  </a:lnTo>
                  <a:lnTo>
                    <a:pt x="659" y="161"/>
                  </a:lnTo>
                  <a:lnTo>
                    <a:pt x="659" y="161"/>
                  </a:lnTo>
                  <a:lnTo>
                    <a:pt x="659" y="163"/>
                  </a:lnTo>
                  <a:lnTo>
                    <a:pt x="662" y="163"/>
                  </a:lnTo>
                  <a:lnTo>
                    <a:pt x="662" y="166"/>
                  </a:lnTo>
                  <a:lnTo>
                    <a:pt x="662" y="166"/>
                  </a:lnTo>
                  <a:lnTo>
                    <a:pt x="662" y="166"/>
                  </a:lnTo>
                  <a:lnTo>
                    <a:pt x="662" y="166"/>
                  </a:lnTo>
                  <a:lnTo>
                    <a:pt x="662" y="166"/>
                  </a:lnTo>
                  <a:lnTo>
                    <a:pt x="664" y="166"/>
                  </a:lnTo>
                  <a:lnTo>
                    <a:pt x="664" y="166"/>
                  </a:lnTo>
                  <a:lnTo>
                    <a:pt x="662" y="168"/>
                  </a:lnTo>
                  <a:lnTo>
                    <a:pt x="664" y="168"/>
                  </a:lnTo>
                  <a:lnTo>
                    <a:pt x="664" y="168"/>
                  </a:lnTo>
                  <a:lnTo>
                    <a:pt x="667" y="168"/>
                  </a:lnTo>
                  <a:lnTo>
                    <a:pt x="664" y="168"/>
                  </a:lnTo>
                  <a:lnTo>
                    <a:pt x="667" y="168"/>
                  </a:lnTo>
                  <a:lnTo>
                    <a:pt x="664" y="171"/>
                  </a:lnTo>
                  <a:lnTo>
                    <a:pt x="664" y="173"/>
                  </a:lnTo>
                  <a:lnTo>
                    <a:pt x="667" y="173"/>
                  </a:lnTo>
                  <a:lnTo>
                    <a:pt x="667" y="173"/>
                  </a:lnTo>
                  <a:lnTo>
                    <a:pt x="667" y="171"/>
                  </a:lnTo>
                  <a:lnTo>
                    <a:pt x="669" y="171"/>
                  </a:lnTo>
                  <a:lnTo>
                    <a:pt x="669" y="173"/>
                  </a:lnTo>
                  <a:lnTo>
                    <a:pt x="671" y="173"/>
                  </a:lnTo>
                  <a:lnTo>
                    <a:pt x="671" y="173"/>
                  </a:lnTo>
                  <a:lnTo>
                    <a:pt x="671" y="175"/>
                  </a:lnTo>
                  <a:lnTo>
                    <a:pt x="674" y="175"/>
                  </a:lnTo>
                  <a:lnTo>
                    <a:pt x="671" y="175"/>
                  </a:lnTo>
                  <a:lnTo>
                    <a:pt x="671" y="178"/>
                  </a:lnTo>
                  <a:lnTo>
                    <a:pt x="671" y="178"/>
                  </a:lnTo>
                  <a:lnTo>
                    <a:pt x="671" y="178"/>
                  </a:lnTo>
                  <a:lnTo>
                    <a:pt x="669" y="178"/>
                  </a:lnTo>
                  <a:lnTo>
                    <a:pt x="669" y="178"/>
                  </a:lnTo>
                  <a:lnTo>
                    <a:pt x="669" y="178"/>
                  </a:lnTo>
                  <a:lnTo>
                    <a:pt x="669" y="178"/>
                  </a:lnTo>
                  <a:lnTo>
                    <a:pt x="667" y="178"/>
                  </a:lnTo>
                  <a:lnTo>
                    <a:pt x="667" y="182"/>
                  </a:lnTo>
                  <a:lnTo>
                    <a:pt x="664" y="180"/>
                  </a:lnTo>
                  <a:lnTo>
                    <a:pt x="667" y="182"/>
                  </a:lnTo>
                  <a:lnTo>
                    <a:pt x="664" y="182"/>
                  </a:lnTo>
                  <a:lnTo>
                    <a:pt x="662" y="182"/>
                  </a:lnTo>
                  <a:lnTo>
                    <a:pt x="662" y="185"/>
                  </a:lnTo>
                  <a:lnTo>
                    <a:pt x="662" y="187"/>
                  </a:lnTo>
                  <a:lnTo>
                    <a:pt x="664" y="187"/>
                  </a:lnTo>
                  <a:lnTo>
                    <a:pt x="664" y="187"/>
                  </a:lnTo>
                  <a:lnTo>
                    <a:pt x="664" y="189"/>
                  </a:lnTo>
                  <a:lnTo>
                    <a:pt x="664" y="189"/>
                  </a:lnTo>
                  <a:lnTo>
                    <a:pt x="664" y="192"/>
                  </a:lnTo>
                  <a:lnTo>
                    <a:pt x="664" y="192"/>
                  </a:lnTo>
                  <a:lnTo>
                    <a:pt x="662" y="192"/>
                  </a:lnTo>
                  <a:lnTo>
                    <a:pt x="662" y="192"/>
                  </a:lnTo>
                  <a:lnTo>
                    <a:pt x="662" y="194"/>
                  </a:lnTo>
                  <a:lnTo>
                    <a:pt x="662" y="194"/>
                  </a:lnTo>
                  <a:lnTo>
                    <a:pt x="662" y="194"/>
                  </a:lnTo>
                  <a:lnTo>
                    <a:pt x="662" y="194"/>
                  </a:lnTo>
                  <a:lnTo>
                    <a:pt x="659" y="194"/>
                  </a:lnTo>
                  <a:lnTo>
                    <a:pt x="659" y="196"/>
                  </a:lnTo>
                  <a:lnTo>
                    <a:pt x="657" y="196"/>
                  </a:lnTo>
                  <a:lnTo>
                    <a:pt x="659" y="194"/>
                  </a:lnTo>
                  <a:lnTo>
                    <a:pt x="659" y="194"/>
                  </a:lnTo>
                  <a:lnTo>
                    <a:pt x="657" y="194"/>
                  </a:lnTo>
                  <a:lnTo>
                    <a:pt x="657" y="196"/>
                  </a:lnTo>
                  <a:lnTo>
                    <a:pt x="657" y="196"/>
                  </a:lnTo>
                  <a:lnTo>
                    <a:pt x="655" y="196"/>
                  </a:lnTo>
                  <a:lnTo>
                    <a:pt x="652" y="199"/>
                  </a:lnTo>
                  <a:lnTo>
                    <a:pt x="652" y="199"/>
                  </a:lnTo>
                  <a:lnTo>
                    <a:pt x="652" y="201"/>
                  </a:lnTo>
                  <a:lnTo>
                    <a:pt x="652" y="201"/>
                  </a:lnTo>
                  <a:lnTo>
                    <a:pt x="652" y="201"/>
                  </a:lnTo>
                  <a:lnTo>
                    <a:pt x="652" y="201"/>
                  </a:lnTo>
                  <a:lnTo>
                    <a:pt x="655" y="204"/>
                  </a:lnTo>
                  <a:lnTo>
                    <a:pt x="652" y="204"/>
                  </a:lnTo>
                  <a:lnTo>
                    <a:pt x="655" y="206"/>
                  </a:lnTo>
                  <a:lnTo>
                    <a:pt x="652" y="206"/>
                  </a:lnTo>
                  <a:lnTo>
                    <a:pt x="652" y="208"/>
                  </a:lnTo>
                  <a:lnTo>
                    <a:pt x="650" y="206"/>
                  </a:lnTo>
                  <a:lnTo>
                    <a:pt x="650" y="208"/>
                  </a:lnTo>
                  <a:lnTo>
                    <a:pt x="650" y="208"/>
                  </a:lnTo>
                  <a:lnTo>
                    <a:pt x="648" y="211"/>
                  </a:lnTo>
                  <a:lnTo>
                    <a:pt x="648" y="211"/>
                  </a:lnTo>
                  <a:lnTo>
                    <a:pt x="648" y="211"/>
                  </a:lnTo>
                  <a:lnTo>
                    <a:pt x="648" y="213"/>
                  </a:lnTo>
                  <a:lnTo>
                    <a:pt x="643" y="213"/>
                  </a:lnTo>
                  <a:lnTo>
                    <a:pt x="643" y="213"/>
                  </a:lnTo>
                  <a:lnTo>
                    <a:pt x="643" y="215"/>
                  </a:lnTo>
                  <a:lnTo>
                    <a:pt x="641" y="215"/>
                  </a:lnTo>
                  <a:lnTo>
                    <a:pt x="641" y="218"/>
                  </a:lnTo>
                  <a:lnTo>
                    <a:pt x="641" y="218"/>
                  </a:lnTo>
                  <a:lnTo>
                    <a:pt x="638" y="218"/>
                  </a:lnTo>
                  <a:lnTo>
                    <a:pt x="638" y="218"/>
                  </a:lnTo>
                  <a:lnTo>
                    <a:pt x="636" y="218"/>
                  </a:lnTo>
                  <a:lnTo>
                    <a:pt x="633" y="218"/>
                  </a:lnTo>
                  <a:lnTo>
                    <a:pt x="633" y="220"/>
                  </a:lnTo>
                  <a:lnTo>
                    <a:pt x="633" y="218"/>
                  </a:lnTo>
                  <a:lnTo>
                    <a:pt x="631" y="220"/>
                  </a:lnTo>
                  <a:lnTo>
                    <a:pt x="631" y="220"/>
                  </a:lnTo>
                  <a:lnTo>
                    <a:pt x="631" y="220"/>
                  </a:lnTo>
                  <a:lnTo>
                    <a:pt x="629" y="222"/>
                  </a:lnTo>
                  <a:lnTo>
                    <a:pt x="629" y="222"/>
                  </a:lnTo>
                  <a:lnTo>
                    <a:pt x="629" y="222"/>
                  </a:lnTo>
                  <a:lnTo>
                    <a:pt x="629" y="225"/>
                  </a:lnTo>
                  <a:lnTo>
                    <a:pt x="629" y="225"/>
                  </a:lnTo>
                  <a:lnTo>
                    <a:pt x="629" y="227"/>
                  </a:lnTo>
                  <a:lnTo>
                    <a:pt x="631" y="227"/>
                  </a:lnTo>
                  <a:lnTo>
                    <a:pt x="631" y="227"/>
                  </a:lnTo>
                  <a:lnTo>
                    <a:pt x="631" y="230"/>
                  </a:lnTo>
                  <a:lnTo>
                    <a:pt x="633" y="230"/>
                  </a:lnTo>
                  <a:lnTo>
                    <a:pt x="636" y="232"/>
                  </a:lnTo>
                  <a:lnTo>
                    <a:pt x="636" y="234"/>
                  </a:lnTo>
                  <a:lnTo>
                    <a:pt x="633" y="237"/>
                  </a:lnTo>
                  <a:lnTo>
                    <a:pt x="633" y="237"/>
                  </a:lnTo>
                  <a:lnTo>
                    <a:pt x="636" y="237"/>
                  </a:lnTo>
                  <a:lnTo>
                    <a:pt x="636" y="237"/>
                  </a:lnTo>
                  <a:lnTo>
                    <a:pt x="633" y="237"/>
                  </a:lnTo>
                  <a:lnTo>
                    <a:pt x="633" y="237"/>
                  </a:lnTo>
                  <a:lnTo>
                    <a:pt x="633" y="239"/>
                  </a:lnTo>
                  <a:lnTo>
                    <a:pt x="631" y="241"/>
                  </a:lnTo>
                  <a:lnTo>
                    <a:pt x="631" y="241"/>
                  </a:lnTo>
                  <a:lnTo>
                    <a:pt x="631" y="244"/>
                  </a:lnTo>
                  <a:lnTo>
                    <a:pt x="633" y="244"/>
                  </a:lnTo>
                  <a:lnTo>
                    <a:pt x="633" y="241"/>
                  </a:lnTo>
                  <a:lnTo>
                    <a:pt x="636" y="241"/>
                  </a:lnTo>
                  <a:lnTo>
                    <a:pt x="633" y="246"/>
                  </a:lnTo>
                  <a:lnTo>
                    <a:pt x="636" y="248"/>
                  </a:lnTo>
                  <a:lnTo>
                    <a:pt x="636" y="251"/>
                  </a:lnTo>
                  <a:lnTo>
                    <a:pt x="636" y="251"/>
                  </a:lnTo>
                  <a:lnTo>
                    <a:pt x="636" y="253"/>
                  </a:lnTo>
                  <a:lnTo>
                    <a:pt x="633" y="251"/>
                  </a:lnTo>
                  <a:lnTo>
                    <a:pt x="633" y="253"/>
                  </a:lnTo>
                  <a:lnTo>
                    <a:pt x="633" y="256"/>
                  </a:lnTo>
                  <a:lnTo>
                    <a:pt x="633" y="256"/>
                  </a:lnTo>
                  <a:lnTo>
                    <a:pt x="631" y="258"/>
                  </a:lnTo>
                  <a:lnTo>
                    <a:pt x="631" y="258"/>
                  </a:lnTo>
                  <a:lnTo>
                    <a:pt x="631" y="258"/>
                  </a:lnTo>
                  <a:lnTo>
                    <a:pt x="629" y="263"/>
                  </a:lnTo>
                  <a:lnTo>
                    <a:pt x="629" y="263"/>
                  </a:lnTo>
                  <a:lnTo>
                    <a:pt x="626" y="265"/>
                  </a:lnTo>
                  <a:lnTo>
                    <a:pt x="626" y="267"/>
                  </a:lnTo>
                  <a:lnTo>
                    <a:pt x="626" y="267"/>
                  </a:lnTo>
                  <a:lnTo>
                    <a:pt x="629" y="270"/>
                  </a:lnTo>
                  <a:lnTo>
                    <a:pt x="626" y="270"/>
                  </a:lnTo>
                  <a:lnTo>
                    <a:pt x="624" y="270"/>
                  </a:lnTo>
                  <a:lnTo>
                    <a:pt x="624" y="270"/>
                  </a:lnTo>
                  <a:lnTo>
                    <a:pt x="622" y="274"/>
                  </a:lnTo>
                  <a:lnTo>
                    <a:pt x="624" y="279"/>
                  </a:lnTo>
                  <a:lnTo>
                    <a:pt x="624" y="279"/>
                  </a:lnTo>
                  <a:lnTo>
                    <a:pt x="622" y="279"/>
                  </a:lnTo>
                  <a:lnTo>
                    <a:pt x="622" y="279"/>
                  </a:lnTo>
                  <a:lnTo>
                    <a:pt x="624" y="279"/>
                  </a:lnTo>
                  <a:lnTo>
                    <a:pt x="624" y="279"/>
                  </a:lnTo>
                  <a:lnTo>
                    <a:pt x="622" y="279"/>
                  </a:lnTo>
                  <a:lnTo>
                    <a:pt x="622" y="282"/>
                  </a:lnTo>
                  <a:lnTo>
                    <a:pt x="622" y="282"/>
                  </a:lnTo>
                  <a:lnTo>
                    <a:pt x="624" y="282"/>
                  </a:lnTo>
                  <a:lnTo>
                    <a:pt x="624" y="284"/>
                  </a:lnTo>
                  <a:lnTo>
                    <a:pt x="622" y="284"/>
                  </a:lnTo>
                  <a:lnTo>
                    <a:pt x="622" y="284"/>
                  </a:lnTo>
                  <a:lnTo>
                    <a:pt x="622" y="284"/>
                  </a:lnTo>
                  <a:lnTo>
                    <a:pt x="619" y="286"/>
                  </a:lnTo>
                  <a:lnTo>
                    <a:pt x="619" y="286"/>
                  </a:lnTo>
                  <a:lnTo>
                    <a:pt x="617" y="289"/>
                  </a:lnTo>
                  <a:lnTo>
                    <a:pt x="617" y="289"/>
                  </a:lnTo>
                  <a:lnTo>
                    <a:pt x="619" y="291"/>
                  </a:lnTo>
                  <a:lnTo>
                    <a:pt x="617" y="293"/>
                  </a:lnTo>
                  <a:lnTo>
                    <a:pt x="617" y="296"/>
                  </a:lnTo>
                  <a:lnTo>
                    <a:pt x="617" y="296"/>
                  </a:lnTo>
                  <a:lnTo>
                    <a:pt x="619" y="298"/>
                  </a:lnTo>
                  <a:lnTo>
                    <a:pt x="617" y="300"/>
                  </a:lnTo>
                  <a:lnTo>
                    <a:pt x="617" y="303"/>
                  </a:lnTo>
                  <a:lnTo>
                    <a:pt x="617" y="305"/>
                  </a:lnTo>
                  <a:lnTo>
                    <a:pt x="615" y="308"/>
                  </a:lnTo>
                  <a:lnTo>
                    <a:pt x="612" y="310"/>
                  </a:lnTo>
                  <a:lnTo>
                    <a:pt x="615" y="312"/>
                  </a:lnTo>
                  <a:lnTo>
                    <a:pt x="615" y="312"/>
                  </a:lnTo>
                  <a:lnTo>
                    <a:pt x="612" y="315"/>
                  </a:lnTo>
                  <a:lnTo>
                    <a:pt x="615" y="315"/>
                  </a:lnTo>
                  <a:lnTo>
                    <a:pt x="612" y="317"/>
                  </a:lnTo>
                  <a:lnTo>
                    <a:pt x="615" y="319"/>
                  </a:lnTo>
                  <a:lnTo>
                    <a:pt x="612" y="319"/>
                  </a:lnTo>
                  <a:lnTo>
                    <a:pt x="612" y="319"/>
                  </a:lnTo>
                  <a:lnTo>
                    <a:pt x="612" y="324"/>
                  </a:lnTo>
                  <a:lnTo>
                    <a:pt x="612" y="326"/>
                  </a:lnTo>
                  <a:lnTo>
                    <a:pt x="612" y="331"/>
                  </a:lnTo>
                  <a:lnTo>
                    <a:pt x="612" y="333"/>
                  </a:lnTo>
                  <a:lnTo>
                    <a:pt x="612" y="338"/>
                  </a:lnTo>
                  <a:lnTo>
                    <a:pt x="612" y="341"/>
                  </a:lnTo>
                  <a:lnTo>
                    <a:pt x="615" y="343"/>
                  </a:lnTo>
                  <a:lnTo>
                    <a:pt x="615" y="343"/>
                  </a:lnTo>
                  <a:lnTo>
                    <a:pt x="615" y="345"/>
                  </a:lnTo>
                  <a:lnTo>
                    <a:pt x="615" y="345"/>
                  </a:lnTo>
                  <a:lnTo>
                    <a:pt x="617" y="348"/>
                  </a:lnTo>
                  <a:lnTo>
                    <a:pt x="617" y="350"/>
                  </a:lnTo>
                  <a:lnTo>
                    <a:pt x="617" y="350"/>
                  </a:lnTo>
                  <a:lnTo>
                    <a:pt x="615" y="350"/>
                  </a:lnTo>
                  <a:lnTo>
                    <a:pt x="615" y="352"/>
                  </a:lnTo>
                  <a:lnTo>
                    <a:pt x="617" y="352"/>
                  </a:lnTo>
                  <a:lnTo>
                    <a:pt x="619" y="352"/>
                  </a:lnTo>
                  <a:lnTo>
                    <a:pt x="622" y="355"/>
                  </a:lnTo>
                  <a:lnTo>
                    <a:pt x="619" y="357"/>
                  </a:lnTo>
                  <a:lnTo>
                    <a:pt x="622" y="359"/>
                  </a:lnTo>
                  <a:lnTo>
                    <a:pt x="622" y="362"/>
                  </a:lnTo>
                  <a:lnTo>
                    <a:pt x="622" y="362"/>
                  </a:lnTo>
                  <a:lnTo>
                    <a:pt x="622" y="364"/>
                  </a:lnTo>
                  <a:lnTo>
                    <a:pt x="622" y="364"/>
                  </a:lnTo>
                  <a:lnTo>
                    <a:pt x="624" y="367"/>
                  </a:lnTo>
                  <a:lnTo>
                    <a:pt x="624" y="369"/>
                  </a:lnTo>
                  <a:lnTo>
                    <a:pt x="624" y="369"/>
                  </a:lnTo>
                  <a:lnTo>
                    <a:pt x="624" y="369"/>
                  </a:lnTo>
                  <a:lnTo>
                    <a:pt x="624" y="371"/>
                  </a:lnTo>
                  <a:lnTo>
                    <a:pt x="626" y="374"/>
                  </a:lnTo>
                  <a:lnTo>
                    <a:pt x="624" y="374"/>
                  </a:lnTo>
                  <a:lnTo>
                    <a:pt x="624" y="376"/>
                  </a:lnTo>
                  <a:lnTo>
                    <a:pt x="624" y="378"/>
                  </a:lnTo>
                  <a:lnTo>
                    <a:pt x="624" y="378"/>
                  </a:lnTo>
                  <a:lnTo>
                    <a:pt x="624" y="383"/>
                  </a:lnTo>
                  <a:lnTo>
                    <a:pt x="626" y="383"/>
                  </a:lnTo>
                  <a:lnTo>
                    <a:pt x="629" y="383"/>
                  </a:lnTo>
                  <a:lnTo>
                    <a:pt x="629" y="383"/>
                  </a:lnTo>
                  <a:lnTo>
                    <a:pt x="631" y="385"/>
                  </a:lnTo>
                  <a:lnTo>
                    <a:pt x="631" y="385"/>
                  </a:lnTo>
                  <a:lnTo>
                    <a:pt x="631" y="385"/>
                  </a:lnTo>
                  <a:lnTo>
                    <a:pt x="631" y="388"/>
                  </a:lnTo>
                  <a:lnTo>
                    <a:pt x="633" y="388"/>
                  </a:lnTo>
                  <a:lnTo>
                    <a:pt x="633" y="385"/>
                  </a:lnTo>
                  <a:lnTo>
                    <a:pt x="633" y="388"/>
                  </a:lnTo>
                  <a:lnTo>
                    <a:pt x="636" y="388"/>
                  </a:lnTo>
                  <a:lnTo>
                    <a:pt x="638" y="390"/>
                  </a:lnTo>
                  <a:lnTo>
                    <a:pt x="638" y="393"/>
                  </a:lnTo>
                  <a:lnTo>
                    <a:pt x="641" y="393"/>
                  </a:lnTo>
                  <a:lnTo>
                    <a:pt x="641" y="393"/>
                  </a:lnTo>
                  <a:lnTo>
                    <a:pt x="643" y="393"/>
                  </a:lnTo>
                  <a:lnTo>
                    <a:pt x="645" y="393"/>
                  </a:lnTo>
                  <a:lnTo>
                    <a:pt x="645" y="393"/>
                  </a:lnTo>
                  <a:lnTo>
                    <a:pt x="648" y="393"/>
                  </a:lnTo>
                  <a:lnTo>
                    <a:pt x="645" y="395"/>
                  </a:lnTo>
                  <a:lnTo>
                    <a:pt x="648" y="397"/>
                  </a:lnTo>
                  <a:lnTo>
                    <a:pt x="648" y="397"/>
                  </a:lnTo>
                  <a:lnTo>
                    <a:pt x="645" y="400"/>
                  </a:lnTo>
                  <a:lnTo>
                    <a:pt x="648" y="402"/>
                  </a:lnTo>
                  <a:lnTo>
                    <a:pt x="645" y="402"/>
                  </a:lnTo>
                  <a:lnTo>
                    <a:pt x="648" y="404"/>
                  </a:lnTo>
                  <a:lnTo>
                    <a:pt x="645" y="404"/>
                  </a:lnTo>
                  <a:lnTo>
                    <a:pt x="645" y="407"/>
                  </a:lnTo>
                  <a:lnTo>
                    <a:pt x="645" y="407"/>
                  </a:lnTo>
                  <a:lnTo>
                    <a:pt x="645" y="407"/>
                  </a:lnTo>
                  <a:lnTo>
                    <a:pt x="645" y="409"/>
                  </a:lnTo>
                  <a:lnTo>
                    <a:pt x="645" y="411"/>
                  </a:lnTo>
                  <a:lnTo>
                    <a:pt x="648" y="411"/>
                  </a:lnTo>
                  <a:lnTo>
                    <a:pt x="645" y="414"/>
                  </a:lnTo>
                  <a:lnTo>
                    <a:pt x="648" y="414"/>
                  </a:lnTo>
                  <a:lnTo>
                    <a:pt x="648" y="414"/>
                  </a:lnTo>
                  <a:lnTo>
                    <a:pt x="648" y="416"/>
                  </a:lnTo>
                  <a:lnTo>
                    <a:pt x="645" y="416"/>
                  </a:lnTo>
                  <a:lnTo>
                    <a:pt x="643" y="421"/>
                  </a:lnTo>
                  <a:lnTo>
                    <a:pt x="645" y="423"/>
                  </a:lnTo>
                  <a:lnTo>
                    <a:pt x="645" y="423"/>
                  </a:lnTo>
                  <a:lnTo>
                    <a:pt x="645" y="423"/>
                  </a:lnTo>
                  <a:lnTo>
                    <a:pt x="648" y="426"/>
                  </a:lnTo>
                  <a:lnTo>
                    <a:pt x="645" y="426"/>
                  </a:lnTo>
                  <a:lnTo>
                    <a:pt x="648" y="426"/>
                  </a:lnTo>
                  <a:lnTo>
                    <a:pt x="648" y="426"/>
                  </a:lnTo>
                  <a:lnTo>
                    <a:pt x="645" y="426"/>
                  </a:lnTo>
                  <a:lnTo>
                    <a:pt x="645" y="428"/>
                  </a:lnTo>
                  <a:lnTo>
                    <a:pt x="645" y="428"/>
                  </a:lnTo>
                  <a:lnTo>
                    <a:pt x="645" y="428"/>
                  </a:lnTo>
                  <a:lnTo>
                    <a:pt x="645" y="430"/>
                  </a:lnTo>
                  <a:lnTo>
                    <a:pt x="645" y="433"/>
                  </a:lnTo>
                  <a:lnTo>
                    <a:pt x="645" y="433"/>
                  </a:lnTo>
                  <a:lnTo>
                    <a:pt x="643" y="433"/>
                  </a:lnTo>
                  <a:lnTo>
                    <a:pt x="645" y="433"/>
                  </a:lnTo>
                  <a:lnTo>
                    <a:pt x="643" y="435"/>
                  </a:lnTo>
                  <a:lnTo>
                    <a:pt x="643" y="440"/>
                  </a:lnTo>
                  <a:lnTo>
                    <a:pt x="643" y="440"/>
                  </a:lnTo>
                  <a:lnTo>
                    <a:pt x="643" y="442"/>
                  </a:lnTo>
                  <a:lnTo>
                    <a:pt x="643" y="442"/>
                  </a:lnTo>
                  <a:lnTo>
                    <a:pt x="643" y="445"/>
                  </a:lnTo>
                  <a:lnTo>
                    <a:pt x="643" y="447"/>
                  </a:lnTo>
                  <a:lnTo>
                    <a:pt x="643" y="449"/>
                  </a:lnTo>
                  <a:lnTo>
                    <a:pt x="645" y="449"/>
                  </a:lnTo>
                  <a:lnTo>
                    <a:pt x="645" y="449"/>
                  </a:lnTo>
                  <a:lnTo>
                    <a:pt x="648" y="449"/>
                  </a:lnTo>
                  <a:lnTo>
                    <a:pt x="648" y="449"/>
                  </a:lnTo>
                  <a:lnTo>
                    <a:pt x="650" y="449"/>
                  </a:lnTo>
                  <a:lnTo>
                    <a:pt x="652" y="449"/>
                  </a:lnTo>
                  <a:lnTo>
                    <a:pt x="652" y="452"/>
                  </a:lnTo>
                  <a:lnTo>
                    <a:pt x="655" y="449"/>
                  </a:lnTo>
                  <a:lnTo>
                    <a:pt x="652" y="447"/>
                  </a:lnTo>
                  <a:lnTo>
                    <a:pt x="655" y="447"/>
                  </a:lnTo>
                  <a:lnTo>
                    <a:pt x="655" y="447"/>
                  </a:lnTo>
                  <a:lnTo>
                    <a:pt x="657" y="449"/>
                  </a:lnTo>
                  <a:lnTo>
                    <a:pt x="655" y="452"/>
                  </a:lnTo>
                  <a:lnTo>
                    <a:pt x="655" y="454"/>
                  </a:lnTo>
                  <a:lnTo>
                    <a:pt x="655" y="454"/>
                  </a:lnTo>
                  <a:lnTo>
                    <a:pt x="655" y="454"/>
                  </a:lnTo>
                  <a:lnTo>
                    <a:pt x="652" y="454"/>
                  </a:lnTo>
                  <a:lnTo>
                    <a:pt x="652" y="456"/>
                  </a:lnTo>
                  <a:lnTo>
                    <a:pt x="652" y="456"/>
                  </a:lnTo>
                  <a:lnTo>
                    <a:pt x="652" y="456"/>
                  </a:lnTo>
                  <a:lnTo>
                    <a:pt x="650" y="459"/>
                  </a:lnTo>
                  <a:lnTo>
                    <a:pt x="652" y="459"/>
                  </a:lnTo>
                  <a:lnTo>
                    <a:pt x="650" y="461"/>
                  </a:lnTo>
                  <a:lnTo>
                    <a:pt x="650" y="461"/>
                  </a:lnTo>
                  <a:lnTo>
                    <a:pt x="652" y="461"/>
                  </a:lnTo>
                  <a:lnTo>
                    <a:pt x="655" y="463"/>
                  </a:lnTo>
                  <a:lnTo>
                    <a:pt x="655" y="463"/>
                  </a:lnTo>
                  <a:lnTo>
                    <a:pt x="655" y="463"/>
                  </a:lnTo>
                  <a:lnTo>
                    <a:pt x="657" y="463"/>
                  </a:lnTo>
                  <a:lnTo>
                    <a:pt x="659" y="466"/>
                  </a:lnTo>
                  <a:lnTo>
                    <a:pt x="659" y="466"/>
                  </a:lnTo>
                  <a:lnTo>
                    <a:pt x="662" y="466"/>
                  </a:lnTo>
                  <a:lnTo>
                    <a:pt x="664" y="466"/>
                  </a:lnTo>
                  <a:lnTo>
                    <a:pt x="664" y="466"/>
                  </a:lnTo>
                  <a:lnTo>
                    <a:pt x="667" y="463"/>
                  </a:lnTo>
                  <a:lnTo>
                    <a:pt x="669" y="466"/>
                  </a:lnTo>
                  <a:lnTo>
                    <a:pt x="669" y="466"/>
                  </a:lnTo>
                  <a:lnTo>
                    <a:pt x="669" y="466"/>
                  </a:lnTo>
                  <a:lnTo>
                    <a:pt x="669" y="466"/>
                  </a:lnTo>
                  <a:lnTo>
                    <a:pt x="671" y="466"/>
                  </a:lnTo>
                  <a:lnTo>
                    <a:pt x="671" y="468"/>
                  </a:lnTo>
                  <a:lnTo>
                    <a:pt x="671" y="468"/>
                  </a:lnTo>
                  <a:lnTo>
                    <a:pt x="671" y="471"/>
                  </a:lnTo>
                  <a:lnTo>
                    <a:pt x="674" y="471"/>
                  </a:lnTo>
                  <a:lnTo>
                    <a:pt x="674" y="473"/>
                  </a:lnTo>
                  <a:lnTo>
                    <a:pt x="674" y="473"/>
                  </a:lnTo>
                  <a:lnTo>
                    <a:pt x="674" y="473"/>
                  </a:lnTo>
                  <a:lnTo>
                    <a:pt x="676" y="471"/>
                  </a:lnTo>
                  <a:lnTo>
                    <a:pt x="676" y="473"/>
                  </a:lnTo>
                  <a:lnTo>
                    <a:pt x="676" y="475"/>
                  </a:lnTo>
                  <a:lnTo>
                    <a:pt x="676" y="478"/>
                  </a:lnTo>
                  <a:lnTo>
                    <a:pt x="676" y="478"/>
                  </a:lnTo>
                  <a:lnTo>
                    <a:pt x="678" y="480"/>
                  </a:lnTo>
                  <a:lnTo>
                    <a:pt x="681" y="480"/>
                  </a:lnTo>
                  <a:lnTo>
                    <a:pt x="683" y="482"/>
                  </a:lnTo>
                  <a:lnTo>
                    <a:pt x="685" y="485"/>
                  </a:lnTo>
                  <a:lnTo>
                    <a:pt x="683" y="487"/>
                  </a:lnTo>
                  <a:lnTo>
                    <a:pt x="685" y="487"/>
                  </a:lnTo>
                  <a:lnTo>
                    <a:pt x="685" y="487"/>
                  </a:lnTo>
                  <a:lnTo>
                    <a:pt x="688" y="487"/>
                  </a:lnTo>
                  <a:lnTo>
                    <a:pt x="688" y="487"/>
                  </a:lnTo>
                  <a:lnTo>
                    <a:pt x="688" y="489"/>
                  </a:lnTo>
                  <a:lnTo>
                    <a:pt x="690" y="492"/>
                  </a:lnTo>
                  <a:lnTo>
                    <a:pt x="690" y="492"/>
                  </a:lnTo>
                  <a:lnTo>
                    <a:pt x="690" y="492"/>
                  </a:lnTo>
                  <a:lnTo>
                    <a:pt x="690" y="494"/>
                  </a:lnTo>
                  <a:lnTo>
                    <a:pt x="690" y="494"/>
                  </a:lnTo>
                  <a:lnTo>
                    <a:pt x="692" y="494"/>
                  </a:lnTo>
                  <a:lnTo>
                    <a:pt x="692" y="494"/>
                  </a:lnTo>
                  <a:lnTo>
                    <a:pt x="692" y="494"/>
                  </a:lnTo>
                  <a:lnTo>
                    <a:pt x="692" y="492"/>
                  </a:lnTo>
                  <a:lnTo>
                    <a:pt x="695" y="492"/>
                  </a:lnTo>
                  <a:lnTo>
                    <a:pt x="697" y="494"/>
                  </a:lnTo>
                  <a:lnTo>
                    <a:pt x="697" y="494"/>
                  </a:lnTo>
                  <a:lnTo>
                    <a:pt x="697" y="496"/>
                  </a:lnTo>
                  <a:lnTo>
                    <a:pt x="697" y="499"/>
                  </a:lnTo>
                  <a:lnTo>
                    <a:pt x="697" y="499"/>
                  </a:lnTo>
                  <a:lnTo>
                    <a:pt x="697" y="499"/>
                  </a:lnTo>
                  <a:lnTo>
                    <a:pt x="700" y="499"/>
                  </a:lnTo>
                  <a:lnTo>
                    <a:pt x="700" y="499"/>
                  </a:lnTo>
                  <a:lnTo>
                    <a:pt x="702" y="501"/>
                  </a:lnTo>
                  <a:lnTo>
                    <a:pt x="702" y="501"/>
                  </a:lnTo>
                  <a:lnTo>
                    <a:pt x="702" y="504"/>
                  </a:lnTo>
                  <a:lnTo>
                    <a:pt x="702" y="504"/>
                  </a:lnTo>
                  <a:lnTo>
                    <a:pt x="704" y="506"/>
                  </a:lnTo>
                  <a:lnTo>
                    <a:pt x="702" y="506"/>
                  </a:lnTo>
                  <a:lnTo>
                    <a:pt x="704" y="506"/>
                  </a:lnTo>
                  <a:lnTo>
                    <a:pt x="704" y="508"/>
                  </a:lnTo>
                  <a:lnTo>
                    <a:pt x="704" y="508"/>
                  </a:lnTo>
                  <a:lnTo>
                    <a:pt x="707" y="508"/>
                  </a:lnTo>
                  <a:lnTo>
                    <a:pt x="709" y="508"/>
                  </a:lnTo>
                  <a:lnTo>
                    <a:pt x="709" y="511"/>
                  </a:lnTo>
                  <a:lnTo>
                    <a:pt x="711" y="513"/>
                  </a:lnTo>
                  <a:lnTo>
                    <a:pt x="711" y="511"/>
                  </a:lnTo>
                  <a:lnTo>
                    <a:pt x="714" y="511"/>
                  </a:lnTo>
                  <a:lnTo>
                    <a:pt x="714" y="511"/>
                  </a:lnTo>
                  <a:lnTo>
                    <a:pt x="716" y="513"/>
                  </a:lnTo>
                  <a:lnTo>
                    <a:pt x="716" y="513"/>
                  </a:lnTo>
                  <a:lnTo>
                    <a:pt x="718" y="513"/>
                  </a:lnTo>
                  <a:lnTo>
                    <a:pt x="718" y="515"/>
                  </a:lnTo>
                  <a:lnTo>
                    <a:pt x="721" y="515"/>
                  </a:lnTo>
                  <a:lnTo>
                    <a:pt x="721" y="515"/>
                  </a:lnTo>
                  <a:lnTo>
                    <a:pt x="723" y="515"/>
                  </a:lnTo>
                  <a:lnTo>
                    <a:pt x="726" y="515"/>
                  </a:lnTo>
                  <a:lnTo>
                    <a:pt x="726" y="515"/>
                  </a:lnTo>
                  <a:lnTo>
                    <a:pt x="726" y="515"/>
                  </a:lnTo>
                  <a:lnTo>
                    <a:pt x="728" y="515"/>
                  </a:lnTo>
                  <a:lnTo>
                    <a:pt x="728" y="518"/>
                  </a:lnTo>
                  <a:lnTo>
                    <a:pt x="730" y="518"/>
                  </a:lnTo>
                  <a:lnTo>
                    <a:pt x="730" y="515"/>
                  </a:lnTo>
                  <a:lnTo>
                    <a:pt x="730" y="515"/>
                  </a:lnTo>
                  <a:lnTo>
                    <a:pt x="733" y="518"/>
                  </a:lnTo>
                  <a:lnTo>
                    <a:pt x="735" y="518"/>
                  </a:lnTo>
                  <a:lnTo>
                    <a:pt x="737" y="518"/>
                  </a:lnTo>
                  <a:lnTo>
                    <a:pt x="740" y="518"/>
                  </a:lnTo>
                  <a:lnTo>
                    <a:pt x="740" y="518"/>
                  </a:lnTo>
                  <a:lnTo>
                    <a:pt x="740" y="518"/>
                  </a:lnTo>
                  <a:lnTo>
                    <a:pt x="740" y="520"/>
                  </a:lnTo>
                  <a:lnTo>
                    <a:pt x="742" y="520"/>
                  </a:lnTo>
                  <a:lnTo>
                    <a:pt x="742" y="520"/>
                  </a:lnTo>
                  <a:lnTo>
                    <a:pt x="742" y="520"/>
                  </a:lnTo>
                  <a:lnTo>
                    <a:pt x="749" y="518"/>
                  </a:lnTo>
                  <a:lnTo>
                    <a:pt x="749" y="520"/>
                  </a:lnTo>
                  <a:lnTo>
                    <a:pt x="749" y="522"/>
                  </a:lnTo>
                  <a:lnTo>
                    <a:pt x="749" y="522"/>
                  </a:lnTo>
                  <a:lnTo>
                    <a:pt x="749" y="522"/>
                  </a:lnTo>
                  <a:lnTo>
                    <a:pt x="752" y="525"/>
                  </a:lnTo>
                  <a:lnTo>
                    <a:pt x="752" y="527"/>
                  </a:lnTo>
                  <a:lnTo>
                    <a:pt x="752" y="527"/>
                  </a:lnTo>
                  <a:lnTo>
                    <a:pt x="752" y="527"/>
                  </a:lnTo>
                  <a:lnTo>
                    <a:pt x="749" y="530"/>
                  </a:lnTo>
                  <a:lnTo>
                    <a:pt x="752" y="530"/>
                  </a:lnTo>
                  <a:lnTo>
                    <a:pt x="752" y="657"/>
                  </a:lnTo>
                  <a:lnTo>
                    <a:pt x="714" y="657"/>
                  </a:lnTo>
                  <a:lnTo>
                    <a:pt x="683" y="657"/>
                  </a:lnTo>
                  <a:lnTo>
                    <a:pt x="607" y="657"/>
                  </a:lnTo>
                  <a:lnTo>
                    <a:pt x="605" y="662"/>
                  </a:lnTo>
                  <a:lnTo>
                    <a:pt x="605" y="669"/>
                  </a:lnTo>
                  <a:lnTo>
                    <a:pt x="603" y="671"/>
                  </a:lnTo>
                  <a:lnTo>
                    <a:pt x="600" y="671"/>
                  </a:lnTo>
                  <a:lnTo>
                    <a:pt x="596" y="674"/>
                  </a:lnTo>
                  <a:lnTo>
                    <a:pt x="596" y="674"/>
                  </a:lnTo>
                  <a:lnTo>
                    <a:pt x="593" y="678"/>
                  </a:lnTo>
                  <a:lnTo>
                    <a:pt x="593" y="678"/>
                  </a:lnTo>
                  <a:lnTo>
                    <a:pt x="596" y="681"/>
                  </a:lnTo>
                  <a:lnTo>
                    <a:pt x="596" y="681"/>
                  </a:lnTo>
                  <a:lnTo>
                    <a:pt x="593" y="683"/>
                  </a:lnTo>
                  <a:lnTo>
                    <a:pt x="593" y="683"/>
                  </a:lnTo>
                  <a:lnTo>
                    <a:pt x="593" y="685"/>
                  </a:lnTo>
                  <a:lnTo>
                    <a:pt x="593" y="685"/>
                  </a:lnTo>
                  <a:lnTo>
                    <a:pt x="593" y="688"/>
                  </a:lnTo>
                  <a:lnTo>
                    <a:pt x="591" y="688"/>
                  </a:lnTo>
                  <a:lnTo>
                    <a:pt x="589" y="690"/>
                  </a:lnTo>
                  <a:lnTo>
                    <a:pt x="589" y="690"/>
                  </a:lnTo>
                  <a:lnTo>
                    <a:pt x="589" y="693"/>
                  </a:lnTo>
                  <a:lnTo>
                    <a:pt x="586" y="695"/>
                  </a:lnTo>
                  <a:lnTo>
                    <a:pt x="586" y="700"/>
                  </a:lnTo>
                  <a:lnTo>
                    <a:pt x="584" y="702"/>
                  </a:lnTo>
                  <a:lnTo>
                    <a:pt x="584" y="704"/>
                  </a:lnTo>
                  <a:lnTo>
                    <a:pt x="581" y="707"/>
                  </a:lnTo>
                  <a:lnTo>
                    <a:pt x="584" y="707"/>
                  </a:lnTo>
                  <a:lnTo>
                    <a:pt x="584" y="707"/>
                  </a:lnTo>
                  <a:lnTo>
                    <a:pt x="584" y="709"/>
                  </a:lnTo>
                  <a:lnTo>
                    <a:pt x="584" y="709"/>
                  </a:lnTo>
                  <a:lnTo>
                    <a:pt x="581" y="709"/>
                  </a:lnTo>
                  <a:lnTo>
                    <a:pt x="579" y="711"/>
                  </a:lnTo>
                  <a:lnTo>
                    <a:pt x="579" y="714"/>
                  </a:lnTo>
                  <a:lnTo>
                    <a:pt x="579" y="714"/>
                  </a:lnTo>
                  <a:lnTo>
                    <a:pt x="577" y="714"/>
                  </a:lnTo>
                  <a:lnTo>
                    <a:pt x="577" y="716"/>
                  </a:lnTo>
                  <a:lnTo>
                    <a:pt x="577" y="719"/>
                  </a:lnTo>
                  <a:lnTo>
                    <a:pt x="574" y="719"/>
                  </a:lnTo>
                  <a:lnTo>
                    <a:pt x="574" y="719"/>
                  </a:lnTo>
                  <a:lnTo>
                    <a:pt x="574" y="719"/>
                  </a:lnTo>
                  <a:lnTo>
                    <a:pt x="574" y="721"/>
                  </a:lnTo>
                  <a:lnTo>
                    <a:pt x="574" y="726"/>
                  </a:lnTo>
                  <a:lnTo>
                    <a:pt x="572" y="726"/>
                  </a:lnTo>
                  <a:lnTo>
                    <a:pt x="574" y="728"/>
                  </a:lnTo>
                  <a:lnTo>
                    <a:pt x="574" y="730"/>
                  </a:lnTo>
                  <a:lnTo>
                    <a:pt x="574" y="730"/>
                  </a:lnTo>
                  <a:lnTo>
                    <a:pt x="574" y="735"/>
                  </a:lnTo>
                  <a:lnTo>
                    <a:pt x="570" y="735"/>
                  </a:lnTo>
                  <a:lnTo>
                    <a:pt x="570" y="735"/>
                  </a:lnTo>
                  <a:lnTo>
                    <a:pt x="572" y="737"/>
                  </a:lnTo>
                  <a:lnTo>
                    <a:pt x="570" y="740"/>
                  </a:lnTo>
                  <a:lnTo>
                    <a:pt x="570" y="740"/>
                  </a:lnTo>
                  <a:lnTo>
                    <a:pt x="570" y="742"/>
                  </a:lnTo>
                  <a:lnTo>
                    <a:pt x="567" y="745"/>
                  </a:lnTo>
                  <a:lnTo>
                    <a:pt x="567" y="745"/>
                  </a:lnTo>
                  <a:lnTo>
                    <a:pt x="567" y="745"/>
                  </a:lnTo>
                  <a:lnTo>
                    <a:pt x="567" y="747"/>
                  </a:lnTo>
                  <a:lnTo>
                    <a:pt x="567" y="747"/>
                  </a:lnTo>
                  <a:lnTo>
                    <a:pt x="567" y="749"/>
                  </a:lnTo>
                  <a:lnTo>
                    <a:pt x="563" y="752"/>
                  </a:lnTo>
                  <a:lnTo>
                    <a:pt x="563" y="754"/>
                  </a:lnTo>
                  <a:lnTo>
                    <a:pt x="563" y="756"/>
                  </a:lnTo>
                  <a:lnTo>
                    <a:pt x="563" y="756"/>
                  </a:lnTo>
                  <a:lnTo>
                    <a:pt x="560" y="756"/>
                  </a:lnTo>
                  <a:lnTo>
                    <a:pt x="560" y="763"/>
                  </a:lnTo>
                  <a:lnTo>
                    <a:pt x="560" y="763"/>
                  </a:lnTo>
                  <a:lnTo>
                    <a:pt x="563" y="763"/>
                  </a:lnTo>
                  <a:lnTo>
                    <a:pt x="563" y="766"/>
                  </a:lnTo>
                  <a:lnTo>
                    <a:pt x="563" y="766"/>
                  </a:lnTo>
                  <a:lnTo>
                    <a:pt x="563" y="768"/>
                  </a:lnTo>
                  <a:lnTo>
                    <a:pt x="565" y="768"/>
                  </a:lnTo>
                  <a:lnTo>
                    <a:pt x="565" y="770"/>
                  </a:lnTo>
                  <a:lnTo>
                    <a:pt x="567" y="770"/>
                  </a:lnTo>
                  <a:lnTo>
                    <a:pt x="567" y="773"/>
                  </a:lnTo>
                  <a:lnTo>
                    <a:pt x="567" y="773"/>
                  </a:lnTo>
                  <a:lnTo>
                    <a:pt x="570" y="775"/>
                  </a:lnTo>
                  <a:lnTo>
                    <a:pt x="570" y="775"/>
                  </a:lnTo>
                  <a:lnTo>
                    <a:pt x="572" y="775"/>
                  </a:lnTo>
                  <a:lnTo>
                    <a:pt x="572" y="778"/>
                  </a:lnTo>
                  <a:lnTo>
                    <a:pt x="574" y="780"/>
                  </a:lnTo>
                  <a:lnTo>
                    <a:pt x="572" y="782"/>
                  </a:lnTo>
                  <a:lnTo>
                    <a:pt x="574" y="782"/>
                  </a:lnTo>
                  <a:lnTo>
                    <a:pt x="574" y="785"/>
                  </a:lnTo>
                  <a:lnTo>
                    <a:pt x="572" y="785"/>
                  </a:lnTo>
                  <a:lnTo>
                    <a:pt x="572" y="785"/>
                  </a:lnTo>
                  <a:lnTo>
                    <a:pt x="567" y="787"/>
                  </a:lnTo>
                  <a:lnTo>
                    <a:pt x="567" y="789"/>
                  </a:lnTo>
                  <a:lnTo>
                    <a:pt x="567" y="789"/>
                  </a:lnTo>
                  <a:lnTo>
                    <a:pt x="565" y="789"/>
                  </a:lnTo>
                  <a:lnTo>
                    <a:pt x="563" y="789"/>
                  </a:lnTo>
                  <a:lnTo>
                    <a:pt x="560" y="789"/>
                  </a:lnTo>
                  <a:lnTo>
                    <a:pt x="558" y="792"/>
                  </a:lnTo>
                  <a:lnTo>
                    <a:pt x="558" y="792"/>
                  </a:lnTo>
                  <a:lnTo>
                    <a:pt x="558" y="792"/>
                  </a:lnTo>
                  <a:lnTo>
                    <a:pt x="555" y="792"/>
                  </a:lnTo>
                  <a:lnTo>
                    <a:pt x="553" y="792"/>
                  </a:lnTo>
                  <a:lnTo>
                    <a:pt x="551" y="792"/>
                  </a:lnTo>
                  <a:lnTo>
                    <a:pt x="551" y="792"/>
                  </a:lnTo>
                  <a:lnTo>
                    <a:pt x="548" y="794"/>
                  </a:lnTo>
                  <a:lnTo>
                    <a:pt x="548" y="794"/>
                  </a:lnTo>
                  <a:lnTo>
                    <a:pt x="548" y="794"/>
                  </a:lnTo>
                  <a:lnTo>
                    <a:pt x="548" y="796"/>
                  </a:lnTo>
                  <a:lnTo>
                    <a:pt x="548" y="796"/>
                  </a:lnTo>
                  <a:lnTo>
                    <a:pt x="548" y="799"/>
                  </a:lnTo>
                  <a:lnTo>
                    <a:pt x="548" y="799"/>
                  </a:lnTo>
                  <a:lnTo>
                    <a:pt x="546" y="801"/>
                  </a:lnTo>
                  <a:lnTo>
                    <a:pt x="548" y="801"/>
                  </a:lnTo>
                  <a:lnTo>
                    <a:pt x="548" y="801"/>
                  </a:lnTo>
                  <a:lnTo>
                    <a:pt x="544" y="806"/>
                  </a:lnTo>
                  <a:lnTo>
                    <a:pt x="544" y="806"/>
                  </a:lnTo>
                  <a:lnTo>
                    <a:pt x="541" y="804"/>
                  </a:lnTo>
                  <a:lnTo>
                    <a:pt x="541" y="804"/>
                  </a:lnTo>
                  <a:lnTo>
                    <a:pt x="541" y="804"/>
                  </a:lnTo>
                  <a:lnTo>
                    <a:pt x="537" y="801"/>
                  </a:lnTo>
                  <a:lnTo>
                    <a:pt x="537" y="804"/>
                  </a:lnTo>
                  <a:lnTo>
                    <a:pt x="534" y="804"/>
                  </a:lnTo>
                  <a:lnTo>
                    <a:pt x="532" y="804"/>
                  </a:lnTo>
                  <a:lnTo>
                    <a:pt x="532" y="804"/>
                  </a:lnTo>
                  <a:lnTo>
                    <a:pt x="532" y="804"/>
                  </a:lnTo>
                  <a:lnTo>
                    <a:pt x="532" y="806"/>
                  </a:lnTo>
                  <a:lnTo>
                    <a:pt x="529" y="806"/>
                  </a:lnTo>
                  <a:lnTo>
                    <a:pt x="527" y="808"/>
                  </a:lnTo>
                  <a:lnTo>
                    <a:pt x="527" y="808"/>
                  </a:lnTo>
                  <a:lnTo>
                    <a:pt x="527" y="806"/>
                  </a:lnTo>
                  <a:lnTo>
                    <a:pt x="527" y="806"/>
                  </a:lnTo>
                  <a:lnTo>
                    <a:pt x="522" y="804"/>
                  </a:lnTo>
                  <a:lnTo>
                    <a:pt x="520" y="804"/>
                  </a:lnTo>
                  <a:lnTo>
                    <a:pt x="518" y="804"/>
                  </a:lnTo>
                  <a:lnTo>
                    <a:pt x="515" y="804"/>
                  </a:lnTo>
                  <a:lnTo>
                    <a:pt x="515" y="801"/>
                  </a:lnTo>
                  <a:lnTo>
                    <a:pt x="515" y="801"/>
                  </a:lnTo>
                  <a:lnTo>
                    <a:pt x="515" y="799"/>
                  </a:lnTo>
                  <a:lnTo>
                    <a:pt x="515" y="799"/>
                  </a:lnTo>
                  <a:lnTo>
                    <a:pt x="515" y="796"/>
                  </a:lnTo>
                  <a:lnTo>
                    <a:pt x="515" y="794"/>
                  </a:lnTo>
                  <a:lnTo>
                    <a:pt x="513" y="794"/>
                  </a:lnTo>
                  <a:lnTo>
                    <a:pt x="513" y="794"/>
                  </a:lnTo>
                  <a:lnTo>
                    <a:pt x="513" y="792"/>
                  </a:lnTo>
                  <a:lnTo>
                    <a:pt x="515" y="792"/>
                  </a:lnTo>
                  <a:lnTo>
                    <a:pt x="513" y="789"/>
                  </a:lnTo>
                  <a:lnTo>
                    <a:pt x="513" y="789"/>
                  </a:lnTo>
                  <a:lnTo>
                    <a:pt x="513" y="789"/>
                  </a:lnTo>
                  <a:lnTo>
                    <a:pt x="511" y="789"/>
                  </a:lnTo>
                  <a:lnTo>
                    <a:pt x="511" y="789"/>
                  </a:lnTo>
                  <a:lnTo>
                    <a:pt x="511" y="787"/>
                  </a:lnTo>
                  <a:lnTo>
                    <a:pt x="511" y="787"/>
                  </a:lnTo>
                  <a:lnTo>
                    <a:pt x="511" y="782"/>
                  </a:lnTo>
                  <a:lnTo>
                    <a:pt x="508" y="782"/>
                  </a:lnTo>
                  <a:lnTo>
                    <a:pt x="504" y="782"/>
                  </a:lnTo>
                  <a:lnTo>
                    <a:pt x="504" y="780"/>
                  </a:lnTo>
                  <a:lnTo>
                    <a:pt x="504" y="778"/>
                  </a:lnTo>
                  <a:lnTo>
                    <a:pt x="504" y="775"/>
                  </a:lnTo>
                  <a:lnTo>
                    <a:pt x="504" y="775"/>
                  </a:lnTo>
                  <a:lnTo>
                    <a:pt x="501" y="775"/>
                  </a:lnTo>
                  <a:lnTo>
                    <a:pt x="499" y="775"/>
                  </a:lnTo>
                  <a:lnTo>
                    <a:pt x="496" y="773"/>
                  </a:lnTo>
                  <a:lnTo>
                    <a:pt x="496" y="770"/>
                  </a:lnTo>
                  <a:lnTo>
                    <a:pt x="494" y="770"/>
                  </a:lnTo>
                  <a:lnTo>
                    <a:pt x="494" y="768"/>
                  </a:lnTo>
                  <a:lnTo>
                    <a:pt x="496" y="766"/>
                  </a:lnTo>
                  <a:lnTo>
                    <a:pt x="494" y="763"/>
                  </a:lnTo>
                  <a:lnTo>
                    <a:pt x="494" y="763"/>
                  </a:lnTo>
                  <a:lnTo>
                    <a:pt x="492" y="763"/>
                  </a:lnTo>
                  <a:lnTo>
                    <a:pt x="492" y="763"/>
                  </a:lnTo>
                  <a:lnTo>
                    <a:pt x="492" y="763"/>
                  </a:lnTo>
                  <a:lnTo>
                    <a:pt x="489" y="763"/>
                  </a:lnTo>
                  <a:lnTo>
                    <a:pt x="487" y="763"/>
                  </a:lnTo>
                  <a:lnTo>
                    <a:pt x="485" y="763"/>
                  </a:lnTo>
                  <a:lnTo>
                    <a:pt x="482" y="763"/>
                  </a:lnTo>
                  <a:lnTo>
                    <a:pt x="480" y="763"/>
                  </a:lnTo>
                  <a:lnTo>
                    <a:pt x="478" y="763"/>
                  </a:lnTo>
                  <a:lnTo>
                    <a:pt x="478" y="761"/>
                  </a:lnTo>
                  <a:lnTo>
                    <a:pt x="478" y="759"/>
                  </a:lnTo>
                  <a:lnTo>
                    <a:pt x="473" y="756"/>
                  </a:lnTo>
                  <a:lnTo>
                    <a:pt x="473" y="756"/>
                  </a:lnTo>
                  <a:lnTo>
                    <a:pt x="470" y="756"/>
                  </a:lnTo>
                  <a:lnTo>
                    <a:pt x="468" y="756"/>
                  </a:lnTo>
                  <a:lnTo>
                    <a:pt x="468" y="756"/>
                  </a:lnTo>
                  <a:lnTo>
                    <a:pt x="466" y="756"/>
                  </a:lnTo>
                  <a:lnTo>
                    <a:pt x="466" y="756"/>
                  </a:lnTo>
                  <a:lnTo>
                    <a:pt x="466" y="759"/>
                  </a:lnTo>
                  <a:lnTo>
                    <a:pt x="463" y="756"/>
                  </a:lnTo>
                  <a:lnTo>
                    <a:pt x="459" y="756"/>
                  </a:lnTo>
                  <a:lnTo>
                    <a:pt x="459" y="756"/>
                  </a:lnTo>
                  <a:lnTo>
                    <a:pt x="456" y="756"/>
                  </a:lnTo>
                  <a:lnTo>
                    <a:pt x="456" y="756"/>
                  </a:lnTo>
                  <a:lnTo>
                    <a:pt x="456" y="759"/>
                  </a:lnTo>
                  <a:lnTo>
                    <a:pt x="456" y="761"/>
                  </a:lnTo>
                  <a:lnTo>
                    <a:pt x="456" y="761"/>
                  </a:lnTo>
                  <a:lnTo>
                    <a:pt x="456" y="763"/>
                  </a:lnTo>
                  <a:lnTo>
                    <a:pt x="456" y="766"/>
                  </a:lnTo>
                  <a:lnTo>
                    <a:pt x="449" y="766"/>
                  </a:lnTo>
                  <a:lnTo>
                    <a:pt x="449" y="766"/>
                  </a:lnTo>
                  <a:lnTo>
                    <a:pt x="447" y="766"/>
                  </a:lnTo>
                  <a:lnTo>
                    <a:pt x="444" y="770"/>
                  </a:lnTo>
                  <a:lnTo>
                    <a:pt x="440" y="768"/>
                  </a:lnTo>
                  <a:lnTo>
                    <a:pt x="440" y="770"/>
                  </a:lnTo>
                  <a:lnTo>
                    <a:pt x="437" y="770"/>
                  </a:lnTo>
                  <a:lnTo>
                    <a:pt x="435" y="773"/>
                  </a:lnTo>
                  <a:lnTo>
                    <a:pt x="433" y="773"/>
                  </a:lnTo>
                  <a:lnTo>
                    <a:pt x="430" y="773"/>
                  </a:lnTo>
                  <a:lnTo>
                    <a:pt x="430" y="775"/>
                  </a:lnTo>
                  <a:lnTo>
                    <a:pt x="430" y="775"/>
                  </a:lnTo>
                  <a:lnTo>
                    <a:pt x="430" y="778"/>
                  </a:lnTo>
                  <a:lnTo>
                    <a:pt x="428" y="778"/>
                  </a:lnTo>
                  <a:lnTo>
                    <a:pt x="426" y="778"/>
                  </a:lnTo>
                  <a:lnTo>
                    <a:pt x="423" y="780"/>
                  </a:lnTo>
                  <a:lnTo>
                    <a:pt x="423" y="782"/>
                  </a:lnTo>
                  <a:lnTo>
                    <a:pt x="423" y="785"/>
                  </a:lnTo>
                  <a:lnTo>
                    <a:pt x="418" y="789"/>
                  </a:lnTo>
                  <a:lnTo>
                    <a:pt x="416" y="789"/>
                  </a:lnTo>
                  <a:lnTo>
                    <a:pt x="414" y="794"/>
                  </a:lnTo>
                  <a:lnTo>
                    <a:pt x="414" y="796"/>
                  </a:lnTo>
                  <a:lnTo>
                    <a:pt x="414" y="801"/>
                  </a:lnTo>
                  <a:lnTo>
                    <a:pt x="416" y="801"/>
                  </a:lnTo>
                  <a:lnTo>
                    <a:pt x="416" y="801"/>
                  </a:lnTo>
                  <a:lnTo>
                    <a:pt x="414" y="804"/>
                  </a:lnTo>
                  <a:lnTo>
                    <a:pt x="414" y="808"/>
                  </a:lnTo>
                  <a:lnTo>
                    <a:pt x="411" y="811"/>
                  </a:lnTo>
                  <a:lnTo>
                    <a:pt x="411" y="813"/>
                  </a:lnTo>
                  <a:lnTo>
                    <a:pt x="411" y="813"/>
                  </a:lnTo>
                  <a:lnTo>
                    <a:pt x="411" y="815"/>
                  </a:lnTo>
                  <a:lnTo>
                    <a:pt x="411" y="820"/>
                  </a:lnTo>
                  <a:lnTo>
                    <a:pt x="411" y="820"/>
                  </a:lnTo>
                  <a:lnTo>
                    <a:pt x="414" y="820"/>
                  </a:lnTo>
                  <a:lnTo>
                    <a:pt x="414" y="822"/>
                  </a:lnTo>
                  <a:lnTo>
                    <a:pt x="414" y="822"/>
                  </a:lnTo>
                  <a:lnTo>
                    <a:pt x="414" y="825"/>
                  </a:lnTo>
                  <a:lnTo>
                    <a:pt x="416" y="827"/>
                  </a:lnTo>
                  <a:lnTo>
                    <a:pt x="416" y="830"/>
                  </a:lnTo>
                  <a:lnTo>
                    <a:pt x="414" y="832"/>
                  </a:lnTo>
                  <a:lnTo>
                    <a:pt x="411" y="832"/>
                  </a:lnTo>
                  <a:lnTo>
                    <a:pt x="411" y="832"/>
                  </a:lnTo>
                  <a:lnTo>
                    <a:pt x="411" y="834"/>
                  </a:lnTo>
                  <a:lnTo>
                    <a:pt x="414" y="834"/>
                  </a:lnTo>
                  <a:lnTo>
                    <a:pt x="411" y="837"/>
                  </a:lnTo>
                  <a:lnTo>
                    <a:pt x="411" y="837"/>
                  </a:lnTo>
                  <a:lnTo>
                    <a:pt x="411" y="837"/>
                  </a:lnTo>
                  <a:lnTo>
                    <a:pt x="414" y="839"/>
                  </a:lnTo>
                  <a:lnTo>
                    <a:pt x="411" y="839"/>
                  </a:lnTo>
                  <a:lnTo>
                    <a:pt x="411" y="841"/>
                  </a:lnTo>
                  <a:lnTo>
                    <a:pt x="411" y="844"/>
                  </a:lnTo>
                  <a:lnTo>
                    <a:pt x="411" y="846"/>
                  </a:lnTo>
                  <a:lnTo>
                    <a:pt x="411" y="846"/>
                  </a:lnTo>
                  <a:lnTo>
                    <a:pt x="409" y="848"/>
                  </a:lnTo>
                  <a:lnTo>
                    <a:pt x="409" y="851"/>
                  </a:lnTo>
                  <a:lnTo>
                    <a:pt x="409" y="853"/>
                  </a:lnTo>
                  <a:lnTo>
                    <a:pt x="407" y="858"/>
                  </a:lnTo>
                  <a:lnTo>
                    <a:pt x="404" y="860"/>
                  </a:lnTo>
                  <a:lnTo>
                    <a:pt x="404" y="863"/>
                  </a:lnTo>
                  <a:lnTo>
                    <a:pt x="407" y="863"/>
                  </a:lnTo>
                  <a:lnTo>
                    <a:pt x="411" y="865"/>
                  </a:lnTo>
                  <a:lnTo>
                    <a:pt x="411" y="867"/>
                  </a:lnTo>
                  <a:lnTo>
                    <a:pt x="409" y="870"/>
                  </a:lnTo>
                  <a:lnTo>
                    <a:pt x="409" y="870"/>
                  </a:lnTo>
                  <a:lnTo>
                    <a:pt x="407" y="874"/>
                  </a:lnTo>
                  <a:lnTo>
                    <a:pt x="407" y="874"/>
                  </a:lnTo>
                  <a:lnTo>
                    <a:pt x="407" y="874"/>
                  </a:lnTo>
                  <a:lnTo>
                    <a:pt x="411" y="874"/>
                  </a:lnTo>
                  <a:lnTo>
                    <a:pt x="411" y="877"/>
                  </a:lnTo>
                  <a:lnTo>
                    <a:pt x="414" y="877"/>
                  </a:lnTo>
                  <a:lnTo>
                    <a:pt x="416" y="879"/>
                  </a:lnTo>
                  <a:lnTo>
                    <a:pt x="416" y="879"/>
                  </a:lnTo>
                  <a:lnTo>
                    <a:pt x="416" y="882"/>
                  </a:lnTo>
                  <a:lnTo>
                    <a:pt x="418" y="886"/>
                  </a:lnTo>
                  <a:lnTo>
                    <a:pt x="423" y="889"/>
                  </a:lnTo>
                  <a:lnTo>
                    <a:pt x="423" y="891"/>
                  </a:lnTo>
                  <a:lnTo>
                    <a:pt x="426" y="891"/>
                  </a:lnTo>
                  <a:lnTo>
                    <a:pt x="426" y="893"/>
                  </a:lnTo>
                  <a:lnTo>
                    <a:pt x="423" y="893"/>
                  </a:lnTo>
                  <a:lnTo>
                    <a:pt x="423" y="898"/>
                  </a:lnTo>
                  <a:lnTo>
                    <a:pt x="423" y="898"/>
                  </a:lnTo>
                  <a:lnTo>
                    <a:pt x="423" y="898"/>
                  </a:lnTo>
                  <a:lnTo>
                    <a:pt x="416" y="891"/>
                  </a:lnTo>
                  <a:lnTo>
                    <a:pt x="414" y="886"/>
                  </a:lnTo>
                  <a:lnTo>
                    <a:pt x="411" y="884"/>
                  </a:lnTo>
                  <a:lnTo>
                    <a:pt x="409" y="882"/>
                  </a:lnTo>
                  <a:lnTo>
                    <a:pt x="404" y="879"/>
                  </a:lnTo>
                  <a:lnTo>
                    <a:pt x="402" y="877"/>
                  </a:lnTo>
                  <a:lnTo>
                    <a:pt x="392" y="874"/>
                  </a:lnTo>
                  <a:lnTo>
                    <a:pt x="390" y="872"/>
                  </a:lnTo>
                  <a:lnTo>
                    <a:pt x="388" y="872"/>
                  </a:lnTo>
                  <a:lnTo>
                    <a:pt x="385" y="872"/>
                  </a:lnTo>
                  <a:lnTo>
                    <a:pt x="383" y="872"/>
                  </a:lnTo>
                  <a:lnTo>
                    <a:pt x="381" y="874"/>
                  </a:lnTo>
                  <a:lnTo>
                    <a:pt x="381" y="874"/>
                  </a:lnTo>
                  <a:lnTo>
                    <a:pt x="378" y="874"/>
                  </a:lnTo>
                  <a:lnTo>
                    <a:pt x="374" y="874"/>
                  </a:lnTo>
                  <a:lnTo>
                    <a:pt x="371" y="874"/>
                  </a:lnTo>
                  <a:lnTo>
                    <a:pt x="371" y="872"/>
                  </a:lnTo>
                  <a:lnTo>
                    <a:pt x="369" y="867"/>
                  </a:lnTo>
                  <a:lnTo>
                    <a:pt x="366" y="865"/>
                  </a:lnTo>
                  <a:lnTo>
                    <a:pt x="364" y="860"/>
                  </a:lnTo>
                  <a:lnTo>
                    <a:pt x="364" y="856"/>
                  </a:lnTo>
                  <a:lnTo>
                    <a:pt x="362" y="853"/>
                  </a:lnTo>
                  <a:lnTo>
                    <a:pt x="359" y="851"/>
                  </a:lnTo>
                  <a:lnTo>
                    <a:pt x="359" y="848"/>
                  </a:lnTo>
                  <a:lnTo>
                    <a:pt x="357" y="841"/>
                  </a:lnTo>
                  <a:lnTo>
                    <a:pt x="355" y="839"/>
                  </a:lnTo>
                  <a:lnTo>
                    <a:pt x="352" y="837"/>
                  </a:lnTo>
                  <a:lnTo>
                    <a:pt x="350" y="834"/>
                  </a:lnTo>
                  <a:lnTo>
                    <a:pt x="348" y="834"/>
                  </a:lnTo>
                  <a:lnTo>
                    <a:pt x="348" y="834"/>
                  </a:lnTo>
                  <a:lnTo>
                    <a:pt x="345" y="834"/>
                  </a:lnTo>
                  <a:lnTo>
                    <a:pt x="345" y="834"/>
                  </a:lnTo>
                  <a:lnTo>
                    <a:pt x="343" y="832"/>
                  </a:lnTo>
                  <a:lnTo>
                    <a:pt x="343" y="832"/>
                  </a:lnTo>
                  <a:lnTo>
                    <a:pt x="343" y="830"/>
                  </a:lnTo>
                  <a:lnTo>
                    <a:pt x="341" y="827"/>
                  </a:lnTo>
                  <a:lnTo>
                    <a:pt x="341" y="827"/>
                  </a:lnTo>
                  <a:lnTo>
                    <a:pt x="338" y="825"/>
                  </a:lnTo>
                  <a:lnTo>
                    <a:pt x="338" y="825"/>
                  </a:lnTo>
                  <a:lnTo>
                    <a:pt x="336" y="825"/>
                  </a:lnTo>
                  <a:lnTo>
                    <a:pt x="336" y="822"/>
                  </a:lnTo>
                  <a:lnTo>
                    <a:pt x="331" y="822"/>
                  </a:lnTo>
                  <a:lnTo>
                    <a:pt x="331" y="820"/>
                  </a:lnTo>
                  <a:lnTo>
                    <a:pt x="331" y="820"/>
                  </a:lnTo>
                  <a:lnTo>
                    <a:pt x="329" y="818"/>
                  </a:lnTo>
                  <a:lnTo>
                    <a:pt x="326" y="818"/>
                  </a:lnTo>
                  <a:lnTo>
                    <a:pt x="324" y="815"/>
                  </a:lnTo>
                  <a:lnTo>
                    <a:pt x="322" y="815"/>
                  </a:lnTo>
                  <a:lnTo>
                    <a:pt x="319" y="815"/>
                  </a:lnTo>
                  <a:lnTo>
                    <a:pt x="319" y="815"/>
                  </a:lnTo>
                  <a:lnTo>
                    <a:pt x="319" y="813"/>
                  </a:lnTo>
                  <a:lnTo>
                    <a:pt x="317" y="811"/>
                  </a:lnTo>
                  <a:lnTo>
                    <a:pt x="317" y="811"/>
                  </a:lnTo>
                  <a:lnTo>
                    <a:pt x="315" y="808"/>
                  </a:lnTo>
                  <a:lnTo>
                    <a:pt x="312" y="806"/>
                  </a:lnTo>
                  <a:lnTo>
                    <a:pt x="312" y="806"/>
                  </a:lnTo>
                  <a:lnTo>
                    <a:pt x="312" y="804"/>
                  </a:lnTo>
                  <a:lnTo>
                    <a:pt x="310" y="804"/>
                  </a:lnTo>
                  <a:lnTo>
                    <a:pt x="310" y="804"/>
                  </a:lnTo>
                  <a:lnTo>
                    <a:pt x="310" y="801"/>
                  </a:lnTo>
                  <a:lnTo>
                    <a:pt x="310" y="801"/>
                  </a:lnTo>
                  <a:lnTo>
                    <a:pt x="310" y="801"/>
                  </a:lnTo>
                  <a:lnTo>
                    <a:pt x="307" y="799"/>
                  </a:lnTo>
                  <a:lnTo>
                    <a:pt x="307" y="799"/>
                  </a:lnTo>
                  <a:lnTo>
                    <a:pt x="303" y="796"/>
                  </a:lnTo>
                  <a:lnTo>
                    <a:pt x="303" y="796"/>
                  </a:lnTo>
                  <a:lnTo>
                    <a:pt x="300" y="796"/>
                  </a:lnTo>
                  <a:lnTo>
                    <a:pt x="300" y="796"/>
                  </a:lnTo>
                  <a:lnTo>
                    <a:pt x="300" y="796"/>
                  </a:lnTo>
                  <a:lnTo>
                    <a:pt x="300" y="796"/>
                  </a:lnTo>
                  <a:lnTo>
                    <a:pt x="298" y="794"/>
                  </a:lnTo>
                  <a:lnTo>
                    <a:pt x="298" y="794"/>
                  </a:lnTo>
                  <a:lnTo>
                    <a:pt x="293" y="794"/>
                  </a:lnTo>
                  <a:lnTo>
                    <a:pt x="293" y="792"/>
                  </a:lnTo>
                  <a:lnTo>
                    <a:pt x="293" y="789"/>
                  </a:lnTo>
                  <a:lnTo>
                    <a:pt x="296" y="789"/>
                  </a:lnTo>
                  <a:lnTo>
                    <a:pt x="293" y="787"/>
                  </a:lnTo>
                  <a:lnTo>
                    <a:pt x="293" y="787"/>
                  </a:lnTo>
                  <a:lnTo>
                    <a:pt x="293" y="785"/>
                  </a:lnTo>
                  <a:lnTo>
                    <a:pt x="296" y="782"/>
                  </a:lnTo>
                  <a:lnTo>
                    <a:pt x="296" y="780"/>
                  </a:lnTo>
                  <a:lnTo>
                    <a:pt x="296" y="780"/>
                  </a:lnTo>
                  <a:lnTo>
                    <a:pt x="298" y="782"/>
                  </a:lnTo>
                  <a:lnTo>
                    <a:pt x="298" y="780"/>
                  </a:lnTo>
                  <a:lnTo>
                    <a:pt x="300" y="782"/>
                  </a:lnTo>
                  <a:lnTo>
                    <a:pt x="303" y="782"/>
                  </a:lnTo>
                  <a:lnTo>
                    <a:pt x="303" y="782"/>
                  </a:lnTo>
                  <a:lnTo>
                    <a:pt x="305" y="782"/>
                  </a:lnTo>
                  <a:lnTo>
                    <a:pt x="305" y="785"/>
                  </a:lnTo>
                  <a:lnTo>
                    <a:pt x="307" y="785"/>
                  </a:lnTo>
                  <a:lnTo>
                    <a:pt x="307" y="785"/>
                  </a:lnTo>
                  <a:lnTo>
                    <a:pt x="307" y="785"/>
                  </a:lnTo>
                  <a:lnTo>
                    <a:pt x="310" y="782"/>
                  </a:lnTo>
                  <a:lnTo>
                    <a:pt x="312" y="785"/>
                  </a:lnTo>
                  <a:lnTo>
                    <a:pt x="312" y="782"/>
                  </a:lnTo>
                  <a:lnTo>
                    <a:pt x="312" y="782"/>
                  </a:lnTo>
                  <a:lnTo>
                    <a:pt x="310" y="782"/>
                  </a:lnTo>
                  <a:lnTo>
                    <a:pt x="310" y="780"/>
                  </a:lnTo>
                  <a:lnTo>
                    <a:pt x="310" y="780"/>
                  </a:lnTo>
                  <a:lnTo>
                    <a:pt x="312" y="780"/>
                  </a:lnTo>
                  <a:lnTo>
                    <a:pt x="312" y="780"/>
                  </a:lnTo>
                  <a:lnTo>
                    <a:pt x="315" y="780"/>
                  </a:lnTo>
                  <a:lnTo>
                    <a:pt x="317" y="780"/>
                  </a:lnTo>
                  <a:lnTo>
                    <a:pt x="317" y="778"/>
                  </a:lnTo>
                  <a:lnTo>
                    <a:pt x="317" y="778"/>
                  </a:lnTo>
                  <a:lnTo>
                    <a:pt x="317" y="778"/>
                  </a:lnTo>
                  <a:lnTo>
                    <a:pt x="319" y="778"/>
                  </a:lnTo>
                  <a:lnTo>
                    <a:pt x="319" y="775"/>
                  </a:lnTo>
                  <a:lnTo>
                    <a:pt x="319" y="775"/>
                  </a:lnTo>
                  <a:lnTo>
                    <a:pt x="322" y="775"/>
                  </a:lnTo>
                  <a:lnTo>
                    <a:pt x="322" y="775"/>
                  </a:lnTo>
                  <a:lnTo>
                    <a:pt x="319" y="773"/>
                  </a:lnTo>
                  <a:lnTo>
                    <a:pt x="319" y="773"/>
                  </a:lnTo>
                  <a:lnTo>
                    <a:pt x="319" y="770"/>
                  </a:lnTo>
                  <a:lnTo>
                    <a:pt x="322" y="770"/>
                  </a:lnTo>
                  <a:lnTo>
                    <a:pt x="322" y="770"/>
                  </a:lnTo>
                  <a:lnTo>
                    <a:pt x="319" y="768"/>
                  </a:lnTo>
                  <a:lnTo>
                    <a:pt x="319" y="766"/>
                  </a:lnTo>
                  <a:lnTo>
                    <a:pt x="319" y="766"/>
                  </a:lnTo>
                  <a:lnTo>
                    <a:pt x="317" y="763"/>
                  </a:lnTo>
                  <a:lnTo>
                    <a:pt x="319" y="763"/>
                  </a:lnTo>
                  <a:lnTo>
                    <a:pt x="319" y="761"/>
                  </a:lnTo>
                  <a:lnTo>
                    <a:pt x="319" y="761"/>
                  </a:lnTo>
                  <a:lnTo>
                    <a:pt x="319" y="759"/>
                  </a:lnTo>
                  <a:lnTo>
                    <a:pt x="319" y="756"/>
                  </a:lnTo>
                  <a:lnTo>
                    <a:pt x="319" y="756"/>
                  </a:lnTo>
                  <a:lnTo>
                    <a:pt x="322" y="756"/>
                  </a:lnTo>
                  <a:lnTo>
                    <a:pt x="322" y="754"/>
                  </a:lnTo>
                  <a:lnTo>
                    <a:pt x="322" y="754"/>
                  </a:lnTo>
                  <a:lnTo>
                    <a:pt x="322" y="754"/>
                  </a:lnTo>
                  <a:lnTo>
                    <a:pt x="324" y="752"/>
                  </a:lnTo>
                  <a:lnTo>
                    <a:pt x="322" y="752"/>
                  </a:lnTo>
                  <a:lnTo>
                    <a:pt x="322" y="752"/>
                  </a:lnTo>
                  <a:lnTo>
                    <a:pt x="326" y="749"/>
                  </a:lnTo>
                  <a:lnTo>
                    <a:pt x="326" y="747"/>
                  </a:lnTo>
                  <a:lnTo>
                    <a:pt x="329" y="747"/>
                  </a:lnTo>
                  <a:lnTo>
                    <a:pt x="329" y="745"/>
                  </a:lnTo>
                  <a:lnTo>
                    <a:pt x="331" y="745"/>
                  </a:lnTo>
                  <a:lnTo>
                    <a:pt x="331" y="745"/>
                  </a:lnTo>
                  <a:lnTo>
                    <a:pt x="331" y="742"/>
                  </a:lnTo>
                  <a:lnTo>
                    <a:pt x="331" y="740"/>
                  </a:lnTo>
                  <a:lnTo>
                    <a:pt x="331" y="740"/>
                  </a:lnTo>
                  <a:lnTo>
                    <a:pt x="333" y="737"/>
                  </a:lnTo>
                  <a:lnTo>
                    <a:pt x="333" y="735"/>
                  </a:lnTo>
                  <a:lnTo>
                    <a:pt x="333" y="735"/>
                  </a:lnTo>
                  <a:lnTo>
                    <a:pt x="329" y="733"/>
                  </a:lnTo>
                  <a:lnTo>
                    <a:pt x="329" y="733"/>
                  </a:lnTo>
                  <a:lnTo>
                    <a:pt x="329" y="733"/>
                  </a:lnTo>
                  <a:lnTo>
                    <a:pt x="326" y="733"/>
                  </a:lnTo>
                  <a:lnTo>
                    <a:pt x="326" y="730"/>
                  </a:lnTo>
                  <a:lnTo>
                    <a:pt x="326" y="730"/>
                  </a:lnTo>
                  <a:lnTo>
                    <a:pt x="326" y="728"/>
                  </a:lnTo>
                  <a:lnTo>
                    <a:pt x="326" y="726"/>
                  </a:lnTo>
                  <a:lnTo>
                    <a:pt x="326" y="726"/>
                  </a:lnTo>
                  <a:lnTo>
                    <a:pt x="329" y="723"/>
                  </a:lnTo>
                  <a:lnTo>
                    <a:pt x="326" y="723"/>
                  </a:lnTo>
                  <a:lnTo>
                    <a:pt x="326" y="723"/>
                  </a:lnTo>
                  <a:lnTo>
                    <a:pt x="326" y="719"/>
                  </a:lnTo>
                  <a:lnTo>
                    <a:pt x="326" y="719"/>
                  </a:lnTo>
                  <a:lnTo>
                    <a:pt x="326" y="716"/>
                  </a:lnTo>
                  <a:lnTo>
                    <a:pt x="326" y="714"/>
                  </a:lnTo>
                  <a:lnTo>
                    <a:pt x="326" y="714"/>
                  </a:lnTo>
                  <a:lnTo>
                    <a:pt x="326" y="711"/>
                  </a:lnTo>
                  <a:lnTo>
                    <a:pt x="324" y="711"/>
                  </a:lnTo>
                  <a:lnTo>
                    <a:pt x="322" y="711"/>
                  </a:lnTo>
                  <a:lnTo>
                    <a:pt x="322" y="709"/>
                  </a:lnTo>
                  <a:lnTo>
                    <a:pt x="319" y="707"/>
                  </a:lnTo>
                  <a:lnTo>
                    <a:pt x="317" y="704"/>
                  </a:lnTo>
                  <a:lnTo>
                    <a:pt x="317" y="702"/>
                  </a:lnTo>
                  <a:lnTo>
                    <a:pt x="317" y="700"/>
                  </a:lnTo>
                  <a:lnTo>
                    <a:pt x="317" y="700"/>
                  </a:lnTo>
                  <a:lnTo>
                    <a:pt x="317" y="700"/>
                  </a:lnTo>
                  <a:lnTo>
                    <a:pt x="317" y="700"/>
                  </a:lnTo>
                  <a:lnTo>
                    <a:pt x="317" y="697"/>
                  </a:lnTo>
                  <a:lnTo>
                    <a:pt x="317" y="695"/>
                  </a:lnTo>
                  <a:lnTo>
                    <a:pt x="317" y="695"/>
                  </a:lnTo>
                  <a:lnTo>
                    <a:pt x="315" y="688"/>
                  </a:lnTo>
                  <a:lnTo>
                    <a:pt x="312" y="685"/>
                  </a:lnTo>
                  <a:lnTo>
                    <a:pt x="310" y="683"/>
                  </a:lnTo>
                  <a:lnTo>
                    <a:pt x="307" y="683"/>
                  </a:lnTo>
                  <a:lnTo>
                    <a:pt x="305" y="681"/>
                  </a:lnTo>
                  <a:lnTo>
                    <a:pt x="303" y="678"/>
                  </a:lnTo>
                  <a:lnTo>
                    <a:pt x="303" y="676"/>
                  </a:lnTo>
                  <a:lnTo>
                    <a:pt x="303" y="671"/>
                  </a:lnTo>
                  <a:lnTo>
                    <a:pt x="303" y="669"/>
                  </a:lnTo>
                  <a:lnTo>
                    <a:pt x="303" y="664"/>
                  </a:lnTo>
                  <a:lnTo>
                    <a:pt x="300" y="664"/>
                  </a:lnTo>
                  <a:lnTo>
                    <a:pt x="300" y="659"/>
                  </a:lnTo>
                  <a:lnTo>
                    <a:pt x="298" y="655"/>
                  </a:lnTo>
                  <a:lnTo>
                    <a:pt x="300" y="650"/>
                  </a:lnTo>
                  <a:lnTo>
                    <a:pt x="298" y="648"/>
                  </a:lnTo>
                  <a:lnTo>
                    <a:pt x="300" y="645"/>
                  </a:lnTo>
                  <a:lnTo>
                    <a:pt x="300" y="643"/>
                  </a:lnTo>
                  <a:lnTo>
                    <a:pt x="300" y="643"/>
                  </a:lnTo>
                  <a:lnTo>
                    <a:pt x="300" y="641"/>
                  </a:lnTo>
                  <a:lnTo>
                    <a:pt x="300" y="641"/>
                  </a:lnTo>
                  <a:lnTo>
                    <a:pt x="300" y="636"/>
                  </a:lnTo>
                  <a:lnTo>
                    <a:pt x="298" y="636"/>
                  </a:lnTo>
                  <a:lnTo>
                    <a:pt x="296" y="631"/>
                  </a:lnTo>
                  <a:lnTo>
                    <a:pt x="293" y="633"/>
                  </a:lnTo>
                  <a:lnTo>
                    <a:pt x="291" y="633"/>
                  </a:lnTo>
                  <a:lnTo>
                    <a:pt x="291" y="626"/>
                  </a:lnTo>
                  <a:lnTo>
                    <a:pt x="291" y="624"/>
                  </a:lnTo>
                  <a:lnTo>
                    <a:pt x="291" y="619"/>
                  </a:lnTo>
                  <a:lnTo>
                    <a:pt x="291" y="615"/>
                  </a:lnTo>
                  <a:lnTo>
                    <a:pt x="289" y="603"/>
                  </a:lnTo>
                  <a:lnTo>
                    <a:pt x="291" y="600"/>
                  </a:lnTo>
                  <a:lnTo>
                    <a:pt x="291" y="598"/>
                  </a:lnTo>
                  <a:lnTo>
                    <a:pt x="293" y="593"/>
                  </a:lnTo>
                  <a:lnTo>
                    <a:pt x="298" y="589"/>
                  </a:lnTo>
                  <a:lnTo>
                    <a:pt x="300" y="589"/>
                  </a:lnTo>
                  <a:lnTo>
                    <a:pt x="300" y="584"/>
                  </a:lnTo>
                  <a:lnTo>
                    <a:pt x="298" y="582"/>
                  </a:lnTo>
                  <a:lnTo>
                    <a:pt x="298" y="582"/>
                  </a:lnTo>
                  <a:lnTo>
                    <a:pt x="296" y="577"/>
                  </a:lnTo>
                  <a:lnTo>
                    <a:pt x="298" y="572"/>
                  </a:lnTo>
                  <a:lnTo>
                    <a:pt x="300" y="570"/>
                  </a:lnTo>
                  <a:lnTo>
                    <a:pt x="300" y="565"/>
                  </a:lnTo>
                  <a:lnTo>
                    <a:pt x="300" y="563"/>
                  </a:lnTo>
                  <a:lnTo>
                    <a:pt x="300" y="560"/>
                  </a:lnTo>
                  <a:lnTo>
                    <a:pt x="298" y="558"/>
                  </a:lnTo>
                  <a:lnTo>
                    <a:pt x="298" y="558"/>
                  </a:lnTo>
                  <a:lnTo>
                    <a:pt x="298" y="556"/>
                  </a:lnTo>
                  <a:lnTo>
                    <a:pt x="298" y="553"/>
                  </a:lnTo>
                  <a:lnTo>
                    <a:pt x="298" y="553"/>
                  </a:lnTo>
                  <a:lnTo>
                    <a:pt x="298" y="551"/>
                  </a:lnTo>
                  <a:lnTo>
                    <a:pt x="298" y="548"/>
                  </a:lnTo>
                  <a:lnTo>
                    <a:pt x="298" y="548"/>
                  </a:lnTo>
                  <a:lnTo>
                    <a:pt x="296" y="548"/>
                  </a:lnTo>
                  <a:lnTo>
                    <a:pt x="291" y="548"/>
                  </a:lnTo>
                  <a:lnTo>
                    <a:pt x="291" y="548"/>
                  </a:lnTo>
                  <a:lnTo>
                    <a:pt x="289" y="544"/>
                  </a:lnTo>
                  <a:lnTo>
                    <a:pt x="289" y="537"/>
                  </a:lnTo>
                  <a:lnTo>
                    <a:pt x="284" y="527"/>
                  </a:lnTo>
                  <a:lnTo>
                    <a:pt x="281" y="513"/>
                  </a:lnTo>
                  <a:lnTo>
                    <a:pt x="279" y="513"/>
                  </a:lnTo>
                  <a:lnTo>
                    <a:pt x="279" y="511"/>
                  </a:lnTo>
                  <a:lnTo>
                    <a:pt x="279" y="508"/>
                  </a:lnTo>
                  <a:lnTo>
                    <a:pt x="279" y="508"/>
                  </a:lnTo>
                  <a:lnTo>
                    <a:pt x="277" y="504"/>
                  </a:lnTo>
                  <a:lnTo>
                    <a:pt x="277" y="504"/>
                  </a:lnTo>
                  <a:lnTo>
                    <a:pt x="274" y="504"/>
                  </a:lnTo>
                  <a:lnTo>
                    <a:pt x="272" y="501"/>
                  </a:lnTo>
                  <a:lnTo>
                    <a:pt x="270" y="499"/>
                  </a:lnTo>
                  <a:lnTo>
                    <a:pt x="267" y="496"/>
                  </a:lnTo>
                  <a:lnTo>
                    <a:pt x="265" y="494"/>
                  </a:lnTo>
                  <a:lnTo>
                    <a:pt x="265" y="492"/>
                  </a:lnTo>
                  <a:lnTo>
                    <a:pt x="263" y="489"/>
                  </a:lnTo>
                  <a:lnTo>
                    <a:pt x="263" y="489"/>
                  </a:lnTo>
                  <a:lnTo>
                    <a:pt x="258" y="485"/>
                  </a:lnTo>
                  <a:lnTo>
                    <a:pt x="255" y="485"/>
                  </a:lnTo>
                  <a:lnTo>
                    <a:pt x="255" y="482"/>
                  </a:lnTo>
                  <a:lnTo>
                    <a:pt x="255" y="480"/>
                  </a:lnTo>
                  <a:lnTo>
                    <a:pt x="255" y="478"/>
                  </a:lnTo>
                  <a:lnTo>
                    <a:pt x="260" y="475"/>
                  </a:lnTo>
                  <a:lnTo>
                    <a:pt x="260" y="473"/>
                  </a:lnTo>
                  <a:lnTo>
                    <a:pt x="263" y="471"/>
                  </a:lnTo>
                  <a:lnTo>
                    <a:pt x="265" y="468"/>
                  </a:lnTo>
                  <a:lnTo>
                    <a:pt x="265" y="468"/>
                  </a:lnTo>
                  <a:lnTo>
                    <a:pt x="265" y="454"/>
                  </a:lnTo>
                  <a:lnTo>
                    <a:pt x="270" y="445"/>
                  </a:lnTo>
                  <a:lnTo>
                    <a:pt x="270" y="442"/>
                  </a:lnTo>
                  <a:lnTo>
                    <a:pt x="270" y="437"/>
                  </a:lnTo>
                  <a:lnTo>
                    <a:pt x="267" y="435"/>
                  </a:lnTo>
                  <a:lnTo>
                    <a:pt x="265" y="435"/>
                  </a:lnTo>
                  <a:lnTo>
                    <a:pt x="263" y="433"/>
                  </a:lnTo>
                  <a:lnTo>
                    <a:pt x="255" y="430"/>
                  </a:lnTo>
                  <a:lnTo>
                    <a:pt x="255" y="430"/>
                  </a:lnTo>
                  <a:lnTo>
                    <a:pt x="253" y="428"/>
                  </a:lnTo>
                  <a:lnTo>
                    <a:pt x="251" y="428"/>
                  </a:lnTo>
                  <a:lnTo>
                    <a:pt x="241" y="426"/>
                  </a:lnTo>
                  <a:lnTo>
                    <a:pt x="237" y="426"/>
                  </a:lnTo>
                  <a:lnTo>
                    <a:pt x="234" y="426"/>
                  </a:lnTo>
                  <a:lnTo>
                    <a:pt x="227" y="428"/>
                  </a:lnTo>
                  <a:lnTo>
                    <a:pt x="222" y="423"/>
                  </a:lnTo>
                  <a:lnTo>
                    <a:pt x="220" y="421"/>
                  </a:lnTo>
                  <a:lnTo>
                    <a:pt x="218" y="419"/>
                  </a:lnTo>
                  <a:lnTo>
                    <a:pt x="215" y="416"/>
                  </a:lnTo>
                  <a:lnTo>
                    <a:pt x="215" y="414"/>
                  </a:lnTo>
                  <a:lnTo>
                    <a:pt x="213" y="411"/>
                  </a:lnTo>
                  <a:lnTo>
                    <a:pt x="213" y="409"/>
                  </a:lnTo>
                  <a:lnTo>
                    <a:pt x="213" y="407"/>
                  </a:lnTo>
                  <a:lnTo>
                    <a:pt x="211" y="407"/>
                  </a:lnTo>
                  <a:lnTo>
                    <a:pt x="211" y="407"/>
                  </a:lnTo>
                  <a:lnTo>
                    <a:pt x="206" y="407"/>
                  </a:lnTo>
                  <a:lnTo>
                    <a:pt x="199" y="409"/>
                  </a:lnTo>
                  <a:lnTo>
                    <a:pt x="196" y="409"/>
                  </a:lnTo>
                  <a:lnTo>
                    <a:pt x="192" y="407"/>
                  </a:lnTo>
                  <a:lnTo>
                    <a:pt x="185" y="404"/>
                  </a:lnTo>
                  <a:lnTo>
                    <a:pt x="185" y="402"/>
                  </a:lnTo>
                  <a:lnTo>
                    <a:pt x="180" y="397"/>
                  </a:lnTo>
                  <a:lnTo>
                    <a:pt x="180" y="397"/>
                  </a:lnTo>
                  <a:lnTo>
                    <a:pt x="180" y="395"/>
                  </a:lnTo>
                  <a:lnTo>
                    <a:pt x="180" y="390"/>
                  </a:lnTo>
                  <a:lnTo>
                    <a:pt x="178" y="383"/>
                  </a:lnTo>
                  <a:lnTo>
                    <a:pt x="178" y="381"/>
                  </a:lnTo>
                  <a:lnTo>
                    <a:pt x="180" y="376"/>
                  </a:lnTo>
                  <a:lnTo>
                    <a:pt x="180" y="374"/>
                  </a:lnTo>
                  <a:lnTo>
                    <a:pt x="180" y="371"/>
                  </a:lnTo>
                  <a:lnTo>
                    <a:pt x="175" y="371"/>
                  </a:lnTo>
                  <a:lnTo>
                    <a:pt x="168" y="371"/>
                  </a:lnTo>
                  <a:lnTo>
                    <a:pt x="156" y="376"/>
                  </a:lnTo>
                  <a:lnTo>
                    <a:pt x="147" y="378"/>
                  </a:lnTo>
                  <a:lnTo>
                    <a:pt x="144" y="378"/>
                  </a:lnTo>
                  <a:lnTo>
                    <a:pt x="137" y="378"/>
                  </a:lnTo>
                  <a:lnTo>
                    <a:pt x="133" y="378"/>
                  </a:lnTo>
                  <a:lnTo>
                    <a:pt x="126" y="376"/>
                  </a:lnTo>
                  <a:lnTo>
                    <a:pt x="121" y="374"/>
                  </a:lnTo>
                  <a:lnTo>
                    <a:pt x="118" y="374"/>
                  </a:lnTo>
                  <a:lnTo>
                    <a:pt x="109" y="369"/>
                  </a:lnTo>
                  <a:lnTo>
                    <a:pt x="107" y="369"/>
                  </a:lnTo>
                  <a:lnTo>
                    <a:pt x="107" y="369"/>
                  </a:lnTo>
                  <a:lnTo>
                    <a:pt x="104" y="367"/>
                  </a:lnTo>
                  <a:lnTo>
                    <a:pt x="104" y="367"/>
                  </a:lnTo>
                  <a:lnTo>
                    <a:pt x="102" y="369"/>
                  </a:lnTo>
                  <a:lnTo>
                    <a:pt x="102" y="369"/>
                  </a:lnTo>
                  <a:lnTo>
                    <a:pt x="100" y="369"/>
                  </a:lnTo>
                  <a:lnTo>
                    <a:pt x="100" y="367"/>
                  </a:lnTo>
                  <a:lnTo>
                    <a:pt x="100" y="367"/>
                  </a:lnTo>
                  <a:lnTo>
                    <a:pt x="100" y="367"/>
                  </a:lnTo>
                  <a:lnTo>
                    <a:pt x="100" y="364"/>
                  </a:lnTo>
                  <a:lnTo>
                    <a:pt x="97" y="364"/>
                  </a:lnTo>
                  <a:lnTo>
                    <a:pt x="97" y="364"/>
                  </a:lnTo>
                  <a:lnTo>
                    <a:pt x="97" y="362"/>
                  </a:lnTo>
                  <a:lnTo>
                    <a:pt x="97" y="359"/>
                  </a:lnTo>
                  <a:lnTo>
                    <a:pt x="97" y="357"/>
                  </a:lnTo>
                  <a:lnTo>
                    <a:pt x="100" y="357"/>
                  </a:lnTo>
                  <a:lnTo>
                    <a:pt x="100" y="355"/>
                  </a:lnTo>
                  <a:lnTo>
                    <a:pt x="100" y="352"/>
                  </a:lnTo>
                  <a:lnTo>
                    <a:pt x="100" y="355"/>
                  </a:lnTo>
                  <a:lnTo>
                    <a:pt x="100" y="355"/>
                  </a:lnTo>
                  <a:lnTo>
                    <a:pt x="100" y="352"/>
                  </a:lnTo>
                  <a:lnTo>
                    <a:pt x="104" y="350"/>
                  </a:lnTo>
                  <a:lnTo>
                    <a:pt x="104" y="348"/>
                  </a:lnTo>
                  <a:lnTo>
                    <a:pt x="104" y="348"/>
                  </a:lnTo>
                  <a:lnTo>
                    <a:pt x="107" y="345"/>
                  </a:lnTo>
                  <a:lnTo>
                    <a:pt x="107" y="343"/>
                  </a:lnTo>
                  <a:lnTo>
                    <a:pt x="104" y="341"/>
                  </a:lnTo>
                  <a:lnTo>
                    <a:pt x="107" y="341"/>
                  </a:lnTo>
                  <a:lnTo>
                    <a:pt x="107" y="341"/>
                  </a:lnTo>
                  <a:lnTo>
                    <a:pt x="104" y="338"/>
                  </a:lnTo>
                  <a:lnTo>
                    <a:pt x="104" y="338"/>
                  </a:lnTo>
                  <a:lnTo>
                    <a:pt x="107" y="336"/>
                  </a:lnTo>
                  <a:lnTo>
                    <a:pt x="107" y="336"/>
                  </a:lnTo>
                  <a:lnTo>
                    <a:pt x="107" y="333"/>
                  </a:lnTo>
                  <a:lnTo>
                    <a:pt x="104" y="333"/>
                  </a:lnTo>
                  <a:lnTo>
                    <a:pt x="104" y="331"/>
                  </a:lnTo>
                  <a:lnTo>
                    <a:pt x="104" y="329"/>
                  </a:lnTo>
                  <a:lnTo>
                    <a:pt x="104" y="329"/>
                  </a:lnTo>
                  <a:lnTo>
                    <a:pt x="104" y="329"/>
                  </a:lnTo>
                  <a:lnTo>
                    <a:pt x="104" y="329"/>
                  </a:lnTo>
                  <a:lnTo>
                    <a:pt x="104" y="326"/>
                  </a:lnTo>
                  <a:lnTo>
                    <a:pt x="102" y="324"/>
                  </a:lnTo>
                  <a:lnTo>
                    <a:pt x="102" y="324"/>
                  </a:lnTo>
                  <a:lnTo>
                    <a:pt x="104" y="324"/>
                  </a:lnTo>
                  <a:lnTo>
                    <a:pt x="102" y="322"/>
                  </a:lnTo>
                  <a:lnTo>
                    <a:pt x="97" y="319"/>
                  </a:lnTo>
                  <a:lnTo>
                    <a:pt x="97" y="319"/>
                  </a:lnTo>
                  <a:lnTo>
                    <a:pt x="95" y="315"/>
                  </a:lnTo>
                  <a:lnTo>
                    <a:pt x="95" y="308"/>
                  </a:lnTo>
                  <a:lnTo>
                    <a:pt x="90" y="305"/>
                  </a:lnTo>
                  <a:lnTo>
                    <a:pt x="90" y="303"/>
                  </a:lnTo>
                  <a:lnTo>
                    <a:pt x="88" y="300"/>
                  </a:lnTo>
                  <a:lnTo>
                    <a:pt x="88" y="298"/>
                  </a:lnTo>
                  <a:lnTo>
                    <a:pt x="83" y="293"/>
                  </a:lnTo>
                  <a:lnTo>
                    <a:pt x="81" y="291"/>
                  </a:lnTo>
                  <a:lnTo>
                    <a:pt x="76" y="286"/>
                  </a:lnTo>
                  <a:lnTo>
                    <a:pt x="74" y="284"/>
                  </a:lnTo>
                  <a:lnTo>
                    <a:pt x="74" y="282"/>
                  </a:lnTo>
                  <a:lnTo>
                    <a:pt x="76" y="279"/>
                  </a:lnTo>
                  <a:lnTo>
                    <a:pt x="78" y="277"/>
                  </a:lnTo>
                  <a:lnTo>
                    <a:pt x="78" y="274"/>
                  </a:lnTo>
                  <a:lnTo>
                    <a:pt x="78" y="270"/>
                  </a:lnTo>
                  <a:lnTo>
                    <a:pt x="78" y="267"/>
                  </a:lnTo>
                  <a:lnTo>
                    <a:pt x="74" y="258"/>
                  </a:lnTo>
                  <a:lnTo>
                    <a:pt x="74" y="248"/>
                  </a:lnTo>
                  <a:lnTo>
                    <a:pt x="71" y="246"/>
                  </a:lnTo>
                  <a:lnTo>
                    <a:pt x="71" y="246"/>
                  </a:lnTo>
                  <a:lnTo>
                    <a:pt x="71" y="241"/>
                  </a:lnTo>
                  <a:lnTo>
                    <a:pt x="74" y="241"/>
                  </a:lnTo>
                  <a:lnTo>
                    <a:pt x="78" y="237"/>
                  </a:lnTo>
                  <a:lnTo>
                    <a:pt x="81" y="234"/>
                  </a:lnTo>
                  <a:lnTo>
                    <a:pt x="81" y="234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 cap="flat">
              <a:solidFill>
                <a:schemeClr val="bg2">
                  <a:lumMod val="7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>
                <a:solidFill>
                  <a:srgbClr val="000000"/>
                </a:solidFill>
              </a:endParaRPr>
            </a:p>
          </p:txBody>
        </p:sp>
        <p:sp>
          <p:nvSpPr>
            <p:cNvPr id="38" name="Freeform 38"/>
            <p:cNvSpPr>
              <a:spLocks/>
            </p:cNvSpPr>
            <p:nvPr/>
          </p:nvSpPr>
          <p:spPr bwMode="gray">
            <a:xfrm>
              <a:off x="2568785" y="3434693"/>
              <a:ext cx="517148" cy="948912"/>
            </a:xfrm>
            <a:custGeom>
              <a:avLst/>
              <a:gdLst/>
              <a:ahLst/>
              <a:cxnLst>
                <a:cxn ang="0">
                  <a:pos x="14" y="739"/>
                </a:cxn>
                <a:cxn ang="0">
                  <a:pos x="40" y="673"/>
                </a:cxn>
                <a:cxn ang="0">
                  <a:pos x="78" y="579"/>
                </a:cxn>
                <a:cxn ang="0">
                  <a:pos x="121" y="496"/>
                </a:cxn>
                <a:cxn ang="0">
                  <a:pos x="196" y="388"/>
                </a:cxn>
                <a:cxn ang="0">
                  <a:pos x="175" y="302"/>
                </a:cxn>
                <a:cxn ang="0">
                  <a:pos x="232" y="206"/>
                </a:cxn>
                <a:cxn ang="0">
                  <a:pos x="300" y="151"/>
                </a:cxn>
                <a:cxn ang="0">
                  <a:pos x="314" y="90"/>
                </a:cxn>
                <a:cxn ang="0">
                  <a:pos x="305" y="36"/>
                </a:cxn>
                <a:cxn ang="0">
                  <a:pos x="260" y="19"/>
                </a:cxn>
                <a:cxn ang="0">
                  <a:pos x="357" y="10"/>
                </a:cxn>
                <a:cxn ang="0">
                  <a:pos x="421" y="114"/>
                </a:cxn>
                <a:cxn ang="0">
                  <a:pos x="409" y="217"/>
                </a:cxn>
                <a:cxn ang="0">
                  <a:pos x="411" y="276"/>
                </a:cxn>
                <a:cxn ang="0">
                  <a:pos x="425" y="319"/>
                </a:cxn>
                <a:cxn ang="0">
                  <a:pos x="440" y="336"/>
                </a:cxn>
                <a:cxn ang="0">
                  <a:pos x="459" y="359"/>
                </a:cxn>
                <a:cxn ang="0">
                  <a:pos x="482" y="369"/>
                </a:cxn>
                <a:cxn ang="0">
                  <a:pos x="508" y="359"/>
                </a:cxn>
                <a:cxn ang="0">
                  <a:pos x="536" y="390"/>
                </a:cxn>
                <a:cxn ang="0">
                  <a:pos x="501" y="423"/>
                </a:cxn>
                <a:cxn ang="0">
                  <a:pos x="487" y="444"/>
                </a:cxn>
                <a:cxn ang="0">
                  <a:pos x="482" y="463"/>
                </a:cxn>
                <a:cxn ang="0">
                  <a:pos x="473" y="494"/>
                </a:cxn>
                <a:cxn ang="0">
                  <a:pos x="482" y="508"/>
                </a:cxn>
                <a:cxn ang="0">
                  <a:pos x="494" y="536"/>
                </a:cxn>
                <a:cxn ang="0">
                  <a:pos x="529" y="567"/>
                </a:cxn>
                <a:cxn ang="0">
                  <a:pos x="541" y="619"/>
                </a:cxn>
                <a:cxn ang="0">
                  <a:pos x="607" y="664"/>
                </a:cxn>
                <a:cxn ang="0">
                  <a:pos x="617" y="690"/>
                </a:cxn>
                <a:cxn ang="0">
                  <a:pos x="572" y="737"/>
                </a:cxn>
                <a:cxn ang="0">
                  <a:pos x="532" y="810"/>
                </a:cxn>
                <a:cxn ang="0">
                  <a:pos x="581" y="841"/>
                </a:cxn>
                <a:cxn ang="0">
                  <a:pos x="558" y="865"/>
                </a:cxn>
                <a:cxn ang="0">
                  <a:pos x="555" y="891"/>
                </a:cxn>
                <a:cxn ang="0">
                  <a:pos x="560" y="931"/>
                </a:cxn>
                <a:cxn ang="0">
                  <a:pos x="572" y="962"/>
                </a:cxn>
                <a:cxn ang="0">
                  <a:pos x="565" y="1011"/>
                </a:cxn>
                <a:cxn ang="0">
                  <a:pos x="555" y="1013"/>
                </a:cxn>
                <a:cxn ang="0">
                  <a:pos x="494" y="1030"/>
                </a:cxn>
                <a:cxn ang="0">
                  <a:pos x="463" y="1047"/>
                </a:cxn>
                <a:cxn ang="0">
                  <a:pos x="437" y="1056"/>
                </a:cxn>
                <a:cxn ang="0">
                  <a:pos x="399" y="1039"/>
                </a:cxn>
                <a:cxn ang="0">
                  <a:pos x="392" y="1068"/>
                </a:cxn>
                <a:cxn ang="0">
                  <a:pos x="352" y="1065"/>
                </a:cxn>
                <a:cxn ang="0">
                  <a:pos x="329" y="1063"/>
                </a:cxn>
                <a:cxn ang="0">
                  <a:pos x="314" y="1049"/>
                </a:cxn>
                <a:cxn ang="0">
                  <a:pos x="296" y="1058"/>
                </a:cxn>
                <a:cxn ang="0">
                  <a:pos x="281" y="1044"/>
                </a:cxn>
                <a:cxn ang="0">
                  <a:pos x="274" y="1039"/>
                </a:cxn>
                <a:cxn ang="0">
                  <a:pos x="253" y="1013"/>
                </a:cxn>
                <a:cxn ang="0">
                  <a:pos x="218" y="1011"/>
                </a:cxn>
                <a:cxn ang="0">
                  <a:pos x="187" y="1016"/>
                </a:cxn>
                <a:cxn ang="0">
                  <a:pos x="90" y="1013"/>
                </a:cxn>
                <a:cxn ang="0">
                  <a:pos x="57" y="1002"/>
                </a:cxn>
                <a:cxn ang="0">
                  <a:pos x="64" y="973"/>
                </a:cxn>
                <a:cxn ang="0">
                  <a:pos x="69" y="947"/>
                </a:cxn>
                <a:cxn ang="0">
                  <a:pos x="45" y="969"/>
                </a:cxn>
                <a:cxn ang="0">
                  <a:pos x="33" y="999"/>
                </a:cxn>
                <a:cxn ang="0">
                  <a:pos x="5" y="969"/>
                </a:cxn>
                <a:cxn ang="0">
                  <a:pos x="7" y="898"/>
                </a:cxn>
                <a:cxn ang="0">
                  <a:pos x="7" y="839"/>
                </a:cxn>
              </a:cxnLst>
              <a:rect l="0" t="0" r="r" b="b"/>
              <a:pathLst>
                <a:path w="640" h="1084">
                  <a:moveTo>
                    <a:pt x="0" y="820"/>
                  </a:moveTo>
                  <a:lnTo>
                    <a:pt x="3" y="815"/>
                  </a:lnTo>
                  <a:lnTo>
                    <a:pt x="3" y="813"/>
                  </a:lnTo>
                  <a:lnTo>
                    <a:pt x="3" y="808"/>
                  </a:lnTo>
                  <a:lnTo>
                    <a:pt x="5" y="806"/>
                  </a:lnTo>
                  <a:lnTo>
                    <a:pt x="5" y="803"/>
                  </a:lnTo>
                  <a:lnTo>
                    <a:pt x="5" y="803"/>
                  </a:lnTo>
                  <a:lnTo>
                    <a:pt x="5" y="801"/>
                  </a:lnTo>
                  <a:lnTo>
                    <a:pt x="7" y="801"/>
                  </a:lnTo>
                  <a:lnTo>
                    <a:pt x="10" y="799"/>
                  </a:lnTo>
                  <a:lnTo>
                    <a:pt x="10" y="794"/>
                  </a:lnTo>
                  <a:lnTo>
                    <a:pt x="12" y="791"/>
                  </a:lnTo>
                  <a:lnTo>
                    <a:pt x="10" y="787"/>
                  </a:lnTo>
                  <a:lnTo>
                    <a:pt x="10" y="787"/>
                  </a:lnTo>
                  <a:lnTo>
                    <a:pt x="10" y="782"/>
                  </a:lnTo>
                  <a:lnTo>
                    <a:pt x="10" y="780"/>
                  </a:lnTo>
                  <a:lnTo>
                    <a:pt x="10" y="777"/>
                  </a:lnTo>
                  <a:lnTo>
                    <a:pt x="12" y="777"/>
                  </a:lnTo>
                  <a:lnTo>
                    <a:pt x="12" y="775"/>
                  </a:lnTo>
                  <a:lnTo>
                    <a:pt x="14" y="773"/>
                  </a:lnTo>
                  <a:lnTo>
                    <a:pt x="14" y="773"/>
                  </a:lnTo>
                  <a:lnTo>
                    <a:pt x="17" y="770"/>
                  </a:lnTo>
                  <a:lnTo>
                    <a:pt x="17" y="768"/>
                  </a:lnTo>
                  <a:lnTo>
                    <a:pt x="14" y="765"/>
                  </a:lnTo>
                  <a:lnTo>
                    <a:pt x="14" y="763"/>
                  </a:lnTo>
                  <a:lnTo>
                    <a:pt x="14" y="758"/>
                  </a:lnTo>
                  <a:lnTo>
                    <a:pt x="14" y="758"/>
                  </a:lnTo>
                  <a:lnTo>
                    <a:pt x="14" y="754"/>
                  </a:lnTo>
                  <a:lnTo>
                    <a:pt x="14" y="751"/>
                  </a:lnTo>
                  <a:lnTo>
                    <a:pt x="19" y="749"/>
                  </a:lnTo>
                  <a:lnTo>
                    <a:pt x="19" y="747"/>
                  </a:lnTo>
                  <a:lnTo>
                    <a:pt x="17" y="744"/>
                  </a:lnTo>
                  <a:lnTo>
                    <a:pt x="14" y="744"/>
                  </a:lnTo>
                  <a:lnTo>
                    <a:pt x="14" y="739"/>
                  </a:lnTo>
                  <a:lnTo>
                    <a:pt x="14" y="739"/>
                  </a:lnTo>
                  <a:lnTo>
                    <a:pt x="17" y="737"/>
                  </a:lnTo>
                  <a:lnTo>
                    <a:pt x="17" y="737"/>
                  </a:lnTo>
                  <a:lnTo>
                    <a:pt x="17" y="737"/>
                  </a:lnTo>
                  <a:lnTo>
                    <a:pt x="19" y="737"/>
                  </a:lnTo>
                  <a:lnTo>
                    <a:pt x="19" y="735"/>
                  </a:lnTo>
                  <a:lnTo>
                    <a:pt x="19" y="735"/>
                  </a:lnTo>
                  <a:lnTo>
                    <a:pt x="21" y="730"/>
                  </a:lnTo>
                  <a:lnTo>
                    <a:pt x="21" y="728"/>
                  </a:lnTo>
                  <a:lnTo>
                    <a:pt x="21" y="725"/>
                  </a:lnTo>
                  <a:lnTo>
                    <a:pt x="19" y="723"/>
                  </a:lnTo>
                  <a:lnTo>
                    <a:pt x="19" y="721"/>
                  </a:lnTo>
                  <a:lnTo>
                    <a:pt x="17" y="718"/>
                  </a:lnTo>
                  <a:lnTo>
                    <a:pt x="17" y="718"/>
                  </a:lnTo>
                  <a:lnTo>
                    <a:pt x="19" y="713"/>
                  </a:lnTo>
                  <a:lnTo>
                    <a:pt x="21" y="711"/>
                  </a:lnTo>
                  <a:lnTo>
                    <a:pt x="21" y="711"/>
                  </a:lnTo>
                  <a:lnTo>
                    <a:pt x="24" y="711"/>
                  </a:lnTo>
                  <a:lnTo>
                    <a:pt x="24" y="711"/>
                  </a:lnTo>
                  <a:lnTo>
                    <a:pt x="26" y="709"/>
                  </a:lnTo>
                  <a:lnTo>
                    <a:pt x="26" y="706"/>
                  </a:lnTo>
                  <a:lnTo>
                    <a:pt x="29" y="704"/>
                  </a:lnTo>
                  <a:lnTo>
                    <a:pt x="29" y="702"/>
                  </a:lnTo>
                  <a:lnTo>
                    <a:pt x="29" y="699"/>
                  </a:lnTo>
                  <a:lnTo>
                    <a:pt x="29" y="697"/>
                  </a:lnTo>
                  <a:lnTo>
                    <a:pt x="31" y="695"/>
                  </a:lnTo>
                  <a:lnTo>
                    <a:pt x="31" y="695"/>
                  </a:lnTo>
                  <a:lnTo>
                    <a:pt x="33" y="695"/>
                  </a:lnTo>
                  <a:lnTo>
                    <a:pt x="31" y="692"/>
                  </a:lnTo>
                  <a:lnTo>
                    <a:pt x="33" y="683"/>
                  </a:lnTo>
                  <a:lnTo>
                    <a:pt x="38" y="683"/>
                  </a:lnTo>
                  <a:lnTo>
                    <a:pt x="38" y="680"/>
                  </a:lnTo>
                  <a:lnTo>
                    <a:pt x="40" y="678"/>
                  </a:lnTo>
                  <a:lnTo>
                    <a:pt x="40" y="678"/>
                  </a:lnTo>
                  <a:lnTo>
                    <a:pt x="40" y="676"/>
                  </a:lnTo>
                  <a:lnTo>
                    <a:pt x="40" y="673"/>
                  </a:lnTo>
                  <a:lnTo>
                    <a:pt x="43" y="669"/>
                  </a:lnTo>
                  <a:lnTo>
                    <a:pt x="43" y="664"/>
                  </a:lnTo>
                  <a:lnTo>
                    <a:pt x="45" y="659"/>
                  </a:lnTo>
                  <a:lnTo>
                    <a:pt x="45" y="654"/>
                  </a:lnTo>
                  <a:lnTo>
                    <a:pt x="43" y="654"/>
                  </a:lnTo>
                  <a:lnTo>
                    <a:pt x="43" y="652"/>
                  </a:lnTo>
                  <a:lnTo>
                    <a:pt x="45" y="647"/>
                  </a:lnTo>
                  <a:lnTo>
                    <a:pt x="47" y="645"/>
                  </a:lnTo>
                  <a:lnTo>
                    <a:pt x="47" y="643"/>
                  </a:lnTo>
                  <a:lnTo>
                    <a:pt x="50" y="640"/>
                  </a:lnTo>
                  <a:lnTo>
                    <a:pt x="50" y="638"/>
                  </a:lnTo>
                  <a:lnTo>
                    <a:pt x="55" y="638"/>
                  </a:lnTo>
                  <a:lnTo>
                    <a:pt x="57" y="636"/>
                  </a:lnTo>
                  <a:lnTo>
                    <a:pt x="57" y="633"/>
                  </a:lnTo>
                  <a:lnTo>
                    <a:pt x="57" y="628"/>
                  </a:lnTo>
                  <a:lnTo>
                    <a:pt x="59" y="626"/>
                  </a:lnTo>
                  <a:lnTo>
                    <a:pt x="59" y="626"/>
                  </a:lnTo>
                  <a:lnTo>
                    <a:pt x="59" y="621"/>
                  </a:lnTo>
                  <a:lnTo>
                    <a:pt x="59" y="619"/>
                  </a:lnTo>
                  <a:lnTo>
                    <a:pt x="62" y="614"/>
                  </a:lnTo>
                  <a:lnTo>
                    <a:pt x="66" y="612"/>
                  </a:lnTo>
                  <a:lnTo>
                    <a:pt x="66" y="610"/>
                  </a:lnTo>
                  <a:lnTo>
                    <a:pt x="66" y="610"/>
                  </a:lnTo>
                  <a:lnTo>
                    <a:pt x="66" y="610"/>
                  </a:lnTo>
                  <a:lnTo>
                    <a:pt x="66" y="607"/>
                  </a:lnTo>
                  <a:lnTo>
                    <a:pt x="69" y="602"/>
                  </a:lnTo>
                  <a:lnTo>
                    <a:pt x="69" y="600"/>
                  </a:lnTo>
                  <a:lnTo>
                    <a:pt x="73" y="593"/>
                  </a:lnTo>
                  <a:lnTo>
                    <a:pt x="73" y="591"/>
                  </a:lnTo>
                  <a:lnTo>
                    <a:pt x="76" y="591"/>
                  </a:lnTo>
                  <a:lnTo>
                    <a:pt x="76" y="588"/>
                  </a:lnTo>
                  <a:lnTo>
                    <a:pt x="76" y="586"/>
                  </a:lnTo>
                  <a:lnTo>
                    <a:pt x="76" y="581"/>
                  </a:lnTo>
                  <a:lnTo>
                    <a:pt x="78" y="581"/>
                  </a:lnTo>
                  <a:lnTo>
                    <a:pt x="78" y="579"/>
                  </a:lnTo>
                  <a:lnTo>
                    <a:pt x="81" y="579"/>
                  </a:lnTo>
                  <a:lnTo>
                    <a:pt x="81" y="574"/>
                  </a:lnTo>
                  <a:lnTo>
                    <a:pt x="81" y="574"/>
                  </a:lnTo>
                  <a:lnTo>
                    <a:pt x="83" y="572"/>
                  </a:lnTo>
                  <a:lnTo>
                    <a:pt x="81" y="569"/>
                  </a:lnTo>
                  <a:lnTo>
                    <a:pt x="81" y="567"/>
                  </a:lnTo>
                  <a:lnTo>
                    <a:pt x="81" y="565"/>
                  </a:lnTo>
                  <a:lnTo>
                    <a:pt x="81" y="565"/>
                  </a:lnTo>
                  <a:lnTo>
                    <a:pt x="81" y="565"/>
                  </a:lnTo>
                  <a:lnTo>
                    <a:pt x="81" y="562"/>
                  </a:lnTo>
                  <a:lnTo>
                    <a:pt x="83" y="555"/>
                  </a:lnTo>
                  <a:lnTo>
                    <a:pt x="85" y="553"/>
                  </a:lnTo>
                  <a:lnTo>
                    <a:pt x="88" y="548"/>
                  </a:lnTo>
                  <a:lnTo>
                    <a:pt x="88" y="548"/>
                  </a:lnTo>
                  <a:lnTo>
                    <a:pt x="88" y="546"/>
                  </a:lnTo>
                  <a:lnTo>
                    <a:pt x="88" y="543"/>
                  </a:lnTo>
                  <a:lnTo>
                    <a:pt x="88" y="541"/>
                  </a:lnTo>
                  <a:lnTo>
                    <a:pt x="88" y="539"/>
                  </a:lnTo>
                  <a:lnTo>
                    <a:pt x="90" y="539"/>
                  </a:lnTo>
                  <a:lnTo>
                    <a:pt x="90" y="536"/>
                  </a:lnTo>
                  <a:lnTo>
                    <a:pt x="95" y="536"/>
                  </a:lnTo>
                  <a:lnTo>
                    <a:pt x="95" y="529"/>
                  </a:lnTo>
                  <a:lnTo>
                    <a:pt x="97" y="529"/>
                  </a:lnTo>
                  <a:lnTo>
                    <a:pt x="102" y="527"/>
                  </a:lnTo>
                  <a:lnTo>
                    <a:pt x="107" y="522"/>
                  </a:lnTo>
                  <a:lnTo>
                    <a:pt x="107" y="522"/>
                  </a:lnTo>
                  <a:lnTo>
                    <a:pt x="107" y="520"/>
                  </a:lnTo>
                  <a:lnTo>
                    <a:pt x="107" y="520"/>
                  </a:lnTo>
                  <a:lnTo>
                    <a:pt x="111" y="515"/>
                  </a:lnTo>
                  <a:lnTo>
                    <a:pt x="111" y="510"/>
                  </a:lnTo>
                  <a:lnTo>
                    <a:pt x="114" y="508"/>
                  </a:lnTo>
                  <a:lnTo>
                    <a:pt x="114" y="506"/>
                  </a:lnTo>
                  <a:lnTo>
                    <a:pt x="114" y="503"/>
                  </a:lnTo>
                  <a:lnTo>
                    <a:pt x="121" y="499"/>
                  </a:lnTo>
                  <a:lnTo>
                    <a:pt x="121" y="496"/>
                  </a:lnTo>
                  <a:lnTo>
                    <a:pt x="123" y="491"/>
                  </a:lnTo>
                  <a:lnTo>
                    <a:pt x="125" y="489"/>
                  </a:lnTo>
                  <a:lnTo>
                    <a:pt x="125" y="487"/>
                  </a:lnTo>
                  <a:lnTo>
                    <a:pt x="128" y="487"/>
                  </a:lnTo>
                  <a:lnTo>
                    <a:pt x="135" y="482"/>
                  </a:lnTo>
                  <a:lnTo>
                    <a:pt x="140" y="480"/>
                  </a:lnTo>
                  <a:lnTo>
                    <a:pt x="142" y="480"/>
                  </a:lnTo>
                  <a:lnTo>
                    <a:pt x="144" y="480"/>
                  </a:lnTo>
                  <a:lnTo>
                    <a:pt x="147" y="477"/>
                  </a:lnTo>
                  <a:lnTo>
                    <a:pt x="149" y="473"/>
                  </a:lnTo>
                  <a:lnTo>
                    <a:pt x="151" y="468"/>
                  </a:lnTo>
                  <a:lnTo>
                    <a:pt x="159" y="461"/>
                  </a:lnTo>
                  <a:lnTo>
                    <a:pt x="161" y="456"/>
                  </a:lnTo>
                  <a:lnTo>
                    <a:pt x="161" y="454"/>
                  </a:lnTo>
                  <a:lnTo>
                    <a:pt x="163" y="451"/>
                  </a:lnTo>
                  <a:lnTo>
                    <a:pt x="163" y="449"/>
                  </a:lnTo>
                  <a:lnTo>
                    <a:pt x="168" y="444"/>
                  </a:lnTo>
                  <a:lnTo>
                    <a:pt x="170" y="442"/>
                  </a:lnTo>
                  <a:lnTo>
                    <a:pt x="170" y="442"/>
                  </a:lnTo>
                  <a:lnTo>
                    <a:pt x="170" y="432"/>
                  </a:lnTo>
                  <a:lnTo>
                    <a:pt x="173" y="432"/>
                  </a:lnTo>
                  <a:lnTo>
                    <a:pt x="173" y="428"/>
                  </a:lnTo>
                  <a:lnTo>
                    <a:pt x="177" y="423"/>
                  </a:lnTo>
                  <a:lnTo>
                    <a:pt x="177" y="423"/>
                  </a:lnTo>
                  <a:lnTo>
                    <a:pt x="180" y="423"/>
                  </a:lnTo>
                  <a:lnTo>
                    <a:pt x="184" y="421"/>
                  </a:lnTo>
                  <a:lnTo>
                    <a:pt x="184" y="418"/>
                  </a:lnTo>
                  <a:lnTo>
                    <a:pt x="187" y="414"/>
                  </a:lnTo>
                  <a:lnTo>
                    <a:pt x="187" y="411"/>
                  </a:lnTo>
                  <a:lnTo>
                    <a:pt x="189" y="404"/>
                  </a:lnTo>
                  <a:lnTo>
                    <a:pt x="192" y="399"/>
                  </a:lnTo>
                  <a:lnTo>
                    <a:pt x="194" y="397"/>
                  </a:lnTo>
                  <a:lnTo>
                    <a:pt x="194" y="395"/>
                  </a:lnTo>
                  <a:lnTo>
                    <a:pt x="194" y="392"/>
                  </a:lnTo>
                  <a:lnTo>
                    <a:pt x="196" y="388"/>
                  </a:lnTo>
                  <a:lnTo>
                    <a:pt x="194" y="385"/>
                  </a:lnTo>
                  <a:lnTo>
                    <a:pt x="196" y="383"/>
                  </a:lnTo>
                  <a:lnTo>
                    <a:pt x="196" y="380"/>
                  </a:lnTo>
                  <a:lnTo>
                    <a:pt x="196" y="380"/>
                  </a:lnTo>
                  <a:lnTo>
                    <a:pt x="196" y="378"/>
                  </a:lnTo>
                  <a:lnTo>
                    <a:pt x="199" y="378"/>
                  </a:lnTo>
                  <a:lnTo>
                    <a:pt x="199" y="376"/>
                  </a:lnTo>
                  <a:lnTo>
                    <a:pt x="199" y="371"/>
                  </a:lnTo>
                  <a:lnTo>
                    <a:pt x="199" y="371"/>
                  </a:lnTo>
                  <a:lnTo>
                    <a:pt x="199" y="366"/>
                  </a:lnTo>
                  <a:lnTo>
                    <a:pt x="199" y="364"/>
                  </a:lnTo>
                  <a:lnTo>
                    <a:pt x="199" y="359"/>
                  </a:lnTo>
                  <a:lnTo>
                    <a:pt x="201" y="357"/>
                  </a:lnTo>
                  <a:lnTo>
                    <a:pt x="199" y="350"/>
                  </a:lnTo>
                  <a:lnTo>
                    <a:pt x="199" y="350"/>
                  </a:lnTo>
                  <a:lnTo>
                    <a:pt x="199" y="347"/>
                  </a:lnTo>
                  <a:lnTo>
                    <a:pt x="201" y="345"/>
                  </a:lnTo>
                  <a:lnTo>
                    <a:pt x="201" y="345"/>
                  </a:lnTo>
                  <a:lnTo>
                    <a:pt x="201" y="343"/>
                  </a:lnTo>
                  <a:lnTo>
                    <a:pt x="201" y="343"/>
                  </a:lnTo>
                  <a:lnTo>
                    <a:pt x="199" y="340"/>
                  </a:lnTo>
                  <a:lnTo>
                    <a:pt x="196" y="340"/>
                  </a:lnTo>
                  <a:lnTo>
                    <a:pt x="194" y="338"/>
                  </a:lnTo>
                  <a:lnTo>
                    <a:pt x="189" y="336"/>
                  </a:lnTo>
                  <a:lnTo>
                    <a:pt x="187" y="333"/>
                  </a:lnTo>
                  <a:lnTo>
                    <a:pt x="184" y="331"/>
                  </a:lnTo>
                  <a:lnTo>
                    <a:pt x="180" y="328"/>
                  </a:lnTo>
                  <a:lnTo>
                    <a:pt x="177" y="326"/>
                  </a:lnTo>
                  <a:lnTo>
                    <a:pt x="177" y="324"/>
                  </a:lnTo>
                  <a:lnTo>
                    <a:pt x="175" y="319"/>
                  </a:lnTo>
                  <a:lnTo>
                    <a:pt x="175" y="317"/>
                  </a:lnTo>
                  <a:lnTo>
                    <a:pt x="173" y="312"/>
                  </a:lnTo>
                  <a:lnTo>
                    <a:pt x="173" y="310"/>
                  </a:lnTo>
                  <a:lnTo>
                    <a:pt x="173" y="302"/>
                  </a:lnTo>
                  <a:lnTo>
                    <a:pt x="175" y="302"/>
                  </a:lnTo>
                  <a:lnTo>
                    <a:pt x="177" y="298"/>
                  </a:lnTo>
                  <a:lnTo>
                    <a:pt x="180" y="295"/>
                  </a:lnTo>
                  <a:lnTo>
                    <a:pt x="184" y="288"/>
                  </a:lnTo>
                  <a:lnTo>
                    <a:pt x="187" y="288"/>
                  </a:lnTo>
                  <a:lnTo>
                    <a:pt x="187" y="286"/>
                  </a:lnTo>
                  <a:lnTo>
                    <a:pt x="189" y="284"/>
                  </a:lnTo>
                  <a:lnTo>
                    <a:pt x="192" y="281"/>
                  </a:lnTo>
                  <a:lnTo>
                    <a:pt x="194" y="276"/>
                  </a:lnTo>
                  <a:lnTo>
                    <a:pt x="194" y="274"/>
                  </a:lnTo>
                  <a:lnTo>
                    <a:pt x="196" y="269"/>
                  </a:lnTo>
                  <a:lnTo>
                    <a:pt x="199" y="267"/>
                  </a:lnTo>
                  <a:lnTo>
                    <a:pt x="196" y="262"/>
                  </a:lnTo>
                  <a:lnTo>
                    <a:pt x="196" y="255"/>
                  </a:lnTo>
                  <a:lnTo>
                    <a:pt x="196" y="248"/>
                  </a:lnTo>
                  <a:lnTo>
                    <a:pt x="196" y="248"/>
                  </a:lnTo>
                  <a:lnTo>
                    <a:pt x="196" y="243"/>
                  </a:lnTo>
                  <a:lnTo>
                    <a:pt x="196" y="241"/>
                  </a:lnTo>
                  <a:lnTo>
                    <a:pt x="194" y="236"/>
                  </a:lnTo>
                  <a:lnTo>
                    <a:pt x="194" y="234"/>
                  </a:lnTo>
                  <a:lnTo>
                    <a:pt x="194" y="234"/>
                  </a:lnTo>
                  <a:lnTo>
                    <a:pt x="194" y="232"/>
                  </a:lnTo>
                  <a:lnTo>
                    <a:pt x="194" y="229"/>
                  </a:lnTo>
                  <a:lnTo>
                    <a:pt x="196" y="227"/>
                  </a:lnTo>
                  <a:lnTo>
                    <a:pt x="199" y="225"/>
                  </a:lnTo>
                  <a:lnTo>
                    <a:pt x="199" y="225"/>
                  </a:lnTo>
                  <a:lnTo>
                    <a:pt x="201" y="225"/>
                  </a:lnTo>
                  <a:lnTo>
                    <a:pt x="206" y="222"/>
                  </a:lnTo>
                  <a:lnTo>
                    <a:pt x="210" y="217"/>
                  </a:lnTo>
                  <a:lnTo>
                    <a:pt x="215" y="215"/>
                  </a:lnTo>
                  <a:lnTo>
                    <a:pt x="218" y="213"/>
                  </a:lnTo>
                  <a:lnTo>
                    <a:pt x="218" y="210"/>
                  </a:lnTo>
                  <a:lnTo>
                    <a:pt x="225" y="210"/>
                  </a:lnTo>
                  <a:lnTo>
                    <a:pt x="227" y="208"/>
                  </a:lnTo>
                  <a:lnTo>
                    <a:pt x="229" y="208"/>
                  </a:lnTo>
                  <a:lnTo>
                    <a:pt x="232" y="206"/>
                  </a:lnTo>
                  <a:lnTo>
                    <a:pt x="236" y="206"/>
                  </a:lnTo>
                  <a:lnTo>
                    <a:pt x="241" y="206"/>
                  </a:lnTo>
                  <a:lnTo>
                    <a:pt x="241" y="206"/>
                  </a:lnTo>
                  <a:lnTo>
                    <a:pt x="244" y="206"/>
                  </a:lnTo>
                  <a:lnTo>
                    <a:pt x="244" y="206"/>
                  </a:lnTo>
                  <a:lnTo>
                    <a:pt x="248" y="203"/>
                  </a:lnTo>
                  <a:lnTo>
                    <a:pt x="251" y="203"/>
                  </a:lnTo>
                  <a:lnTo>
                    <a:pt x="251" y="203"/>
                  </a:lnTo>
                  <a:lnTo>
                    <a:pt x="253" y="199"/>
                  </a:lnTo>
                  <a:lnTo>
                    <a:pt x="260" y="196"/>
                  </a:lnTo>
                  <a:lnTo>
                    <a:pt x="262" y="194"/>
                  </a:lnTo>
                  <a:lnTo>
                    <a:pt x="265" y="194"/>
                  </a:lnTo>
                  <a:lnTo>
                    <a:pt x="265" y="191"/>
                  </a:lnTo>
                  <a:lnTo>
                    <a:pt x="265" y="187"/>
                  </a:lnTo>
                  <a:lnTo>
                    <a:pt x="262" y="182"/>
                  </a:lnTo>
                  <a:lnTo>
                    <a:pt x="262" y="180"/>
                  </a:lnTo>
                  <a:lnTo>
                    <a:pt x="265" y="177"/>
                  </a:lnTo>
                  <a:lnTo>
                    <a:pt x="265" y="177"/>
                  </a:lnTo>
                  <a:lnTo>
                    <a:pt x="265" y="175"/>
                  </a:lnTo>
                  <a:lnTo>
                    <a:pt x="267" y="170"/>
                  </a:lnTo>
                  <a:lnTo>
                    <a:pt x="270" y="170"/>
                  </a:lnTo>
                  <a:lnTo>
                    <a:pt x="270" y="168"/>
                  </a:lnTo>
                  <a:lnTo>
                    <a:pt x="277" y="161"/>
                  </a:lnTo>
                  <a:lnTo>
                    <a:pt x="279" y="161"/>
                  </a:lnTo>
                  <a:lnTo>
                    <a:pt x="281" y="158"/>
                  </a:lnTo>
                  <a:lnTo>
                    <a:pt x="281" y="156"/>
                  </a:lnTo>
                  <a:lnTo>
                    <a:pt x="284" y="154"/>
                  </a:lnTo>
                  <a:lnTo>
                    <a:pt x="284" y="154"/>
                  </a:lnTo>
                  <a:lnTo>
                    <a:pt x="291" y="154"/>
                  </a:lnTo>
                  <a:lnTo>
                    <a:pt x="293" y="154"/>
                  </a:lnTo>
                  <a:lnTo>
                    <a:pt x="298" y="156"/>
                  </a:lnTo>
                  <a:lnTo>
                    <a:pt x="298" y="158"/>
                  </a:lnTo>
                  <a:lnTo>
                    <a:pt x="300" y="156"/>
                  </a:lnTo>
                  <a:lnTo>
                    <a:pt x="300" y="154"/>
                  </a:lnTo>
                  <a:lnTo>
                    <a:pt x="300" y="151"/>
                  </a:lnTo>
                  <a:lnTo>
                    <a:pt x="298" y="149"/>
                  </a:lnTo>
                  <a:lnTo>
                    <a:pt x="298" y="149"/>
                  </a:lnTo>
                  <a:lnTo>
                    <a:pt x="296" y="149"/>
                  </a:lnTo>
                  <a:lnTo>
                    <a:pt x="296" y="147"/>
                  </a:lnTo>
                  <a:lnTo>
                    <a:pt x="296" y="147"/>
                  </a:lnTo>
                  <a:lnTo>
                    <a:pt x="296" y="144"/>
                  </a:lnTo>
                  <a:lnTo>
                    <a:pt x="296" y="142"/>
                  </a:lnTo>
                  <a:lnTo>
                    <a:pt x="293" y="139"/>
                  </a:lnTo>
                  <a:lnTo>
                    <a:pt x="293" y="137"/>
                  </a:lnTo>
                  <a:lnTo>
                    <a:pt x="293" y="132"/>
                  </a:lnTo>
                  <a:lnTo>
                    <a:pt x="293" y="130"/>
                  </a:lnTo>
                  <a:lnTo>
                    <a:pt x="296" y="130"/>
                  </a:lnTo>
                  <a:lnTo>
                    <a:pt x="296" y="128"/>
                  </a:lnTo>
                  <a:lnTo>
                    <a:pt x="298" y="128"/>
                  </a:lnTo>
                  <a:lnTo>
                    <a:pt x="300" y="128"/>
                  </a:lnTo>
                  <a:lnTo>
                    <a:pt x="305" y="125"/>
                  </a:lnTo>
                  <a:lnTo>
                    <a:pt x="310" y="123"/>
                  </a:lnTo>
                  <a:lnTo>
                    <a:pt x="310" y="121"/>
                  </a:lnTo>
                  <a:lnTo>
                    <a:pt x="312" y="118"/>
                  </a:lnTo>
                  <a:lnTo>
                    <a:pt x="312" y="116"/>
                  </a:lnTo>
                  <a:lnTo>
                    <a:pt x="310" y="114"/>
                  </a:lnTo>
                  <a:lnTo>
                    <a:pt x="305" y="114"/>
                  </a:lnTo>
                  <a:lnTo>
                    <a:pt x="305" y="111"/>
                  </a:lnTo>
                  <a:lnTo>
                    <a:pt x="305" y="111"/>
                  </a:lnTo>
                  <a:lnTo>
                    <a:pt x="305" y="109"/>
                  </a:lnTo>
                  <a:lnTo>
                    <a:pt x="307" y="106"/>
                  </a:lnTo>
                  <a:lnTo>
                    <a:pt x="310" y="104"/>
                  </a:lnTo>
                  <a:lnTo>
                    <a:pt x="310" y="104"/>
                  </a:lnTo>
                  <a:lnTo>
                    <a:pt x="317" y="102"/>
                  </a:lnTo>
                  <a:lnTo>
                    <a:pt x="319" y="102"/>
                  </a:lnTo>
                  <a:lnTo>
                    <a:pt x="319" y="97"/>
                  </a:lnTo>
                  <a:lnTo>
                    <a:pt x="319" y="97"/>
                  </a:lnTo>
                  <a:lnTo>
                    <a:pt x="317" y="95"/>
                  </a:lnTo>
                  <a:lnTo>
                    <a:pt x="317" y="95"/>
                  </a:lnTo>
                  <a:lnTo>
                    <a:pt x="314" y="90"/>
                  </a:lnTo>
                  <a:lnTo>
                    <a:pt x="312" y="88"/>
                  </a:lnTo>
                  <a:lnTo>
                    <a:pt x="310" y="88"/>
                  </a:lnTo>
                  <a:lnTo>
                    <a:pt x="310" y="85"/>
                  </a:lnTo>
                  <a:lnTo>
                    <a:pt x="310" y="80"/>
                  </a:lnTo>
                  <a:lnTo>
                    <a:pt x="310" y="78"/>
                  </a:lnTo>
                  <a:lnTo>
                    <a:pt x="310" y="76"/>
                  </a:lnTo>
                  <a:lnTo>
                    <a:pt x="310" y="73"/>
                  </a:lnTo>
                  <a:lnTo>
                    <a:pt x="312" y="73"/>
                  </a:lnTo>
                  <a:lnTo>
                    <a:pt x="314" y="71"/>
                  </a:lnTo>
                  <a:lnTo>
                    <a:pt x="319" y="73"/>
                  </a:lnTo>
                  <a:lnTo>
                    <a:pt x="321" y="71"/>
                  </a:lnTo>
                  <a:lnTo>
                    <a:pt x="324" y="71"/>
                  </a:lnTo>
                  <a:lnTo>
                    <a:pt x="324" y="71"/>
                  </a:lnTo>
                  <a:lnTo>
                    <a:pt x="326" y="69"/>
                  </a:lnTo>
                  <a:lnTo>
                    <a:pt x="326" y="66"/>
                  </a:lnTo>
                  <a:lnTo>
                    <a:pt x="329" y="62"/>
                  </a:lnTo>
                  <a:lnTo>
                    <a:pt x="331" y="59"/>
                  </a:lnTo>
                  <a:lnTo>
                    <a:pt x="331" y="57"/>
                  </a:lnTo>
                  <a:lnTo>
                    <a:pt x="331" y="57"/>
                  </a:lnTo>
                  <a:lnTo>
                    <a:pt x="326" y="52"/>
                  </a:lnTo>
                  <a:lnTo>
                    <a:pt x="324" y="52"/>
                  </a:lnTo>
                  <a:lnTo>
                    <a:pt x="324" y="50"/>
                  </a:lnTo>
                  <a:lnTo>
                    <a:pt x="321" y="50"/>
                  </a:lnTo>
                  <a:lnTo>
                    <a:pt x="319" y="50"/>
                  </a:lnTo>
                  <a:lnTo>
                    <a:pt x="314" y="47"/>
                  </a:lnTo>
                  <a:lnTo>
                    <a:pt x="312" y="47"/>
                  </a:lnTo>
                  <a:lnTo>
                    <a:pt x="310" y="47"/>
                  </a:lnTo>
                  <a:lnTo>
                    <a:pt x="310" y="45"/>
                  </a:lnTo>
                  <a:lnTo>
                    <a:pt x="307" y="43"/>
                  </a:lnTo>
                  <a:lnTo>
                    <a:pt x="307" y="40"/>
                  </a:lnTo>
                  <a:lnTo>
                    <a:pt x="307" y="43"/>
                  </a:lnTo>
                  <a:lnTo>
                    <a:pt x="307" y="40"/>
                  </a:lnTo>
                  <a:lnTo>
                    <a:pt x="305" y="38"/>
                  </a:lnTo>
                  <a:lnTo>
                    <a:pt x="305" y="36"/>
                  </a:lnTo>
                  <a:lnTo>
                    <a:pt x="305" y="36"/>
                  </a:lnTo>
                  <a:lnTo>
                    <a:pt x="305" y="33"/>
                  </a:lnTo>
                  <a:lnTo>
                    <a:pt x="303" y="31"/>
                  </a:lnTo>
                  <a:lnTo>
                    <a:pt x="300" y="31"/>
                  </a:lnTo>
                  <a:lnTo>
                    <a:pt x="300" y="28"/>
                  </a:lnTo>
                  <a:lnTo>
                    <a:pt x="298" y="28"/>
                  </a:lnTo>
                  <a:lnTo>
                    <a:pt x="298" y="28"/>
                  </a:lnTo>
                  <a:lnTo>
                    <a:pt x="298" y="31"/>
                  </a:lnTo>
                  <a:lnTo>
                    <a:pt x="296" y="28"/>
                  </a:lnTo>
                  <a:lnTo>
                    <a:pt x="291" y="31"/>
                  </a:lnTo>
                  <a:lnTo>
                    <a:pt x="291" y="31"/>
                  </a:lnTo>
                  <a:lnTo>
                    <a:pt x="291" y="31"/>
                  </a:lnTo>
                  <a:lnTo>
                    <a:pt x="288" y="31"/>
                  </a:lnTo>
                  <a:lnTo>
                    <a:pt x="288" y="31"/>
                  </a:lnTo>
                  <a:lnTo>
                    <a:pt x="286" y="33"/>
                  </a:lnTo>
                  <a:lnTo>
                    <a:pt x="284" y="33"/>
                  </a:lnTo>
                  <a:lnTo>
                    <a:pt x="277" y="31"/>
                  </a:lnTo>
                  <a:lnTo>
                    <a:pt x="272" y="31"/>
                  </a:lnTo>
                  <a:lnTo>
                    <a:pt x="272" y="31"/>
                  </a:lnTo>
                  <a:lnTo>
                    <a:pt x="267" y="31"/>
                  </a:lnTo>
                  <a:lnTo>
                    <a:pt x="265" y="28"/>
                  </a:lnTo>
                  <a:lnTo>
                    <a:pt x="265" y="28"/>
                  </a:lnTo>
                  <a:lnTo>
                    <a:pt x="262" y="26"/>
                  </a:lnTo>
                  <a:lnTo>
                    <a:pt x="255" y="26"/>
                  </a:lnTo>
                  <a:lnTo>
                    <a:pt x="255" y="26"/>
                  </a:lnTo>
                  <a:lnTo>
                    <a:pt x="255" y="26"/>
                  </a:lnTo>
                  <a:lnTo>
                    <a:pt x="253" y="24"/>
                  </a:lnTo>
                  <a:lnTo>
                    <a:pt x="253" y="24"/>
                  </a:lnTo>
                  <a:lnTo>
                    <a:pt x="253" y="24"/>
                  </a:lnTo>
                  <a:lnTo>
                    <a:pt x="253" y="21"/>
                  </a:lnTo>
                  <a:lnTo>
                    <a:pt x="253" y="24"/>
                  </a:lnTo>
                  <a:lnTo>
                    <a:pt x="255" y="21"/>
                  </a:lnTo>
                  <a:lnTo>
                    <a:pt x="258" y="24"/>
                  </a:lnTo>
                  <a:lnTo>
                    <a:pt x="258" y="21"/>
                  </a:lnTo>
                  <a:lnTo>
                    <a:pt x="260" y="19"/>
                  </a:lnTo>
                  <a:lnTo>
                    <a:pt x="260" y="19"/>
                  </a:lnTo>
                  <a:lnTo>
                    <a:pt x="262" y="17"/>
                  </a:lnTo>
                  <a:lnTo>
                    <a:pt x="265" y="19"/>
                  </a:lnTo>
                  <a:lnTo>
                    <a:pt x="267" y="19"/>
                  </a:lnTo>
                  <a:lnTo>
                    <a:pt x="267" y="21"/>
                  </a:lnTo>
                  <a:lnTo>
                    <a:pt x="270" y="21"/>
                  </a:lnTo>
                  <a:lnTo>
                    <a:pt x="272" y="21"/>
                  </a:lnTo>
                  <a:lnTo>
                    <a:pt x="274" y="19"/>
                  </a:lnTo>
                  <a:lnTo>
                    <a:pt x="277" y="14"/>
                  </a:lnTo>
                  <a:lnTo>
                    <a:pt x="277" y="12"/>
                  </a:lnTo>
                  <a:lnTo>
                    <a:pt x="277" y="10"/>
                  </a:lnTo>
                  <a:lnTo>
                    <a:pt x="277" y="7"/>
                  </a:lnTo>
                  <a:lnTo>
                    <a:pt x="279" y="2"/>
                  </a:lnTo>
                  <a:lnTo>
                    <a:pt x="281" y="2"/>
                  </a:lnTo>
                  <a:lnTo>
                    <a:pt x="286" y="2"/>
                  </a:lnTo>
                  <a:lnTo>
                    <a:pt x="288" y="0"/>
                  </a:lnTo>
                  <a:lnTo>
                    <a:pt x="300" y="0"/>
                  </a:lnTo>
                  <a:lnTo>
                    <a:pt x="303" y="0"/>
                  </a:lnTo>
                  <a:lnTo>
                    <a:pt x="307" y="2"/>
                  </a:lnTo>
                  <a:lnTo>
                    <a:pt x="310" y="2"/>
                  </a:lnTo>
                  <a:lnTo>
                    <a:pt x="314" y="5"/>
                  </a:lnTo>
                  <a:lnTo>
                    <a:pt x="317" y="7"/>
                  </a:lnTo>
                  <a:lnTo>
                    <a:pt x="319" y="7"/>
                  </a:lnTo>
                  <a:lnTo>
                    <a:pt x="319" y="7"/>
                  </a:lnTo>
                  <a:lnTo>
                    <a:pt x="321" y="10"/>
                  </a:lnTo>
                  <a:lnTo>
                    <a:pt x="324" y="10"/>
                  </a:lnTo>
                  <a:lnTo>
                    <a:pt x="326" y="12"/>
                  </a:lnTo>
                  <a:lnTo>
                    <a:pt x="333" y="12"/>
                  </a:lnTo>
                  <a:lnTo>
                    <a:pt x="338" y="12"/>
                  </a:lnTo>
                  <a:lnTo>
                    <a:pt x="343" y="12"/>
                  </a:lnTo>
                  <a:lnTo>
                    <a:pt x="345" y="7"/>
                  </a:lnTo>
                  <a:lnTo>
                    <a:pt x="347" y="7"/>
                  </a:lnTo>
                  <a:lnTo>
                    <a:pt x="347" y="7"/>
                  </a:lnTo>
                  <a:lnTo>
                    <a:pt x="352" y="10"/>
                  </a:lnTo>
                  <a:lnTo>
                    <a:pt x="355" y="10"/>
                  </a:lnTo>
                  <a:lnTo>
                    <a:pt x="357" y="10"/>
                  </a:lnTo>
                  <a:lnTo>
                    <a:pt x="362" y="12"/>
                  </a:lnTo>
                  <a:lnTo>
                    <a:pt x="364" y="12"/>
                  </a:lnTo>
                  <a:lnTo>
                    <a:pt x="364" y="14"/>
                  </a:lnTo>
                  <a:lnTo>
                    <a:pt x="364" y="17"/>
                  </a:lnTo>
                  <a:lnTo>
                    <a:pt x="364" y="17"/>
                  </a:lnTo>
                  <a:lnTo>
                    <a:pt x="364" y="21"/>
                  </a:lnTo>
                  <a:lnTo>
                    <a:pt x="369" y="26"/>
                  </a:lnTo>
                  <a:lnTo>
                    <a:pt x="369" y="28"/>
                  </a:lnTo>
                  <a:lnTo>
                    <a:pt x="373" y="28"/>
                  </a:lnTo>
                  <a:lnTo>
                    <a:pt x="378" y="26"/>
                  </a:lnTo>
                  <a:lnTo>
                    <a:pt x="381" y="26"/>
                  </a:lnTo>
                  <a:lnTo>
                    <a:pt x="388" y="31"/>
                  </a:lnTo>
                  <a:lnTo>
                    <a:pt x="390" y="31"/>
                  </a:lnTo>
                  <a:lnTo>
                    <a:pt x="397" y="38"/>
                  </a:lnTo>
                  <a:lnTo>
                    <a:pt x="402" y="38"/>
                  </a:lnTo>
                  <a:lnTo>
                    <a:pt x="402" y="38"/>
                  </a:lnTo>
                  <a:lnTo>
                    <a:pt x="404" y="38"/>
                  </a:lnTo>
                  <a:lnTo>
                    <a:pt x="411" y="45"/>
                  </a:lnTo>
                  <a:lnTo>
                    <a:pt x="414" y="50"/>
                  </a:lnTo>
                  <a:lnTo>
                    <a:pt x="414" y="54"/>
                  </a:lnTo>
                  <a:lnTo>
                    <a:pt x="414" y="59"/>
                  </a:lnTo>
                  <a:lnTo>
                    <a:pt x="414" y="59"/>
                  </a:lnTo>
                  <a:lnTo>
                    <a:pt x="414" y="64"/>
                  </a:lnTo>
                  <a:lnTo>
                    <a:pt x="411" y="69"/>
                  </a:lnTo>
                  <a:lnTo>
                    <a:pt x="411" y="73"/>
                  </a:lnTo>
                  <a:lnTo>
                    <a:pt x="414" y="76"/>
                  </a:lnTo>
                  <a:lnTo>
                    <a:pt x="416" y="78"/>
                  </a:lnTo>
                  <a:lnTo>
                    <a:pt x="418" y="85"/>
                  </a:lnTo>
                  <a:lnTo>
                    <a:pt x="418" y="90"/>
                  </a:lnTo>
                  <a:lnTo>
                    <a:pt x="421" y="90"/>
                  </a:lnTo>
                  <a:lnTo>
                    <a:pt x="421" y="99"/>
                  </a:lnTo>
                  <a:lnTo>
                    <a:pt x="418" y="106"/>
                  </a:lnTo>
                  <a:lnTo>
                    <a:pt x="418" y="109"/>
                  </a:lnTo>
                  <a:lnTo>
                    <a:pt x="421" y="114"/>
                  </a:lnTo>
                  <a:lnTo>
                    <a:pt x="421" y="114"/>
                  </a:lnTo>
                  <a:lnTo>
                    <a:pt x="421" y="116"/>
                  </a:lnTo>
                  <a:lnTo>
                    <a:pt x="418" y="121"/>
                  </a:lnTo>
                  <a:lnTo>
                    <a:pt x="421" y="123"/>
                  </a:lnTo>
                  <a:lnTo>
                    <a:pt x="421" y="130"/>
                  </a:lnTo>
                  <a:lnTo>
                    <a:pt x="423" y="135"/>
                  </a:lnTo>
                  <a:lnTo>
                    <a:pt x="425" y="137"/>
                  </a:lnTo>
                  <a:lnTo>
                    <a:pt x="425" y="139"/>
                  </a:lnTo>
                  <a:lnTo>
                    <a:pt x="425" y="142"/>
                  </a:lnTo>
                  <a:lnTo>
                    <a:pt x="425" y="144"/>
                  </a:lnTo>
                  <a:lnTo>
                    <a:pt x="423" y="151"/>
                  </a:lnTo>
                  <a:lnTo>
                    <a:pt x="423" y="151"/>
                  </a:lnTo>
                  <a:lnTo>
                    <a:pt x="421" y="156"/>
                  </a:lnTo>
                  <a:lnTo>
                    <a:pt x="421" y="161"/>
                  </a:lnTo>
                  <a:lnTo>
                    <a:pt x="421" y="163"/>
                  </a:lnTo>
                  <a:lnTo>
                    <a:pt x="418" y="165"/>
                  </a:lnTo>
                  <a:lnTo>
                    <a:pt x="421" y="170"/>
                  </a:lnTo>
                  <a:lnTo>
                    <a:pt x="421" y="173"/>
                  </a:lnTo>
                  <a:lnTo>
                    <a:pt x="421" y="173"/>
                  </a:lnTo>
                  <a:lnTo>
                    <a:pt x="416" y="177"/>
                  </a:lnTo>
                  <a:lnTo>
                    <a:pt x="416" y="180"/>
                  </a:lnTo>
                  <a:lnTo>
                    <a:pt x="416" y="180"/>
                  </a:lnTo>
                  <a:lnTo>
                    <a:pt x="416" y="184"/>
                  </a:lnTo>
                  <a:lnTo>
                    <a:pt x="416" y="187"/>
                  </a:lnTo>
                  <a:lnTo>
                    <a:pt x="416" y="187"/>
                  </a:lnTo>
                  <a:lnTo>
                    <a:pt x="414" y="189"/>
                  </a:lnTo>
                  <a:lnTo>
                    <a:pt x="411" y="196"/>
                  </a:lnTo>
                  <a:lnTo>
                    <a:pt x="411" y="199"/>
                  </a:lnTo>
                  <a:lnTo>
                    <a:pt x="411" y="199"/>
                  </a:lnTo>
                  <a:lnTo>
                    <a:pt x="411" y="201"/>
                  </a:lnTo>
                  <a:lnTo>
                    <a:pt x="411" y="206"/>
                  </a:lnTo>
                  <a:lnTo>
                    <a:pt x="409" y="210"/>
                  </a:lnTo>
                  <a:lnTo>
                    <a:pt x="407" y="215"/>
                  </a:lnTo>
                  <a:lnTo>
                    <a:pt x="407" y="217"/>
                  </a:lnTo>
                  <a:lnTo>
                    <a:pt x="409" y="217"/>
                  </a:lnTo>
                  <a:lnTo>
                    <a:pt x="409" y="217"/>
                  </a:lnTo>
                  <a:lnTo>
                    <a:pt x="409" y="222"/>
                  </a:lnTo>
                  <a:lnTo>
                    <a:pt x="411" y="225"/>
                  </a:lnTo>
                  <a:lnTo>
                    <a:pt x="409" y="227"/>
                  </a:lnTo>
                  <a:lnTo>
                    <a:pt x="407" y="232"/>
                  </a:lnTo>
                  <a:lnTo>
                    <a:pt x="407" y="234"/>
                  </a:lnTo>
                  <a:lnTo>
                    <a:pt x="407" y="236"/>
                  </a:lnTo>
                  <a:lnTo>
                    <a:pt x="407" y="239"/>
                  </a:lnTo>
                  <a:lnTo>
                    <a:pt x="407" y="241"/>
                  </a:lnTo>
                  <a:lnTo>
                    <a:pt x="404" y="241"/>
                  </a:lnTo>
                  <a:lnTo>
                    <a:pt x="402" y="246"/>
                  </a:lnTo>
                  <a:lnTo>
                    <a:pt x="399" y="246"/>
                  </a:lnTo>
                  <a:lnTo>
                    <a:pt x="397" y="251"/>
                  </a:lnTo>
                  <a:lnTo>
                    <a:pt x="395" y="253"/>
                  </a:lnTo>
                  <a:lnTo>
                    <a:pt x="392" y="258"/>
                  </a:lnTo>
                  <a:lnTo>
                    <a:pt x="390" y="258"/>
                  </a:lnTo>
                  <a:lnTo>
                    <a:pt x="390" y="258"/>
                  </a:lnTo>
                  <a:lnTo>
                    <a:pt x="388" y="258"/>
                  </a:lnTo>
                  <a:lnTo>
                    <a:pt x="385" y="258"/>
                  </a:lnTo>
                  <a:lnTo>
                    <a:pt x="383" y="258"/>
                  </a:lnTo>
                  <a:lnTo>
                    <a:pt x="381" y="260"/>
                  </a:lnTo>
                  <a:lnTo>
                    <a:pt x="381" y="260"/>
                  </a:lnTo>
                  <a:lnTo>
                    <a:pt x="381" y="262"/>
                  </a:lnTo>
                  <a:lnTo>
                    <a:pt x="381" y="265"/>
                  </a:lnTo>
                  <a:lnTo>
                    <a:pt x="381" y="267"/>
                  </a:lnTo>
                  <a:lnTo>
                    <a:pt x="388" y="269"/>
                  </a:lnTo>
                  <a:lnTo>
                    <a:pt x="390" y="272"/>
                  </a:lnTo>
                  <a:lnTo>
                    <a:pt x="392" y="279"/>
                  </a:lnTo>
                  <a:lnTo>
                    <a:pt x="392" y="279"/>
                  </a:lnTo>
                  <a:lnTo>
                    <a:pt x="392" y="279"/>
                  </a:lnTo>
                  <a:lnTo>
                    <a:pt x="395" y="279"/>
                  </a:lnTo>
                  <a:lnTo>
                    <a:pt x="397" y="274"/>
                  </a:lnTo>
                  <a:lnTo>
                    <a:pt x="399" y="272"/>
                  </a:lnTo>
                  <a:lnTo>
                    <a:pt x="407" y="272"/>
                  </a:lnTo>
                  <a:lnTo>
                    <a:pt x="407" y="274"/>
                  </a:lnTo>
                  <a:lnTo>
                    <a:pt x="411" y="276"/>
                  </a:lnTo>
                  <a:lnTo>
                    <a:pt x="414" y="281"/>
                  </a:lnTo>
                  <a:lnTo>
                    <a:pt x="414" y="281"/>
                  </a:lnTo>
                  <a:lnTo>
                    <a:pt x="414" y="286"/>
                  </a:lnTo>
                  <a:lnTo>
                    <a:pt x="409" y="288"/>
                  </a:lnTo>
                  <a:lnTo>
                    <a:pt x="409" y="288"/>
                  </a:lnTo>
                  <a:lnTo>
                    <a:pt x="402" y="293"/>
                  </a:lnTo>
                  <a:lnTo>
                    <a:pt x="402" y="293"/>
                  </a:lnTo>
                  <a:lnTo>
                    <a:pt x="399" y="295"/>
                  </a:lnTo>
                  <a:lnTo>
                    <a:pt x="402" y="298"/>
                  </a:lnTo>
                  <a:lnTo>
                    <a:pt x="404" y="295"/>
                  </a:lnTo>
                  <a:lnTo>
                    <a:pt x="407" y="295"/>
                  </a:lnTo>
                  <a:lnTo>
                    <a:pt x="409" y="295"/>
                  </a:lnTo>
                  <a:lnTo>
                    <a:pt x="411" y="295"/>
                  </a:lnTo>
                  <a:lnTo>
                    <a:pt x="411" y="298"/>
                  </a:lnTo>
                  <a:lnTo>
                    <a:pt x="411" y="302"/>
                  </a:lnTo>
                  <a:lnTo>
                    <a:pt x="414" y="302"/>
                  </a:lnTo>
                  <a:lnTo>
                    <a:pt x="414" y="307"/>
                  </a:lnTo>
                  <a:lnTo>
                    <a:pt x="414" y="307"/>
                  </a:lnTo>
                  <a:lnTo>
                    <a:pt x="416" y="307"/>
                  </a:lnTo>
                  <a:lnTo>
                    <a:pt x="416" y="307"/>
                  </a:lnTo>
                  <a:lnTo>
                    <a:pt x="418" y="307"/>
                  </a:lnTo>
                  <a:lnTo>
                    <a:pt x="421" y="307"/>
                  </a:lnTo>
                  <a:lnTo>
                    <a:pt x="421" y="307"/>
                  </a:lnTo>
                  <a:lnTo>
                    <a:pt x="421" y="310"/>
                  </a:lnTo>
                  <a:lnTo>
                    <a:pt x="421" y="310"/>
                  </a:lnTo>
                  <a:lnTo>
                    <a:pt x="418" y="312"/>
                  </a:lnTo>
                  <a:lnTo>
                    <a:pt x="418" y="312"/>
                  </a:lnTo>
                  <a:lnTo>
                    <a:pt x="421" y="312"/>
                  </a:lnTo>
                  <a:lnTo>
                    <a:pt x="421" y="312"/>
                  </a:lnTo>
                  <a:lnTo>
                    <a:pt x="423" y="312"/>
                  </a:lnTo>
                  <a:lnTo>
                    <a:pt x="423" y="312"/>
                  </a:lnTo>
                  <a:lnTo>
                    <a:pt x="425" y="314"/>
                  </a:lnTo>
                  <a:lnTo>
                    <a:pt x="423" y="314"/>
                  </a:lnTo>
                  <a:lnTo>
                    <a:pt x="425" y="317"/>
                  </a:lnTo>
                  <a:lnTo>
                    <a:pt x="425" y="319"/>
                  </a:lnTo>
                  <a:lnTo>
                    <a:pt x="425" y="321"/>
                  </a:lnTo>
                  <a:lnTo>
                    <a:pt x="425" y="321"/>
                  </a:lnTo>
                  <a:lnTo>
                    <a:pt x="425" y="324"/>
                  </a:lnTo>
                  <a:lnTo>
                    <a:pt x="428" y="324"/>
                  </a:lnTo>
                  <a:lnTo>
                    <a:pt x="430" y="324"/>
                  </a:lnTo>
                  <a:lnTo>
                    <a:pt x="430" y="321"/>
                  </a:lnTo>
                  <a:lnTo>
                    <a:pt x="428" y="321"/>
                  </a:lnTo>
                  <a:lnTo>
                    <a:pt x="428" y="321"/>
                  </a:lnTo>
                  <a:lnTo>
                    <a:pt x="428" y="319"/>
                  </a:lnTo>
                  <a:lnTo>
                    <a:pt x="428" y="319"/>
                  </a:lnTo>
                  <a:lnTo>
                    <a:pt x="430" y="319"/>
                  </a:lnTo>
                  <a:lnTo>
                    <a:pt x="430" y="321"/>
                  </a:lnTo>
                  <a:lnTo>
                    <a:pt x="433" y="321"/>
                  </a:lnTo>
                  <a:lnTo>
                    <a:pt x="435" y="324"/>
                  </a:lnTo>
                  <a:lnTo>
                    <a:pt x="435" y="324"/>
                  </a:lnTo>
                  <a:lnTo>
                    <a:pt x="435" y="326"/>
                  </a:lnTo>
                  <a:lnTo>
                    <a:pt x="433" y="326"/>
                  </a:lnTo>
                  <a:lnTo>
                    <a:pt x="430" y="326"/>
                  </a:lnTo>
                  <a:lnTo>
                    <a:pt x="433" y="326"/>
                  </a:lnTo>
                  <a:lnTo>
                    <a:pt x="433" y="326"/>
                  </a:lnTo>
                  <a:lnTo>
                    <a:pt x="433" y="328"/>
                  </a:lnTo>
                  <a:lnTo>
                    <a:pt x="437" y="328"/>
                  </a:lnTo>
                  <a:lnTo>
                    <a:pt x="437" y="331"/>
                  </a:lnTo>
                  <a:lnTo>
                    <a:pt x="435" y="331"/>
                  </a:lnTo>
                  <a:lnTo>
                    <a:pt x="435" y="331"/>
                  </a:lnTo>
                  <a:lnTo>
                    <a:pt x="435" y="331"/>
                  </a:lnTo>
                  <a:lnTo>
                    <a:pt x="435" y="331"/>
                  </a:lnTo>
                  <a:lnTo>
                    <a:pt x="435" y="333"/>
                  </a:lnTo>
                  <a:lnTo>
                    <a:pt x="435" y="333"/>
                  </a:lnTo>
                  <a:lnTo>
                    <a:pt x="435" y="333"/>
                  </a:lnTo>
                  <a:lnTo>
                    <a:pt x="437" y="336"/>
                  </a:lnTo>
                  <a:lnTo>
                    <a:pt x="437" y="333"/>
                  </a:lnTo>
                  <a:lnTo>
                    <a:pt x="440" y="336"/>
                  </a:lnTo>
                  <a:lnTo>
                    <a:pt x="440" y="333"/>
                  </a:lnTo>
                  <a:lnTo>
                    <a:pt x="440" y="336"/>
                  </a:lnTo>
                  <a:lnTo>
                    <a:pt x="440" y="336"/>
                  </a:lnTo>
                  <a:lnTo>
                    <a:pt x="442" y="336"/>
                  </a:lnTo>
                  <a:lnTo>
                    <a:pt x="442" y="336"/>
                  </a:lnTo>
                  <a:lnTo>
                    <a:pt x="440" y="338"/>
                  </a:lnTo>
                  <a:lnTo>
                    <a:pt x="442" y="338"/>
                  </a:lnTo>
                  <a:lnTo>
                    <a:pt x="442" y="338"/>
                  </a:lnTo>
                  <a:lnTo>
                    <a:pt x="444" y="338"/>
                  </a:lnTo>
                  <a:lnTo>
                    <a:pt x="442" y="338"/>
                  </a:lnTo>
                  <a:lnTo>
                    <a:pt x="444" y="340"/>
                  </a:lnTo>
                  <a:lnTo>
                    <a:pt x="444" y="343"/>
                  </a:lnTo>
                  <a:lnTo>
                    <a:pt x="444" y="343"/>
                  </a:lnTo>
                  <a:lnTo>
                    <a:pt x="444" y="343"/>
                  </a:lnTo>
                  <a:lnTo>
                    <a:pt x="444" y="345"/>
                  </a:lnTo>
                  <a:lnTo>
                    <a:pt x="444" y="345"/>
                  </a:lnTo>
                  <a:lnTo>
                    <a:pt x="444" y="345"/>
                  </a:lnTo>
                  <a:lnTo>
                    <a:pt x="444" y="345"/>
                  </a:lnTo>
                  <a:lnTo>
                    <a:pt x="444" y="345"/>
                  </a:lnTo>
                  <a:lnTo>
                    <a:pt x="447" y="347"/>
                  </a:lnTo>
                  <a:lnTo>
                    <a:pt x="447" y="347"/>
                  </a:lnTo>
                  <a:lnTo>
                    <a:pt x="449" y="347"/>
                  </a:lnTo>
                  <a:lnTo>
                    <a:pt x="449" y="350"/>
                  </a:lnTo>
                  <a:lnTo>
                    <a:pt x="449" y="350"/>
                  </a:lnTo>
                  <a:lnTo>
                    <a:pt x="449" y="350"/>
                  </a:lnTo>
                  <a:lnTo>
                    <a:pt x="451" y="350"/>
                  </a:lnTo>
                  <a:lnTo>
                    <a:pt x="451" y="350"/>
                  </a:lnTo>
                  <a:lnTo>
                    <a:pt x="451" y="350"/>
                  </a:lnTo>
                  <a:lnTo>
                    <a:pt x="451" y="352"/>
                  </a:lnTo>
                  <a:lnTo>
                    <a:pt x="451" y="352"/>
                  </a:lnTo>
                  <a:lnTo>
                    <a:pt x="454" y="354"/>
                  </a:lnTo>
                  <a:lnTo>
                    <a:pt x="454" y="354"/>
                  </a:lnTo>
                  <a:lnTo>
                    <a:pt x="454" y="354"/>
                  </a:lnTo>
                  <a:lnTo>
                    <a:pt x="456" y="354"/>
                  </a:lnTo>
                  <a:lnTo>
                    <a:pt x="456" y="359"/>
                  </a:lnTo>
                  <a:lnTo>
                    <a:pt x="456" y="359"/>
                  </a:lnTo>
                  <a:lnTo>
                    <a:pt x="459" y="359"/>
                  </a:lnTo>
                  <a:lnTo>
                    <a:pt x="459" y="359"/>
                  </a:lnTo>
                  <a:lnTo>
                    <a:pt x="461" y="362"/>
                  </a:lnTo>
                  <a:lnTo>
                    <a:pt x="461" y="362"/>
                  </a:lnTo>
                  <a:lnTo>
                    <a:pt x="461" y="364"/>
                  </a:lnTo>
                  <a:lnTo>
                    <a:pt x="461" y="364"/>
                  </a:lnTo>
                  <a:lnTo>
                    <a:pt x="461" y="364"/>
                  </a:lnTo>
                  <a:lnTo>
                    <a:pt x="461" y="364"/>
                  </a:lnTo>
                  <a:lnTo>
                    <a:pt x="461" y="364"/>
                  </a:lnTo>
                  <a:lnTo>
                    <a:pt x="461" y="364"/>
                  </a:lnTo>
                  <a:lnTo>
                    <a:pt x="463" y="366"/>
                  </a:lnTo>
                  <a:lnTo>
                    <a:pt x="461" y="369"/>
                  </a:lnTo>
                  <a:lnTo>
                    <a:pt x="463" y="369"/>
                  </a:lnTo>
                  <a:lnTo>
                    <a:pt x="466" y="371"/>
                  </a:lnTo>
                  <a:lnTo>
                    <a:pt x="466" y="373"/>
                  </a:lnTo>
                  <a:lnTo>
                    <a:pt x="468" y="373"/>
                  </a:lnTo>
                  <a:lnTo>
                    <a:pt x="468" y="373"/>
                  </a:lnTo>
                  <a:lnTo>
                    <a:pt x="470" y="376"/>
                  </a:lnTo>
                  <a:lnTo>
                    <a:pt x="470" y="376"/>
                  </a:lnTo>
                  <a:lnTo>
                    <a:pt x="473" y="376"/>
                  </a:lnTo>
                  <a:lnTo>
                    <a:pt x="473" y="378"/>
                  </a:lnTo>
                  <a:lnTo>
                    <a:pt x="473" y="378"/>
                  </a:lnTo>
                  <a:lnTo>
                    <a:pt x="473" y="378"/>
                  </a:lnTo>
                  <a:lnTo>
                    <a:pt x="475" y="378"/>
                  </a:lnTo>
                  <a:lnTo>
                    <a:pt x="475" y="378"/>
                  </a:lnTo>
                  <a:lnTo>
                    <a:pt x="475" y="378"/>
                  </a:lnTo>
                  <a:lnTo>
                    <a:pt x="475" y="376"/>
                  </a:lnTo>
                  <a:lnTo>
                    <a:pt x="477" y="376"/>
                  </a:lnTo>
                  <a:lnTo>
                    <a:pt x="477" y="376"/>
                  </a:lnTo>
                  <a:lnTo>
                    <a:pt x="480" y="373"/>
                  </a:lnTo>
                  <a:lnTo>
                    <a:pt x="480" y="373"/>
                  </a:lnTo>
                  <a:lnTo>
                    <a:pt x="480" y="373"/>
                  </a:lnTo>
                  <a:lnTo>
                    <a:pt x="480" y="371"/>
                  </a:lnTo>
                  <a:lnTo>
                    <a:pt x="480" y="371"/>
                  </a:lnTo>
                  <a:lnTo>
                    <a:pt x="482" y="371"/>
                  </a:lnTo>
                  <a:lnTo>
                    <a:pt x="482" y="369"/>
                  </a:lnTo>
                  <a:lnTo>
                    <a:pt x="484" y="369"/>
                  </a:lnTo>
                  <a:lnTo>
                    <a:pt x="484" y="369"/>
                  </a:lnTo>
                  <a:lnTo>
                    <a:pt x="484" y="369"/>
                  </a:lnTo>
                  <a:lnTo>
                    <a:pt x="484" y="366"/>
                  </a:lnTo>
                  <a:lnTo>
                    <a:pt x="484" y="366"/>
                  </a:lnTo>
                  <a:lnTo>
                    <a:pt x="487" y="369"/>
                  </a:lnTo>
                  <a:lnTo>
                    <a:pt x="487" y="369"/>
                  </a:lnTo>
                  <a:lnTo>
                    <a:pt x="489" y="366"/>
                  </a:lnTo>
                  <a:lnTo>
                    <a:pt x="489" y="366"/>
                  </a:lnTo>
                  <a:lnTo>
                    <a:pt x="489" y="364"/>
                  </a:lnTo>
                  <a:lnTo>
                    <a:pt x="492" y="364"/>
                  </a:lnTo>
                  <a:lnTo>
                    <a:pt x="492" y="364"/>
                  </a:lnTo>
                  <a:lnTo>
                    <a:pt x="492" y="364"/>
                  </a:lnTo>
                  <a:lnTo>
                    <a:pt x="492" y="364"/>
                  </a:lnTo>
                  <a:lnTo>
                    <a:pt x="494" y="364"/>
                  </a:lnTo>
                  <a:lnTo>
                    <a:pt x="494" y="364"/>
                  </a:lnTo>
                  <a:lnTo>
                    <a:pt x="494" y="364"/>
                  </a:lnTo>
                  <a:lnTo>
                    <a:pt x="494" y="364"/>
                  </a:lnTo>
                  <a:lnTo>
                    <a:pt x="496" y="364"/>
                  </a:lnTo>
                  <a:lnTo>
                    <a:pt x="499" y="364"/>
                  </a:lnTo>
                  <a:lnTo>
                    <a:pt x="499" y="362"/>
                  </a:lnTo>
                  <a:lnTo>
                    <a:pt x="501" y="364"/>
                  </a:lnTo>
                  <a:lnTo>
                    <a:pt x="501" y="364"/>
                  </a:lnTo>
                  <a:lnTo>
                    <a:pt x="501" y="362"/>
                  </a:lnTo>
                  <a:lnTo>
                    <a:pt x="501" y="364"/>
                  </a:lnTo>
                  <a:lnTo>
                    <a:pt x="501" y="362"/>
                  </a:lnTo>
                  <a:lnTo>
                    <a:pt x="503" y="362"/>
                  </a:lnTo>
                  <a:lnTo>
                    <a:pt x="503" y="362"/>
                  </a:lnTo>
                  <a:lnTo>
                    <a:pt x="503" y="362"/>
                  </a:lnTo>
                  <a:lnTo>
                    <a:pt x="503" y="362"/>
                  </a:lnTo>
                  <a:lnTo>
                    <a:pt x="506" y="359"/>
                  </a:lnTo>
                  <a:lnTo>
                    <a:pt x="506" y="359"/>
                  </a:lnTo>
                  <a:lnTo>
                    <a:pt x="508" y="359"/>
                  </a:lnTo>
                  <a:lnTo>
                    <a:pt x="508" y="359"/>
                  </a:lnTo>
                  <a:lnTo>
                    <a:pt x="508" y="359"/>
                  </a:lnTo>
                  <a:lnTo>
                    <a:pt x="510" y="359"/>
                  </a:lnTo>
                  <a:lnTo>
                    <a:pt x="510" y="359"/>
                  </a:lnTo>
                  <a:lnTo>
                    <a:pt x="510" y="357"/>
                  </a:lnTo>
                  <a:lnTo>
                    <a:pt x="513" y="359"/>
                  </a:lnTo>
                  <a:lnTo>
                    <a:pt x="513" y="359"/>
                  </a:lnTo>
                  <a:lnTo>
                    <a:pt x="515" y="359"/>
                  </a:lnTo>
                  <a:lnTo>
                    <a:pt x="518" y="357"/>
                  </a:lnTo>
                  <a:lnTo>
                    <a:pt x="518" y="357"/>
                  </a:lnTo>
                  <a:lnTo>
                    <a:pt x="520" y="357"/>
                  </a:lnTo>
                  <a:lnTo>
                    <a:pt x="520" y="357"/>
                  </a:lnTo>
                  <a:lnTo>
                    <a:pt x="522" y="354"/>
                  </a:lnTo>
                  <a:lnTo>
                    <a:pt x="525" y="354"/>
                  </a:lnTo>
                  <a:lnTo>
                    <a:pt x="527" y="357"/>
                  </a:lnTo>
                  <a:lnTo>
                    <a:pt x="527" y="357"/>
                  </a:lnTo>
                  <a:lnTo>
                    <a:pt x="527" y="357"/>
                  </a:lnTo>
                  <a:lnTo>
                    <a:pt x="529" y="359"/>
                  </a:lnTo>
                  <a:lnTo>
                    <a:pt x="529" y="359"/>
                  </a:lnTo>
                  <a:lnTo>
                    <a:pt x="529" y="359"/>
                  </a:lnTo>
                  <a:lnTo>
                    <a:pt x="529" y="362"/>
                  </a:lnTo>
                  <a:lnTo>
                    <a:pt x="532" y="362"/>
                  </a:lnTo>
                  <a:lnTo>
                    <a:pt x="536" y="364"/>
                  </a:lnTo>
                  <a:lnTo>
                    <a:pt x="539" y="366"/>
                  </a:lnTo>
                  <a:lnTo>
                    <a:pt x="539" y="369"/>
                  </a:lnTo>
                  <a:lnTo>
                    <a:pt x="539" y="369"/>
                  </a:lnTo>
                  <a:lnTo>
                    <a:pt x="541" y="371"/>
                  </a:lnTo>
                  <a:lnTo>
                    <a:pt x="541" y="371"/>
                  </a:lnTo>
                  <a:lnTo>
                    <a:pt x="541" y="373"/>
                  </a:lnTo>
                  <a:lnTo>
                    <a:pt x="541" y="376"/>
                  </a:lnTo>
                  <a:lnTo>
                    <a:pt x="544" y="378"/>
                  </a:lnTo>
                  <a:lnTo>
                    <a:pt x="544" y="380"/>
                  </a:lnTo>
                  <a:lnTo>
                    <a:pt x="541" y="380"/>
                  </a:lnTo>
                  <a:lnTo>
                    <a:pt x="539" y="380"/>
                  </a:lnTo>
                  <a:lnTo>
                    <a:pt x="539" y="383"/>
                  </a:lnTo>
                  <a:lnTo>
                    <a:pt x="539" y="385"/>
                  </a:lnTo>
                  <a:lnTo>
                    <a:pt x="536" y="390"/>
                  </a:lnTo>
                  <a:lnTo>
                    <a:pt x="536" y="392"/>
                  </a:lnTo>
                  <a:lnTo>
                    <a:pt x="536" y="392"/>
                  </a:lnTo>
                  <a:lnTo>
                    <a:pt x="539" y="395"/>
                  </a:lnTo>
                  <a:lnTo>
                    <a:pt x="539" y="395"/>
                  </a:lnTo>
                  <a:lnTo>
                    <a:pt x="539" y="397"/>
                  </a:lnTo>
                  <a:lnTo>
                    <a:pt x="536" y="397"/>
                  </a:lnTo>
                  <a:lnTo>
                    <a:pt x="536" y="399"/>
                  </a:lnTo>
                  <a:lnTo>
                    <a:pt x="536" y="404"/>
                  </a:lnTo>
                  <a:lnTo>
                    <a:pt x="536" y="406"/>
                  </a:lnTo>
                  <a:lnTo>
                    <a:pt x="534" y="409"/>
                  </a:lnTo>
                  <a:lnTo>
                    <a:pt x="532" y="411"/>
                  </a:lnTo>
                  <a:lnTo>
                    <a:pt x="529" y="411"/>
                  </a:lnTo>
                  <a:lnTo>
                    <a:pt x="527" y="411"/>
                  </a:lnTo>
                  <a:lnTo>
                    <a:pt x="527" y="414"/>
                  </a:lnTo>
                  <a:lnTo>
                    <a:pt x="525" y="414"/>
                  </a:lnTo>
                  <a:lnTo>
                    <a:pt x="520" y="411"/>
                  </a:lnTo>
                  <a:lnTo>
                    <a:pt x="518" y="414"/>
                  </a:lnTo>
                  <a:lnTo>
                    <a:pt x="515" y="414"/>
                  </a:lnTo>
                  <a:lnTo>
                    <a:pt x="513" y="414"/>
                  </a:lnTo>
                  <a:lnTo>
                    <a:pt x="510" y="416"/>
                  </a:lnTo>
                  <a:lnTo>
                    <a:pt x="510" y="416"/>
                  </a:lnTo>
                  <a:lnTo>
                    <a:pt x="510" y="418"/>
                  </a:lnTo>
                  <a:lnTo>
                    <a:pt x="508" y="418"/>
                  </a:lnTo>
                  <a:lnTo>
                    <a:pt x="508" y="418"/>
                  </a:lnTo>
                  <a:lnTo>
                    <a:pt x="508" y="418"/>
                  </a:lnTo>
                  <a:lnTo>
                    <a:pt x="506" y="418"/>
                  </a:lnTo>
                  <a:lnTo>
                    <a:pt x="503" y="418"/>
                  </a:lnTo>
                  <a:lnTo>
                    <a:pt x="501" y="418"/>
                  </a:lnTo>
                  <a:lnTo>
                    <a:pt x="501" y="418"/>
                  </a:lnTo>
                  <a:lnTo>
                    <a:pt x="501" y="418"/>
                  </a:lnTo>
                  <a:lnTo>
                    <a:pt x="501" y="418"/>
                  </a:lnTo>
                  <a:lnTo>
                    <a:pt x="501" y="421"/>
                  </a:lnTo>
                  <a:lnTo>
                    <a:pt x="501" y="423"/>
                  </a:lnTo>
                  <a:lnTo>
                    <a:pt x="499" y="421"/>
                  </a:lnTo>
                  <a:lnTo>
                    <a:pt x="501" y="423"/>
                  </a:lnTo>
                  <a:lnTo>
                    <a:pt x="501" y="425"/>
                  </a:lnTo>
                  <a:lnTo>
                    <a:pt x="501" y="425"/>
                  </a:lnTo>
                  <a:lnTo>
                    <a:pt x="499" y="428"/>
                  </a:lnTo>
                  <a:lnTo>
                    <a:pt x="501" y="428"/>
                  </a:lnTo>
                  <a:lnTo>
                    <a:pt x="499" y="430"/>
                  </a:lnTo>
                  <a:lnTo>
                    <a:pt x="496" y="432"/>
                  </a:lnTo>
                  <a:lnTo>
                    <a:pt x="496" y="430"/>
                  </a:lnTo>
                  <a:lnTo>
                    <a:pt x="494" y="430"/>
                  </a:lnTo>
                  <a:lnTo>
                    <a:pt x="494" y="432"/>
                  </a:lnTo>
                  <a:lnTo>
                    <a:pt x="494" y="432"/>
                  </a:lnTo>
                  <a:lnTo>
                    <a:pt x="494" y="432"/>
                  </a:lnTo>
                  <a:lnTo>
                    <a:pt x="494" y="435"/>
                  </a:lnTo>
                  <a:lnTo>
                    <a:pt x="494" y="435"/>
                  </a:lnTo>
                  <a:lnTo>
                    <a:pt x="494" y="435"/>
                  </a:lnTo>
                  <a:lnTo>
                    <a:pt x="494" y="437"/>
                  </a:lnTo>
                  <a:lnTo>
                    <a:pt x="494" y="437"/>
                  </a:lnTo>
                  <a:lnTo>
                    <a:pt x="494" y="437"/>
                  </a:lnTo>
                  <a:lnTo>
                    <a:pt x="494" y="439"/>
                  </a:lnTo>
                  <a:lnTo>
                    <a:pt x="494" y="439"/>
                  </a:lnTo>
                  <a:lnTo>
                    <a:pt x="494" y="439"/>
                  </a:lnTo>
                  <a:lnTo>
                    <a:pt x="492" y="442"/>
                  </a:lnTo>
                  <a:lnTo>
                    <a:pt x="492" y="442"/>
                  </a:lnTo>
                  <a:lnTo>
                    <a:pt x="492" y="442"/>
                  </a:lnTo>
                  <a:lnTo>
                    <a:pt x="492" y="442"/>
                  </a:lnTo>
                  <a:lnTo>
                    <a:pt x="492" y="442"/>
                  </a:lnTo>
                  <a:lnTo>
                    <a:pt x="489" y="442"/>
                  </a:lnTo>
                  <a:lnTo>
                    <a:pt x="492" y="444"/>
                  </a:lnTo>
                  <a:lnTo>
                    <a:pt x="489" y="444"/>
                  </a:lnTo>
                  <a:lnTo>
                    <a:pt x="489" y="444"/>
                  </a:lnTo>
                  <a:lnTo>
                    <a:pt x="489" y="444"/>
                  </a:lnTo>
                  <a:lnTo>
                    <a:pt x="489" y="444"/>
                  </a:lnTo>
                  <a:lnTo>
                    <a:pt x="489" y="444"/>
                  </a:lnTo>
                  <a:lnTo>
                    <a:pt x="489" y="444"/>
                  </a:lnTo>
                  <a:lnTo>
                    <a:pt x="489" y="444"/>
                  </a:lnTo>
                  <a:lnTo>
                    <a:pt x="487" y="444"/>
                  </a:lnTo>
                  <a:lnTo>
                    <a:pt x="487" y="444"/>
                  </a:lnTo>
                  <a:lnTo>
                    <a:pt x="487" y="447"/>
                  </a:lnTo>
                  <a:lnTo>
                    <a:pt x="487" y="447"/>
                  </a:lnTo>
                  <a:lnTo>
                    <a:pt x="487" y="447"/>
                  </a:lnTo>
                  <a:lnTo>
                    <a:pt x="484" y="447"/>
                  </a:lnTo>
                  <a:lnTo>
                    <a:pt x="484" y="447"/>
                  </a:lnTo>
                  <a:lnTo>
                    <a:pt x="484" y="447"/>
                  </a:lnTo>
                  <a:lnTo>
                    <a:pt x="484" y="447"/>
                  </a:lnTo>
                  <a:lnTo>
                    <a:pt x="484" y="447"/>
                  </a:lnTo>
                  <a:lnTo>
                    <a:pt x="487" y="447"/>
                  </a:lnTo>
                  <a:lnTo>
                    <a:pt x="487" y="447"/>
                  </a:lnTo>
                  <a:lnTo>
                    <a:pt x="487" y="449"/>
                  </a:lnTo>
                  <a:lnTo>
                    <a:pt x="487" y="449"/>
                  </a:lnTo>
                  <a:lnTo>
                    <a:pt x="487" y="449"/>
                  </a:lnTo>
                  <a:lnTo>
                    <a:pt x="487" y="449"/>
                  </a:lnTo>
                  <a:lnTo>
                    <a:pt x="487" y="451"/>
                  </a:lnTo>
                  <a:lnTo>
                    <a:pt x="484" y="451"/>
                  </a:lnTo>
                  <a:lnTo>
                    <a:pt x="484" y="451"/>
                  </a:lnTo>
                  <a:lnTo>
                    <a:pt x="484" y="451"/>
                  </a:lnTo>
                  <a:lnTo>
                    <a:pt x="484" y="454"/>
                  </a:lnTo>
                  <a:lnTo>
                    <a:pt x="484" y="454"/>
                  </a:lnTo>
                  <a:lnTo>
                    <a:pt x="487" y="454"/>
                  </a:lnTo>
                  <a:lnTo>
                    <a:pt x="487" y="454"/>
                  </a:lnTo>
                  <a:lnTo>
                    <a:pt x="487" y="456"/>
                  </a:lnTo>
                  <a:lnTo>
                    <a:pt x="489" y="456"/>
                  </a:lnTo>
                  <a:lnTo>
                    <a:pt x="487" y="456"/>
                  </a:lnTo>
                  <a:lnTo>
                    <a:pt x="489" y="456"/>
                  </a:lnTo>
                  <a:lnTo>
                    <a:pt x="489" y="458"/>
                  </a:lnTo>
                  <a:lnTo>
                    <a:pt x="489" y="461"/>
                  </a:lnTo>
                  <a:lnTo>
                    <a:pt x="487" y="461"/>
                  </a:lnTo>
                  <a:lnTo>
                    <a:pt x="484" y="461"/>
                  </a:lnTo>
                  <a:lnTo>
                    <a:pt x="484" y="463"/>
                  </a:lnTo>
                  <a:lnTo>
                    <a:pt x="484" y="463"/>
                  </a:lnTo>
                  <a:lnTo>
                    <a:pt x="484" y="463"/>
                  </a:lnTo>
                  <a:lnTo>
                    <a:pt x="482" y="463"/>
                  </a:lnTo>
                  <a:lnTo>
                    <a:pt x="484" y="468"/>
                  </a:lnTo>
                  <a:lnTo>
                    <a:pt x="484" y="468"/>
                  </a:lnTo>
                  <a:lnTo>
                    <a:pt x="484" y="470"/>
                  </a:lnTo>
                  <a:lnTo>
                    <a:pt x="484" y="470"/>
                  </a:lnTo>
                  <a:lnTo>
                    <a:pt x="484" y="470"/>
                  </a:lnTo>
                  <a:lnTo>
                    <a:pt x="487" y="470"/>
                  </a:lnTo>
                  <a:lnTo>
                    <a:pt x="487" y="473"/>
                  </a:lnTo>
                  <a:lnTo>
                    <a:pt x="487" y="473"/>
                  </a:lnTo>
                  <a:lnTo>
                    <a:pt x="487" y="477"/>
                  </a:lnTo>
                  <a:lnTo>
                    <a:pt x="484" y="477"/>
                  </a:lnTo>
                  <a:lnTo>
                    <a:pt x="487" y="477"/>
                  </a:lnTo>
                  <a:lnTo>
                    <a:pt x="484" y="480"/>
                  </a:lnTo>
                  <a:lnTo>
                    <a:pt x="484" y="480"/>
                  </a:lnTo>
                  <a:lnTo>
                    <a:pt x="484" y="480"/>
                  </a:lnTo>
                  <a:lnTo>
                    <a:pt x="484" y="480"/>
                  </a:lnTo>
                  <a:lnTo>
                    <a:pt x="484" y="482"/>
                  </a:lnTo>
                  <a:lnTo>
                    <a:pt x="482" y="482"/>
                  </a:lnTo>
                  <a:lnTo>
                    <a:pt x="480" y="482"/>
                  </a:lnTo>
                  <a:lnTo>
                    <a:pt x="480" y="484"/>
                  </a:lnTo>
                  <a:lnTo>
                    <a:pt x="480" y="482"/>
                  </a:lnTo>
                  <a:lnTo>
                    <a:pt x="477" y="482"/>
                  </a:lnTo>
                  <a:lnTo>
                    <a:pt x="477" y="482"/>
                  </a:lnTo>
                  <a:lnTo>
                    <a:pt x="475" y="484"/>
                  </a:lnTo>
                  <a:lnTo>
                    <a:pt x="475" y="487"/>
                  </a:lnTo>
                  <a:lnTo>
                    <a:pt x="475" y="487"/>
                  </a:lnTo>
                  <a:lnTo>
                    <a:pt x="477" y="487"/>
                  </a:lnTo>
                  <a:lnTo>
                    <a:pt x="477" y="487"/>
                  </a:lnTo>
                  <a:lnTo>
                    <a:pt x="480" y="489"/>
                  </a:lnTo>
                  <a:lnTo>
                    <a:pt x="477" y="489"/>
                  </a:lnTo>
                  <a:lnTo>
                    <a:pt x="477" y="491"/>
                  </a:lnTo>
                  <a:lnTo>
                    <a:pt x="475" y="491"/>
                  </a:lnTo>
                  <a:lnTo>
                    <a:pt x="475" y="491"/>
                  </a:lnTo>
                  <a:lnTo>
                    <a:pt x="473" y="494"/>
                  </a:lnTo>
                  <a:lnTo>
                    <a:pt x="473" y="494"/>
                  </a:lnTo>
                  <a:lnTo>
                    <a:pt x="473" y="494"/>
                  </a:lnTo>
                  <a:lnTo>
                    <a:pt x="473" y="496"/>
                  </a:lnTo>
                  <a:lnTo>
                    <a:pt x="473" y="496"/>
                  </a:lnTo>
                  <a:lnTo>
                    <a:pt x="473" y="499"/>
                  </a:lnTo>
                  <a:lnTo>
                    <a:pt x="473" y="499"/>
                  </a:lnTo>
                  <a:lnTo>
                    <a:pt x="470" y="499"/>
                  </a:lnTo>
                  <a:lnTo>
                    <a:pt x="470" y="499"/>
                  </a:lnTo>
                  <a:lnTo>
                    <a:pt x="470" y="499"/>
                  </a:lnTo>
                  <a:lnTo>
                    <a:pt x="470" y="501"/>
                  </a:lnTo>
                  <a:lnTo>
                    <a:pt x="470" y="501"/>
                  </a:lnTo>
                  <a:lnTo>
                    <a:pt x="466" y="501"/>
                  </a:lnTo>
                  <a:lnTo>
                    <a:pt x="466" y="501"/>
                  </a:lnTo>
                  <a:lnTo>
                    <a:pt x="468" y="503"/>
                  </a:lnTo>
                  <a:lnTo>
                    <a:pt x="468" y="501"/>
                  </a:lnTo>
                  <a:lnTo>
                    <a:pt x="468" y="503"/>
                  </a:lnTo>
                  <a:lnTo>
                    <a:pt x="470" y="503"/>
                  </a:lnTo>
                  <a:lnTo>
                    <a:pt x="470" y="503"/>
                  </a:lnTo>
                  <a:lnTo>
                    <a:pt x="468" y="506"/>
                  </a:lnTo>
                  <a:lnTo>
                    <a:pt x="468" y="506"/>
                  </a:lnTo>
                  <a:lnTo>
                    <a:pt x="468" y="506"/>
                  </a:lnTo>
                  <a:lnTo>
                    <a:pt x="466" y="506"/>
                  </a:lnTo>
                  <a:lnTo>
                    <a:pt x="468" y="508"/>
                  </a:lnTo>
                  <a:lnTo>
                    <a:pt x="466" y="508"/>
                  </a:lnTo>
                  <a:lnTo>
                    <a:pt x="466" y="508"/>
                  </a:lnTo>
                  <a:lnTo>
                    <a:pt x="468" y="510"/>
                  </a:lnTo>
                  <a:lnTo>
                    <a:pt x="468" y="508"/>
                  </a:lnTo>
                  <a:lnTo>
                    <a:pt x="470" y="508"/>
                  </a:lnTo>
                  <a:lnTo>
                    <a:pt x="473" y="510"/>
                  </a:lnTo>
                  <a:lnTo>
                    <a:pt x="473" y="508"/>
                  </a:lnTo>
                  <a:lnTo>
                    <a:pt x="473" y="510"/>
                  </a:lnTo>
                  <a:lnTo>
                    <a:pt x="473" y="510"/>
                  </a:lnTo>
                  <a:lnTo>
                    <a:pt x="475" y="510"/>
                  </a:lnTo>
                  <a:lnTo>
                    <a:pt x="475" y="510"/>
                  </a:lnTo>
                  <a:lnTo>
                    <a:pt x="475" y="510"/>
                  </a:lnTo>
                  <a:lnTo>
                    <a:pt x="477" y="510"/>
                  </a:lnTo>
                  <a:lnTo>
                    <a:pt x="482" y="508"/>
                  </a:lnTo>
                  <a:lnTo>
                    <a:pt x="484" y="508"/>
                  </a:lnTo>
                  <a:lnTo>
                    <a:pt x="484" y="510"/>
                  </a:lnTo>
                  <a:lnTo>
                    <a:pt x="484" y="510"/>
                  </a:lnTo>
                  <a:lnTo>
                    <a:pt x="484" y="510"/>
                  </a:lnTo>
                  <a:lnTo>
                    <a:pt x="482" y="510"/>
                  </a:lnTo>
                  <a:lnTo>
                    <a:pt x="484" y="513"/>
                  </a:lnTo>
                  <a:lnTo>
                    <a:pt x="482" y="513"/>
                  </a:lnTo>
                  <a:lnTo>
                    <a:pt x="484" y="513"/>
                  </a:lnTo>
                  <a:lnTo>
                    <a:pt x="482" y="515"/>
                  </a:lnTo>
                  <a:lnTo>
                    <a:pt x="484" y="515"/>
                  </a:lnTo>
                  <a:lnTo>
                    <a:pt x="482" y="515"/>
                  </a:lnTo>
                  <a:lnTo>
                    <a:pt x="484" y="517"/>
                  </a:lnTo>
                  <a:lnTo>
                    <a:pt x="484" y="517"/>
                  </a:lnTo>
                  <a:lnTo>
                    <a:pt x="487" y="517"/>
                  </a:lnTo>
                  <a:lnTo>
                    <a:pt x="487" y="517"/>
                  </a:lnTo>
                  <a:lnTo>
                    <a:pt x="489" y="515"/>
                  </a:lnTo>
                  <a:lnTo>
                    <a:pt x="489" y="517"/>
                  </a:lnTo>
                  <a:lnTo>
                    <a:pt x="489" y="517"/>
                  </a:lnTo>
                  <a:lnTo>
                    <a:pt x="489" y="517"/>
                  </a:lnTo>
                  <a:lnTo>
                    <a:pt x="492" y="520"/>
                  </a:lnTo>
                  <a:lnTo>
                    <a:pt x="494" y="520"/>
                  </a:lnTo>
                  <a:lnTo>
                    <a:pt x="494" y="522"/>
                  </a:lnTo>
                  <a:lnTo>
                    <a:pt x="494" y="525"/>
                  </a:lnTo>
                  <a:lnTo>
                    <a:pt x="494" y="525"/>
                  </a:lnTo>
                  <a:lnTo>
                    <a:pt x="494" y="527"/>
                  </a:lnTo>
                  <a:lnTo>
                    <a:pt x="496" y="525"/>
                  </a:lnTo>
                  <a:lnTo>
                    <a:pt x="496" y="527"/>
                  </a:lnTo>
                  <a:lnTo>
                    <a:pt x="499" y="527"/>
                  </a:lnTo>
                  <a:lnTo>
                    <a:pt x="496" y="529"/>
                  </a:lnTo>
                  <a:lnTo>
                    <a:pt x="496" y="532"/>
                  </a:lnTo>
                  <a:lnTo>
                    <a:pt x="499" y="534"/>
                  </a:lnTo>
                  <a:lnTo>
                    <a:pt x="496" y="534"/>
                  </a:lnTo>
                  <a:lnTo>
                    <a:pt x="496" y="536"/>
                  </a:lnTo>
                  <a:lnTo>
                    <a:pt x="496" y="536"/>
                  </a:lnTo>
                  <a:lnTo>
                    <a:pt x="494" y="536"/>
                  </a:lnTo>
                  <a:lnTo>
                    <a:pt x="494" y="539"/>
                  </a:lnTo>
                  <a:lnTo>
                    <a:pt x="494" y="539"/>
                  </a:lnTo>
                  <a:lnTo>
                    <a:pt x="494" y="541"/>
                  </a:lnTo>
                  <a:lnTo>
                    <a:pt x="499" y="539"/>
                  </a:lnTo>
                  <a:lnTo>
                    <a:pt x="499" y="539"/>
                  </a:lnTo>
                  <a:lnTo>
                    <a:pt x="499" y="541"/>
                  </a:lnTo>
                  <a:lnTo>
                    <a:pt x="501" y="543"/>
                  </a:lnTo>
                  <a:lnTo>
                    <a:pt x="501" y="546"/>
                  </a:lnTo>
                  <a:lnTo>
                    <a:pt x="503" y="546"/>
                  </a:lnTo>
                  <a:lnTo>
                    <a:pt x="503" y="548"/>
                  </a:lnTo>
                  <a:lnTo>
                    <a:pt x="506" y="551"/>
                  </a:lnTo>
                  <a:lnTo>
                    <a:pt x="503" y="553"/>
                  </a:lnTo>
                  <a:lnTo>
                    <a:pt x="503" y="553"/>
                  </a:lnTo>
                  <a:lnTo>
                    <a:pt x="508" y="555"/>
                  </a:lnTo>
                  <a:lnTo>
                    <a:pt x="508" y="553"/>
                  </a:lnTo>
                  <a:lnTo>
                    <a:pt x="508" y="553"/>
                  </a:lnTo>
                  <a:lnTo>
                    <a:pt x="510" y="553"/>
                  </a:lnTo>
                  <a:lnTo>
                    <a:pt x="513" y="553"/>
                  </a:lnTo>
                  <a:lnTo>
                    <a:pt x="515" y="551"/>
                  </a:lnTo>
                  <a:lnTo>
                    <a:pt x="518" y="551"/>
                  </a:lnTo>
                  <a:lnTo>
                    <a:pt x="518" y="553"/>
                  </a:lnTo>
                  <a:lnTo>
                    <a:pt x="520" y="553"/>
                  </a:lnTo>
                  <a:lnTo>
                    <a:pt x="520" y="555"/>
                  </a:lnTo>
                  <a:lnTo>
                    <a:pt x="520" y="555"/>
                  </a:lnTo>
                  <a:lnTo>
                    <a:pt x="520" y="558"/>
                  </a:lnTo>
                  <a:lnTo>
                    <a:pt x="520" y="560"/>
                  </a:lnTo>
                  <a:lnTo>
                    <a:pt x="522" y="560"/>
                  </a:lnTo>
                  <a:lnTo>
                    <a:pt x="522" y="560"/>
                  </a:lnTo>
                  <a:lnTo>
                    <a:pt x="525" y="562"/>
                  </a:lnTo>
                  <a:lnTo>
                    <a:pt x="527" y="562"/>
                  </a:lnTo>
                  <a:lnTo>
                    <a:pt x="529" y="562"/>
                  </a:lnTo>
                  <a:lnTo>
                    <a:pt x="529" y="562"/>
                  </a:lnTo>
                  <a:lnTo>
                    <a:pt x="529" y="565"/>
                  </a:lnTo>
                  <a:lnTo>
                    <a:pt x="529" y="567"/>
                  </a:lnTo>
                  <a:lnTo>
                    <a:pt x="529" y="567"/>
                  </a:lnTo>
                  <a:lnTo>
                    <a:pt x="529" y="569"/>
                  </a:lnTo>
                  <a:lnTo>
                    <a:pt x="529" y="572"/>
                  </a:lnTo>
                  <a:lnTo>
                    <a:pt x="534" y="572"/>
                  </a:lnTo>
                  <a:lnTo>
                    <a:pt x="534" y="572"/>
                  </a:lnTo>
                  <a:lnTo>
                    <a:pt x="527" y="576"/>
                  </a:lnTo>
                  <a:lnTo>
                    <a:pt x="527" y="576"/>
                  </a:lnTo>
                  <a:lnTo>
                    <a:pt x="527" y="579"/>
                  </a:lnTo>
                  <a:lnTo>
                    <a:pt x="525" y="581"/>
                  </a:lnTo>
                  <a:lnTo>
                    <a:pt x="525" y="586"/>
                  </a:lnTo>
                  <a:lnTo>
                    <a:pt x="522" y="588"/>
                  </a:lnTo>
                  <a:lnTo>
                    <a:pt x="518" y="591"/>
                  </a:lnTo>
                  <a:lnTo>
                    <a:pt x="520" y="593"/>
                  </a:lnTo>
                  <a:lnTo>
                    <a:pt x="520" y="595"/>
                  </a:lnTo>
                  <a:lnTo>
                    <a:pt x="520" y="598"/>
                  </a:lnTo>
                  <a:lnTo>
                    <a:pt x="520" y="598"/>
                  </a:lnTo>
                  <a:lnTo>
                    <a:pt x="522" y="598"/>
                  </a:lnTo>
                  <a:lnTo>
                    <a:pt x="527" y="598"/>
                  </a:lnTo>
                  <a:lnTo>
                    <a:pt x="529" y="600"/>
                  </a:lnTo>
                  <a:lnTo>
                    <a:pt x="529" y="600"/>
                  </a:lnTo>
                  <a:lnTo>
                    <a:pt x="529" y="602"/>
                  </a:lnTo>
                  <a:lnTo>
                    <a:pt x="527" y="605"/>
                  </a:lnTo>
                  <a:lnTo>
                    <a:pt x="527" y="605"/>
                  </a:lnTo>
                  <a:lnTo>
                    <a:pt x="529" y="607"/>
                  </a:lnTo>
                  <a:lnTo>
                    <a:pt x="534" y="607"/>
                  </a:lnTo>
                  <a:lnTo>
                    <a:pt x="536" y="605"/>
                  </a:lnTo>
                  <a:lnTo>
                    <a:pt x="536" y="607"/>
                  </a:lnTo>
                  <a:lnTo>
                    <a:pt x="539" y="607"/>
                  </a:lnTo>
                  <a:lnTo>
                    <a:pt x="539" y="610"/>
                  </a:lnTo>
                  <a:lnTo>
                    <a:pt x="539" y="610"/>
                  </a:lnTo>
                  <a:lnTo>
                    <a:pt x="541" y="612"/>
                  </a:lnTo>
                  <a:lnTo>
                    <a:pt x="539" y="612"/>
                  </a:lnTo>
                  <a:lnTo>
                    <a:pt x="539" y="614"/>
                  </a:lnTo>
                  <a:lnTo>
                    <a:pt x="541" y="614"/>
                  </a:lnTo>
                  <a:lnTo>
                    <a:pt x="541" y="617"/>
                  </a:lnTo>
                  <a:lnTo>
                    <a:pt x="541" y="619"/>
                  </a:lnTo>
                  <a:lnTo>
                    <a:pt x="541" y="621"/>
                  </a:lnTo>
                  <a:lnTo>
                    <a:pt x="544" y="621"/>
                  </a:lnTo>
                  <a:lnTo>
                    <a:pt x="541" y="624"/>
                  </a:lnTo>
                  <a:lnTo>
                    <a:pt x="541" y="628"/>
                  </a:lnTo>
                  <a:lnTo>
                    <a:pt x="541" y="628"/>
                  </a:lnTo>
                  <a:lnTo>
                    <a:pt x="544" y="633"/>
                  </a:lnTo>
                  <a:lnTo>
                    <a:pt x="544" y="638"/>
                  </a:lnTo>
                  <a:lnTo>
                    <a:pt x="544" y="638"/>
                  </a:lnTo>
                  <a:lnTo>
                    <a:pt x="546" y="640"/>
                  </a:lnTo>
                  <a:lnTo>
                    <a:pt x="548" y="643"/>
                  </a:lnTo>
                  <a:lnTo>
                    <a:pt x="548" y="643"/>
                  </a:lnTo>
                  <a:lnTo>
                    <a:pt x="553" y="647"/>
                  </a:lnTo>
                  <a:lnTo>
                    <a:pt x="555" y="652"/>
                  </a:lnTo>
                  <a:lnTo>
                    <a:pt x="558" y="654"/>
                  </a:lnTo>
                  <a:lnTo>
                    <a:pt x="560" y="654"/>
                  </a:lnTo>
                  <a:lnTo>
                    <a:pt x="562" y="654"/>
                  </a:lnTo>
                  <a:lnTo>
                    <a:pt x="562" y="654"/>
                  </a:lnTo>
                  <a:lnTo>
                    <a:pt x="567" y="654"/>
                  </a:lnTo>
                  <a:lnTo>
                    <a:pt x="572" y="654"/>
                  </a:lnTo>
                  <a:lnTo>
                    <a:pt x="574" y="652"/>
                  </a:lnTo>
                  <a:lnTo>
                    <a:pt x="577" y="654"/>
                  </a:lnTo>
                  <a:lnTo>
                    <a:pt x="577" y="654"/>
                  </a:lnTo>
                  <a:lnTo>
                    <a:pt x="577" y="654"/>
                  </a:lnTo>
                  <a:lnTo>
                    <a:pt x="581" y="659"/>
                  </a:lnTo>
                  <a:lnTo>
                    <a:pt x="584" y="657"/>
                  </a:lnTo>
                  <a:lnTo>
                    <a:pt x="588" y="659"/>
                  </a:lnTo>
                  <a:lnTo>
                    <a:pt x="596" y="654"/>
                  </a:lnTo>
                  <a:lnTo>
                    <a:pt x="596" y="654"/>
                  </a:lnTo>
                  <a:lnTo>
                    <a:pt x="598" y="654"/>
                  </a:lnTo>
                  <a:lnTo>
                    <a:pt x="598" y="654"/>
                  </a:lnTo>
                  <a:lnTo>
                    <a:pt x="600" y="662"/>
                  </a:lnTo>
                  <a:lnTo>
                    <a:pt x="600" y="664"/>
                  </a:lnTo>
                  <a:lnTo>
                    <a:pt x="603" y="664"/>
                  </a:lnTo>
                  <a:lnTo>
                    <a:pt x="605" y="664"/>
                  </a:lnTo>
                  <a:lnTo>
                    <a:pt x="607" y="664"/>
                  </a:lnTo>
                  <a:lnTo>
                    <a:pt x="610" y="664"/>
                  </a:lnTo>
                  <a:lnTo>
                    <a:pt x="617" y="662"/>
                  </a:lnTo>
                  <a:lnTo>
                    <a:pt x="622" y="664"/>
                  </a:lnTo>
                  <a:lnTo>
                    <a:pt x="629" y="666"/>
                  </a:lnTo>
                  <a:lnTo>
                    <a:pt x="633" y="662"/>
                  </a:lnTo>
                  <a:lnTo>
                    <a:pt x="636" y="662"/>
                  </a:lnTo>
                  <a:lnTo>
                    <a:pt x="636" y="657"/>
                  </a:lnTo>
                  <a:lnTo>
                    <a:pt x="636" y="654"/>
                  </a:lnTo>
                  <a:lnTo>
                    <a:pt x="636" y="654"/>
                  </a:lnTo>
                  <a:lnTo>
                    <a:pt x="636" y="652"/>
                  </a:lnTo>
                  <a:lnTo>
                    <a:pt x="638" y="652"/>
                  </a:lnTo>
                  <a:lnTo>
                    <a:pt x="640" y="652"/>
                  </a:lnTo>
                  <a:lnTo>
                    <a:pt x="640" y="654"/>
                  </a:lnTo>
                  <a:lnTo>
                    <a:pt x="638" y="654"/>
                  </a:lnTo>
                  <a:lnTo>
                    <a:pt x="640" y="659"/>
                  </a:lnTo>
                  <a:lnTo>
                    <a:pt x="640" y="662"/>
                  </a:lnTo>
                  <a:lnTo>
                    <a:pt x="640" y="664"/>
                  </a:lnTo>
                  <a:lnTo>
                    <a:pt x="640" y="666"/>
                  </a:lnTo>
                  <a:lnTo>
                    <a:pt x="638" y="666"/>
                  </a:lnTo>
                  <a:lnTo>
                    <a:pt x="638" y="669"/>
                  </a:lnTo>
                  <a:lnTo>
                    <a:pt x="636" y="673"/>
                  </a:lnTo>
                  <a:lnTo>
                    <a:pt x="636" y="676"/>
                  </a:lnTo>
                  <a:lnTo>
                    <a:pt x="633" y="676"/>
                  </a:lnTo>
                  <a:lnTo>
                    <a:pt x="629" y="676"/>
                  </a:lnTo>
                  <a:lnTo>
                    <a:pt x="626" y="678"/>
                  </a:lnTo>
                  <a:lnTo>
                    <a:pt x="624" y="678"/>
                  </a:lnTo>
                  <a:lnTo>
                    <a:pt x="624" y="678"/>
                  </a:lnTo>
                  <a:lnTo>
                    <a:pt x="624" y="680"/>
                  </a:lnTo>
                  <a:lnTo>
                    <a:pt x="624" y="680"/>
                  </a:lnTo>
                  <a:lnTo>
                    <a:pt x="622" y="683"/>
                  </a:lnTo>
                  <a:lnTo>
                    <a:pt x="624" y="685"/>
                  </a:lnTo>
                  <a:lnTo>
                    <a:pt x="624" y="688"/>
                  </a:lnTo>
                  <a:lnTo>
                    <a:pt x="622" y="688"/>
                  </a:lnTo>
                  <a:lnTo>
                    <a:pt x="619" y="688"/>
                  </a:lnTo>
                  <a:lnTo>
                    <a:pt x="617" y="690"/>
                  </a:lnTo>
                  <a:lnTo>
                    <a:pt x="614" y="692"/>
                  </a:lnTo>
                  <a:lnTo>
                    <a:pt x="612" y="692"/>
                  </a:lnTo>
                  <a:lnTo>
                    <a:pt x="607" y="697"/>
                  </a:lnTo>
                  <a:lnTo>
                    <a:pt x="605" y="697"/>
                  </a:lnTo>
                  <a:lnTo>
                    <a:pt x="605" y="699"/>
                  </a:lnTo>
                  <a:lnTo>
                    <a:pt x="603" y="699"/>
                  </a:lnTo>
                  <a:lnTo>
                    <a:pt x="603" y="702"/>
                  </a:lnTo>
                  <a:lnTo>
                    <a:pt x="600" y="702"/>
                  </a:lnTo>
                  <a:lnTo>
                    <a:pt x="598" y="702"/>
                  </a:lnTo>
                  <a:lnTo>
                    <a:pt x="598" y="704"/>
                  </a:lnTo>
                  <a:lnTo>
                    <a:pt x="593" y="706"/>
                  </a:lnTo>
                  <a:lnTo>
                    <a:pt x="593" y="709"/>
                  </a:lnTo>
                  <a:lnTo>
                    <a:pt x="593" y="709"/>
                  </a:lnTo>
                  <a:lnTo>
                    <a:pt x="591" y="711"/>
                  </a:lnTo>
                  <a:lnTo>
                    <a:pt x="588" y="709"/>
                  </a:lnTo>
                  <a:lnTo>
                    <a:pt x="586" y="711"/>
                  </a:lnTo>
                  <a:lnTo>
                    <a:pt x="584" y="711"/>
                  </a:lnTo>
                  <a:lnTo>
                    <a:pt x="581" y="713"/>
                  </a:lnTo>
                  <a:lnTo>
                    <a:pt x="581" y="711"/>
                  </a:lnTo>
                  <a:lnTo>
                    <a:pt x="577" y="713"/>
                  </a:lnTo>
                  <a:lnTo>
                    <a:pt x="577" y="713"/>
                  </a:lnTo>
                  <a:lnTo>
                    <a:pt x="577" y="713"/>
                  </a:lnTo>
                  <a:lnTo>
                    <a:pt x="574" y="716"/>
                  </a:lnTo>
                  <a:lnTo>
                    <a:pt x="574" y="716"/>
                  </a:lnTo>
                  <a:lnTo>
                    <a:pt x="574" y="718"/>
                  </a:lnTo>
                  <a:lnTo>
                    <a:pt x="577" y="721"/>
                  </a:lnTo>
                  <a:lnTo>
                    <a:pt x="577" y="721"/>
                  </a:lnTo>
                  <a:lnTo>
                    <a:pt x="577" y="721"/>
                  </a:lnTo>
                  <a:lnTo>
                    <a:pt x="577" y="725"/>
                  </a:lnTo>
                  <a:lnTo>
                    <a:pt x="574" y="728"/>
                  </a:lnTo>
                  <a:lnTo>
                    <a:pt x="570" y="730"/>
                  </a:lnTo>
                  <a:lnTo>
                    <a:pt x="570" y="730"/>
                  </a:lnTo>
                  <a:lnTo>
                    <a:pt x="572" y="730"/>
                  </a:lnTo>
                  <a:lnTo>
                    <a:pt x="572" y="735"/>
                  </a:lnTo>
                  <a:lnTo>
                    <a:pt x="572" y="737"/>
                  </a:lnTo>
                  <a:lnTo>
                    <a:pt x="570" y="737"/>
                  </a:lnTo>
                  <a:lnTo>
                    <a:pt x="567" y="739"/>
                  </a:lnTo>
                  <a:lnTo>
                    <a:pt x="565" y="739"/>
                  </a:lnTo>
                  <a:lnTo>
                    <a:pt x="565" y="742"/>
                  </a:lnTo>
                  <a:lnTo>
                    <a:pt x="565" y="744"/>
                  </a:lnTo>
                  <a:lnTo>
                    <a:pt x="565" y="744"/>
                  </a:lnTo>
                  <a:lnTo>
                    <a:pt x="565" y="749"/>
                  </a:lnTo>
                  <a:lnTo>
                    <a:pt x="565" y="749"/>
                  </a:lnTo>
                  <a:lnTo>
                    <a:pt x="562" y="751"/>
                  </a:lnTo>
                  <a:lnTo>
                    <a:pt x="560" y="754"/>
                  </a:lnTo>
                  <a:lnTo>
                    <a:pt x="555" y="756"/>
                  </a:lnTo>
                  <a:lnTo>
                    <a:pt x="555" y="758"/>
                  </a:lnTo>
                  <a:lnTo>
                    <a:pt x="553" y="758"/>
                  </a:lnTo>
                  <a:lnTo>
                    <a:pt x="551" y="761"/>
                  </a:lnTo>
                  <a:lnTo>
                    <a:pt x="551" y="761"/>
                  </a:lnTo>
                  <a:lnTo>
                    <a:pt x="551" y="763"/>
                  </a:lnTo>
                  <a:lnTo>
                    <a:pt x="548" y="765"/>
                  </a:lnTo>
                  <a:lnTo>
                    <a:pt x="546" y="773"/>
                  </a:lnTo>
                  <a:lnTo>
                    <a:pt x="544" y="782"/>
                  </a:lnTo>
                  <a:lnTo>
                    <a:pt x="541" y="787"/>
                  </a:lnTo>
                  <a:lnTo>
                    <a:pt x="539" y="789"/>
                  </a:lnTo>
                  <a:lnTo>
                    <a:pt x="539" y="789"/>
                  </a:lnTo>
                  <a:lnTo>
                    <a:pt x="527" y="794"/>
                  </a:lnTo>
                  <a:lnTo>
                    <a:pt x="525" y="794"/>
                  </a:lnTo>
                  <a:lnTo>
                    <a:pt x="525" y="796"/>
                  </a:lnTo>
                  <a:lnTo>
                    <a:pt x="525" y="799"/>
                  </a:lnTo>
                  <a:lnTo>
                    <a:pt x="522" y="799"/>
                  </a:lnTo>
                  <a:lnTo>
                    <a:pt x="522" y="801"/>
                  </a:lnTo>
                  <a:lnTo>
                    <a:pt x="525" y="801"/>
                  </a:lnTo>
                  <a:lnTo>
                    <a:pt x="525" y="803"/>
                  </a:lnTo>
                  <a:lnTo>
                    <a:pt x="525" y="808"/>
                  </a:lnTo>
                  <a:lnTo>
                    <a:pt x="527" y="810"/>
                  </a:lnTo>
                  <a:lnTo>
                    <a:pt x="529" y="810"/>
                  </a:lnTo>
                  <a:lnTo>
                    <a:pt x="529" y="810"/>
                  </a:lnTo>
                  <a:lnTo>
                    <a:pt x="532" y="810"/>
                  </a:lnTo>
                  <a:lnTo>
                    <a:pt x="532" y="815"/>
                  </a:lnTo>
                  <a:lnTo>
                    <a:pt x="532" y="815"/>
                  </a:lnTo>
                  <a:lnTo>
                    <a:pt x="534" y="817"/>
                  </a:lnTo>
                  <a:lnTo>
                    <a:pt x="534" y="817"/>
                  </a:lnTo>
                  <a:lnTo>
                    <a:pt x="534" y="822"/>
                  </a:lnTo>
                  <a:lnTo>
                    <a:pt x="536" y="825"/>
                  </a:lnTo>
                  <a:lnTo>
                    <a:pt x="536" y="827"/>
                  </a:lnTo>
                  <a:lnTo>
                    <a:pt x="536" y="827"/>
                  </a:lnTo>
                  <a:lnTo>
                    <a:pt x="539" y="827"/>
                  </a:lnTo>
                  <a:lnTo>
                    <a:pt x="541" y="829"/>
                  </a:lnTo>
                  <a:lnTo>
                    <a:pt x="541" y="829"/>
                  </a:lnTo>
                  <a:lnTo>
                    <a:pt x="544" y="829"/>
                  </a:lnTo>
                  <a:lnTo>
                    <a:pt x="546" y="829"/>
                  </a:lnTo>
                  <a:lnTo>
                    <a:pt x="548" y="829"/>
                  </a:lnTo>
                  <a:lnTo>
                    <a:pt x="548" y="832"/>
                  </a:lnTo>
                  <a:lnTo>
                    <a:pt x="548" y="832"/>
                  </a:lnTo>
                  <a:lnTo>
                    <a:pt x="551" y="832"/>
                  </a:lnTo>
                  <a:lnTo>
                    <a:pt x="553" y="832"/>
                  </a:lnTo>
                  <a:lnTo>
                    <a:pt x="553" y="832"/>
                  </a:lnTo>
                  <a:lnTo>
                    <a:pt x="555" y="832"/>
                  </a:lnTo>
                  <a:lnTo>
                    <a:pt x="558" y="832"/>
                  </a:lnTo>
                  <a:lnTo>
                    <a:pt x="562" y="832"/>
                  </a:lnTo>
                  <a:lnTo>
                    <a:pt x="565" y="834"/>
                  </a:lnTo>
                  <a:lnTo>
                    <a:pt x="567" y="834"/>
                  </a:lnTo>
                  <a:lnTo>
                    <a:pt x="567" y="834"/>
                  </a:lnTo>
                  <a:lnTo>
                    <a:pt x="570" y="836"/>
                  </a:lnTo>
                  <a:lnTo>
                    <a:pt x="572" y="836"/>
                  </a:lnTo>
                  <a:lnTo>
                    <a:pt x="574" y="836"/>
                  </a:lnTo>
                  <a:lnTo>
                    <a:pt x="574" y="839"/>
                  </a:lnTo>
                  <a:lnTo>
                    <a:pt x="574" y="839"/>
                  </a:lnTo>
                  <a:lnTo>
                    <a:pt x="577" y="841"/>
                  </a:lnTo>
                  <a:lnTo>
                    <a:pt x="577" y="841"/>
                  </a:lnTo>
                  <a:lnTo>
                    <a:pt x="579" y="841"/>
                  </a:lnTo>
                  <a:lnTo>
                    <a:pt x="581" y="839"/>
                  </a:lnTo>
                  <a:lnTo>
                    <a:pt x="581" y="841"/>
                  </a:lnTo>
                  <a:lnTo>
                    <a:pt x="584" y="841"/>
                  </a:lnTo>
                  <a:lnTo>
                    <a:pt x="586" y="841"/>
                  </a:lnTo>
                  <a:lnTo>
                    <a:pt x="586" y="841"/>
                  </a:lnTo>
                  <a:lnTo>
                    <a:pt x="588" y="841"/>
                  </a:lnTo>
                  <a:lnTo>
                    <a:pt x="591" y="841"/>
                  </a:lnTo>
                  <a:lnTo>
                    <a:pt x="591" y="843"/>
                  </a:lnTo>
                  <a:lnTo>
                    <a:pt x="591" y="846"/>
                  </a:lnTo>
                  <a:lnTo>
                    <a:pt x="591" y="846"/>
                  </a:lnTo>
                  <a:lnTo>
                    <a:pt x="584" y="846"/>
                  </a:lnTo>
                  <a:lnTo>
                    <a:pt x="581" y="848"/>
                  </a:lnTo>
                  <a:lnTo>
                    <a:pt x="579" y="846"/>
                  </a:lnTo>
                  <a:lnTo>
                    <a:pt x="577" y="848"/>
                  </a:lnTo>
                  <a:lnTo>
                    <a:pt x="574" y="846"/>
                  </a:lnTo>
                  <a:lnTo>
                    <a:pt x="570" y="843"/>
                  </a:lnTo>
                  <a:lnTo>
                    <a:pt x="567" y="843"/>
                  </a:lnTo>
                  <a:lnTo>
                    <a:pt x="567" y="843"/>
                  </a:lnTo>
                  <a:lnTo>
                    <a:pt x="567" y="843"/>
                  </a:lnTo>
                  <a:lnTo>
                    <a:pt x="565" y="843"/>
                  </a:lnTo>
                  <a:lnTo>
                    <a:pt x="562" y="843"/>
                  </a:lnTo>
                  <a:lnTo>
                    <a:pt x="562" y="843"/>
                  </a:lnTo>
                  <a:lnTo>
                    <a:pt x="562" y="846"/>
                  </a:lnTo>
                  <a:lnTo>
                    <a:pt x="562" y="848"/>
                  </a:lnTo>
                  <a:lnTo>
                    <a:pt x="562" y="848"/>
                  </a:lnTo>
                  <a:lnTo>
                    <a:pt x="565" y="851"/>
                  </a:lnTo>
                  <a:lnTo>
                    <a:pt x="565" y="853"/>
                  </a:lnTo>
                  <a:lnTo>
                    <a:pt x="562" y="853"/>
                  </a:lnTo>
                  <a:lnTo>
                    <a:pt x="560" y="858"/>
                  </a:lnTo>
                  <a:lnTo>
                    <a:pt x="555" y="860"/>
                  </a:lnTo>
                  <a:lnTo>
                    <a:pt x="553" y="860"/>
                  </a:lnTo>
                  <a:lnTo>
                    <a:pt x="555" y="860"/>
                  </a:lnTo>
                  <a:lnTo>
                    <a:pt x="558" y="860"/>
                  </a:lnTo>
                  <a:lnTo>
                    <a:pt x="558" y="862"/>
                  </a:lnTo>
                  <a:lnTo>
                    <a:pt x="560" y="862"/>
                  </a:lnTo>
                  <a:lnTo>
                    <a:pt x="560" y="865"/>
                  </a:lnTo>
                  <a:lnTo>
                    <a:pt x="558" y="865"/>
                  </a:lnTo>
                  <a:lnTo>
                    <a:pt x="558" y="865"/>
                  </a:lnTo>
                  <a:lnTo>
                    <a:pt x="560" y="867"/>
                  </a:lnTo>
                  <a:lnTo>
                    <a:pt x="558" y="867"/>
                  </a:lnTo>
                  <a:lnTo>
                    <a:pt x="558" y="869"/>
                  </a:lnTo>
                  <a:lnTo>
                    <a:pt x="558" y="869"/>
                  </a:lnTo>
                  <a:lnTo>
                    <a:pt x="558" y="869"/>
                  </a:lnTo>
                  <a:lnTo>
                    <a:pt x="555" y="872"/>
                  </a:lnTo>
                  <a:lnTo>
                    <a:pt x="555" y="869"/>
                  </a:lnTo>
                  <a:lnTo>
                    <a:pt x="553" y="872"/>
                  </a:lnTo>
                  <a:lnTo>
                    <a:pt x="555" y="874"/>
                  </a:lnTo>
                  <a:lnTo>
                    <a:pt x="553" y="874"/>
                  </a:lnTo>
                  <a:lnTo>
                    <a:pt x="555" y="876"/>
                  </a:lnTo>
                  <a:lnTo>
                    <a:pt x="558" y="876"/>
                  </a:lnTo>
                  <a:lnTo>
                    <a:pt x="558" y="876"/>
                  </a:lnTo>
                  <a:lnTo>
                    <a:pt x="560" y="879"/>
                  </a:lnTo>
                  <a:lnTo>
                    <a:pt x="562" y="879"/>
                  </a:lnTo>
                  <a:lnTo>
                    <a:pt x="565" y="876"/>
                  </a:lnTo>
                  <a:lnTo>
                    <a:pt x="567" y="879"/>
                  </a:lnTo>
                  <a:lnTo>
                    <a:pt x="570" y="879"/>
                  </a:lnTo>
                  <a:lnTo>
                    <a:pt x="572" y="879"/>
                  </a:lnTo>
                  <a:lnTo>
                    <a:pt x="574" y="879"/>
                  </a:lnTo>
                  <a:lnTo>
                    <a:pt x="577" y="876"/>
                  </a:lnTo>
                  <a:lnTo>
                    <a:pt x="577" y="876"/>
                  </a:lnTo>
                  <a:lnTo>
                    <a:pt x="579" y="876"/>
                  </a:lnTo>
                  <a:lnTo>
                    <a:pt x="579" y="879"/>
                  </a:lnTo>
                  <a:lnTo>
                    <a:pt x="579" y="881"/>
                  </a:lnTo>
                  <a:lnTo>
                    <a:pt x="577" y="884"/>
                  </a:lnTo>
                  <a:lnTo>
                    <a:pt x="574" y="884"/>
                  </a:lnTo>
                  <a:lnTo>
                    <a:pt x="570" y="886"/>
                  </a:lnTo>
                  <a:lnTo>
                    <a:pt x="565" y="886"/>
                  </a:lnTo>
                  <a:lnTo>
                    <a:pt x="562" y="886"/>
                  </a:lnTo>
                  <a:lnTo>
                    <a:pt x="560" y="886"/>
                  </a:lnTo>
                  <a:lnTo>
                    <a:pt x="558" y="888"/>
                  </a:lnTo>
                  <a:lnTo>
                    <a:pt x="558" y="891"/>
                  </a:lnTo>
                  <a:lnTo>
                    <a:pt x="555" y="891"/>
                  </a:lnTo>
                  <a:lnTo>
                    <a:pt x="553" y="893"/>
                  </a:lnTo>
                  <a:lnTo>
                    <a:pt x="553" y="895"/>
                  </a:lnTo>
                  <a:lnTo>
                    <a:pt x="553" y="895"/>
                  </a:lnTo>
                  <a:lnTo>
                    <a:pt x="551" y="895"/>
                  </a:lnTo>
                  <a:lnTo>
                    <a:pt x="551" y="898"/>
                  </a:lnTo>
                  <a:lnTo>
                    <a:pt x="553" y="900"/>
                  </a:lnTo>
                  <a:lnTo>
                    <a:pt x="553" y="900"/>
                  </a:lnTo>
                  <a:lnTo>
                    <a:pt x="553" y="900"/>
                  </a:lnTo>
                  <a:lnTo>
                    <a:pt x="553" y="902"/>
                  </a:lnTo>
                  <a:lnTo>
                    <a:pt x="553" y="902"/>
                  </a:lnTo>
                  <a:lnTo>
                    <a:pt x="553" y="905"/>
                  </a:lnTo>
                  <a:lnTo>
                    <a:pt x="555" y="905"/>
                  </a:lnTo>
                  <a:lnTo>
                    <a:pt x="555" y="907"/>
                  </a:lnTo>
                  <a:lnTo>
                    <a:pt x="555" y="910"/>
                  </a:lnTo>
                  <a:lnTo>
                    <a:pt x="555" y="910"/>
                  </a:lnTo>
                  <a:lnTo>
                    <a:pt x="553" y="912"/>
                  </a:lnTo>
                  <a:lnTo>
                    <a:pt x="553" y="914"/>
                  </a:lnTo>
                  <a:lnTo>
                    <a:pt x="553" y="914"/>
                  </a:lnTo>
                  <a:lnTo>
                    <a:pt x="553" y="914"/>
                  </a:lnTo>
                  <a:lnTo>
                    <a:pt x="553" y="917"/>
                  </a:lnTo>
                  <a:lnTo>
                    <a:pt x="553" y="917"/>
                  </a:lnTo>
                  <a:lnTo>
                    <a:pt x="553" y="919"/>
                  </a:lnTo>
                  <a:lnTo>
                    <a:pt x="555" y="919"/>
                  </a:lnTo>
                  <a:lnTo>
                    <a:pt x="555" y="921"/>
                  </a:lnTo>
                  <a:lnTo>
                    <a:pt x="555" y="921"/>
                  </a:lnTo>
                  <a:lnTo>
                    <a:pt x="555" y="924"/>
                  </a:lnTo>
                  <a:lnTo>
                    <a:pt x="553" y="924"/>
                  </a:lnTo>
                  <a:lnTo>
                    <a:pt x="553" y="924"/>
                  </a:lnTo>
                  <a:lnTo>
                    <a:pt x="555" y="928"/>
                  </a:lnTo>
                  <a:lnTo>
                    <a:pt x="555" y="928"/>
                  </a:lnTo>
                  <a:lnTo>
                    <a:pt x="553" y="931"/>
                  </a:lnTo>
                  <a:lnTo>
                    <a:pt x="555" y="931"/>
                  </a:lnTo>
                  <a:lnTo>
                    <a:pt x="558" y="931"/>
                  </a:lnTo>
                  <a:lnTo>
                    <a:pt x="560" y="931"/>
                  </a:lnTo>
                  <a:lnTo>
                    <a:pt x="560" y="931"/>
                  </a:lnTo>
                  <a:lnTo>
                    <a:pt x="560" y="933"/>
                  </a:lnTo>
                  <a:lnTo>
                    <a:pt x="558" y="933"/>
                  </a:lnTo>
                  <a:lnTo>
                    <a:pt x="558" y="933"/>
                  </a:lnTo>
                  <a:lnTo>
                    <a:pt x="558" y="936"/>
                  </a:lnTo>
                  <a:lnTo>
                    <a:pt x="555" y="936"/>
                  </a:lnTo>
                  <a:lnTo>
                    <a:pt x="558" y="938"/>
                  </a:lnTo>
                  <a:lnTo>
                    <a:pt x="558" y="936"/>
                  </a:lnTo>
                  <a:lnTo>
                    <a:pt x="558" y="938"/>
                  </a:lnTo>
                  <a:lnTo>
                    <a:pt x="560" y="938"/>
                  </a:lnTo>
                  <a:lnTo>
                    <a:pt x="562" y="938"/>
                  </a:lnTo>
                  <a:lnTo>
                    <a:pt x="565" y="940"/>
                  </a:lnTo>
                  <a:lnTo>
                    <a:pt x="565" y="943"/>
                  </a:lnTo>
                  <a:lnTo>
                    <a:pt x="565" y="943"/>
                  </a:lnTo>
                  <a:lnTo>
                    <a:pt x="565" y="945"/>
                  </a:lnTo>
                  <a:lnTo>
                    <a:pt x="562" y="945"/>
                  </a:lnTo>
                  <a:lnTo>
                    <a:pt x="562" y="947"/>
                  </a:lnTo>
                  <a:lnTo>
                    <a:pt x="565" y="947"/>
                  </a:lnTo>
                  <a:lnTo>
                    <a:pt x="565" y="947"/>
                  </a:lnTo>
                  <a:lnTo>
                    <a:pt x="565" y="947"/>
                  </a:lnTo>
                  <a:lnTo>
                    <a:pt x="567" y="947"/>
                  </a:lnTo>
                  <a:lnTo>
                    <a:pt x="567" y="947"/>
                  </a:lnTo>
                  <a:lnTo>
                    <a:pt x="570" y="947"/>
                  </a:lnTo>
                  <a:lnTo>
                    <a:pt x="570" y="950"/>
                  </a:lnTo>
                  <a:lnTo>
                    <a:pt x="570" y="950"/>
                  </a:lnTo>
                  <a:lnTo>
                    <a:pt x="570" y="952"/>
                  </a:lnTo>
                  <a:lnTo>
                    <a:pt x="570" y="957"/>
                  </a:lnTo>
                  <a:lnTo>
                    <a:pt x="572" y="957"/>
                  </a:lnTo>
                  <a:lnTo>
                    <a:pt x="579" y="954"/>
                  </a:lnTo>
                  <a:lnTo>
                    <a:pt x="581" y="954"/>
                  </a:lnTo>
                  <a:lnTo>
                    <a:pt x="581" y="957"/>
                  </a:lnTo>
                  <a:lnTo>
                    <a:pt x="581" y="957"/>
                  </a:lnTo>
                  <a:lnTo>
                    <a:pt x="581" y="959"/>
                  </a:lnTo>
                  <a:lnTo>
                    <a:pt x="581" y="962"/>
                  </a:lnTo>
                  <a:lnTo>
                    <a:pt x="577" y="962"/>
                  </a:lnTo>
                  <a:lnTo>
                    <a:pt x="572" y="962"/>
                  </a:lnTo>
                  <a:lnTo>
                    <a:pt x="570" y="964"/>
                  </a:lnTo>
                  <a:lnTo>
                    <a:pt x="570" y="964"/>
                  </a:lnTo>
                  <a:lnTo>
                    <a:pt x="567" y="964"/>
                  </a:lnTo>
                  <a:lnTo>
                    <a:pt x="567" y="966"/>
                  </a:lnTo>
                  <a:lnTo>
                    <a:pt x="567" y="969"/>
                  </a:lnTo>
                  <a:lnTo>
                    <a:pt x="565" y="969"/>
                  </a:lnTo>
                  <a:lnTo>
                    <a:pt x="567" y="971"/>
                  </a:lnTo>
                  <a:lnTo>
                    <a:pt x="565" y="976"/>
                  </a:lnTo>
                  <a:lnTo>
                    <a:pt x="567" y="976"/>
                  </a:lnTo>
                  <a:lnTo>
                    <a:pt x="567" y="976"/>
                  </a:lnTo>
                  <a:lnTo>
                    <a:pt x="567" y="976"/>
                  </a:lnTo>
                  <a:lnTo>
                    <a:pt x="567" y="976"/>
                  </a:lnTo>
                  <a:lnTo>
                    <a:pt x="570" y="978"/>
                  </a:lnTo>
                  <a:lnTo>
                    <a:pt x="567" y="980"/>
                  </a:lnTo>
                  <a:lnTo>
                    <a:pt x="565" y="980"/>
                  </a:lnTo>
                  <a:lnTo>
                    <a:pt x="565" y="983"/>
                  </a:lnTo>
                  <a:lnTo>
                    <a:pt x="565" y="983"/>
                  </a:lnTo>
                  <a:lnTo>
                    <a:pt x="565" y="985"/>
                  </a:lnTo>
                  <a:lnTo>
                    <a:pt x="567" y="985"/>
                  </a:lnTo>
                  <a:lnTo>
                    <a:pt x="567" y="985"/>
                  </a:lnTo>
                  <a:lnTo>
                    <a:pt x="567" y="990"/>
                  </a:lnTo>
                  <a:lnTo>
                    <a:pt x="565" y="990"/>
                  </a:lnTo>
                  <a:lnTo>
                    <a:pt x="567" y="992"/>
                  </a:lnTo>
                  <a:lnTo>
                    <a:pt x="567" y="995"/>
                  </a:lnTo>
                  <a:lnTo>
                    <a:pt x="565" y="995"/>
                  </a:lnTo>
                  <a:lnTo>
                    <a:pt x="565" y="997"/>
                  </a:lnTo>
                  <a:lnTo>
                    <a:pt x="565" y="997"/>
                  </a:lnTo>
                  <a:lnTo>
                    <a:pt x="567" y="999"/>
                  </a:lnTo>
                  <a:lnTo>
                    <a:pt x="567" y="999"/>
                  </a:lnTo>
                  <a:lnTo>
                    <a:pt x="567" y="1002"/>
                  </a:lnTo>
                  <a:lnTo>
                    <a:pt x="567" y="1004"/>
                  </a:lnTo>
                  <a:lnTo>
                    <a:pt x="565" y="1004"/>
                  </a:lnTo>
                  <a:lnTo>
                    <a:pt x="565" y="1006"/>
                  </a:lnTo>
                  <a:lnTo>
                    <a:pt x="565" y="1009"/>
                  </a:lnTo>
                  <a:lnTo>
                    <a:pt x="565" y="1011"/>
                  </a:lnTo>
                  <a:lnTo>
                    <a:pt x="565" y="1013"/>
                  </a:lnTo>
                  <a:lnTo>
                    <a:pt x="562" y="1016"/>
                  </a:lnTo>
                  <a:lnTo>
                    <a:pt x="565" y="1016"/>
                  </a:lnTo>
                  <a:lnTo>
                    <a:pt x="567" y="1013"/>
                  </a:lnTo>
                  <a:lnTo>
                    <a:pt x="567" y="1013"/>
                  </a:lnTo>
                  <a:lnTo>
                    <a:pt x="574" y="1016"/>
                  </a:lnTo>
                  <a:lnTo>
                    <a:pt x="577" y="1013"/>
                  </a:lnTo>
                  <a:lnTo>
                    <a:pt x="577" y="1013"/>
                  </a:lnTo>
                  <a:lnTo>
                    <a:pt x="584" y="1011"/>
                  </a:lnTo>
                  <a:lnTo>
                    <a:pt x="586" y="1011"/>
                  </a:lnTo>
                  <a:lnTo>
                    <a:pt x="586" y="1013"/>
                  </a:lnTo>
                  <a:lnTo>
                    <a:pt x="586" y="1013"/>
                  </a:lnTo>
                  <a:lnTo>
                    <a:pt x="584" y="1016"/>
                  </a:lnTo>
                  <a:lnTo>
                    <a:pt x="581" y="1013"/>
                  </a:lnTo>
                  <a:lnTo>
                    <a:pt x="579" y="1016"/>
                  </a:lnTo>
                  <a:lnTo>
                    <a:pt x="579" y="1016"/>
                  </a:lnTo>
                  <a:lnTo>
                    <a:pt x="577" y="1016"/>
                  </a:lnTo>
                  <a:lnTo>
                    <a:pt x="577" y="1018"/>
                  </a:lnTo>
                  <a:lnTo>
                    <a:pt x="574" y="1018"/>
                  </a:lnTo>
                  <a:lnTo>
                    <a:pt x="572" y="1018"/>
                  </a:lnTo>
                  <a:lnTo>
                    <a:pt x="572" y="1018"/>
                  </a:lnTo>
                  <a:lnTo>
                    <a:pt x="567" y="1021"/>
                  </a:lnTo>
                  <a:lnTo>
                    <a:pt x="565" y="1018"/>
                  </a:lnTo>
                  <a:lnTo>
                    <a:pt x="565" y="1021"/>
                  </a:lnTo>
                  <a:lnTo>
                    <a:pt x="562" y="1021"/>
                  </a:lnTo>
                  <a:lnTo>
                    <a:pt x="558" y="1021"/>
                  </a:lnTo>
                  <a:lnTo>
                    <a:pt x="558" y="1021"/>
                  </a:lnTo>
                  <a:lnTo>
                    <a:pt x="555" y="1023"/>
                  </a:lnTo>
                  <a:lnTo>
                    <a:pt x="553" y="1021"/>
                  </a:lnTo>
                  <a:lnTo>
                    <a:pt x="555" y="1021"/>
                  </a:lnTo>
                  <a:lnTo>
                    <a:pt x="553" y="1018"/>
                  </a:lnTo>
                  <a:lnTo>
                    <a:pt x="555" y="1018"/>
                  </a:lnTo>
                  <a:lnTo>
                    <a:pt x="555" y="1016"/>
                  </a:lnTo>
                  <a:lnTo>
                    <a:pt x="555" y="1016"/>
                  </a:lnTo>
                  <a:lnTo>
                    <a:pt x="555" y="1013"/>
                  </a:lnTo>
                  <a:lnTo>
                    <a:pt x="555" y="1011"/>
                  </a:lnTo>
                  <a:lnTo>
                    <a:pt x="555" y="1011"/>
                  </a:lnTo>
                  <a:lnTo>
                    <a:pt x="555" y="1011"/>
                  </a:lnTo>
                  <a:lnTo>
                    <a:pt x="555" y="1009"/>
                  </a:lnTo>
                  <a:lnTo>
                    <a:pt x="555" y="1009"/>
                  </a:lnTo>
                  <a:lnTo>
                    <a:pt x="555" y="1006"/>
                  </a:lnTo>
                  <a:lnTo>
                    <a:pt x="555" y="1006"/>
                  </a:lnTo>
                  <a:lnTo>
                    <a:pt x="555" y="1006"/>
                  </a:lnTo>
                  <a:lnTo>
                    <a:pt x="553" y="1004"/>
                  </a:lnTo>
                  <a:lnTo>
                    <a:pt x="553" y="1004"/>
                  </a:lnTo>
                  <a:lnTo>
                    <a:pt x="553" y="1004"/>
                  </a:lnTo>
                  <a:lnTo>
                    <a:pt x="553" y="1004"/>
                  </a:lnTo>
                  <a:lnTo>
                    <a:pt x="551" y="1004"/>
                  </a:lnTo>
                  <a:lnTo>
                    <a:pt x="551" y="1004"/>
                  </a:lnTo>
                  <a:lnTo>
                    <a:pt x="548" y="1004"/>
                  </a:lnTo>
                  <a:lnTo>
                    <a:pt x="548" y="1002"/>
                  </a:lnTo>
                  <a:lnTo>
                    <a:pt x="548" y="1002"/>
                  </a:lnTo>
                  <a:lnTo>
                    <a:pt x="548" y="999"/>
                  </a:lnTo>
                  <a:lnTo>
                    <a:pt x="546" y="1013"/>
                  </a:lnTo>
                  <a:lnTo>
                    <a:pt x="546" y="1013"/>
                  </a:lnTo>
                  <a:lnTo>
                    <a:pt x="546" y="1016"/>
                  </a:lnTo>
                  <a:lnTo>
                    <a:pt x="544" y="1016"/>
                  </a:lnTo>
                  <a:lnTo>
                    <a:pt x="544" y="1021"/>
                  </a:lnTo>
                  <a:lnTo>
                    <a:pt x="541" y="1021"/>
                  </a:lnTo>
                  <a:lnTo>
                    <a:pt x="520" y="1021"/>
                  </a:lnTo>
                  <a:lnTo>
                    <a:pt x="506" y="1018"/>
                  </a:lnTo>
                  <a:lnTo>
                    <a:pt x="499" y="1023"/>
                  </a:lnTo>
                  <a:lnTo>
                    <a:pt x="496" y="1023"/>
                  </a:lnTo>
                  <a:lnTo>
                    <a:pt x="499" y="1025"/>
                  </a:lnTo>
                  <a:lnTo>
                    <a:pt x="496" y="1025"/>
                  </a:lnTo>
                  <a:lnTo>
                    <a:pt x="496" y="1028"/>
                  </a:lnTo>
                  <a:lnTo>
                    <a:pt x="494" y="1028"/>
                  </a:lnTo>
                  <a:lnTo>
                    <a:pt x="494" y="1030"/>
                  </a:lnTo>
                  <a:lnTo>
                    <a:pt x="494" y="1030"/>
                  </a:lnTo>
                  <a:lnTo>
                    <a:pt x="494" y="1030"/>
                  </a:lnTo>
                  <a:lnTo>
                    <a:pt x="494" y="1030"/>
                  </a:lnTo>
                  <a:lnTo>
                    <a:pt x="494" y="1032"/>
                  </a:lnTo>
                  <a:lnTo>
                    <a:pt x="492" y="1032"/>
                  </a:lnTo>
                  <a:lnTo>
                    <a:pt x="492" y="1032"/>
                  </a:lnTo>
                  <a:lnTo>
                    <a:pt x="492" y="1030"/>
                  </a:lnTo>
                  <a:lnTo>
                    <a:pt x="489" y="1032"/>
                  </a:lnTo>
                  <a:lnTo>
                    <a:pt x="489" y="1030"/>
                  </a:lnTo>
                  <a:lnTo>
                    <a:pt x="489" y="1030"/>
                  </a:lnTo>
                  <a:lnTo>
                    <a:pt x="489" y="1030"/>
                  </a:lnTo>
                  <a:lnTo>
                    <a:pt x="487" y="1032"/>
                  </a:lnTo>
                  <a:lnTo>
                    <a:pt x="484" y="1032"/>
                  </a:lnTo>
                  <a:lnTo>
                    <a:pt x="484" y="1035"/>
                  </a:lnTo>
                  <a:lnTo>
                    <a:pt x="484" y="1035"/>
                  </a:lnTo>
                  <a:lnTo>
                    <a:pt x="482" y="1035"/>
                  </a:lnTo>
                  <a:lnTo>
                    <a:pt x="480" y="1037"/>
                  </a:lnTo>
                  <a:lnTo>
                    <a:pt x="480" y="1037"/>
                  </a:lnTo>
                  <a:lnTo>
                    <a:pt x="477" y="1039"/>
                  </a:lnTo>
                  <a:lnTo>
                    <a:pt x="477" y="1039"/>
                  </a:lnTo>
                  <a:lnTo>
                    <a:pt x="475" y="1039"/>
                  </a:lnTo>
                  <a:lnTo>
                    <a:pt x="475" y="1039"/>
                  </a:lnTo>
                  <a:lnTo>
                    <a:pt x="475" y="1039"/>
                  </a:lnTo>
                  <a:lnTo>
                    <a:pt x="475" y="1039"/>
                  </a:lnTo>
                  <a:lnTo>
                    <a:pt x="473" y="1039"/>
                  </a:lnTo>
                  <a:lnTo>
                    <a:pt x="473" y="1039"/>
                  </a:lnTo>
                  <a:lnTo>
                    <a:pt x="473" y="1042"/>
                  </a:lnTo>
                  <a:lnTo>
                    <a:pt x="473" y="1042"/>
                  </a:lnTo>
                  <a:lnTo>
                    <a:pt x="470" y="1042"/>
                  </a:lnTo>
                  <a:lnTo>
                    <a:pt x="470" y="1042"/>
                  </a:lnTo>
                  <a:lnTo>
                    <a:pt x="468" y="1044"/>
                  </a:lnTo>
                  <a:lnTo>
                    <a:pt x="466" y="1044"/>
                  </a:lnTo>
                  <a:lnTo>
                    <a:pt x="466" y="1044"/>
                  </a:lnTo>
                  <a:lnTo>
                    <a:pt x="466" y="1044"/>
                  </a:lnTo>
                  <a:lnTo>
                    <a:pt x="463" y="1044"/>
                  </a:lnTo>
                  <a:lnTo>
                    <a:pt x="463" y="1044"/>
                  </a:lnTo>
                  <a:lnTo>
                    <a:pt x="463" y="1047"/>
                  </a:lnTo>
                  <a:lnTo>
                    <a:pt x="463" y="1047"/>
                  </a:lnTo>
                  <a:lnTo>
                    <a:pt x="463" y="1047"/>
                  </a:lnTo>
                  <a:lnTo>
                    <a:pt x="463" y="1044"/>
                  </a:lnTo>
                  <a:lnTo>
                    <a:pt x="461" y="1047"/>
                  </a:lnTo>
                  <a:lnTo>
                    <a:pt x="461" y="1047"/>
                  </a:lnTo>
                  <a:lnTo>
                    <a:pt x="461" y="1047"/>
                  </a:lnTo>
                  <a:lnTo>
                    <a:pt x="461" y="1044"/>
                  </a:lnTo>
                  <a:lnTo>
                    <a:pt x="461" y="1047"/>
                  </a:lnTo>
                  <a:lnTo>
                    <a:pt x="459" y="1047"/>
                  </a:lnTo>
                  <a:lnTo>
                    <a:pt x="456" y="1049"/>
                  </a:lnTo>
                  <a:lnTo>
                    <a:pt x="456" y="1049"/>
                  </a:lnTo>
                  <a:lnTo>
                    <a:pt x="456" y="1049"/>
                  </a:lnTo>
                  <a:lnTo>
                    <a:pt x="456" y="1051"/>
                  </a:lnTo>
                  <a:lnTo>
                    <a:pt x="454" y="1049"/>
                  </a:lnTo>
                  <a:lnTo>
                    <a:pt x="454" y="1051"/>
                  </a:lnTo>
                  <a:lnTo>
                    <a:pt x="451" y="1049"/>
                  </a:lnTo>
                  <a:lnTo>
                    <a:pt x="451" y="1049"/>
                  </a:lnTo>
                  <a:lnTo>
                    <a:pt x="451" y="1049"/>
                  </a:lnTo>
                  <a:lnTo>
                    <a:pt x="449" y="1049"/>
                  </a:lnTo>
                  <a:lnTo>
                    <a:pt x="447" y="1049"/>
                  </a:lnTo>
                  <a:lnTo>
                    <a:pt x="447" y="1049"/>
                  </a:lnTo>
                  <a:lnTo>
                    <a:pt x="447" y="1049"/>
                  </a:lnTo>
                  <a:lnTo>
                    <a:pt x="444" y="1049"/>
                  </a:lnTo>
                  <a:lnTo>
                    <a:pt x="444" y="1049"/>
                  </a:lnTo>
                  <a:lnTo>
                    <a:pt x="442" y="1051"/>
                  </a:lnTo>
                  <a:lnTo>
                    <a:pt x="444" y="1054"/>
                  </a:lnTo>
                  <a:lnTo>
                    <a:pt x="442" y="1054"/>
                  </a:lnTo>
                  <a:lnTo>
                    <a:pt x="440" y="1054"/>
                  </a:lnTo>
                  <a:lnTo>
                    <a:pt x="440" y="1056"/>
                  </a:lnTo>
                  <a:lnTo>
                    <a:pt x="440" y="1056"/>
                  </a:lnTo>
                  <a:lnTo>
                    <a:pt x="440" y="1058"/>
                  </a:lnTo>
                  <a:lnTo>
                    <a:pt x="437" y="1058"/>
                  </a:lnTo>
                  <a:lnTo>
                    <a:pt x="437" y="1056"/>
                  </a:lnTo>
                  <a:lnTo>
                    <a:pt x="437" y="1056"/>
                  </a:lnTo>
                  <a:lnTo>
                    <a:pt x="437" y="1056"/>
                  </a:lnTo>
                  <a:lnTo>
                    <a:pt x="435" y="1056"/>
                  </a:lnTo>
                  <a:lnTo>
                    <a:pt x="435" y="1056"/>
                  </a:lnTo>
                  <a:lnTo>
                    <a:pt x="430" y="1056"/>
                  </a:lnTo>
                  <a:lnTo>
                    <a:pt x="430" y="1056"/>
                  </a:lnTo>
                  <a:lnTo>
                    <a:pt x="428" y="1054"/>
                  </a:lnTo>
                  <a:lnTo>
                    <a:pt x="428" y="1054"/>
                  </a:lnTo>
                  <a:lnTo>
                    <a:pt x="425" y="1054"/>
                  </a:lnTo>
                  <a:lnTo>
                    <a:pt x="425" y="1054"/>
                  </a:lnTo>
                  <a:lnTo>
                    <a:pt x="425" y="1056"/>
                  </a:lnTo>
                  <a:lnTo>
                    <a:pt x="425" y="1058"/>
                  </a:lnTo>
                  <a:lnTo>
                    <a:pt x="421" y="1058"/>
                  </a:lnTo>
                  <a:lnTo>
                    <a:pt x="421" y="1061"/>
                  </a:lnTo>
                  <a:lnTo>
                    <a:pt x="421" y="1061"/>
                  </a:lnTo>
                  <a:lnTo>
                    <a:pt x="418" y="1061"/>
                  </a:lnTo>
                  <a:lnTo>
                    <a:pt x="418" y="1058"/>
                  </a:lnTo>
                  <a:lnTo>
                    <a:pt x="416" y="1056"/>
                  </a:lnTo>
                  <a:lnTo>
                    <a:pt x="418" y="1054"/>
                  </a:lnTo>
                  <a:lnTo>
                    <a:pt x="421" y="1054"/>
                  </a:lnTo>
                  <a:lnTo>
                    <a:pt x="418" y="1054"/>
                  </a:lnTo>
                  <a:lnTo>
                    <a:pt x="418" y="1051"/>
                  </a:lnTo>
                  <a:lnTo>
                    <a:pt x="416" y="1054"/>
                  </a:lnTo>
                  <a:lnTo>
                    <a:pt x="411" y="1051"/>
                  </a:lnTo>
                  <a:lnTo>
                    <a:pt x="411" y="1051"/>
                  </a:lnTo>
                  <a:lnTo>
                    <a:pt x="414" y="1047"/>
                  </a:lnTo>
                  <a:lnTo>
                    <a:pt x="411" y="1047"/>
                  </a:lnTo>
                  <a:lnTo>
                    <a:pt x="411" y="1049"/>
                  </a:lnTo>
                  <a:lnTo>
                    <a:pt x="409" y="1049"/>
                  </a:lnTo>
                  <a:lnTo>
                    <a:pt x="409" y="1047"/>
                  </a:lnTo>
                  <a:lnTo>
                    <a:pt x="407" y="1047"/>
                  </a:lnTo>
                  <a:lnTo>
                    <a:pt x="407" y="1049"/>
                  </a:lnTo>
                  <a:lnTo>
                    <a:pt x="402" y="1047"/>
                  </a:lnTo>
                  <a:lnTo>
                    <a:pt x="402" y="1042"/>
                  </a:lnTo>
                  <a:lnTo>
                    <a:pt x="402" y="1039"/>
                  </a:lnTo>
                  <a:lnTo>
                    <a:pt x="402" y="1039"/>
                  </a:lnTo>
                  <a:lnTo>
                    <a:pt x="399" y="1039"/>
                  </a:lnTo>
                  <a:lnTo>
                    <a:pt x="397" y="1037"/>
                  </a:lnTo>
                  <a:lnTo>
                    <a:pt x="395" y="1037"/>
                  </a:lnTo>
                  <a:lnTo>
                    <a:pt x="395" y="1037"/>
                  </a:lnTo>
                  <a:lnTo>
                    <a:pt x="392" y="1039"/>
                  </a:lnTo>
                  <a:lnTo>
                    <a:pt x="392" y="1039"/>
                  </a:lnTo>
                  <a:lnTo>
                    <a:pt x="392" y="1039"/>
                  </a:lnTo>
                  <a:lnTo>
                    <a:pt x="392" y="1039"/>
                  </a:lnTo>
                  <a:lnTo>
                    <a:pt x="392" y="1042"/>
                  </a:lnTo>
                  <a:lnTo>
                    <a:pt x="392" y="1042"/>
                  </a:lnTo>
                  <a:lnTo>
                    <a:pt x="392" y="1042"/>
                  </a:lnTo>
                  <a:lnTo>
                    <a:pt x="392" y="1042"/>
                  </a:lnTo>
                  <a:lnTo>
                    <a:pt x="392" y="1044"/>
                  </a:lnTo>
                  <a:lnTo>
                    <a:pt x="390" y="1044"/>
                  </a:lnTo>
                  <a:lnTo>
                    <a:pt x="390" y="1044"/>
                  </a:lnTo>
                  <a:lnTo>
                    <a:pt x="392" y="1047"/>
                  </a:lnTo>
                  <a:lnTo>
                    <a:pt x="390" y="1049"/>
                  </a:lnTo>
                  <a:lnTo>
                    <a:pt x="390" y="1049"/>
                  </a:lnTo>
                  <a:lnTo>
                    <a:pt x="390" y="1049"/>
                  </a:lnTo>
                  <a:lnTo>
                    <a:pt x="390" y="1049"/>
                  </a:lnTo>
                  <a:lnTo>
                    <a:pt x="390" y="1051"/>
                  </a:lnTo>
                  <a:lnTo>
                    <a:pt x="390" y="1051"/>
                  </a:lnTo>
                  <a:lnTo>
                    <a:pt x="390" y="1051"/>
                  </a:lnTo>
                  <a:lnTo>
                    <a:pt x="392" y="1051"/>
                  </a:lnTo>
                  <a:lnTo>
                    <a:pt x="392" y="1054"/>
                  </a:lnTo>
                  <a:lnTo>
                    <a:pt x="390" y="1054"/>
                  </a:lnTo>
                  <a:lnTo>
                    <a:pt x="392" y="1054"/>
                  </a:lnTo>
                  <a:lnTo>
                    <a:pt x="392" y="1056"/>
                  </a:lnTo>
                  <a:lnTo>
                    <a:pt x="392" y="1058"/>
                  </a:lnTo>
                  <a:lnTo>
                    <a:pt x="392" y="1058"/>
                  </a:lnTo>
                  <a:lnTo>
                    <a:pt x="390" y="1058"/>
                  </a:lnTo>
                  <a:lnTo>
                    <a:pt x="390" y="1061"/>
                  </a:lnTo>
                  <a:lnTo>
                    <a:pt x="390" y="1063"/>
                  </a:lnTo>
                  <a:lnTo>
                    <a:pt x="392" y="1065"/>
                  </a:lnTo>
                  <a:lnTo>
                    <a:pt x="390" y="1065"/>
                  </a:lnTo>
                  <a:lnTo>
                    <a:pt x="392" y="1068"/>
                  </a:lnTo>
                  <a:lnTo>
                    <a:pt x="392" y="1070"/>
                  </a:lnTo>
                  <a:lnTo>
                    <a:pt x="392" y="1070"/>
                  </a:lnTo>
                  <a:lnTo>
                    <a:pt x="395" y="1070"/>
                  </a:lnTo>
                  <a:lnTo>
                    <a:pt x="395" y="1075"/>
                  </a:lnTo>
                  <a:lnTo>
                    <a:pt x="395" y="1075"/>
                  </a:lnTo>
                  <a:lnTo>
                    <a:pt x="392" y="1075"/>
                  </a:lnTo>
                  <a:lnTo>
                    <a:pt x="392" y="1077"/>
                  </a:lnTo>
                  <a:lnTo>
                    <a:pt x="392" y="1077"/>
                  </a:lnTo>
                  <a:lnTo>
                    <a:pt x="390" y="1080"/>
                  </a:lnTo>
                  <a:lnTo>
                    <a:pt x="390" y="1080"/>
                  </a:lnTo>
                  <a:lnTo>
                    <a:pt x="390" y="1082"/>
                  </a:lnTo>
                  <a:lnTo>
                    <a:pt x="388" y="1084"/>
                  </a:lnTo>
                  <a:lnTo>
                    <a:pt x="373" y="1068"/>
                  </a:lnTo>
                  <a:lnTo>
                    <a:pt x="373" y="1065"/>
                  </a:lnTo>
                  <a:lnTo>
                    <a:pt x="371" y="1065"/>
                  </a:lnTo>
                  <a:lnTo>
                    <a:pt x="369" y="1065"/>
                  </a:lnTo>
                  <a:lnTo>
                    <a:pt x="364" y="1065"/>
                  </a:lnTo>
                  <a:lnTo>
                    <a:pt x="364" y="1065"/>
                  </a:lnTo>
                  <a:lnTo>
                    <a:pt x="362" y="1065"/>
                  </a:lnTo>
                  <a:lnTo>
                    <a:pt x="362" y="1065"/>
                  </a:lnTo>
                  <a:lnTo>
                    <a:pt x="362" y="1063"/>
                  </a:lnTo>
                  <a:lnTo>
                    <a:pt x="362" y="1065"/>
                  </a:lnTo>
                  <a:lnTo>
                    <a:pt x="359" y="1065"/>
                  </a:lnTo>
                  <a:lnTo>
                    <a:pt x="359" y="1063"/>
                  </a:lnTo>
                  <a:lnTo>
                    <a:pt x="359" y="1061"/>
                  </a:lnTo>
                  <a:lnTo>
                    <a:pt x="359" y="1061"/>
                  </a:lnTo>
                  <a:lnTo>
                    <a:pt x="359" y="1063"/>
                  </a:lnTo>
                  <a:lnTo>
                    <a:pt x="359" y="1061"/>
                  </a:lnTo>
                  <a:lnTo>
                    <a:pt x="357" y="1061"/>
                  </a:lnTo>
                  <a:lnTo>
                    <a:pt x="357" y="1061"/>
                  </a:lnTo>
                  <a:lnTo>
                    <a:pt x="355" y="1061"/>
                  </a:lnTo>
                  <a:lnTo>
                    <a:pt x="355" y="1063"/>
                  </a:lnTo>
                  <a:lnTo>
                    <a:pt x="355" y="1063"/>
                  </a:lnTo>
                  <a:lnTo>
                    <a:pt x="352" y="1063"/>
                  </a:lnTo>
                  <a:lnTo>
                    <a:pt x="352" y="1065"/>
                  </a:lnTo>
                  <a:lnTo>
                    <a:pt x="352" y="1063"/>
                  </a:lnTo>
                  <a:lnTo>
                    <a:pt x="352" y="1063"/>
                  </a:lnTo>
                  <a:lnTo>
                    <a:pt x="350" y="1061"/>
                  </a:lnTo>
                  <a:lnTo>
                    <a:pt x="350" y="1058"/>
                  </a:lnTo>
                  <a:lnTo>
                    <a:pt x="347" y="1058"/>
                  </a:lnTo>
                  <a:lnTo>
                    <a:pt x="345" y="1061"/>
                  </a:lnTo>
                  <a:lnTo>
                    <a:pt x="345" y="1058"/>
                  </a:lnTo>
                  <a:lnTo>
                    <a:pt x="343" y="1058"/>
                  </a:lnTo>
                  <a:lnTo>
                    <a:pt x="343" y="1058"/>
                  </a:lnTo>
                  <a:lnTo>
                    <a:pt x="345" y="1058"/>
                  </a:lnTo>
                  <a:lnTo>
                    <a:pt x="343" y="1056"/>
                  </a:lnTo>
                  <a:lnTo>
                    <a:pt x="340" y="1056"/>
                  </a:lnTo>
                  <a:lnTo>
                    <a:pt x="340" y="1056"/>
                  </a:lnTo>
                  <a:lnTo>
                    <a:pt x="340" y="1054"/>
                  </a:lnTo>
                  <a:lnTo>
                    <a:pt x="340" y="1054"/>
                  </a:lnTo>
                  <a:lnTo>
                    <a:pt x="340" y="1054"/>
                  </a:lnTo>
                  <a:lnTo>
                    <a:pt x="340" y="1054"/>
                  </a:lnTo>
                  <a:lnTo>
                    <a:pt x="338" y="1054"/>
                  </a:lnTo>
                  <a:lnTo>
                    <a:pt x="338" y="1054"/>
                  </a:lnTo>
                  <a:lnTo>
                    <a:pt x="338" y="1054"/>
                  </a:lnTo>
                  <a:lnTo>
                    <a:pt x="338" y="1058"/>
                  </a:lnTo>
                  <a:lnTo>
                    <a:pt x="338" y="1058"/>
                  </a:lnTo>
                  <a:lnTo>
                    <a:pt x="338" y="1058"/>
                  </a:lnTo>
                  <a:lnTo>
                    <a:pt x="338" y="1061"/>
                  </a:lnTo>
                  <a:lnTo>
                    <a:pt x="338" y="1061"/>
                  </a:lnTo>
                  <a:lnTo>
                    <a:pt x="336" y="1061"/>
                  </a:lnTo>
                  <a:lnTo>
                    <a:pt x="336" y="1061"/>
                  </a:lnTo>
                  <a:lnTo>
                    <a:pt x="333" y="1061"/>
                  </a:lnTo>
                  <a:lnTo>
                    <a:pt x="333" y="1061"/>
                  </a:lnTo>
                  <a:lnTo>
                    <a:pt x="333" y="1061"/>
                  </a:lnTo>
                  <a:lnTo>
                    <a:pt x="333" y="1061"/>
                  </a:lnTo>
                  <a:lnTo>
                    <a:pt x="329" y="1063"/>
                  </a:lnTo>
                  <a:lnTo>
                    <a:pt x="329" y="1063"/>
                  </a:lnTo>
                  <a:lnTo>
                    <a:pt x="329" y="1063"/>
                  </a:lnTo>
                  <a:lnTo>
                    <a:pt x="329" y="1063"/>
                  </a:lnTo>
                  <a:lnTo>
                    <a:pt x="326" y="1063"/>
                  </a:lnTo>
                  <a:lnTo>
                    <a:pt x="326" y="1063"/>
                  </a:lnTo>
                  <a:lnTo>
                    <a:pt x="326" y="1063"/>
                  </a:lnTo>
                  <a:lnTo>
                    <a:pt x="329" y="1061"/>
                  </a:lnTo>
                  <a:lnTo>
                    <a:pt x="329" y="1056"/>
                  </a:lnTo>
                  <a:lnTo>
                    <a:pt x="326" y="1056"/>
                  </a:lnTo>
                  <a:lnTo>
                    <a:pt x="326" y="1054"/>
                  </a:lnTo>
                  <a:lnTo>
                    <a:pt x="326" y="1054"/>
                  </a:lnTo>
                  <a:lnTo>
                    <a:pt x="326" y="1054"/>
                  </a:lnTo>
                  <a:lnTo>
                    <a:pt x="329" y="1051"/>
                  </a:lnTo>
                  <a:lnTo>
                    <a:pt x="326" y="1051"/>
                  </a:lnTo>
                  <a:lnTo>
                    <a:pt x="326" y="1049"/>
                  </a:lnTo>
                  <a:lnTo>
                    <a:pt x="326" y="1049"/>
                  </a:lnTo>
                  <a:lnTo>
                    <a:pt x="326" y="1049"/>
                  </a:lnTo>
                  <a:lnTo>
                    <a:pt x="326" y="1047"/>
                  </a:lnTo>
                  <a:lnTo>
                    <a:pt x="329" y="1047"/>
                  </a:lnTo>
                  <a:lnTo>
                    <a:pt x="329" y="1044"/>
                  </a:lnTo>
                  <a:lnTo>
                    <a:pt x="329" y="1044"/>
                  </a:lnTo>
                  <a:lnTo>
                    <a:pt x="329" y="1042"/>
                  </a:lnTo>
                  <a:lnTo>
                    <a:pt x="329" y="1044"/>
                  </a:lnTo>
                  <a:lnTo>
                    <a:pt x="326" y="1044"/>
                  </a:lnTo>
                  <a:lnTo>
                    <a:pt x="326" y="1042"/>
                  </a:lnTo>
                  <a:lnTo>
                    <a:pt x="324" y="1044"/>
                  </a:lnTo>
                  <a:lnTo>
                    <a:pt x="324" y="1044"/>
                  </a:lnTo>
                  <a:lnTo>
                    <a:pt x="324" y="1044"/>
                  </a:lnTo>
                  <a:lnTo>
                    <a:pt x="324" y="1044"/>
                  </a:lnTo>
                  <a:lnTo>
                    <a:pt x="321" y="1047"/>
                  </a:lnTo>
                  <a:lnTo>
                    <a:pt x="319" y="1044"/>
                  </a:lnTo>
                  <a:lnTo>
                    <a:pt x="319" y="1047"/>
                  </a:lnTo>
                  <a:lnTo>
                    <a:pt x="319" y="1044"/>
                  </a:lnTo>
                  <a:lnTo>
                    <a:pt x="317" y="1047"/>
                  </a:lnTo>
                  <a:lnTo>
                    <a:pt x="317" y="1047"/>
                  </a:lnTo>
                  <a:lnTo>
                    <a:pt x="317" y="1049"/>
                  </a:lnTo>
                  <a:lnTo>
                    <a:pt x="317" y="1049"/>
                  </a:lnTo>
                  <a:lnTo>
                    <a:pt x="314" y="1049"/>
                  </a:lnTo>
                  <a:lnTo>
                    <a:pt x="314" y="1049"/>
                  </a:lnTo>
                  <a:lnTo>
                    <a:pt x="314" y="1049"/>
                  </a:lnTo>
                  <a:lnTo>
                    <a:pt x="312" y="1051"/>
                  </a:lnTo>
                  <a:lnTo>
                    <a:pt x="312" y="1049"/>
                  </a:lnTo>
                  <a:lnTo>
                    <a:pt x="312" y="1049"/>
                  </a:lnTo>
                  <a:lnTo>
                    <a:pt x="312" y="1049"/>
                  </a:lnTo>
                  <a:lnTo>
                    <a:pt x="310" y="1049"/>
                  </a:lnTo>
                  <a:lnTo>
                    <a:pt x="310" y="1051"/>
                  </a:lnTo>
                  <a:lnTo>
                    <a:pt x="310" y="1051"/>
                  </a:lnTo>
                  <a:lnTo>
                    <a:pt x="307" y="1054"/>
                  </a:lnTo>
                  <a:lnTo>
                    <a:pt x="310" y="1054"/>
                  </a:lnTo>
                  <a:lnTo>
                    <a:pt x="307" y="1054"/>
                  </a:lnTo>
                  <a:lnTo>
                    <a:pt x="310" y="1054"/>
                  </a:lnTo>
                  <a:lnTo>
                    <a:pt x="310" y="1054"/>
                  </a:lnTo>
                  <a:lnTo>
                    <a:pt x="307" y="1054"/>
                  </a:lnTo>
                  <a:lnTo>
                    <a:pt x="307" y="1054"/>
                  </a:lnTo>
                  <a:lnTo>
                    <a:pt x="307" y="1054"/>
                  </a:lnTo>
                  <a:lnTo>
                    <a:pt x="307" y="1054"/>
                  </a:lnTo>
                  <a:lnTo>
                    <a:pt x="305" y="1054"/>
                  </a:lnTo>
                  <a:lnTo>
                    <a:pt x="305" y="1054"/>
                  </a:lnTo>
                  <a:lnTo>
                    <a:pt x="305" y="1054"/>
                  </a:lnTo>
                  <a:lnTo>
                    <a:pt x="305" y="1054"/>
                  </a:lnTo>
                  <a:lnTo>
                    <a:pt x="305" y="1056"/>
                  </a:lnTo>
                  <a:lnTo>
                    <a:pt x="305" y="1056"/>
                  </a:lnTo>
                  <a:lnTo>
                    <a:pt x="303" y="1054"/>
                  </a:lnTo>
                  <a:lnTo>
                    <a:pt x="303" y="1054"/>
                  </a:lnTo>
                  <a:lnTo>
                    <a:pt x="300" y="1056"/>
                  </a:lnTo>
                  <a:lnTo>
                    <a:pt x="300" y="1056"/>
                  </a:lnTo>
                  <a:lnTo>
                    <a:pt x="300" y="1056"/>
                  </a:lnTo>
                  <a:lnTo>
                    <a:pt x="300" y="1056"/>
                  </a:lnTo>
                  <a:lnTo>
                    <a:pt x="298" y="1058"/>
                  </a:lnTo>
                  <a:lnTo>
                    <a:pt x="298" y="1058"/>
                  </a:lnTo>
                  <a:lnTo>
                    <a:pt x="298" y="1058"/>
                  </a:lnTo>
                  <a:lnTo>
                    <a:pt x="298" y="1058"/>
                  </a:lnTo>
                  <a:lnTo>
                    <a:pt x="296" y="1058"/>
                  </a:lnTo>
                  <a:lnTo>
                    <a:pt x="296" y="1058"/>
                  </a:lnTo>
                  <a:lnTo>
                    <a:pt x="293" y="1058"/>
                  </a:lnTo>
                  <a:lnTo>
                    <a:pt x="293" y="1058"/>
                  </a:lnTo>
                  <a:lnTo>
                    <a:pt x="293" y="1061"/>
                  </a:lnTo>
                  <a:lnTo>
                    <a:pt x="293" y="1061"/>
                  </a:lnTo>
                  <a:lnTo>
                    <a:pt x="291" y="1061"/>
                  </a:lnTo>
                  <a:lnTo>
                    <a:pt x="291" y="1061"/>
                  </a:lnTo>
                  <a:lnTo>
                    <a:pt x="288" y="1061"/>
                  </a:lnTo>
                  <a:lnTo>
                    <a:pt x="288" y="1058"/>
                  </a:lnTo>
                  <a:lnTo>
                    <a:pt x="291" y="1058"/>
                  </a:lnTo>
                  <a:lnTo>
                    <a:pt x="288" y="1056"/>
                  </a:lnTo>
                  <a:lnTo>
                    <a:pt x="288" y="1056"/>
                  </a:lnTo>
                  <a:lnTo>
                    <a:pt x="291" y="1056"/>
                  </a:lnTo>
                  <a:lnTo>
                    <a:pt x="288" y="1054"/>
                  </a:lnTo>
                  <a:lnTo>
                    <a:pt x="288" y="1054"/>
                  </a:lnTo>
                  <a:lnTo>
                    <a:pt x="288" y="1054"/>
                  </a:lnTo>
                  <a:lnTo>
                    <a:pt x="288" y="1051"/>
                  </a:lnTo>
                  <a:lnTo>
                    <a:pt x="288" y="1051"/>
                  </a:lnTo>
                  <a:lnTo>
                    <a:pt x="288" y="1051"/>
                  </a:lnTo>
                  <a:lnTo>
                    <a:pt x="288" y="1049"/>
                  </a:lnTo>
                  <a:lnTo>
                    <a:pt x="286" y="1049"/>
                  </a:lnTo>
                  <a:lnTo>
                    <a:pt x="288" y="1049"/>
                  </a:lnTo>
                  <a:lnTo>
                    <a:pt x="288" y="1047"/>
                  </a:lnTo>
                  <a:lnTo>
                    <a:pt x="288" y="1044"/>
                  </a:lnTo>
                  <a:lnTo>
                    <a:pt x="288" y="1044"/>
                  </a:lnTo>
                  <a:lnTo>
                    <a:pt x="288" y="1044"/>
                  </a:lnTo>
                  <a:lnTo>
                    <a:pt x="288" y="1042"/>
                  </a:lnTo>
                  <a:lnTo>
                    <a:pt x="288" y="1042"/>
                  </a:lnTo>
                  <a:lnTo>
                    <a:pt x="286" y="1039"/>
                  </a:lnTo>
                  <a:lnTo>
                    <a:pt x="286" y="1042"/>
                  </a:lnTo>
                  <a:lnTo>
                    <a:pt x="286" y="1042"/>
                  </a:lnTo>
                  <a:lnTo>
                    <a:pt x="286" y="1042"/>
                  </a:lnTo>
                  <a:lnTo>
                    <a:pt x="284" y="1039"/>
                  </a:lnTo>
                  <a:lnTo>
                    <a:pt x="281" y="1042"/>
                  </a:lnTo>
                  <a:lnTo>
                    <a:pt x="281" y="1044"/>
                  </a:lnTo>
                  <a:lnTo>
                    <a:pt x="281" y="1047"/>
                  </a:lnTo>
                  <a:lnTo>
                    <a:pt x="281" y="1049"/>
                  </a:lnTo>
                  <a:lnTo>
                    <a:pt x="279" y="1049"/>
                  </a:lnTo>
                  <a:lnTo>
                    <a:pt x="277" y="1049"/>
                  </a:lnTo>
                  <a:lnTo>
                    <a:pt x="277" y="1051"/>
                  </a:lnTo>
                  <a:lnTo>
                    <a:pt x="279" y="1054"/>
                  </a:lnTo>
                  <a:lnTo>
                    <a:pt x="277" y="1054"/>
                  </a:lnTo>
                  <a:lnTo>
                    <a:pt x="277" y="1056"/>
                  </a:lnTo>
                  <a:lnTo>
                    <a:pt x="277" y="1058"/>
                  </a:lnTo>
                  <a:lnTo>
                    <a:pt x="277" y="1061"/>
                  </a:lnTo>
                  <a:lnTo>
                    <a:pt x="277" y="1063"/>
                  </a:lnTo>
                  <a:lnTo>
                    <a:pt x="277" y="1065"/>
                  </a:lnTo>
                  <a:lnTo>
                    <a:pt x="274" y="1065"/>
                  </a:lnTo>
                  <a:lnTo>
                    <a:pt x="274" y="1065"/>
                  </a:lnTo>
                  <a:lnTo>
                    <a:pt x="272" y="1061"/>
                  </a:lnTo>
                  <a:lnTo>
                    <a:pt x="272" y="1061"/>
                  </a:lnTo>
                  <a:lnTo>
                    <a:pt x="272" y="1058"/>
                  </a:lnTo>
                  <a:lnTo>
                    <a:pt x="272" y="1056"/>
                  </a:lnTo>
                  <a:lnTo>
                    <a:pt x="272" y="1056"/>
                  </a:lnTo>
                  <a:lnTo>
                    <a:pt x="272" y="1054"/>
                  </a:lnTo>
                  <a:lnTo>
                    <a:pt x="272" y="1054"/>
                  </a:lnTo>
                  <a:lnTo>
                    <a:pt x="274" y="1051"/>
                  </a:lnTo>
                  <a:lnTo>
                    <a:pt x="274" y="1051"/>
                  </a:lnTo>
                  <a:lnTo>
                    <a:pt x="274" y="1049"/>
                  </a:lnTo>
                  <a:lnTo>
                    <a:pt x="274" y="1049"/>
                  </a:lnTo>
                  <a:lnTo>
                    <a:pt x="274" y="1047"/>
                  </a:lnTo>
                  <a:lnTo>
                    <a:pt x="274" y="1047"/>
                  </a:lnTo>
                  <a:lnTo>
                    <a:pt x="272" y="1044"/>
                  </a:lnTo>
                  <a:lnTo>
                    <a:pt x="272" y="1044"/>
                  </a:lnTo>
                  <a:lnTo>
                    <a:pt x="272" y="1042"/>
                  </a:lnTo>
                  <a:lnTo>
                    <a:pt x="272" y="1042"/>
                  </a:lnTo>
                  <a:lnTo>
                    <a:pt x="272" y="1042"/>
                  </a:lnTo>
                  <a:lnTo>
                    <a:pt x="274" y="1042"/>
                  </a:lnTo>
                  <a:lnTo>
                    <a:pt x="274" y="1039"/>
                  </a:lnTo>
                  <a:lnTo>
                    <a:pt x="274" y="1039"/>
                  </a:lnTo>
                  <a:lnTo>
                    <a:pt x="274" y="1037"/>
                  </a:lnTo>
                  <a:lnTo>
                    <a:pt x="272" y="1037"/>
                  </a:lnTo>
                  <a:lnTo>
                    <a:pt x="272" y="1035"/>
                  </a:lnTo>
                  <a:lnTo>
                    <a:pt x="272" y="1035"/>
                  </a:lnTo>
                  <a:lnTo>
                    <a:pt x="272" y="1032"/>
                  </a:lnTo>
                  <a:lnTo>
                    <a:pt x="272" y="1032"/>
                  </a:lnTo>
                  <a:lnTo>
                    <a:pt x="272" y="1032"/>
                  </a:lnTo>
                  <a:lnTo>
                    <a:pt x="272" y="1030"/>
                  </a:lnTo>
                  <a:lnTo>
                    <a:pt x="270" y="1030"/>
                  </a:lnTo>
                  <a:lnTo>
                    <a:pt x="270" y="1030"/>
                  </a:lnTo>
                  <a:lnTo>
                    <a:pt x="267" y="1030"/>
                  </a:lnTo>
                  <a:lnTo>
                    <a:pt x="267" y="1028"/>
                  </a:lnTo>
                  <a:lnTo>
                    <a:pt x="267" y="1025"/>
                  </a:lnTo>
                  <a:lnTo>
                    <a:pt x="267" y="1025"/>
                  </a:lnTo>
                  <a:lnTo>
                    <a:pt x="265" y="1025"/>
                  </a:lnTo>
                  <a:lnTo>
                    <a:pt x="265" y="1025"/>
                  </a:lnTo>
                  <a:lnTo>
                    <a:pt x="265" y="1023"/>
                  </a:lnTo>
                  <a:lnTo>
                    <a:pt x="262" y="1023"/>
                  </a:lnTo>
                  <a:lnTo>
                    <a:pt x="262" y="1023"/>
                  </a:lnTo>
                  <a:lnTo>
                    <a:pt x="262" y="1023"/>
                  </a:lnTo>
                  <a:lnTo>
                    <a:pt x="260" y="1023"/>
                  </a:lnTo>
                  <a:lnTo>
                    <a:pt x="260" y="1023"/>
                  </a:lnTo>
                  <a:lnTo>
                    <a:pt x="260" y="1023"/>
                  </a:lnTo>
                  <a:lnTo>
                    <a:pt x="260" y="1023"/>
                  </a:lnTo>
                  <a:lnTo>
                    <a:pt x="258" y="1023"/>
                  </a:lnTo>
                  <a:lnTo>
                    <a:pt x="258" y="1023"/>
                  </a:lnTo>
                  <a:lnTo>
                    <a:pt x="258" y="1023"/>
                  </a:lnTo>
                  <a:lnTo>
                    <a:pt x="255" y="1023"/>
                  </a:lnTo>
                  <a:lnTo>
                    <a:pt x="255" y="1023"/>
                  </a:lnTo>
                  <a:lnTo>
                    <a:pt x="255" y="1023"/>
                  </a:lnTo>
                  <a:lnTo>
                    <a:pt x="255" y="1021"/>
                  </a:lnTo>
                  <a:lnTo>
                    <a:pt x="255" y="1018"/>
                  </a:lnTo>
                  <a:lnTo>
                    <a:pt x="253" y="1016"/>
                  </a:lnTo>
                  <a:lnTo>
                    <a:pt x="255" y="1013"/>
                  </a:lnTo>
                  <a:lnTo>
                    <a:pt x="253" y="1013"/>
                  </a:lnTo>
                  <a:lnTo>
                    <a:pt x="253" y="1013"/>
                  </a:lnTo>
                  <a:lnTo>
                    <a:pt x="253" y="1011"/>
                  </a:lnTo>
                  <a:lnTo>
                    <a:pt x="251" y="1011"/>
                  </a:lnTo>
                  <a:lnTo>
                    <a:pt x="251" y="1011"/>
                  </a:lnTo>
                  <a:lnTo>
                    <a:pt x="248" y="1006"/>
                  </a:lnTo>
                  <a:lnTo>
                    <a:pt x="248" y="1009"/>
                  </a:lnTo>
                  <a:lnTo>
                    <a:pt x="246" y="1009"/>
                  </a:lnTo>
                  <a:lnTo>
                    <a:pt x="246" y="1006"/>
                  </a:lnTo>
                  <a:lnTo>
                    <a:pt x="246" y="1006"/>
                  </a:lnTo>
                  <a:lnTo>
                    <a:pt x="246" y="1006"/>
                  </a:lnTo>
                  <a:lnTo>
                    <a:pt x="244" y="1006"/>
                  </a:lnTo>
                  <a:lnTo>
                    <a:pt x="244" y="1004"/>
                  </a:lnTo>
                  <a:lnTo>
                    <a:pt x="244" y="1004"/>
                  </a:lnTo>
                  <a:lnTo>
                    <a:pt x="244" y="1004"/>
                  </a:lnTo>
                  <a:lnTo>
                    <a:pt x="244" y="1004"/>
                  </a:lnTo>
                  <a:lnTo>
                    <a:pt x="241" y="1002"/>
                  </a:lnTo>
                  <a:lnTo>
                    <a:pt x="241" y="1004"/>
                  </a:lnTo>
                  <a:lnTo>
                    <a:pt x="241" y="1004"/>
                  </a:lnTo>
                  <a:lnTo>
                    <a:pt x="241" y="1002"/>
                  </a:lnTo>
                  <a:lnTo>
                    <a:pt x="241" y="1002"/>
                  </a:lnTo>
                  <a:lnTo>
                    <a:pt x="241" y="999"/>
                  </a:lnTo>
                  <a:lnTo>
                    <a:pt x="241" y="997"/>
                  </a:lnTo>
                  <a:lnTo>
                    <a:pt x="239" y="997"/>
                  </a:lnTo>
                  <a:lnTo>
                    <a:pt x="239" y="997"/>
                  </a:lnTo>
                  <a:lnTo>
                    <a:pt x="236" y="997"/>
                  </a:lnTo>
                  <a:lnTo>
                    <a:pt x="236" y="997"/>
                  </a:lnTo>
                  <a:lnTo>
                    <a:pt x="236" y="999"/>
                  </a:lnTo>
                  <a:lnTo>
                    <a:pt x="236" y="999"/>
                  </a:lnTo>
                  <a:lnTo>
                    <a:pt x="236" y="999"/>
                  </a:lnTo>
                  <a:lnTo>
                    <a:pt x="225" y="1018"/>
                  </a:lnTo>
                  <a:lnTo>
                    <a:pt x="222" y="1016"/>
                  </a:lnTo>
                  <a:lnTo>
                    <a:pt x="220" y="1013"/>
                  </a:lnTo>
                  <a:lnTo>
                    <a:pt x="220" y="1013"/>
                  </a:lnTo>
                  <a:lnTo>
                    <a:pt x="218" y="1011"/>
                  </a:lnTo>
                  <a:lnTo>
                    <a:pt x="218" y="1011"/>
                  </a:lnTo>
                  <a:lnTo>
                    <a:pt x="218" y="1011"/>
                  </a:lnTo>
                  <a:lnTo>
                    <a:pt x="215" y="1011"/>
                  </a:lnTo>
                  <a:lnTo>
                    <a:pt x="215" y="1011"/>
                  </a:lnTo>
                  <a:lnTo>
                    <a:pt x="215" y="1011"/>
                  </a:lnTo>
                  <a:lnTo>
                    <a:pt x="210" y="1011"/>
                  </a:lnTo>
                  <a:lnTo>
                    <a:pt x="210" y="1009"/>
                  </a:lnTo>
                  <a:lnTo>
                    <a:pt x="210" y="1009"/>
                  </a:lnTo>
                  <a:lnTo>
                    <a:pt x="210" y="1009"/>
                  </a:lnTo>
                  <a:lnTo>
                    <a:pt x="210" y="1006"/>
                  </a:lnTo>
                  <a:lnTo>
                    <a:pt x="213" y="1006"/>
                  </a:lnTo>
                  <a:lnTo>
                    <a:pt x="213" y="1004"/>
                  </a:lnTo>
                  <a:lnTo>
                    <a:pt x="213" y="1004"/>
                  </a:lnTo>
                  <a:lnTo>
                    <a:pt x="213" y="1004"/>
                  </a:lnTo>
                  <a:lnTo>
                    <a:pt x="210" y="1004"/>
                  </a:lnTo>
                  <a:lnTo>
                    <a:pt x="208" y="1002"/>
                  </a:lnTo>
                  <a:lnTo>
                    <a:pt x="208" y="1002"/>
                  </a:lnTo>
                  <a:lnTo>
                    <a:pt x="206" y="995"/>
                  </a:lnTo>
                  <a:lnTo>
                    <a:pt x="203" y="997"/>
                  </a:lnTo>
                  <a:lnTo>
                    <a:pt x="203" y="999"/>
                  </a:lnTo>
                  <a:lnTo>
                    <a:pt x="201" y="999"/>
                  </a:lnTo>
                  <a:lnTo>
                    <a:pt x="199" y="1002"/>
                  </a:lnTo>
                  <a:lnTo>
                    <a:pt x="196" y="1004"/>
                  </a:lnTo>
                  <a:lnTo>
                    <a:pt x="196" y="1004"/>
                  </a:lnTo>
                  <a:lnTo>
                    <a:pt x="196" y="1006"/>
                  </a:lnTo>
                  <a:lnTo>
                    <a:pt x="194" y="1006"/>
                  </a:lnTo>
                  <a:lnTo>
                    <a:pt x="194" y="1006"/>
                  </a:lnTo>
                  <a:lnTo>
                    <a:pt x="194" y="1006"/>
                  </a:lnTo>
                  <a:lnTo>
                    <a:pt x="192" y="1006"/>
                  </a:lnTo>
                  <a:lnTo>
                    <a:pt x="192" y="1009"/>
                  </a:lnTo>
                  <a:lnTo>
                    <a:pt x="192" y="1009"/>
                  </a:lnTo>
                  <a:lnTo>
                    <a:pt x="189" y="1011"/>
                  </a:lnTo>
                  <a:lnTo>
                    <a:pt x="189" y="1013"/>
                  </a:lnTo>
                  <a:lnTo>
                    <a:pt x="189" y="1013"/>
                  </a:lnTo>
                  <a:lnTo>
                    <a:pt x="189" y="1016"/>
                  </a:lnTo>
                  <a:lnTo>
                    <a:pt x="187" y="1016"/>
                  </a:lnTo>
                  <a:lnTo>
                    <a:pt x="187" y="1016"/>
                  </a:lnTo>
                  <a:lnTo>
                    <a:pt x="184" y="1021"/>
                  </a:lnTo>
                  <a:lnTo>
                    <a:pt x="184" y="1021"/>
                  </a:lnTo>
                  <a:lnTo>
                    <a:pt x="187" y="1021"/>
                  </a:lnTo>
                  <a:lnTo>
                    <a:pt x="187" y="1023"/>
                  </a:lnTo>
                  <a:lnTo>
                    <a:pt x="184" y="1023"/>
                  </a:lnTo>
                  <a:lnTo>
                    <a:pt x="182" y="1025"/>
                  </a:lnTo>
                  <a:lnTo>
                    <a:pt x="180" y="1030"/>
                  </a:lnTo>
                  <a:lnTo>
                    <a:pt x="177" y="1032"/>
                  </a:lnTo>
                  <a:lnTo>
                    <a:pt x="175" y="1037"/>
                  </a:lnTo>
                  <a:lnTo>
                    <a:pt x="175" y="1037"/>
                  </a:lnTo>
                  <a:lnTo>
                    <a:pt x="177" y="1039"/>
                  </a:lnTo>
                  <a:lnTo>
                    <a:pt x="177" y="1039"/>
                  </a:lnTo>
                  <a:lnTo>
                    <a:pt x="177" y="1042"/>
                  </a:lnTo>
                  <a:lnTo>
                    <a:pt x="175" y="1044"/>
                  </a:lnTo>
                  <a:lnTo>
                    <a:pt x="177" y="1047"/>
                  </a:lnTo>
                  <a:lnTo>
                    <a:pt x="177" y="1049"/>
                  </a:lnTo>
                  <a:lnTo>
                    <a:pt x="177" y="1049"/>
                  </a:lnTo>
                  <a:lnTo>
                    <a:pt x="177" y="1051"/>
                  </a:lnTo>
                  <a:lnTo>
                    <a:pt x="177" y="1054"/>
                  </a:lnTo>
                  <a:lnTo>
                    <a:pt x="177" y="1054"/>
                  </a:lnTo>
                  <a:lnTo>
                    <a:pt x="177" y="1056"/>
                  </a:lnTo>
                  <a:lnTo>
                    <a:pt x="173" y="1058"/>
                  </a:lnTo>
                  <a:lnTo>
                    <a:pt x="161" y="1051"/>
                  </a:lnTo>
                  <a:lnTo>
                    <a:pt x="144" y="1042"/>
                  </a:lnTo>
                  <a:lnTo>
                    <a:pt x="107" y="1021"/>
                  </a:lnTo>
                  <a:lnTo>
                    <a:pt x="104" y="1018"/>
                  </a:lnTo>
                  <a:lnTo>
                    <a:pt x="104" y="1018"/>
                  </a:lnTo>
                  <a:lnTo>
                    <a:pt x="102" y="1018"/>
                  </a:lnTo>
                  <a:lnTo>
                    <a:pt x="99" y="1018"/>
                  </a:lnTo>
                  <a:lnTo>
                    <a:pt x="97" y="1016"/>
                  </a:lnTo>
                  <a:lnTo>
                    <a:pt x="95" y="1016"/>
                  </a:lnTo>
                  <a:lnTo>
                    <a:pt x="95" y="1013"/>
                  </a:lnTo>
                  <a:lnTo>
                    <a:pt x="92" y="1013"/>
                  </a:lnTo>
                  <a:lnTo>
                    <a:pt x="90" y="1013"/>
                  </a:lnTo>
                  <a:lnTo>
                    <a:pt x="88" y="1013"/>
                  </a:lnTo>
                  <a:lnTo>
                    <a:pt x="88" y="1013"/>
                  </a:lnTo>
                  <a:lnTo>
                    <a:pt x="85" y="1013"/>
                  </a:lnTo>
                  <a:lnTo>
                    <a:pt x="85" y="1011"/>
                  </a:lnTo>
                  <a:lnTo>
                    <a:pt x="81" y="1011"/>
                  </a:lnTo>
                  <a:lnTo>
                    <a:pt x="81" y="1011"/>
                  </a:lnTo>
                  <a:lnTo>
                    <a:pt x="78" y="1011"/>
                  </a:lnTo>
                  <a:lnTo>
                    <a:pt x="76" y="1011"/>
                  </a:lnTo>
                  <a:lnTo>
                    <a:pt x="73" y="1009"/>
                  </a:lnTo>
                  <a:lnTo>
                    <a:pt x="71" y="1011"/>
                  </a:lnTo>
                  <a:lnTo>
                    <a:pt x="71" y="1009"/>
                  </a:lnTo>
                  <a:lnTo>
                    <a:pt x="71" y="1009"/>
                  </a:lnTo>
                  <a:lnTo>
                    <a:pt x="71" y="1011"/>
                  </a:lnTo>
                  <a:lnTo>
                    <a:pt x="69" y="1009"/>
                  </a:lnTo>
                  <a:lnTo>
                    <a:pt x="69" y="1009"/>
                  </a:lnTo>
                  <a:lnTo>
                    <a:pt x="69" y="1009"/>
                  </a:lnTo>
                  <a:lnTo>
                    <a:pt x="66" y="1006"/>
                  </a:lnTo>
                  <a:lnTo>
                    <a:pt x="66" y="1006"/>
                  </a:lnTo>
                  <a:lnTo>
                    <a:pt x="66" y="1006"/>
                  </a:lnTo>
                  <a:lnTo>
                    <a:pt x="66" y="1004"/>
                  </a:lnTo>
                  <a:lnTo>
                    <a:pt x="64" y="1004"/>
                  </a:lnTo>
                  <a:lnTo>
                    <a:pt x="64" y="1004"/>
                  </a:lnTo>
                  <a:lnTo>
                    <a:pt x="64" y="1004"/>
                  </a:lnTo>
                  <a:lnTo>
                    <a:pt x="64" y="1004"/>
                  </a:lnTo>
                  <a:lnTo>
                    <a:pt x="62" y="1004"/>
                  </a:lnTo>
                  <a:lnTo>
                    <a:pt x="62" y="1004"/>
                  </a:lnTo>
                  <a:lnTo>
                    <a:pt x="59" y="1004"/>
                  </a:lnTo>
                  <a:lnTo>
                    <a:pt x="62" y="1004"/>
                  </a:lnTo>
                  <a:lnTo>
                    <a:pt x="59" y="1002"/>
                  </a:lnTo>
                  <a:lnTo>
                    <a:pt x="59" y="1004"/>
                  </a:lnTo>
                  <a:lnTo>
                    <a:pt x="59" y="1002"/>
                  </a:lnTo>
                  <a:lnTo>
                    <a:pt x="57" y="1002"/>
                  </a:lnTo>
                  <a:lnTo>
                    <a:pt x="57" y="1002"/>
                  </a:lnTo>
                  <a:lnTo>
                    <a:pt x="57" y="1002"/>
                  </a:lnTo>
                  <a:lnTo>
                    <a:pt x="57" y="1002"/>
                  </a:lnTo>
                  <a:lnTo>
                    <a:pt x="57" y="1002"/>
                  </a:lnTo>
                  <a:lnTo>
                    <a:pt x="57" y="999"/>
                  </a:lnTo>
                  <a:lnTo>
                    <a:pt x="55" y="999"/>
                  </a:lnTo>
                  <a:lnTo>
                    <a:pt x="55" y="997"/>
                  </a:lnTo>
                  <a:lnTo>
                    <a:pt x="55" y="997"/>
                  </a:lnTo>
                  <a:lnTo>
                    <a:pt x="55" y="995"/>
                  </a:lnTo>
                  <a:lnTo>
                    <a:pt x="57" y="995"/>
                  </a:lnTo>
                  <a:lnTo>
                    <a:pt x="55" y="992"/>
                  </a:lnTo>
                  <a:lnTo>
                    <a:pt x="57" y="992"/>
                  </a:lnTo>
                  <a:lnTo>
                    <a:pt x="57" y="990"/>
                  </a:lnTo>
                  <a:lnTo>
                    <a:pt x="57" y="990"/>
                  </a:lnTo>
                  <a:lnTo>
                    <a:pt x="57" y="990"/>
                  </a:lnTo>
                  <a:lnTo>
                    <a:pt x="57" y="988"/>
                  </a:lnTo>
                  <a:lnTo>
                    <a:pt x="57" y="985"/>
                  </a:lnTo>
                  <a:lnTo>
                    <a:pt x="57" y="985"/>
                  </a:lnTo>
                  <a:lnTo>
                    <a:pt x="57" y="985"/>
                  </a:lnTo>
                  <a:lnTo>
                    <a:pt x="57" y="983"/>
                  </a:lnTo>
                  <a:lnTo>
                    <a:pt x="57" y="983"/>
                  </a:lnTo>
                  <a:lnTo>
                    <a:pt x="57" y="980"/>
                  </a:lnTo>
                  <a:lnTo>
                    <a:pt x="57" y="983"/>
                  </a:lnTo>
                  <a:lnTo>
                    <a:pt x="57" y="983"/>
                  </a:lnTo>
                  <a:lnTo>
                    <a:pt x="57" y="983"/>
                  </a:lnTo>
                  <a:lnTo>
                    <a:pt x="57" y="983"/>
                  </a:lnTo>
                  <a:lnTo>
                    <a:pt x="59" y="983"/>
                  </a:lnTo>
                  <a:lnTo>
                    <a:pt x="59" y="980"/>
                  </a:lnTo>
                  <a:lnTo>
                    <a:pt x="59" y="983"/>
                  </a:lnTo>
                  <a:lnTo>
                    <a:pt x="59" y="983"/>
                  </a:lnTo>
                  <a:lnTo>
                    <a:pt x="59" y="980"/>
                  </a:lnTo>
                  <a:lnTo>
                    <a:pt x="59" y="978"/>
                  </a:lnTo>
                  <a:lnTo>
                    <a:pt x="59" y="978"/>
                  </a:lnTo>
                  <a:lnTo>
                    <a:pt x="62" y="976"/>
                  </a:lnTo>
                  <a:lnTo>
                    <a:pt x="62" y="976"/>
                  </a:lnTo>
                  <a:lnTo>
                    <a:pt x="62" y="973"/>
                  </a:lnTo>
                  <a:lnTo>
                    <a:pt x="62" y="976"/>
                  </a:lnTo>
                  <a:lnTo>
                    <a:pt x="64" y="973"/>
                  </a:lnTo>
                  <a:lnTo>
                    <a:pt x="62" y="971"/>
                  </a:lnTo>
                  <a:lnTo>
                    <a:pt x="64" y="969"/>
                  </a:lnTo>
                  <a:lnTo>
                    <a:pt x="64" y="969"/>
                  </a:lnTo>
                  <a:lnTo>
                    <a:pt x="64" y="969"/>
                  </a:lnTo>
                  <a:lnTo>
                    <a:pt x="66" y="969"/>
                  </a:lnTo>
                  <a:lnTo>
                    <a:pt x="69" y="966"/>
                  </a:lnTo>
                  <a:lnTo>
                    <a:pt x="69" y="966"/>
                  </a:lnTo>
                  <a:lnTo>
                    <a:pt x="69" y="966"/>
                  </a:lnTo>
                  <a:lnTo>
                    <a:pt x="69" y="966"/>
                  </a:lnTo>
                  <a:lnTo>
                    <a:pt x="69" y="964"/>
                  </a:lnTo>
                  <a:lnTo>
                    <a:pt x="69" y="966"/>
                  </a:lnTo>
                  <a:lnTo>
                    <a:pt x="66" y="966"/>
                  </a:lnTo>
                  <a:lnTo>
                    <a:pt x="66" y="964"/>
                  </a:lnTo>
                  <a:lnTo>
                    <a:pt x="66" y="964"/>
                  </a:lnTo>
                  <a:lnTo>
                    <a:pt x="64" y="962"/>
                  </a:lnTo>
                  <a:lnTo>
                    <a:pt x="66" y="959"/>
                  </a:lnTo>
                  <a:lnTo>
                    <a:pt x="66" y="957"/>
                  </a:lnTo>
                  <a:lnTo>
                    <a:pt x="66" y="957"/>
                  </a:lnTo>
                  <a:lnTo>
                    <a:pt x="69" y="954"/>
                  </a:lnTo>
                  <a:lnTo>
                    <a:pt x="69" y="952"/>
                  </a:lnTo>
                  <a:lnTo>
                    <a:pt x="69" y="952"/>
                  </a:lnTo>
                  <a:lnTo>
                    <a:pt x="71" y="952"/>
                  </a:lnTo>
                  <a:lnTo>
                    <a:pt x="71" y="950"/>
                  </a:lnTo>
                  <a:lnTo>
                    <a:pt x="71" y="950"/>
                  </a:lnTo>
                  <a:lnTo>
                    <a:pt x="73" y="950"/>
                  </a:lnTo>
                  <a:lnTo>
                    <a:pt x="73" y="950"/>
                  </a:lnTo>
                  <a:lnTo>
                    <a:pt x="73" y="950"/>
                  </a:lnTo>
                  <a:lnTo>
                    <a:pt x="73" y="947"/>
                  </a:lnTo>
                  <a:lnTo>
                    <a:pt x="76" y="943"/>
                  </a:lnTo>
                  <a:lnTo>
                    <a:pt x="71" y="945"/>
                  </a:lnTo>
                  <a:lnTo>
                    <a:pt x="71" y="947"/>
                  </a:lnTo>
                  <a:lnTo>
                    <a:pt x="71" y="947"/>
                  </a:lnTo>
                  <a:lnTo>
                    <a:pt x="71" y="947"/>
                  </a:lnTo>
                  <a:lnTo>
                    <a:pt x="69" y="947"/>
                  </a:lnTo>
                  <a:lnTo>
                    <a:pt x="69" y="947"/>
                  </a:lnTo>
                  <a:lnTo>
                    <a:pt x="69" y="947"/>
                  </a:lnTo>
                  <a:lnTo>
                    <a:pt x="69" y="947"/>
                  </a:lnTo>
                  <a:lnTo>
                    <a:pt x="71" y="947"/>
                  </a:lnTo>
                  <a:lnTo>
                    <a:pt x="71" y="950"/>
                  </a:lnTo>
                  <a:lnTo>
                    <a:pt x="69" y="950"/>
                  </a:lnTo>
                  <a:lnTo>
                    <a:pt x="66" y="950"/>
                  </a:lnTo>
                  <a:lnTo>
                    <a:pt x="66" y="950"/>
                  </a:lnTo>
                  <a:lnTo>
                    <a:pt x="69" y="950"/>
                  </a:lnTo>
                  <a:lnTo>
                    <a:pt x="66" y="950"/>
                  </a:lnTo>
                  <a:lnTo>
                    <a:pt x="64" y="952"/>
                  </a:lnTo>
                  <a:lnTo>
                    <a:pt x="62" y="952"/>
                  </a:lnTo>
                  <a:lnTo>
                    <a:pt x="62" y="954"/>
                  </a:lnTo>
                  <a:lnTo>
                    <a:pt x="59" y="954"/>
                  </a:lnTo>
                  <a:lnTo>
                    <a:pt x="57" y="954"/>
                  </a:lnTo>
                  <a:lnTo>
                    <a:pt x="57" y="957"/>
                  </a:lnTo>
                  <a:lnTo>
                    <a:pt x="55" y="957"/>
                  </a:lnTo>
                  <a:lnTo>
                    <a:pt x="52" y="959"/>
                  </a:lnTo>
                  <a:lnTo>
                    <a:pt x="52" y="959"/>
                  </a:lnTo>
                  <a:lnTo>
                    <a:pt x="55" y="959"/>
                  </a:lnTo>
                  <a:lnTo>
                    <a:pt x="55" y="962"/>
                  </a:lnTo>
                  <a:lnTo>
                    <a:pt x="52" y="959"/>
                  </a:lnTo>
                  <a:lnTo>
                    <a:pt x="52" y="959"/>
                  </a:lnTo>
                  <a:lnTo>
                    <a:pt x="52" y="962"/>
                  </a:lnTo>
                  <a:lnTo>
                    <a:pt x="52" y="962"/>
                  </a:lnTo>
                  <a:lnTo>
                    <a:pt x="50" y="962"/>
                  </a:lnTo>
                  <a:lnTo>
                    <a:pt x="50" y="962"/>
                  </a:lnTo>
                  <a:lnTo>
                    <a:pt x="50" y="964"/>
                  </a:lnTo>
                  <a:lnTo>
                    <a:pt x="47" y="964"/>
                  </a:lnTo>
                  <a:lnTo>
                    <a:pt x="47" y="964"/>
                  </a:lnTo>
                  <a:lnTo>
                    <a:pt x="47" y="964"/>
                  </a:lnTo>
                  <a:lnTo>
                    <a:pt x="47" y="966"/>
                  </a:lnTo>
                  <a:lnTo>
                    <a:pt x="47" y="966"/>
                  </a:lnTo>
                  <a:lnTo>
                    <a:pt x="47" y="969"/>
                  </a:lnTo>
                  <a:lnTo>
                    <a:pt x="45" y="969"/>
                  </a:lnTo>
                  <a:lnTo>
                    <a:pt x="45" y="969"/>
                  </a:lnTo>
                  <a:lnTo>
                    <a:pt x="43" y="971"/>
                  </a:lnTo>
                  <a:lnTo>
                    <a:pt x="45" y="971"/>
                  </a:lnTo>
                  <a:lnTo>
                    <a:pt x="43" y="973"/>
                  </a:lnTo>
                  <a:lnTo>
                    <a:pt x="43" y="973"/>
                  </a:lnTo>
                  <a:lnTo>
                    <a:pt x="40" y="973"/>
                  </a:lnTo>
                  <a:lnTo>
                    <a:pt x="43" y="976"/>
                  </a:lnTo>
                  <a:lnTo>
                    <a:pt x="40" y="978"/>
                  </a:lnTo>
                  <a:lnTo>
                    <a:pt x="40" y="976"/>
                  </a:lnTo>
                  <a:lnTo>
                    <a:pt x="38" y="978"/>
                  </a:lnTo>
                  <a:lnTo>
                    <a:pt x="38" y="978"/>
                  </a:lnTo>
                  <a:lnTo>
                    <a:pt x="38" y="978"/>
                  </a:lnTo>
                  <a:lnTo>
                    <a:pt x="40" y="978"/>
                  </a:lnTo>
                  <a:lnTo>
                    <a:pt x="40" y="978"/>
                  </a:lnTo>
                  <a:lnTo>
                    <a:pt x="38" y="978"/>
                  </a:lnTo>
                  <a:lnTo>
                    <a:pt x="40" y="980"/>
                  </a:lnTo>
                  <a:lnTo>
                    <a:pt x="38" y="980"/>
                  </a:lnTo>
                  <a:lnTo>
                    <a:pt x="40" y="983"/>
                  </a:lnTo>
                  <a:lnTo>
                    <a:pt x="38" y="983"/>
                  </a:lnTo>
                  <a:lnTo>
                    <a:pt x="38" y="983"/>
                  </a:lnTo>
                  <a:lnTo>
                    <a:pt x="36" y="983"/>
                  </a:lnTo>
                  <a:lnTo>
                    <a:pt x="36" y="985"/>
                  </a:lnTo>
                  <a:lnTo>
                    <a:pt x="33" y="985"/>
                  </a:lnTo>
                  <a:lnTo>
                    <a:pt x="33" y="985"/>
                  </a:lnTo>
                  <a:lnTo>
                    <a:pt x="33" y="988"/>
                  </a:lnTo>
                  <a:lnTo>
                    <a:pt x="36" y="988"/>
                  </a:lnTo>
                  <a:lnTo>
                    <a:pt x="33" y="988"/>
                  </a:lnTo>
                  <a:lnTo>
                    <a:pt x="33" y="990"/>
                  </a:lnTo>
                  <a:lnTo>
                    <a:pt x="33" y="990"/>
                  </a:lnTo>
                  <a:lnTo>
                    <a:pt x="33" y="992"/>
                  </a:lnTo>
                  <a:lnTo>
                    <a:pt x="33" y="992"/>
                  </a:lnTo>
                  <a:lnTo>
                    <a:pt x="33" y="992"/>
                  </a:lnTo>
                  <a:lnTo>
                    <a:pt x="33" y="995"/>
                  </a:lnTo>
                  <a:lnTo>
                    <a:pt x="33" y="995"/>
                  </a:lnTo>
                  <a:lnTo>
                    <a:pt x="31" y="995"/>
                  </a:lnTo>
                  <a:lnTo>
                    <a:pt x="33" y="999"/>
                  </a:lnTo>
                  <a:lnTo>
                    <a:pt x="31" y="999"/>
                  </a:lnTo>
                  <a:lnTo>
                    <a:pt x="31" y="999"/>
                  </a:lnTo>
                  <a:lnTo>
                    <a:pt x="31" y="1002"/>
                  </a:lnTo>
                  <a:lnTo>
                    <a:pt x="31" y="1002"/>
                  </a:lnTo>
                  <a:lnTo>
                    <a:pt x="29" y="1004"/>
                  </a:lnTo>
                  <a:lnTo>
                    <a:pt x="29" y="1004"/>
                  </a:lnTo>
                  <a:lnTo>
                    <a:pt x="29" y="1002"/>
                  </a:lnTo>
                  <a:lnTo>
                    <a:pt x="26" y="1002"/>
                  </a:lnTo>
                  <a:lnTo>
                    <a:pt x="21" y="1002"/>
                  </a:lnTo>
                  <a:lnTo>
                    <a:pt x="19" y="1002"/>
                  </a:lnTo>
                  <a:lnTo>
                    <a:pt x="19" y="999"/>
                  </a:lnTo>
                  <a:lnTo>
                    <a:pt x="21" y="997"/>
                  </a:lnTo>
                  <a:lnTo>
                    <a:pt x="21" y="997"/>
                  </a:lnTo>
                  <a:lnTo>
                    <a:pt x="19" y="997"/>
                  </a:lnTo>
                  <a:lnTo>
                    <a:pt x="17" y="997"/>
                  </a:lnTo>
                  <a:lnTo>
                    <a:pt x="17" y="999"/>
                  </a:lnTo>
                  <a:lnTo>
                    <a:pt x="14" y="999"/>
                  </a:lnTo>
                  <a:lnTo>
                    <a:pt x="14" y="999"/>
                  </a:lnTo>
                  <a:lnTo>
                    <a:pt x="14" y="997"/>
                  </a:lnTo>
                  <a:lnTo>
                    <a:pt x="17" y="995"/>
                  </a:lnTo>
                  <a:lnTo>
                    <a:pt x="14" y="995"/>
                  </a:lnTo>
                  <a:lnTo>
                    <a:pt x="14" y="992"/>
                  </a:lnTo>
                  <a:lnTo>
                    <a:pt x="14" y="988"/>
                  </a:lnTo>
                  <a:lnTo>
                    <a:pt x="12" y="988"/>
                  </a:lnTo>
                  <a:lnTo>
                    <a:pt x="14" y="985"/>
                  </a:lnTo>
                  <a:lnTo>
                    <a:pt x="12" y="985"/>
                  </a:lnTo>
                  <a:lnTo>
                    <a:pt x="12" y="980"/>
                  </a:lnTo>
                  <a:lnTo>
                    <a:pt x="12" y="978"/>
                  </a:lnTo>
                  <a:lnTo>
                    <a:pt x="12" y="978"/>
                  </a:lnTo>
                  <a:lnTo>
                    <a:pt x="12" y="976"/>
                  </a:lnTo>
                  <a:lnTo>
                    <a:pt x="5" y="978"/>
                  </a:lnTo>
                  <a:lnTo>
                    <a:pt x="5" y="973"/>
                  </a:lnTo>
                  <a:lnTo>
                    <a:pt x="5" y="973"/>
                  </a:lnTo>
                  <a:lnTo>
                    <a:pt x="5" y="971"/>
                  </a:lnTo>
                  <a:lnTo>
                    <a:pt x="5" y="969"/>
                  </a:lnTo>
                  <a:lnTo>
                    <a:pt x="7" y="971"/>
                  </a:lnTo>
                  <a:lnTo>
                    <a:pt x="10" y="971"/>
                  </a:lnTo>
                  <a:lnTo>
                    <a:pt x="10" y="969"/>
                  </a:lnTo>
                  <a:lnTo>
                    <a:pt x="7" y="966"/>
                  </a:lnTo>
                  <a:lnTo>
                    <a:pt x="7" y="964"/>
                  </a:lnTo>
                  <a:lnTo>
                    <a:pt x="10" y="962"/>
                  </a:lnTo>
                  <a:lnTo>
                    <a:pt x="10" y="959"/>
                  </a:lnTo>
                  <a:lnTo>
                    <a:pt x="12" y="957"/>
                  </a:lnTo>
                  <a:lnTo>
                    <a:pt x="12" y="952"/>
                  </a:lnTo>
                  <a:lnTo>
                    <a:pt x="12" y="952"/>
                  </a:lnTo>
                  <a:lnTo>
                    <a:pt x="14" y="952"/>
                  </a:lnTo>
                  <a:lnTo>
                    <a:pt x="14" y="952"/>
                  </a:lnTo>
                  <a:lnTo>
                    <a:pt x="14" y="947"/>
                  </a:lnTo>
                  <a:lnTo>
                    <a:pt x="14" y="947"/>
                  </a:lnTo>
                  <a:lnTo>
                    <a:pt x="14" y="943"/>
                  </a:lnTo>
                  <a:lnTo>
                    <a:pt x="14" y="940"/>
                  </a:lnTo>
                  <a:lnTo>
                    <a:pt x="12" y="938"/>
                  </a:lnTo>
                  <a:lnTo>
                    <a:pt x="12" y="936"/>
                  </a:lnTo>
                  <a:lnTo>
                    <a:pt x="12" y="933"/>
                  </a:lnTo>
                  <a:lnTo>
                    <a:pt x="12" y="931"/>
                  </a:lnTo>
                  <a:lnTo>
                    <a:pt x="12" y="931"/>
                  </a:lnTo>
                  <a:lnTo>
                    <a:pt x="14" y="928"/>
                  </a:lnTo>
                  <a:lnTo>
                    <a:pt x="14" y="928"/>
                  </a:lnTo>
                  <a:lnTo>
                    <a:pt x="12" y="924"/>
                  </a:lnTo>
                  <a:lnTo>
                    <a:pt x="12" y="921"/>
                  </a:lnTo>
                  <a:lnTo>
                    <a:pt x="12" y="921"/>
                  </a:lnTo>
                  <a:lnTo>
                    <a:pt x="7" y="921"/>
                  </a:lnTo>
                  <a:lnTo>
                    <a:pt x="7" y="919"/>
                  </a:lnTo>
                  <a:lnTo>
                    <a:pt x="7" y="917"/>
                  </a:lnTo>
                  <a:lnTo>
                    <a:pt x="7" y="912"/>
                  </a:lnTo>
                  <a:lnTo>
                    <a:pt x="7" y="912"/>
                  </a:lnTo>
                  <a:lnTo>
                    <a:pt x="7" y="910"/>
                  </a:lnTo>
                  <a:lnTo>
                    <a:pt x="10" y="902"/>
                  </a:lnTo>
                  <a:lnTo>
                    <a:pt x="10" y="900"/>
                  </a:lnTo>
                  <a:lnTo>
                    <a:pt x="7" y="898"/>
                  </a:lnTo>
                  <a:lnTo>
                    <a:pt x="7" y="898"/>
                  </a:lnTo>
                  <a:lnTo>
                    <a:pt x="7" y="895"/>
                  </a:lnTo>
                  <a:lnTo>
                    <a:pt x="7" y="893"/>
                  </a:lnTo>
                  <a:lnTo>
                    <a:pt x="7" y="893"/>
                  </a:lnTo>
                  <a:lnTo>
                    <a:pt x="7" y="891"/>
                  </a:lnTo>
                  <a:lnTo>
                    <a:pt x="12" y="888"/>
                  </a:lnTo>
                  <a:lnTo>
                    <a:pt x="12" y="886"/>
                  </a:lnTo>
                  <a:lnTo>
                    <a:pt x="10" y="884"/>
                  </a:lnTo>
                  <a:lnTo>
                    <a:pt x="10" y="881"/>
                  </a:lnTo>
                  <a:lnTo>
                    <a:pt x="12" y="879"/>
                  </a:lnTo>
                  <a:lnTo>
                    <a:pt x="12" y="876"/>
                  </a:lnTo>
                  <a:lnTo>
                    <a:pt x="10" y="874"/>
                  </a:lnTo>
                  <a:lnTo>
                    <a:pt x="7" y="874"/>
                  </a:lnTo>
                  <a:lnTo>
                    <a:pt x="7" y="874"/>
                  </a:lnTo>
                  <a:lnTo>
                    <a:pt x="7" y="869"/>
                  </a:lnTo>
                  <a:lnTo>
                    <a:pt x="5" y="867"/>
                  </a:lnTo>
                  <a:lnTo>
                    <a:pt x="5" y="867"/>
                  </a:lnTo>
                  <a:lnTo>
                    <a:pt x="5" y="862"/>
                  </a:lnTo>
                  <a:lnTo>
                    <a:pt x="3" y="860"/>
                  </a:lnTo>
                  <a:lnTo>
                    <a:pt x="3" y="858"/>
                  </a:lnTo>
                  <a:lnTo>
                    <a:pt x="3" y="858"/>
                  </a:lnTo>
                  <a:lnTo>
                    <a:pt x="5" y="855"/>
                  </a:lnTo>
                  <a:lnTo>
                    <a:pt x="7" y="853"/>
                  </a:lnTo>
                  <a:lnTo>
                    <a:pt x="7" y="853"/>
                  </a:lnTo>
                  <a:lnTo>
                    <a:pt x="10" y="851"/>
                  </a:lnTo>
                  <a:lnTo>
                    <a:pt x="10" y="851"/>
                  </a:lnTo>
                  <a:lnTo>
                    <a:pt x="10" y="846"/>
                  </a:lnTo>
                  <a:lnTo>
                    <a:pt x="10" y="843"/>
                  </a:lnTo>
                  <a:lnTo>
                    <a:pt x="10" y="841"/>
                  </a:lnTo>
                  <a:lnTo>
                    <a:pt x="10" y="841"/>
                  </a:lnTo>
                  <a:lnTo>
                    <a:pt x="10" y="839"/>
                  </a:lnTo>
                  <a:lnTo>
                    <a:pt x="10" y="839"/>
                  </a:lnTo>
                  <a:lnTo>
                    <a:pt x="10" y="839"/>
                  </a:lnTo>
                  <a:lnTo>
                    <a:pt x="7" y="839"/>
                  </a:lnTo>
                  <a:lnTo>
                    <a:pt x="7" y="839"/>
                  </a:lnTo>
                  <a:lnTo>
                    <a:pt x="3" y="836"/>
                  </a:lnTo>
                  <a:lnTo>
                    <a:pt x="3" y="836"/>
                  </a:lnTo>
                  <a:lnTo>
                    <a:pt x="0" y="832"/>
                  </a:lnTo>
                  <a:lnTo>
                    <a:pt x="0" y="829"/>
                  </a:lnTo>
                  <a:lnTo>
                    <a:pt x="0" y="827"/>
                  </a:lnTo>
                  <a:lnTo>
                    <a:pt x="0" y="822"/>
                  </a:lnTo>
                  <a:lnTo>
                    <a:pt x="0" y="822"/>
                  </a:lnTo>
                  <a:lnTo>
                    <a:pt x="0" y="82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 cap="flat">
              <a:solidFill>
                <a:schemeClr val="bg2">
                  <a:lumMod val="7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>
                <a:solidFill>
                  <a:srgbClr val="000000"/>
                </a:solidFill>
              </a:endParaRPr>
            </a:p>
          </p:txBody>
        </p:sp>
      </p:grpSp>
      <p:sp>
        <p:nvSpPr>
          <p:cNvPr id="43" name="TextBox 75"/>
          <p:cNvSpPr txBox="1"/>
          <p:nvPr/>
        </p:nvSpPr>
        <p:spPr>
          <a:xfrm>
            <a:off x="3171422" y="1825079"/>
            <a:ext cx="278969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omic Sans MS" charset="0"/>
                <a:ea typeface="Comic Sans MS" charset="0"/>
                <a:cs typeface="Comic Sans MS" charset="0"/>
              </a:rPr>
              <a:t>CDP – Belém, Vila do Conde e Santarém</a:t>
            </a:r>
            <a:endParaRPr lang="pt-BR" sz="1600" b="1" dirty="0">
              <a:solidFill>
                <a:schemeClr val="tx1">
                  <a:lumMod val="65000"/>
                  <a:lumOff val="35000"/>
                </a:schemeClr>
              </a:solidFill>
              <a:latin typeface="Comic Sans MS" charset="0"/>
              <a:ea typeface="Comic Sans MS" charset="0"/>
              <a:cs typeface="Comic Sans MS" charset="0"/>
            </a:endParaRPr>
          </a:p>
        </p:txBody>
      </p:sp>
      <p:sp>
        <p:nvSpPr>
          <p:cNvPr id="52" name="TextBox 140"/>
          <p:cNvSpPr txBox="1"/>
          <p:nvPr/>
        </p:nvSpPr>
        <p:spPr>
          <a:xfrm>
            <a:off x="4016898" y="4777407"/>
            <a:ext cx="600196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omic Sans MS" charset="0"/>
                <a:ea typeface="Comic Sans MS" charset="0"/>
                <a:cs typeface="Comic Sans MS" charset="0"/>
              </a:rPr>
              <a:t>CDRJ – Rio de Janeiro, Itaguaí, Angra dos Reis e Niterói</a:t>
            </a:r>
            <a:endParaRPr lang="pt-BR" sz="1600" b="1" dirty="0">
              <a:solidFill>
                <a:schemeClr val="tx1">
                  <a:lumMod val="65000"/>
                  <a:lumOff val="35000"/>
                </a:schemeClr>
              </a:solidFill>
              <a:latin typeface="Comic Sans MS" charset="0"/>
              <a:ea typeface="Comic Sans MS" charset="0"/>
              <a:cs typeface="Comic Sans MS" charset="0"/>
            </a:endParaRPr>
          </a:p>
        </p:txBody>
      </p:sp>
      <p:sp>
        <p:nvSpPr>
          <p:cNvPr id="54" name="TextBox 142"/>
          <p:cNvSpPr txBox="1"/>
          <p:nvPr/>
        </p:nvSpPr>
        <p:spPr>
          <a:xfrm>
            <a:off x="3446747" y="5085184"/>
            <a:ext cx="197361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omic Sans MS" charset="0"/>
                <a:ea typeface="Comic Sans MS" charset="0"/>
                <a:cs typeface="Comic Sans MS" charset="0"/>
              </a:rPr>
              <a:t>CODESP - Santos</a:t>
            </a:r>
            <a:endParaRPr lang="pt-BR" sz="1600" b="1" dirty="0">
              <a:solidFill>
                <a:schemeClr val="tx1">
                  <a:lumMod val="65000"/>
                  <a:lumOff val="35000"/>
                </a:schemeClr>
              </a:solidFill>
              <a:latin typeface="Comic Sans MS" charset="0"/>
              <a:ea typeface="Comic Sans MS" charset="0"/>
              <a:cs typeface="Comic Sans MS" charset="0"/>
            </a:endParaRPr>
          </a:p>
        </p:txBody>
      </p:sp>
      <p:sp>
        <p:nvSpPr>
          <p:cNvPr id="77" name="Title 1"/>
          <p:cNvSpPr txBox="1">
            <a:spLocks/>
          </p:cNvSpPr>
          <p:nvPr/>
        </p:nvSpPr>
        <p:spPr bwMode="auto">
          <a:xfrm>
            <a:off x="-4720" y="17212"/>
            <a:ext cx="9906001" cy="806379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glow rad="25400">
              <a:schemeClr val="accent1"/>
            </a:glow>
            <a:softEdge rad="0"/>
          </a:effectLst>
          <a:scene3d>
            <a:camera prst="orthographicFront"/>
            <a:lightRig rig="freezing" dir="t"/>
          </a:scene3d>
          <a:sp3d prstMaterial="plastic">
            <a:bevelT prst="angle"/>
            <a:bevelB prst="angle"/>
          </a:sp3d>
        </p:spPr>
        <p:txBody>
          <a:bodyPr rot="0" spcFirstLastPara="0" vertOverflow="overflow" horzOverflow="overflow" vert="horz" wrap="square" lIns="91434" tIns="0" rIns="91434" bIns="45718" numCol="1" spcCol="0" rtlCol="0" fromWordArt="0" anchor="ctr" anchorCtr="0" forceAA="0" compatLnSpc="1">
            <a:prstTxWarp prst="textNoShape">
              <a:avLst/>
            </a:prstTxWarp>
            <a:noAutofit/>
            <a:sp3d/>
          </a:bodyPr>
          <a:lstStyle>
            <a:defPPr>
              <a:defRPr lang="en-US"/>
            </a:defPPr>
            <a:lvl1pPr marL="0" marR="0" indent="0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  <a:defRPr kumimoji="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</a:defRPr>
            </a:lvl1pPr>
          </a:lstStyle>
          <a:p>
            <a:r>
              <a:rPr lang="pt-BR" sz="3200" dirty="0">
                <a:solidFill>
                  <a:schemeClr val="bg1">
                    <a:lumMod val="95000"/>
                  </a:schemeClr>
                </a:solidFill>
                <a:effectLst>
                  <a:glow>
                    <a:schemeClr val="accent1">
                      <a:alpha val="40000"/>
                    </a:schemeClr>
                  </a:glow>
                </a:effectLst>
                <a:latin typeface="Comic Sans MS" charset="0"/>
                <a:ea typeface="Comic Sans MS" charset="0"/>
                <a:cs typeface="Comic Sans MS" charset="0"/>
              </a:rPr>
              <a:t>Projeto de Moderniza</a:t>
            </a:r>
            <a:r>
              <a:rPr lang="en-US" sz="3200" dirty="0" err="1">
                <a:solidFill>
                  <a:schemeClr val="bg1">
                    <a:lumMod val="95000"/>
                  </a:schemeClr>
                </a:solidFill>
                <a:effectLst>
                  <a:glow>
                    <a:schemeClr val="accent1">
                      <a:alpha val="40000"/>
                    </a:schemeClr>
                  </a:glow>
                </a:effectLst>
                <a:latin typeface="Comic Sans MS" charset="0"/>
                <a:ea typeface="Comic Sans MS" charset="0"/>
                <a:cs typeface="Comic Sans MS" charset="0"/>
              </a:rPr>
              <a:t>ção</a:t>
            </a:r>
            <a:r>
              <a:rPr lang="en-US" sz="3200" dirty="0">
                <a:solidFill>
                  <a:schemeClr val="bg1">
                    <a:lumMod val="95000"/>
                  </a:schemeClr>
                </a:solidFill>
                <a:effectLst>
                  <a:glow>
                    <a:schemeClr val="accent1">
                      <a:alpha val="40000"/>
                    </a:schemeClr>
                  </a:glow>
                </a:effectLst>
                <a:latin typeface="Comic Sans MS" charset="0"/>
                <a:ea typeface="Comic Sans MS" charset="0"/>
                <a:cs typeface="Comic Sans MS" charset="0"/>
              </a:rPr>
              <a:t> da </a:t>
            </a:r>
            <a:r>
              <a:rPr lang="en-US" sz="3200" dirty="0" err="1">
                <a:solidFill>
                  <a:schemeClr val="bg1">
                    <a:lumMod val="95000"/>
                  </a:schemeClr>
                </a:solidFill>
                <a:effectLst>
                  <a:glow>
                    <a:schemeClr val="accent1">
                      <a:alpha val="40000"/>
                    </a:schemeClr>
                  </a:glow>
                </a:effectLst>
                <a:latin typeface="Comic Sans MS" charset="0"/>
                <a:ea typeface="Comic Sans MS" charset="0"/>
                <a:cs typeface="Comic Sans MS" charset="0"/>
              </a:rPr>
              <a:t>Gestão</a:t>
            </a:r>
            <a:r>
              <a:rPr lang="en-US" sz="3200" dirty="0">
                <a:solidFill>
                  <a:schemeClr val="bg1">
                    <a:lumMod val="95000"/>
                  </a:schemeClr>
                </a:solidFill>
                <a:effectLst>
                  <a:glow>
                    <a:schemeClr val="accent1">
                      <a:alpha val="40000"/>
                    </a:schemeClr>
                  </a:glow>
                </a:effectLst>
                <a:latin typeface="Comic Sans MS" charset="0"/>
                <a:ea typeface="Comic Sans MS" charset="0"/>
                <a:cs typeface="Comic Sans MS" charset="0"/>
              </a:rPr>
              <a:t> </a:t>
            </a:r>
            <a:r>
              <a:rPr lang="en-US" sz="3200" dirty="0" err="1">
                <a:solidFill>
                  <a:schemeClr val="bg1">
                    <a:lumMod val="95000"/>
                  </a:schemeClr>
                </a:solidFill>
                <a:effectLst>
                  <a:glow>
                    <a:schemeClr val="accent1">
                      <a:alpha val="40000"/>
                    </a:schemeClr>
                  </a:glow>
                </a:effectLst>
                <a:latin typeface="Comic Sans MS" charset="0"/>
                <a:ea typeface="Comic Sans MS" charset="0"/>
                <a:cs typeface="Comic Sans MS" charset="0"/>
              </a:rPr>
              <a:t>Portuária</a:t>
            </a:r>
            <a:endParaRPr lang="pt-BR" sz="3200" dirty="0">
              <a:solidFill>
                <a:schemeClr val="bg1">
                  <a:lumMod val="95000"/>
                </a:schemeClr>
              </a:solidFill>
              <a:effectLst>
                <a:glow>
                  <a:schemeClr val="accent1">
                    <a:alpha val="40000"/>
                  </a:schemeClr>
                </a:glow>
              </a:effectLst>
              <a:latin typeface="Comic Sans MS" charset="0"/>
              <a:ea typeface="Comic Sans MS" charset="0"/>
              <a:cs typeface="Comic Sans MS" charset="0"/>
            </a:endParaRPr>
          </a:p>
        </p:txBody>
      </p:sp>
      <p:sp>
        <p:nvSpPr>
          <p:cNvPr id="130" name="Oval 129"/>
          <p:cNvSpPr/>
          <p:nvPr/>
        </p:nvSpPr>
        <p:spPr>
          <a:xfrm>
            <a:off x="3095450" y="2073198"/>
            <a:ext cx="129358" cy="131666"/>
          </a:xfrm>
          <a:prstGeom prst="ellipse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auto" hangingPunct="0">
              <a:spcBef>
                <a:spcPct val="50000"/>
              </a:spcBef>
              <a:spcAft>
                <a:spcPts val="0"/>
              </a:spcAft>
            </a:pPr>
            <a:endParaRPr lang="pt-BR" ker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7" name="Oval 136"/>
          <p:cNvSpPr/>
          <p:nvPr/>
        </p:nvSpPr>
        <p:spPr>
          <a:xfrm>
            <a:off x="3944888" y="4809502"/>
            <a:ext cx="129358" cy="131666"/>
          </a:xfrm>
          <a:prstGeom prst="ellipse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auto" hangingPunct="0">
              <a:spcBef>
                <a:spcPct val="50000"/>
              </a:spcBef>
              <a:spcAft>
                <a:spcPts val="0"/>
              </a:spcAft>
            </a:pPr>
            <a:endParaRPr lang="pt-BR" ker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8" name="Oval 137"/>
          <p:cNvSpPr/>
          <p:nvPr/>
        </p:nvSpPr>
        <p:spPr>
          <a:xfrm>
            <a:off x="3440832" y="5025526"/>
            <a:ext cx="129358" cy="131666"/>
          </a:xfrm>
          <a:prstGeom prst="ellipse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auto" hangingPunct="0">
              <a:spcBef>
                <a:spcPct val="50000"/>
              </a:spcBef>
              <a:spcAft>
                <a:spcPts val="0"/>
              </a:spcAft>
            </a:pPr>
            <a:endParaRPr lang="pt-BR" ker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9" name="Retângulo Arredondado 138"/>
          <p:cNvSpPr/>
          <p:nvPr/>
        </p:nvSpPr>
        <p:spPr bwMode="auto">
          <a:xfrm>
            <a:off x="5889104" y="5209457"/>
            <a:ext cx="1656184" cy="942227"/>
          </a:xfrm>
          <a:prstGeom prst="round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t" anchorCtr="0" compatLnSpc="1">
            <a:prstTxWarp prst="textNoShape">
              <a:avLst/>
            </a:prstTxWarp>
          </a:bodyPr>
          <a:lstStyle/>
          <a:p>
            <a:endParaRPr lang="pt-BR" dirty="0"/>
          </a:p>
        </p:txBody>
      </p:sp>
      <p:sp>
        <p:nvSpPr>
          <p:cNvPr id="141" name="Retângulo Arredondado 140"/>
          <p:cNvSpPr/>
          <p:nvPr/>
        </p:nvSpPr>
        <p:spPr bwMode="auto">
          <a:xfrm>
            <a:off x="6223444" y="1908814"/>
            <a:ext cx="3003731" cy="1589905"/>
          </a:xfrm>
          <a:prstGeom prst="roundRect">
            <a:avLst/>
          </a:prstGeom>
          <a:solidFill>
            <a:schemeClr val="accent3">
              <a:alpha val="77000"/>
            </a:schemeClr>
          </a:solidFill>
          <a:ln>
            <a:solidFill>
              <a:srgbClr val="00A1DE"/>
            </a:solidFill>
            <a:headEnd type="none" w="med" len="med"/>
            <a:tailEnd type="none" w="med" len="med"/>
          </a:ln>
          <a:effectLst>
            <a:softEdge rad="12700"/>
          </a:effectLst>
          <a:scene3d>
            <a:camera prst="orthographicFront"/>
            <a:lightRig rig="balanced" dir="t"/>
          </a:scene3d>
          <a:sp3d extrusionH="101600" contourW="19050" prstMaterial="softEdge">
            <a:bevelT prst="angle"/>
            <a:bevelB/>
            <a:contourClr>
              <a:srgbClr val="00A1DE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1434" tIns="45718" rIns="91434" bIns="45718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pt-BR" sz="2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omic Sans MS" charset="0"/>
                <a:ea typeface="Comic Sans MS" charset="0"/>
                <a:cs typeface="Comic Sans MS" charset="0"/>
              </a:rPr>
              <a:t>1ª Fase</a:t>
            </a:r>
          </a:p>
          <a:p>
            <a:pPr algn="ctr"/>
            <a:endParaRPr lang="pt-BR" sz="1000" dirty="0">
              <a:solidFill>
                <a:schemeClr val="tx1">
                  <a:lumMod val="65000"/>
                  <a:lumOff val="35000"/>
                </a:schemeClr>
              </a:solidFill>
              <a:latin typeface="Comic Sans MS" charset="0"/>
              <a:ea typeface="Comic Sans MS" charset="0"/>
              <a:cs typeface="Comic Sans MS" charset="0"/>
            </a:endParaRPr>
          </a:p>
          <a:p>
            <a:pPr algn="ctr"/>
            <a:r>
              <a:rPr lang="pt-BR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Comic Sans MS" charset="0"/>
                <a:ea typeface="Comic Sans MS" charset="0"/>
                <a:cs typeface="Comic Sans MS" charset="0"/>
              </a:rPr>
              <a:t>3 Companhias </a:t>
            </a:r>
            <a:r>
              <a:rPr lang="pt-BR" sz="18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omic Sans MS" charset="0"/>
                <a:ea typeface="Comic Sans MS" charset="0"/>
                <a:cs typeface="Comic Sans MS" charset="0"/>
              </a:rPr>
              <a:t>Docas</a:t>
            </a:r>
          </a:p>
          <a:p>
            <a:pPr algn="ctr"/>
            <a:endParaRPr lang="pt-BR" sz="1800" dirty="0">
              <a:solidFill>
                <a:schemeClr val="tx1">
                  <a:lumMod val="65000"/>
                  <a:lumOff val="35000"/>
                </a:schemeClr>
              </a:solidFill>
              <a:latin typeface="Comic Sans MS" charset="0"/>
              <a:ea typeface="Comic Sans MS" charset="0"/>
              <a:cs typeface="Comic Sans MS" charset="0"/>
            </a:endParaRPr>
          </a:p>
          <a:p>
            <a:pPr algn="ctr"/>
            <a:r>
              <a:rPr lang="pt-BR" sz="18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omic Sans MS" charset="0"/>
                <a:ea typeface="Comic Sans MS" charset="0"/>
                <a:cs typeface="Comic Sans MS" charset="0"/>
              </a:rPr>
              <a:t>82%</a:t>
            </a:r>
            <a:endParaRPr lang="pt-BR" sz="1800" dirty="0">
              <a:solidFill>
                <a:schemeClr val="tx1">
                  <a:lumMod val="65000"/>
                  <a:lumOff val="35000"/>
                </a:schemeClr>
              </a:solidFill>
              <a:latin typeface="Comic Sans MS" charset="0"/>
              <a:ea typeface="Comic Sans MS" charset="0"/>
              <a:cs typeface="Comic Sans M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5382368"/>
      </p:ext>
    </p:extLst>
  </p:cSld>
  <p:clrMapOvr>
    <a:masterClrMapping/>
  </p:clrMapOvr>
  <p:transition spd="med" advClick="0"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9" name="Grupo 78"/>
          <p:cNvGrpSpPr/>
          <p:nvPr/>
        </p:nvGrpSpPr>
        <p:grpSpPr>
          <a:xfrm>
            <a:off x="185052" y="1412778"/>
            <a:ext cx="4767948" cy="4927841"/>
            <a:chOff x="185052" y="2237173"/>
            <a:chExt cx="4017597" cy="4463484"/>
          </a:xfrm>
        </p:grpSpPr>
        <p:sp>
          <p:nvSpPr>
            <p:cNvPr id="80" name="Freeform 25"/>
            <p:cNvSpPr>
              <a:spLocks/>
            </p:cNvSpPr>
            <p:nvPr/>
          </p:nvSpPr>
          <p:spPr bwMode="gray">
            <a:xfrm>
              <a:off x="2172033" y="5421698"/>
              <a:ext cx="675526" cy="479709"/>
            </a:xfrm>
            <a:custGeom>
              <a:avLst/>
              <a:gdLst/>
              <a:ahLst/>
              <a:cxnLst>
                <a:cxn ang="0">
                  <a:pos x="28" y="297"/>
                </a:cxn>
                <a:cxn ang="0">
                  <a:pos x="42" y="201"/>
                </a:cxn>
                <a:cxn ang="0">
                  <a:pos x="101" y="113"/>
                </a:cxn>
                <a:cxn ang="0">
                  <a:pos x="158" y="35"/>
                </a:cxn>
                <a:cxn ang="0">
                  <a:pos x="224" y="12"/>
                </a:cxn>
                <a:cxn ang="0">
                  <a:pos x="295" y="14"/>
                </a:cxn>
                <a:cxn ang="0">
                  <a:pos x="347" y="14"/>
                </a:cxn>
                <a:cxn ang="0">
                  <a:pos x="411" y="19"/>
                </a:cxn>
                <a:cxn ang="0">
                  <a:pos x="479" y="45"/>
                </a:cxn>
                <a:cxn ang="0">
                  <a:pos x="522" y="56"/>
                </a:cxn>
                <a:cxn ang="0">
                  <a:pos x="567" y="54"/>
                </a:cxn>
                <a:cxn ang="0">
                  <a:pos x="598" y="64"/>
                </a:cxn>
                <a:cxn ang="0">
                  <a:pos x="624" y="82"/>
                </a:cxn>
                <a:cxn ang="0">
                  <a:pos x="633" y="116"/>
                </a:cxn>
                <a:cxn ang="0">
                  <a:pos x="635" y="134"/>
                </a:cxn>
                <a:cxn ang="0">
                  <a:pos x="642" y="160"/>
                </a:cxn>
                <a:cxn ang="0">
                  <a:pos x="640" y="179"/>
                </a:cxn>
                <a:cxn ang="0">
                  <a:pos x="650" y="193"/>
                </a:cxn>
                <a:cxn ang="0">
                  <a:pos x="664" y="210"/>
                </a:cxn>
                <a:cxn ang="0">
                  <a:pos x="680" y="236"/>
                </a:cxn>
                <a:cxn ang="0">
                  <a:pos x="675" y="262"/>
                </a:cxn>
                <a:cxn ang="0">
                  <a:pos x="680" y="283"/>
                </a:cxn>
                <a:cxn ang="0">
                  <a:pos x="706" y="279"/>
                </a:cxn>
                <a:cxn ang="0">
                  <a:pos x="732" y="281"/>
                </a:cxn>
                <a:cxn ang="0">
                  <a:pos x="756" y="283"/>
                </a:cxn>
                <a:cxn ang="0">
                  <a:pos x="770" y="297"/>
                </a:cxn>
                <a:cxn ang="0">
                  <a:pos x="763" y="323"/>
                </a:cxn>
                <a:cxn ang="0">
                  <a:pos x="791" y="323"/>
                </a:cxn>
                <a:cxn ang="0">
                  <a:pos x="808" y="321"/>
                </a:cxn>
                <a:cxn ang="0">
                  <a:pos x="817" y="352"/>
                </a:cxn>
                <a:cxn ang="0">
                  <a:pos x="810" y="385"/>
                </a:cxn>
                <a:cxn ang="0">
                  <a:pos x="763" y="451"/>
                </a:cxn>
                <a:cxn ang="0">
                  <a:pos x="713" y="456"/>
                </a:cxn>
                <a:cxn ang="0">
                  <a:pos x="690" y="456"/>
                </a:cxn>
                <a:cxn ang="0">
                  <a:pos x="675" y="468"/>
                </a:cxn>
                <a:cxn ang="0">
                  <a:pos x="657" y="477"/>
                </a:cxn>
                <a:cxn ang="0">
                  <a:pos x="642" y="484"/>
                </a:cxn>
                <a:cxn ang="0">
                  <a:pos x="626" y="482"/>
                </a:cxn>
                <a:cxn ang="0">
                  <a:pos x="607" y="465"/>
                </a:cxn>
                <a:cxn ang="0">
                  <a:pos x="586" y="458"/>
                </a:cxn>
                <a:cxn ang="0">
                  <a:pos x="562" y="460"/>
                </a:cxn>
                <a:cxn ang="0">
                  <a:pos x="543" y="472"/>
                </a:cxn>
                <a:cxn ang="0">
                  <a:pos x="524" y="458"/>
                </a:cxn>
                <a:cxn ang="0">
                  <a:pos x="503" y="468"/>
                </a:cxn>
                <a:cxn ang="0">
                  <a:pos x="470" y="493"/>
                </a:cxn>
                <a:cxn ang="0">
                  <a:pos x="437" y="493"/>
                </a:cxn>
                <a:cxn ang="0">
                  <a:pos x="425" y="515"/>
                </a:cxn>
                <a:cxn ang="0">
                  <a:pos x="423" y="538"/>
                </a:cxn>
                <a:cxn ang="0">
                  <a:pos x="394" y="531"/>
                </a:cxn>
                <a:cxn ang="0">
                  <a:pos x="328" y="527"/>
                </a:cxn>
                <a:cxn ang="0">
                  <a:pos x="288" y="512"/>
                </a:cxn>
                <a:cxn ang="0">
                  <a:pos x="250" y="508"/>
                </a:cxn>
                <a:cxn ang="0">
                  <a:pos x="212" y="503"/>
                </a:cxn>
                <a:cxn ang="0">
                  <a:pos x="170" y="489"/>
                </a:cxn>
                <a:cxn ang="0">
                  <a:pos x="125" y="489"/>
                </a:cxn>
                <a:cxn ang="0">
                  <a:pos x="109" y="460"/>
                </a:cxn>
                <a:cxn ang="0">
                  <a:pos x="101" y="446"/>
                </a:cxn>
                <a:cxn ang="0">
                  <a:pos x="99" y="430"/>
                </a:cxn>
                <a:cxn ang="0">
                  <a:pos x="97" y="413"/>
                </a:cxn>
                <a:cxn ang="0">
                  <a:pos x="80" y="404"/>
                </a:cxn>
                <a:cxn ang="0">
                  <a:pos x="52" y="394"/>
                </a:cxn>
                <a:cxn ang="0">
                  <a:pos x="19" y="408"/>
                </a:cxn>
              </a:cxnLst>
              <a:rect l="0" t="0" r="r" b="b"/>
              <a:pathLst>
                <a:path w="836" h="548">
                  <a:moveTo>
                    <a:pt x="0" y="382"/>
                  </a:moveTo>
                  <a:lnTo>
                    <a:pt x="2" y="382"/>
                  </a:lnTo>
                  <a:lnTo>
                    <a:pt x="2" y="380"/>
                  </a:lnTo>
                  <a:lnTo>
                    <a:pt x="5" y="375"/>
                  </a:lnTo>
                  <a:lnTo>
                    <a:pt x="5" y="375"/>
                  </a:lnTo>
                  <a:lnTo>
                    <a:pt x="7" y="373"/>
                  </a:lnTo>
                  <a:lnTo>
                    <a:pt x="9" y="371"/>
                  </a:lnTo>
                  <a:lnTo>
                    <a:pt x="12" y="366"/>
                  </a:lnTo>
                  <a:lnTo>
                    <a:pt x="14" y="364"/>
                  </a:lnTo>
                  <a:lnTo>
                    <a:pt x="16" y="361"/>
                  </a:lnTo>
                  <a:lnTo>
                    <a:pt x="16" y="354"/>
                  </a:lnTo>
                  <a:lnTo>
                    <a:pt x="19" y="352"/>
                  </a:lnTo>
                  <a:lnTo>
                    <a:pt x="19" y="349"/>
                  </a:lnTo>
                  <a:lnTo>
                    <a:pt x="21" y="347"/>
                  </a:lnTo>
                  <a:lnTo>
                    <a:pt x="23" y="347"/>
                  </a:lnTo>
                  <a:lnTo>
                    <a:pt x="23" y="345"/>
                  </a:lnTo>
                  <a:lnTo>
                    <a:pt x="23" y="342"/>
                  </a:lnTo>
                  <a:lnTo>
                    <a:pt x="21" y="340"/>
                  </a:lnTo>
                  <a:lnTo>
                    <a:pt x="19" y="338"/>
                  </a:lnTo>
                  <a:lnTo>
                    <a:pt x="19" y="338"/>
                  </a:lnTo>
                  <a:lnTo>
                    <a:pt x="19" y="335"/>
                  </a:lnTo>
                  <a:lnTo>
                    <a:pt x="19" y="333"/>
                  </a:lnTo>
                  <a:lnTo>
                    <a:pt x="19" y="331"/>
                  </a:lnTo>
                  <a:lnTo>
                    <a:pt x="21" y="323"/>
                  </a:lnTo>
                  <a:lnTo>
                    <a:pt x="21" y="319"/>
                  </a:lnTo>
                  <a:lnTo>
                    <a:pt x="23" y="314"/>
                  </a:lnTo>
                  <a:lnTo>
                    <a:pt x="23" y="312"/>
                  </a:lnTo>
                  <a:lnTo>
                    <a:pt x="26" y="305"/>
                  </a:lnTo>
                  <a:lnTo>
                    <a:pt x="28" y="297"/>
                  </a:lnTo>
                  <a:lnTo>
                    <a:pt x="28" y="293"/>
                  </a:lnTo>
                  <a:lnTo>
                    <a:pt x="31" y="293"/>
                  </a:lnTo>
                  <a:lnTo>
                    <a:pt x="33" y="290"/>
                  </a:lnTo>
                  <a:lnTo>
                    <a:pt x="33" y="288"/>
                  </a:lnTo>
                  <a:lnTo>
                    <a:pt x="35" y="283"/>
                  </a:lnTo>
                  <a:lnTo>
                    <a:pt x="35" y="281"/>
                  </a:lnTo>
                  <a:lnTo>
                    <a:pt x="38" y="271"/>
                  </a:lnTo>
                  <a:lnTo>
                    <a:pt x="38" y="269"/>
                  </a:lnTo>
                  <a:lnTo>
                    <a:pt x="35" y="262"/>
                  </a:lnTo>
                  <a:lnTo>
                    <a:pt x="35" y="260"/>
                  </a:lnTo>
                  <a:lnTo>
                    <a:pt x="35" y="253"/>
                  </a:lnTo>
                  <a:lnTo>
                    <a:pt x="40" y="250"/>
                  </a:lnTo>
                  <a:lnTo>
                    <a:pt x="42" y="245"/>
                  </a:lnTo>
                  <a:lnTo>
                    <a:pt x="45" y="243"/>
                  </a:lnTo>
                  <a:lnTo>
                    <a:pt x="45" y="241"/>
                  </a:lnTo>
                  <a:lnTo>
                    <a:pt x="42" y="234"/>
                  </a:lnTo>
                  <a:lnTo>
                    <a:pt x="42" y="231"/>
                  </a:lnTo>
                  <a:lnTo>
                    <a:pt x="38" y="227"/>
                  </a:lnTo>
                  <a:lnTo>
                    <a:pt x="35" y="224"/>
                  </a:lnTo>
                  <a:lnTo>
                    <a:pt x="35" y="222"/>
                  </a:lnTo>
                  <a:lnTo>
                    <a:pt x="35" y="219"/>
                  </a:lnTo>
                  <a:lnTo>
                    <a:pt x="35" y="219"/>
                  </a:lnTo>
                  <a:lnTo>
                    <a:pt x="35" y="215"/>
                  </a:lnTo>
                  <a:lnTo>
                    <a:pt x="35" y="212"/>
                  </a:lnTo>
                  <a:lnTo>
                    <a:pt x="33" y="212"/>
                  </a:lnTo>
                  <a:lnTo>
                    <a:pt x="35" y="208"/>
                  </a:lnTo>
                  <a:lnTo>
                    <a:pt x="38" y="205"/>
                  </a:lnTo>
                  <a:lnTo>
                    <a:pt x="42" y="203"/>
                  </a:lnTo>
                  <a:lnTo>
                    <a:pt x="42" y="201"/>
                  </a:lnTo>
                  <a:lnTo>
                    <a:pt x="42" y="201"/>
                  </a:lnTo>
                  <a:lnTo>
                    <a:pt x="47" y="201"/>
                  </a:lnTo>
                  <a:lnTo>
                    <a:pt x="57" y="193"/>
                  </a:lnTo>
                  <a:lnTo>
                    <a:pt x="61" y="191"/>
                  </a:lnTo>
                  <a:lnTo>
                    <a:pt x="64" y="189"/>
                  </a:lnTo>
                  <a:lnTo>
                    <a:pt x="64" y="186"/>
                  </a:lnTo>
                  <a:lnTo>
                    <a:pt x="66" y="179"/>
                  </a:lnTo>
                  <a:lnTo>
                    <a:pt x="66" y="177"/>
                  </a:lnTo>
                  <a:lnTo>
                    <a:pt x="66" y="172"/>
                  </a:lnTo>
                  <a:lnTo>
                    <a:pt x="66" y="172"/>
                  </a:lnTo>
                  <a:lnTo>
                    <a:pt x="66" y="170"/>
                  </a:lnTo>
                  <a:lnTo>
                    <a:pt x="66" y="168"/>
                  </a:lnTo>
                  <a:lnTo>
                    <a:pt x="68" y="163"/>
                  </a:lnTo>
                  <a:lnTo>
                    <a:pt x="71" y="158"/>
                  </a:lnTo>
                  <a:lnTo>
                    <a:pt x="71" y="158"/>
                  </a:lnTo>
                  <a:lnTo>
                    <a:pt x="71" y="153"/>
                  </a:lnTo>
                  <a:lnTo>
                    <a:pt x="73" y="151"/>
                  </a:lnTo>
                  <a:lnTo>
                    <a:pt x="73" y="149"/>
                  </a:lnTo>
                  <a:lnTo>
                    <a:pt x="73" y="144"/>
                  </a:lnTo>
                  <a:lnTo>
                    <a:pt x="75" y="139"/>
                  </a:lnTo>
                  <a:lnTo>
                    <a:pt x="75" y="134"/>
                  </a:lnTo>
                  <a:lnTo>
                    <a:pt x="75" y="130"/>
                  </a:lnTo>
                  <a:lnTo>
                    <a:pt x="80" y="123"/>
                  </a:lnTo>
                  <a:lnTo>
                    <a:pt x="80" y="123"/>
                  </a:lnTo>
                  <a:lnTo>
                    <a:pt x="83" y="123"/>
                  </a:lnTo>
                  <a:lnTo>
                    <a:pt x="83" y="120"/>
                  </a:lnTo>
                  <a:lnTo>
                    <a:pt x="87" y="123"/>
                  </a:lnTo>
                  <a:lnTo>
                    <a:pt x="92" y="118"/>
                  </a:lnTo>
                  <a:lnTo>
                    <a:pt x="101" y="113"/>
                  </a:lnTo>
                  <a:lnTo>
                    <a:pt x="106" y="111"/>
                  </a:lnTo>
                  <a:lnTo>
                    <a:pt x="109" y="111"/>
                  </a:lnTo>
                  <a:lnTo>
                    <a:pt x="111" y="104"/>
                  </a:lnTo>
                  <a:lnTo>
                    <a:pt x="113" y="101"/>
                  </a:lnTo>
                  <a:lnTo>
                    <a:pt x="113" y="99"/>
                  </a:lnTo>
                  <a:lnTo>
                    <a:pt x="116" y="97"/>
                  </a:lnTo>
                  <a:lnTo>
                    <a:pt x="118" y="90"/>
                  </a:lnTo>
                  <a:lnTo>
                    <a:pt x="120" y="85"/>
                  </a:lnTo>
                  <a:lnTo>
                    <a:pt x="120" y="82"/>
                  </a:lnTo>
                  <a:lnTo>
                    <a:pt x="125" y="80"/>
                  </a:lnTo>
                  <a:lnTo>
                    <a:pt x="125" y="64"/>
                  </a:lnTo>
                  <a:lnTo>
                    <a:pt x="125" y="64"/>
                  </a:lnTo>
                  <a:lnTo>
                    <a:pt x="127" y="59"/>
                  </a:lnTo>
                  <a:lnTo>
                    <a:pt x="127" y="56"/>
                  </a:lnTo>
                  <a:lnTo>
                    <a:pt x="130" y="54"/>
                  </a:lnTo>
                  <a:lnTo>
                    <a:pt x="132" y="54"/>
                  </a:lnTo>
                  <a:lnTo>
                    <a:pt x="135" y="52"/>
                  </a:lnTo>
                  <a:lnTo>
                    <a:pt x="135" y="52"/>
                  </a:lnTo>
                  <a:lnTo>
                    <a:pt x="135" y="49"/>
                  </a:lnTo>
                  <a:lnTo>
                    <a:pt x="137" y="47"/>
                  </a:lnTo>
                  <a:lnTo>
                    <a:pt x="139" y="47"/>
                  </a:lnTo>
                  <a:lnTo>
                    <a:pt x="144" y="45"/>
                  </a:lnTo>
                  <a:lnTo>
                    <a:pt x="146" y="42"/>
                  </a:lnTo>
                  <a:lnTo>
                    <a:pt x="149" y="42"/>
                  </a:lnTo>
                  <a:lnTo>
                    <a:pt x="153" y="40"/>
                  </a:lnTo>
                  <a:lnTo>
                    <a:pt x="153" y="38"/>
                  </a:lnTo>
                  <a:lnTo>
                    <a:pt x="153" y="38"/>
                  </a:lnTo>
                  <a:lnTo>
                    <a:pt x="156" y="38"/>
                  </a:lnTo>
                  <a:lnTo>
                    <a:pt x="158" y="35"/>
                  </a:lnTo>
                  <a:lnTo>
                    <a:pt x="158" y="33"/>
                  </a:lnTo>
                  <a:lnTo>
                    <a:pt x="161" y="33"/>
                  </a:lnTo>
                  <a:lnTo>
                    <a:pt x="163" y="33"/>
                  </a:lnTo>
                  <a:lnTo>
                    <a:pt x="165" y="31"/>
                  </a:lnTo>
                  <a:lnTo>
                    <a:pt x="172" y="28"/>
                  </a:lnTo>
                  <a:lnTo>
                    <a:pt x="175" y="28"/>
                  </a:lnTo>
                  <a:lnTo>
                    <a:pt x="175" y="28"/>
                  </a:lnTo>
                  <a:lnTo>
                    <a:pt x="177" y="28"/>
                  </a:lnTo>
                  <a:lnTo>
                    <a:pt x="179" y="28"/>
                  </a:lnTo>
                  <a:lnTo>
                    <a:pt x="179" y="26"/>
                  </a:lnTo>
                  <a:lnTo>
                    <a:pt x="182" y="26"/>
                  </a:lnTo>
                  <a:lnTo>
                    <a:pt x="189" y="16"/>
                  </a:lnTo>
                  <a:lnTo>
                    <a:pt x="189" y="16"/>
                  </a:lnTo>
                  <a:lnTo>
                    <a:pt x="191" y="14"/>
                  </a:lnTo>
                  <a:lnTo>
                    <a:pt x="191" y="16"/>
                  </a:lnTo>
                  <a:lnTo>
                    <a:pt x="194" y="19"/>
                  </a:lnTo>
                  <a:lnTo>
                    <a:pt x="194" y="16"/>
                  </a:lnTo>
                  <a:lnTo>
                    <a:pt x="198" y="14"/>
                  </a:lnTo>
                  <a:lnTo>
                    <a:pt x="201" y="14"/>
                  </a:lnTo>
                  <a:lnTo>
                    <a:pt x="201" y="12"/>
                  </a:lnTo>
                  <a:lnTo>
                    <a:pt x="203" y="12"/>
                  </a:lnTo>
                  <a:lnTo>
                    <a:pt x="203" y="9"/>
                  </a:lnTo>
                  <a:lnTo>
                    <a:pt x="205" y="9"/>
                  </a:lnTo>
                  <a:lnTo>
                    <a:pt x="208" y="7"/>
                  </a:lnTo>
                  <a:lnTo>
                    <a:pt x="208" y="7"/>
                  </a:lnTo>
                  <a:lnTo>
                    <a:pt x="212" y="7"/>
                  </a:lnTo>
                  <a:lnTo>
                    <a:pt x="217" y="7"/>
                  </a:lnTo>
                  <a:lnTo>
                    <a:pt x="222" y="12"/>
                  </a:lnTo>
                  <a:lnTo>
                    <a:pt x="224" y="12"/>
                  </a:lnTo>
                  <a:lnTo>
                    <a:pt x="229" y="12"/>
                  </a:lnTo>
                  <a:lnTo>
                    <a:pt x="231" y="12"/>
                  </a:lnTo>
                  <a:lnTo>
                    <a:pt x="231" y="12"/>
                  </a:lnTo>
                  <a:lnTo>
                    <a:pt x="231" y="12"/>
                  </a:lnTo>
                  <a:lnTo>
                    <a:pt x="236" y="12"/>
                  </a:lnTo>
                  <a:lnTo>
                    <a:pt x="238" y="14"/>
                  </a:lnTo>
                  <a:lnTo>
                    <a:pt x="241" y="14"/>
                  </a:lnTo>
                  <a:lnTo>
                    <a:pt x="248" y="12"/>
                  </a:lnTo>
                  <a:lnTo>
                    <a:pt x="255" y="7"/>
                  </a:lnTo>
                  <a:lnTo>
                    <a:pt x="257" y="7"/>
                  </a:lnTo>
                  <a:lnTo>
                    <a:pt x="257" y="7"/>
                  </a:lnTo>
                  <a:lnTo>
                    <a:pt x="260" y="9"/>
                  </a:lnTo>
                  <a:lnTo>
                    <a:pt x="262" y="12"/>
                  </a:lnTo>
                  <a:lnTo>
                    <a:pt x="264" y="12"/>
                  </a:lnTo>
                  <a:lnTo>
                    <a:pt x="264" y="14"/>
                  </a:lnTo>
                  <a:lnTo>
                    <a:pt x="267" y="14"/>
                  </a:lnTo>
                  <a:lnTo>
                    <a:pt x="269" y="14"/>
                  </a:lnTo>
                  <a:lnTo>
                    <a:pt x="274" y="12"/>
                  </a:lnTo>
                  <a:lnTo>
                    <a:pt x="274" y="12"/>
                  </a:lnTo>
                  <a:lnTo>
                    <a:pt x="274" y="12"/>
                  </a:lnTo>
                  <a:lnTo>
                    <a:pt x="276" y="12"/>
                  </a:lnTo>
                  <a:lnTo>
                    <a:pt x="276" y="12"/>
                  </a:lnTo>
                  <a:lnTo>
                    <a:pt x="279" y="12"/>
                  </a:lnTo>
                  <a:lnTo>
                    <a:pt x="281" y="14"/>
                  </a:lnTo>
                  <a:lnTo>
                    <a:pt x="283" y="14"/>
                  </a:lnTo>
                  <a:lnTo>
                    <a:pt x="290" y="14"/>
                  </a:lnTo>
                  <a:lnTo>
                    <a:pt x="293" y="16"/>
                  </a:lnTo>
                  <a:lnTo>
                    <a:pt x="295" y="14"/>
                  </a:lnTo>
                  <a:lnTo>
                    <a:pt x="295" y="14"/>
                  </a:lnTo>
                  <a:lnTo>
                    <a:pt x="300" y="12"/>
                  </a:lnTo>
                  <a:lnTo>
                    <a:pt x="300" y="14"/>
                  </a:lnTo>
                  <a:lnTo>
                    <a:pt x="302" y="16"/>
                  </a:lnTo>
                  <a:lnTo>
                    <a:pt x="302" y="19"/>
                  </a:lnTo>
                  <a:lnTo>
                    <a:pt x="302" y="21"/>
                  </a:lnTo>
                  <a:lnTo>
                    <a:pt x="302" y="21"/>
                  </a:lnTo>
                  <a:lnTo>
                    <a:pt x="307" y="19"/>
                  </a:lnTo>
                  <a:lnTo>
                    <a:pt x="309" y="16"/>
                  </a:lnTo>
                  <a:lnTo>
                    <a:pt x="312" y="16"/>
                  </a:lnTo>
                  <a:lnTo>
                    <a:pt x="312" y="12"/>
                  </a:lnTo>
                  <a:lnTo>
                    <a:pt x="312" y="12"/>
                  </a:lnTo>
                  <a:lnTo>
                    <a:pt x="312" y="7"/>
                  </a:lnTo>
                  <a:lnTo>
                    <a:pt x="312" y="7"/>
                  </a:lnTo>
                  <a:lnTo>
                    <a:pt x="312" y="5"/>
                  </a:lnTo>
                  <a:lnTo>
                    <a:pt x="314" y="2"/>
                  </a:lnTo>
                  <a:lnTo>
                    <a:pt x="314" y="0"/>
                  </a:lnTo>
                  <a:lnTo>
                    <a:pt x="316" y="0"/>
                  </a:lnTo>
                  <a:lnTo>
                    <a:pt x="319" y="0"/>
                  </a:lnTo>
                  <a:lnTo>
                    <a:pt x="319" y="0"/>
                  </a:lnTo>
                  <a:lnTo>
                    <a:pt x="324" y="2"/>
                  </a:lnTo>
                  <a:lnTo>
                    <a:pt x="328" y="2"/>
                  </a:lnTo>
                  <a:lnTo>
                    <a:pt x="328" y="2"/>
                  </a:lnTo>
                  <a:lnTo>
                    <a:pt x="331" y="5"/>
                  </a:lnTo>
                  <a:lnTo>
                    <a:pt x="335" y="7"/>
                  </a:lnTo>
                  <a:lnTo>
                    <a:pt x="338" y="7"/>
                  </a:lnTo>
                  <a:lnTo>
                    <a:pt x="345" y="12"/>
                  </a:lnTo>
                  <a:lnTo>
                    <a:pt x="345" y="12"/>
                  </a:lnTo>
                  <a:lnTo>
                    <a:pt x="345" y="12"/>
                  </a:lnTo>
                  <a:lnTo>
                    <a:pt x="347" y="14"/>
                  </a:lnTo>
                  <a:lnTo>
                    <a:pt x="349" y="14"/>
                  </a:lnTo>
                  <a:lnTo>
                    <a:pt x="349" y="14"/>
                  </a:lnTo>
                  <a:lnTo>
                    <a:pt x="359" y="12"/>
                  </a:lnTo>
                  <a:lnTo>
                    <a:pt x="361" y="14"/>
                  </a:lnTo>
                  <a:lnTo>
                    <a:pt x="364" y="14"/>
                  </a:lnTo>
                  <a:lnTo>
                    <a:pt x="364" y="14"/>
                  </a:lnTo>
                  <a:lnTo>
                    <a:pt x="366" y="14"/>
                  </a:lnTo>
                  <a:lnTo>
                    <a:pt x="366" y="14"/>
                  </a:lnTo>
                  <a:lnTo>
                    <a:pt x="366" y="19"/>
                  </a:lnTo>
                  <a:lnTo>
                    <a:pt x="366" y="21"/>
                  </a:lnTo>
                  <a:lnTo>
                    <a:pt x="368" y="21"/>
                  </a:lnTo>
                  <a:lnTo>
                    <a:pt x="373" y="19"/>
                  </a:lnTo>
                  <a:lnTo>
                    <a:pt x="373" y="19"/>
                  </a:lnTo>
                  <a:lnTo>
                    <a:pt x="378" y="19"/>
                  </a:lnTo>
                  <a:lnTo>
                    <a:pt x="380" y="19"/>
                  </a:lnTo>
                  <a:lnTo>
                    <a:pt x="383" y="21"/>
                  </a:lnTo>
                  <a:lnTo>
                    <a:pt x="385" y="23"/>
                  </a:lnTo>
                  <a:lnTo>
                    <a:pt x="387" y="23"/>
                  </a:lnTo>
                  <a:lnTo>
                    <a:pt x="387" y="23"/>
                  </a:lnTo>
                  <a:lnTo>
                    <a:pt x="392" y="21"/>
                  </a:lnTo>
                  <a:lnTo>
                    <a:pt x="392" y="23"/>
                  </a:lnTo>
                  <a:lnTo>
                    <a:pt x="394" y="23"/>
                  </a:lnTo>
                  <a:lnTo>
                    <a:pt x="397" y="21"/>
                  </a:lnTo>
                  <a:lnTo>
                    <a:pt x="399" y="21"/>
                  </a:lnTo>
                  <a:lnTo>
                    <a:pt x="401" y="16"/>
                  </a:lnTo>
                  <a:lnTo>
                    <a:pt x="404" y="16"/>
                  </a:lnTo>
                  <a:lnTo>
                    <a:pt x="406" y="19"/>
                  </a:lnTo>
                  <a:lnTo>
                    <a:pt x="409" y="19"/>
                  </a:lnTo>
                  <a:lnTo>
                    <a:pt x="411" y="19"/>
                  </a:lnTo>
                  <a:lnTo>
                    <a:pt x="413" y="19"/>
                  </a:lnTo>
                  <a:lnTo>
                    <a:pt x="416" y="19"/>
                  </a:lnTo>
                  <a:lnTo>
                    <a:pt x="420" y="21"/>
                  </a:lnTo>
                  <a:lnTo>
                    <a:pt x="420" y="21"/>
                  </a:lnTo>
                  <a:lnTo>
                    <a:pt x="423" y="19"/>
                  </a:lnTo>
                  <a:lnTo>
                    <a:pt x="425" y="21"/>
                  </a:lnTo>
                  <a:lnTo>
                    <a:pt x="427" y="21"/>
                  </a:lnTo>
                  <a:lnTo>
                    <a:pt x="427" y="21"/>
                  </a:lnTo>
                  <a:lnTo>
                    <a:pt x="427" y="26"/>
                  </a:lnTo>
                  <a:lnTo>
                    <a:pt x="430" y="26"/>
                  </a:lnTo>
                  <a:lnTo>
                    <a:pt x="432" y="26"/>
                  </a:lnTo>
                  <a:lnTo>
                    <a:pt x="435" y="28"/>
                  </a:lnTo>
                  <a:lnTo>
                    <a:pt x="437" y="28"/>
                  </a:lnTo>
                  <a:lnTo>
                    <a:pt x="439" y="31"/>
                  </a:lnTo>
                  <a:lnTo>
                    <a:pt x="444" y="33"/>
                  </a:lnTo>
                  <a:lnTo>
                    <a:pt x="451" y="33"/>
                  </a:lnTo>
                  <a:lnTo>
                    <a:pt x="458" y="35"/>
                  </a:lnTo>
                  <a:lnTo>
                    <a:pt x="458" y="35"/>
                  </a:lnTo>
                  <a:lnTo>
                    <a:pt x="461" y="35"/>
                  </a:lnTo>
                  <a:lnTo>
                    <a:pt x="463" y="35"/>
                  </a:lnTo>
                  <a:lnTo>
                    <a:pt x="465" y="38"/>
                  </a:lnTo>
                  <a:lnTo>
                    <a:pt x="465" y="38"/>
                  </a:lnTo>
                  <a:lnTo>
                    <a:pt x="468" y="35"/>
                  </a:lnTo>
                  <a:lnTo>
                    <a:pt x="468" y="35"/>
                  </a:lnTo>
                  <a:lnTo>
                    <a:pt x="472" y="35"/>
                  </a:lnTo>
                  <a:lnTo>
                    <a:pt x="472" y="38"/>
                  </a:lnTo>
                  <a:lnTo>
                    <a:pt x="477" y="40"/>
                  </a:lnTo>
                  <a:lnTo>
                    <a:pt x="479" y="45"/>
                  </a:lnTo>
                  <a:lnTo>
                    <a:pt x="479" y="45"/>
                  </a:lnTo>
                  <a:lnTo>
                    <a:pt x="482" y="47"/>
                  </a:lnTo>
                  <a:lnTo>
                    <a:pt x="484" y="49"/>
                  </a:lnTo>
                  <a:lnTo>
                    <a:pt x="484" y="49"/>
                  </a:lnTo>
                  <a:lnTo>
                    <a:pt x="484" y="49"/>
                  </a:lnTo>
                  <a:lnTo>
                    <a:pt x="484" y="54"/>
                  </a:lnTo>
                  <a:lnTo>
                    <a:pt x="484" y="56"/>
                  </a:lnTo>
                  <a:lnTo>
                    <a:pt x="487" y="56"/>
                  </a:lnTo>
                  <a:lnTo>
                    <a:pt x="489" y="56"/>
                  </a:lnTo>
                  <a:lnTo>
                    <a:pt x="489" y="56"/>
                  </a:lnTo>
                  <a:lnTo>
                    <a:pt x="491" y="59"/>
                  </a:lnTo>
                  <a:lnTo>
                    <a:pt x="491" y="59"/>
                  </a:lnTo>
                  <a:lnTo>
                    <a:pt x="494" y="59"/>
                  </a:lnTo>
                  <a:lnTo>
                    <a:pt x="496" y="56"/>
                  </a:lnTo>
                  <a:lnTo>
                    <a:pt x="498" y="52"/>
                  </a:lnTo>
                  <a:lnTo>
                    <a:pt x="498" y="49"/>
                  </a:lnTo>
                  <a:lnTo>
                    <a:pt x="501" y="49"/>
                  </a:lnTo>
                  <a:lnTo>
                    <a:pt x="501" y="49"/>
                  </a:lnTo>
                  <a:lnTo>
                    <a:pt x="503" y="49"/>
                  </a:lnTo>
                  <a:lnTo>
                    <a:pt x="503" y="52"/>
                  </a:lnTo>
                  <a:lnTo>
                    <a:pt x="505" y="52"/>
                  </a:lnTo>
                  <a:lnTo>
                    <a:pt x="508" y="52"/>
                  </a:lnTo>
                  <a:lnTo>
                    <a:pt x="510" y="52"/>
                  </a:lnTo>
                  <a:lnTo>
                    <a:pt x="512" y="49"/>
                  </a:lnTo>
                  <a:lnTo>
                    <a:pt x="515" y="52"/>
                  </a:lnTo>
                  <a:lnTo>
                    <a:pt x="517" y="52"/>
                  </a:lnTo>
                  <a:lnTo>
                    <a:pt x="517" y="52"/>
                  </a:lnTo>
                  <a:lnTo>
                    <a:pt x="520" y="54"/>
                  </a:lnTo>
                  <a:lnTo>
                    <a:pt x="520" y="54"/>
                  </a:lnTo>
                  <a:lnTo>
                    <a:pt x="522" y="56"/>
                  </a:lnTo>
                  <a:lnTo>
                    <a:pt x="522" y="54"/>
                  </a:lnTo>
                  <a:lnTo>
                    <a:pt x="524" y="54"/>
                  </a:lnTo>
                  <a:lnTo>
                    <a:pt x="527" y="56"/>
                  </a:lnTo>
                  <a:lnTo>
                    <a:pt x="529" y="54"/>
                  </a:lnTo>
                  <a:lnTo>
                    <a:pt x="531" y="56"/>
                  </a:lnTo>
                  <a:lnTo>
                    <a:pt x="531" y="54"/>
                  </a:lnTo>
                  <a:lnTo>
                    <a:pt x="531" y="54"/>
                  </a:lnTo>
                  <a:lnTo>
                    <a:pt x="531" y="52"/>
                  </a:lnTo>
                  <a:lnTo>
                    <a:pt x="534" y="52"/>
                  </a:lnTo>
                  <a:lnTo>
                    <a:pt x="534" y="52"/>
                  </a:lnTo>
                  <a:lnTo>
                    <a:pt x="536" y="49"/>
                  </a:lnTo>
                  <a:lnTo>
                    <a:pt x="538" y="52"/>
                  </a:lnTo>
                  <a:lnTo>
                    <a:pt x="538" y="52"/>
                  </a:lnTo>
                  <a:lnTo>
                    <a:pt x="541" y="54"/>
                  </a:lnTo>
                  <a:lnTo>
                    <a:pt x="541" y="56"/>
                  </a:lnTo>
                  <a:lnTo>
                    <a:pt x="543" y="56"/>
                  </a:lnTo>
                  <a:lnTo>
                    <a:pt x="546" y="56"/>
                  </a:lnTo>
                  <a:lnTo>
                    <a:pt x="548" y="54"/>
                  </a:lnTo>
                  <a:lnTo>
                    <a:pt x="548" y="54"/>
                  </a:lnTo>
                  <a:lnTo>
                    <a:pt x="550" y="54"/>
                  </a:lnTo>
                  <a:lnTo>
                    <a:pt x="553" y="54"/>
                  </a:lnTo>
                  <a:lnTo>
                    <a:pt x="555" y="56"/>
                  </a:lnTo>
                  <a:lnTo>
                    <a:pt x="555" y="56"/>
                  </a:lnTo>
                  <a:lnTo>
                    <a:pt x="555" y="56"/>
                  </a:lnTo>
                  <a:lnTo>
                    <a:pt x="557" y="56"/>
                  </a:lnTo>
                  <a:lnTo>
                    <a:pt x="560" y="56"/>
                  </a:lnTo>
                  <a:lnTo>
                    <a:pt x="562" y="56"/>
                  </a:lnTo>
                  <a:lnTo>
                    <a:pt x="564" y="56"/>
                  </a:lnTo>
                  <a:lnTo>
                    <a:pt x="567" y="54"/>
                  </a:lnTo>
                  <a:lnTo>
                    <a:pt x="569" y="54"/>
                  </a:lnTo>
                  <a:lnTo>
                    <a:pt x="569" y="54"/>
                  </a:lnTo>
                  <a:lnTo>
                    <a:pt x="572" y="54"/>
                  </a:lnTo>
                  <a:lnTo>
                    <a:pt x="572" y="52"/>
                  </a:lnTo>
                  <a:lnTo>
                    <a:pt x="574" y="52"/>
                  </a:lnTo>
                  <a:lnTo>
                    <a:pt x="576" y="54"/>
                  </a:lnTo>
                  <a:lnTo>
                    <a:pt x="579" y="52"/>
                  </a:lnTo>
                  <a:lnTo>
                    <a:pt x="579" y="49"/>
                  </a:lnTo>
                  <a:lnTo>
                    <a:pt x="581" y="52"/>
                  </a:lnTo>
                  <a:lnTo>
                    <a:pt x="583" y="52"/>
                  </a:lnTo>
                  <a:lnTo>
                    <a:pt x="583" y="54"/>
                  </a:lnTo>
                  <a:lnTo>
                    <a:pt x="586" y="54"/>
                  </a:lnTo>
                  <a:lnTo>
                    <a:pt x="586" y="54"/>
                  </a:lnTo>
                  <a:lnTo>
                    <a:pt x="586" y="52"/>
                  </a:lnTo>
                  <a:lnTo>
                    <a:pt x="586" y="52"/>
                  </a:lnTo>
                  <a:lnTo>
                    <a:pt x="586" y="49"/>
                  </a:lnTo>
                  <a:lnTo>
                    <a:pt x="586" y="49"/>
                  </a:lnTo>
                  <a:lnTo>
                    <a:pt x="588" y="52"/>
                  </a:lnTo>
                  <a:lnTo>
                    <a:pt x="588" y="52"/>
                  </a:lnTo>
                  <a:lnTo>
                    <a:pt x="590" y="54"/>
                  </a:lnTo>
                  <a:lnTo>
                    <a:pt x="588" y="56"/>
                  </a:lnTo>
                  <a:lnTo>
                    <a:pt x="588" y="56"/>
                  </a:lnTo>
                  <a:lnTo>
                    <a:pt x="588" y="59"/>
                  </a:lnTo>
                  <a:lnTo>
                    <a:pt x="590" y="61"/>
                  </a:lnTo>
                  <a:lnTo>
                    <a:pt x="593" y="61"/>
                  </a:lnTo>
                  <a:lnTo>
                    <a:pt x="595" y="61"/>
                  </a:lnTo>
                  <a:lnTo>
                    <a:pt x="598" y="64"/>
                  </a:lnTo>
                  <a:lnTo>
                    <a:pt x="598" y="64"/>
                  </a:lnTo>
                  <a:lnTo>
                    <a:pt x="598" y="64"/>
                  </a:lnTo>
                  <a:lnTo>
                    <a:pt x="598" y="64"/>
                  </a:lnTo>
                  <a:lnTo>
                    <a:pt x="595" y="66"/>
                  </a:lnTo>
                  <a:lnTo>
                    <a:pt x="595" y="68"/>
                  </a:lnTo>
                  <a:lnTo>
                    <a:pt x="595" y="71"/>
                  </a:lnTo>
                  <a:lnTo>
                    <a:pt x="598" y="71"/>
                  </a:lnTo>
                  <a:lnTo>
                    <a:pt x="600" y="71"/>
                  </a:lnTo>
                  <a:lnTo>
                    <a:pt x="600" y="71"/>
                  </a:lnTo>
                  <a:lnTo>
                    <a:pt x="602" y="71"/>
                  </a:lnTo>
                  <a:lnTo>
                    <a:pt x="602" y="73"/>
                  </a:lnTo>
                  <a:lnTo>
                    <a:pt x="605" y="73"/>
                  </a:lnTo>
                  <a:lnTo>
                    <a:pt x="607" y="71"/>
                  </a:lnTo>
                  <a:lnTo>
                    <a:pt x="607" y="73"/>
                  </a:lnTo>
                  <a:lnTo>
                    <a:pt x="607" y="73"/>
                  </a:lnTo>
                  <a:lnTo>
                    <a:pt x="609" y="73"/>
                  </a:lnTo>
                  <a:lnTo>
                    <a:pt x="609" y="75"/>
                  </a:lnTo>
                  <a:lnTo>
                    <a:pt x="609" y="75"/>
                  </a:lnTo>
                  <a:lnTo>
                    <a:pt x="612" y="75"/>
                  </a:lnTo>
                  <a:lnTo>
                    <a:pt x="612" y="75"/>
                  </a:lnTo>
                  <a:lnTo>
                    <a:pt x="614" y="75"/>
                  </a:lnTo>
                  <a:lnTo>
                    <a:pt x="614" y="78"/>
                  </a:lnTo>
                  <a:lnTo>
                    <a:pt x="616" y="75"/>
                  </a:lnTo>
                  <a:lnTo>
                    <a:pt x="619" y="75"/>
                  </a:lnTo>
                  <a:lnTo>
                    <a:pt x="619" y="78"/>
                  </a:lnTo>
                  <a:lnTo>
                    <a:pt x="621" y="78"/>
                  </a:lnTo>
                  <a:lnTo>
                    <a:pt x="619" y="80"/>
                  </a:lnTo>
                  <a:lnTo>
                    <a:pt x="619" y="80"/>
                  </a:lnTo>
                  <a:lnTo>
                    <a:pt x="621" y="82"/>
                  </a:lnTo>
                  <a:lnTo>
                    <a:pt x="621" y="85"/>
                  </a:lnTo>
                  <a:lnTo>
                    <a:pt x="624" y="82"/>
                  </a:lnTo>
                  <a:lnTo>
                    <a:pt x="624" y="85"/>
                  </a:lnTo>
                  <a:lnTo>
                    <a:pt x="624" y="85"/>
                  </a:lnTo>
                  <a:lnTo>
                    <a:pt x="626" y="85"/>
                  </a:lnTo>
                  <a:lnTo>
                    <a:pt x="626" y="85"/>
                  </a:lnTo>
                  <a:lnTo>
                    <a:pt x="626" y="87"/>
                  </a:lnTo>
                  <a:lnTo>
                    <a:pt x="628" y="90"/>
                  </a:lnTo>
                  <a:lnTo>
                    <a:pt x="628" y="92"/>
                  </a:lnTo>
                  <a:lnTo>
                    <a:pt x="628" y="94"/>
                  </a:lnTo>
                  <a:lnTo>
                    <a:pt x="631" y="94"/>
                  </a:lnTo>
                  <a:lnTo>
                    <a:pt x="631" y="94"/>
                  </a:lnTo>
                  <a:lnTo>
                    <a:pt x="631" y="97"/>
                  </a:lnTo>
                  <a:lnTo>
                    <a:pt x="631" y="97"/>
                  </a:lnTo>
                  <a:lnTo>
                    <a:pt x="633" y="99"/>
                  </a:lnTo>
                  <a:lnTo>
                    <a:pt x="633" y="104"/>
                  </a:lnTo>
                  <a:lnTo>
                    <a:pt x="633" y="104"/>
                  </a:lnTo>
                  <a:lnTo>
                    <a:pt x="633" y="106"/>
                  </a:lnTo>
                  <a:lnTo>
                    <a:pt x="633" y="108"/>
                  </a:lnTo>
                  <a:lnTo>
                    <a:pt x="631" y="106"/>
                  </a:lnTo>
                  <a:lnTo>
                    <a:pt x="631" y="108"/>
                  </a:lnTo>
                  <a:lnTo>
                    <a:pt x="631" y="108"/>
                  </a:lnTo>
                  <a:lnTo>
                    <a:pt x="633" y="108"/>
                  </a:lnTo>
                  <a:lnTo>
                    <a:pt x="635" y="111"/>
                  </a:lnTo>
                  <a:lnTo>
                    <a:pt x="635" y="113"/>
                  </a:lnTo>
                  <a:lnTo>
                    <a:pt x="638" y="113"/>
                  </a:lnTo>
                  <a:lnTo>
                    <a:pt x="635" y="113"/>
                  </a:lnTo>
                  <a:lnTo>
                    <a:pt x="635" y="113"/>
                  </a:lnTo>
                  <a:lnTo>
                    <a:pt x="633" y="113"/>
                  </a:lnTo>
                  <a:lnTo>
                    <a:pt x="633" y="116"/>
                  </a:lnTo>
                  <a:lnTo>
                    <a:pt x="633" y="116"/>
                  </a:lnTo>
                  <a:lnTo>
                    <a:pt x="635" y="116"/>
                  </a:lnTo>
                  <a:lnTo>
                    <a:pt x="635" y="116"/>
                  </a:lnTo>
                  <a:lnTo>
                    <a:pt x="635" y="116"/>
                  </a:lnTo>
                  <a:lnTo>
                    <a:pt x="635" y="116"/>
                  </a:lnTo>
                  <a:lnTo>
                    <a:pt x="635" y="116"/>
                  </a:lnTo>
                  <a:lnTo>
                    <a:pt x="638" y="118"/>
                  </a:lnTo>
                  <a:lnTo>
                    <a:pt x="638" y="118"/>
                  </a:lnTo>
                  <a:lnTo>
                    <a:pt x="638" y="118"/>
                  </a:lnTo>
                  <a:lnTo>
                    <a:pt x="640" y="118"/>
                  </a:lnTo>
                  <a:lnTo>
                    <a:pt x="640" y="120"/>
                  </a:lnTo>
                  <a:lnTo>
                    <a:pt x="640" y="120"/>
                  </a:lnTo>
                  <a:lnTo>
                    <a:pt x="640" y="120"/>
                  </a:lnTo>
                  <a:lnTo>
                    <a:pt x="638" y="120"/>
                  </a:lnTo>
                  <a:lnTo>
                    <a:pt x="638" y="120"/>
                  </a:lnTo>
                  <a:lnTo>
                    <a:pt x="635" y="120"/>
                  </a:lnTo>
                  <a:lnTo>
                    <a:pt x="635" y="123"/>
                  </a:lnTo>
                  <a:lnTo>
                    <a:pt x="635" y="123"/>
                  </a:lnTo>
                  <a:lnTo>
                    <a:pt x="635" y="125"/>
                  </a:lnTo>
                  <a:lnTo>
                    <a:pt x="635" y="125"/>
                  </a:lnTo>
                  <a:lnTo>
                    <a:pt x="635" y="125"/>
                  </a:lnTo>
                  <a:lnTo>
                    <a:pt x="633" y="125"/>
                  </a:lnTo>
                  <a:lnTo>
                    <a:pt x="633" y="127"/>
                  </a:lnTo>
                  <a:lnTo>
                    <a:pt x="633" y="127"/>
                  </a:lnTo>
                  <a:lnTo>
                    <a:pt x="633" y="130"/>
                  </a:lnTo>
                  <a:lnTo>
                    <a:pt x="633" y="130"/>
                  </a:lnTo>
                  <a:lnTo>
                    <a:pt x="633" y="130"/>
                  </a:lnTo>
                  <a:lnTo>
                    <a:pt x="633" y="132"/>
                  </a:lnTo>
                  <a:lnTo>
                    <a:pt x="635" y="132"/>
                  </a:lnTo>
                  <a:lnTo>
                    <a:pt x="635" y="134"/>
                  </a:lnTo>
                  <a:lnTo>
                    <a:pt x="635" y="134"/>
                  </a:lnTo>
                  <a:lnTo>
                    <a:pt x="635" y="137"/>
                  </a:lnTo>
                  <a:lnTo>
                    <a:pt x="635" y="137"/>
                  </a:lnTo>
                  <a:lnTo>
                    <a:pt x="635" y="139"/>
                  </a:lnTo>
                  <a:lnTo>
                    <a:pt x="633" y="142"/>
                  </a:lnTo>
                  <a:lnTo>
                    <a:pt x="633" y="142"/>
                  </a:lnTo>
                  <a:lnTo>
                    <a:pt x="633" y="144"/>
                  </a:lnTo>
                  <a:lnTo>
                    <a:pt x="633" y="144"/>
                  </a:lnTo>
                  <a:lnTo>
                    <a:pt x="633" y="144"/>
                  </a:lnTo>
                  <a:lnTo>
                    <a:pt x="635" y="144"/>
                  </a:lnTo>
                  <a:lnTo>
                    <a:pt x="635" y="146"/>
                  </a:lnTo>
                  <a:lnTo>
                    <a:pt x="633" y="146"/>
                  </a:lnTo>
                  <a:lnTo>
                    <a:pt x="635" y="146"/>
                  </a:lnTo>
                  <a:lnTo>
                    <a:pt x="635" y="149"/>
                  </a:lnTo>
                  <a:lnTo>
                    <a:pt x="638" y="149"/>
                  </a:lnTo>
                  <a:lnTo>
                    <a:pt x="638" y="151"/>
                  </a:lnTo>
                  <a:lnTo>
                    <a:pt x="638" y="151"/>
                  </a:lnTo>
                  <a:lnTo>
                    <a:pt x="638" y="151"/>
                  </a:lnTo>
                  <a:lnTo>
                    <a:pt x="638" y="151"/>
                  </a:lnTo>
                  <a:lnTo>
                    <a:pt x="640" y="151"/>
                  </a:lnTo>
                  <a:lnTo>
                    <a:pt x="640" y="153"/>
                  </a:lnTo>
                  <a:lnTo>
                    <a:pt x="640" y="153"/>
                  </a:lnTo>
                  <a:lnTo>
                    <a:pt x="640" y="153"/>
                  </a:lnTo>
                  <a:lnTo>
                    <a:pt x="642" y="153"/>
                  </a:lnTo>
                  <a:lnTo>
                    <a:pt x="642" y="153"/>
                  </a:lnTo>
                  <a:lnTo>
                    <a:pt x="642" y="156"/>
                  </a:lnTo>
                  <a:lnTo>
                    <a:pt x="642" y="156"/>
                  </a:lnTo>
                  <a:lnTo>
                    <a:pt x="642" y="158"/>
                  </a:lnTo>
                  <a:lnTo>
                    <a:pt x="642" y="160"/>
                  </a:lnTo>
                  <a:lnTo>
                    <a:pt x="642" y="160"/>
                  </a:lnTo>
                  <a:lnTo>
                    <a:pt x="640" y="158"/>
                  </a:lnTo>
                  <a:lnTo>
                    <a:pt x="640" y="160"/>
                  </a:lnTo>
                  <a:lnTo>
                    <a:pt x="640" y="160"/>
                  </a:lnTo>
                  <a:lnTo>
                    <a:pt x="640" y="160"/>
                  </a:lnTo>
                  <a:lnTo>
                    <a:pt x="640" y="163"/>
                  </a:lnTo>
                  <a:lnTo>
                    <a:pt x="640" y="163"/>
                  </a:lnTo>
                  <a:lnTo>
                    <a:pt x="640" y="163"/>
                  </a:lnTo>
                  <a:lnTo>
                    <a:pt x="640" y="165"/>
                  </a:lnTo>
                  <a:lnTo>
                    <a:pt x="640" y="168"/>
                  </a:lnTo>
                  <a:lnTo>
                    <a:pt x="640" y="168"/>
                  </a:lnTo>
                  <a:lnTo>
                    <a:pt x="640" y="170"/>
                  </a:lnTo>
                  <a:lnTo>
                    <a:pt x="640" y="170"/>
                  </a:lnTo>
                  <a:lnTo>
                    <a:pt x="640" y="170"/>
                  </a:lnTo>
                  <a:lnTo>
                    <a:pt x="638" y="172"/>
                  </a:lnTo>
                  <a:lnTo>
                    <a:pt x="635" y="172"/>
                  </a:lnTo>
                  <a:lnTo>
                    <a:pt x="635" y="172"/>
                  </a:lnTo>
                  <a:lnTo>
                    <a:pt x="638" y="172"/>
                  </a:lnTo>
                  <a:lnTo>
                    <a:pt x="635" y="172"/>
                  </a:lnTo>
                  <a:lnTo>
                    <a:pt x="635" y="172"/>
                  </a:lnTo>
                  <a:lnTo>
                    <a:pt x="635" y="172"/>
                  </a:lnTo>
                  <a:lnTo>
                    <a:pt x="635" y="175"/>
                  </a:lnTo>
                  <a:lnTo>
                    <a:pt x="635" y="175"/>
                  </a:lnTo>
                  <a:lnTo>
                    <a:pt x="635" y="175"/>
                  </a:lnTo>
                  <a:lnTo>
                    <a:pt x="635" y="177"/>
                  </a:lnTo>
                  <a:lnTo>
                    <a:pt x="635" y="177"/>
                  </a:lnTo>
                  <a:lnTo>
                    <a:pt x="638" y="179"/>
                  </a:lnTo>
                  <a:lnTo>
                    <a:pt x="640" y="177"/>
                  </a:lnTo>
                  <a:lnTo>
                    <a:pt x="640" y="179"/>
                  </a:lnTo>
                  <a:lnTo>
                    <a:pt x="640" y="182"/>
                  </a:lnTo>
                  <a:lnTo>
                    <a:pt x="640" y="182"/>
                  </a:lnTo>
                  <a:lnTo>
                    <a:pt x="642" y="182"/>
                  </a:lnTo>
                  <a:lnTo>
                    <a:pt x="642" y="184"/>
                  </a:lnTo>
                  <a:lnTo>
                    <a:pt x="642" y="184"/>
                  </a:lnTo>
                  <a:lnTo>
                    <a:pt x="645" y="184"/>
                  </a:lnTo>
                  <a:lnTo>
                    <a:pt x="645" y="184"/>
                  </a:lnTo>
                  <a:lnTo>
                    <a:pt x="645" y="182"/>
                  </a:lnTo>
                  <a:lnTo>
                    <a:pt x="645" y="184"/>
                  </a:lnTo>
                  <a:lnTo>
                    <a:pt x="647" y="184"/>
                  </a:lnTo>
                  <a:lnTo>
                    <a:pt x="647" y="184"/>
                  </a:lnTo>
                  <a:lnTo>
                    <a:pt x="647" y="186"/>
                  </a:lnTo>
                  <a:lnTo>
                    <a:pt x="647" y="186"/>
                  </a:lnTo>
                  <a:lnTo>
                    <a:pt x="645" y="186"/>
                  </a:lnTo>
                  <a:lnTo>
                    <a:pt x="645" y="186"/>
                  </a:lnTo>
                  <a:lnTo>
                    <a:pt x="647" y="186"/>
                  </a:lnTo>
                  <a:lnTo>
                    <a:pt x="647" y="186"/>
                  </a:lnTo>
                  <a:lnTo>
                    <a:pt x="647" y="189"/>
                  </a:lnTo>
                  <a:lnTo>
                    <a:pt x="650" y="189"/>
                  </a:lnTo>
                  <a:lnTo>
                    <a:pt x="650" y="189"/>
                  </a:lnTo>
                  <a:lnTo>
                    <a:pt x="647" y="189"/>
                  </a:lnTo>
                  <a:lnTo>
                    <a:pt x="647" y="189"/>
                  </a:lnTo>
                  <a:lnTo>
                    <a:pt x="647" y="189"/>
                  </a:lnTo>
                  <a:lnTo>
                    <a:pt x="650" y="191"/>
                  </a:lnTo>
                  <a:lnTo>
                    <a:pt x="650" y="191"/>
                  </a:lnTo>
                  <a:lnTo>
                    <a:pt x="650" y="191"/>
                  </a:lnTo>
                  <a:lnTo>
                    <a:pt x="650" y="193"/>
                  </a:lnTo>
                  <a:lnTo>
                    <a:pt x="650" y="193"/>
                  </a:lnTo>
                  <a:lnTo>
                    <a:pt x="650" y="193"/>
                  </a:lnTo>
                  <a:lnTo>
                    <a:pt x="650" y="196"/>
                  </a:lnTo>
                  <a:lnTo>
                    <a:pt x="652" y="196"/>
                  </a:lnTo>
                  <a:lnTo>
                    <a:pt x="650" y="196"/>
                  </a:lnTo>
                  <a:lnTo>
                    <a:pt x="650" y="196"/>
                  </a:lnTo>
                  <a:lnTo>
                    <a:pt x="650" y="196"/>
                  </a:lnTo>
                  <a:lnTo>
                    <a:pt x="650" y="196"/>
                  </a:lnTo>
                  <a:lnTo>
                    <a:pt x="650" y="196"/>
                  </a:lnTo>
                  <a:lnTo>
                    <a:pt x="652" y="196"/>
                  </a:lnTo>
                  <a:lnTo>
                    <a:pt x="652" y="196"/>
                  </a:lnTo>
                  <a:lnTo>
                    <a:pt x="652" y="198"/>
                  </a:lnTo>
                  <a:lnTo>
                    <a:pt x="652" y="198"/>
                  </a:lnTo>
                  <a:lnTo>
                    <a:pt x="652" y="198"/>
                  </a:lnTo>
                  <a:lnTo>
                    <a:pt x="654" y="201"/>
                  </a:lnTo>
                  <a:lnTo>
                    <a:pt x="654" y="201"/>
                  </a:lnTo>
                  <a:lnTo>
                    <a:pt x="657" y="201"/>
                  </a:lnTo>
                  <a:lnTo>
                    <a:pt x="657" y="203"/>
                  </a:lnTo>
                  <a:lnTo>
                    <a:pt x="657" y="203"/>
                  </a:lnTo>
                  <a:lnTo>
                    <a:pt x="657" y="203"/>
                  </a:lnTo>
                  <a:lnTo>
                    <a:pt x="657" y="205"/>
                  </a:lnTo>
                  <a:lnTo>
                    <a:pt x="657" y="205"/>
                  </a:lnTo>
                  <a:lnTo>
                    <a:pt x="659" y="205"/>
                  </a:lnTo>
                  <a:lnTo>
                    <a:pt x="661" y="205"/>
                  </a:lnTo>
                  <a:lnTo>
                    <a:pt x="659" y="208"/>
                  </a:lnTo>
                  <a:lnTo>
                    <a:pt x="661" y="208"/>
                  </a:lnTo>
                  <a:lnTo>
                    <a:pt x="659" y="208"/>
                  </a:lnTo>
                  <a:lnTo>
                    <a:pt x="661" y="208"/>
                  </a:lnTo>
                  <a:lnTo>
                    <a:pt x="661" y="210"/>
                  </a:lnTo>
                  <a:lnTo>
                    <a:pt x="664" y="208"/>
                  </a:lnTo>
                  <a:lnTo>
                    <a:pt x="664" y="210"/>
                  </a:lnTo>
                  <a:lnTo>
                    <a:pt x="664" y="208"/>
                  </a:lnTo>
                  <a:lnTo>
                    <a:pt x="666" y="210"/>
                  </a:lnTo>
                  <a:lnTo>
                    <a:pt x="666" y="210"/>
                  </a:lnTo>
                  <a:lnTo>
                    <a:pt x="668" y="212"/>
                  </a:lnTo>
                  <a:lnTo>
                    <a:pt x="668" y="212"/>
                  </a:lnTo>
                  <a:lnTo>
                    <a:pt x="668" y="212"/>
                  </a:lnTo>
                  <a:lnTo>
                    <a:pt x="671" y="215"/>
                  </a:lnTo>
                  <a:lnTo>
                    <a:pt x="668" y="215"/>
                  </a:lnTo>
                  <a:lnTo>
                    <a:pt x="668" y="217"/>
                  </a:lnTo>
                  <a:lnTo>
                    <a:pt x="668" y="219"/>
                  </a:lnTo>
                  <a:lnTo>
                    <a:pt x="668" y="219"/>
                  </a:lnTo>
                  <a:lnTo>
                    <a:pt x="666" y="222"/>
                  </a:lnTo>
                  <a:lnTo>
                    <a:pt x="668" y="222"/>
                  </a:lnTo>
                  <a:lnTo>
                    <a:pt x="671" y="224"/>
                  </a:lnTo>
                  <a:lnTo>
                    <a:pt x="671" y="227"/>
                  </a:lnTo>
                  <a:lnTo>
                    <a:pt x="673" y="227"/>
                  </a:lnTo>
                  <a:lnTo>
                    <a:pt x="673" y="227"/>
                  </a:lnTo>
                  <a:lnTo>
                    <a:pt x="673" y="227"/>
                  </a:lnTo>
                  <a:lnTo>
                    <a:pt x="673" y="227"/>
                  </a:lnTo>
                  <a:lnTo>
                    <a:pt x="675" y="229"/>
                  </a:lnTo>
                  <a:lnTo>
                    <a:pt x="673" y="229"/>
                  </a:lnTo>
                  <a:lnTo>
                    <a:pt x="675" y="231"/>
                  </a:lnTo>
                  <a:lnTo>
                    <a:pt x="675" y="231"/>
                  </a:lnTo>
                  <a:lnTo>
                    <a:pt x="675" y="234"/>
                  </a:lnTo>
                  <a:lnTo>
                    <a:pt x="675" y="234"/>
                  </a:lnTo>
                  <a:lnTo>
                    <a:pt x="675" y="234"/>
                  </a:lnTo>
                  <a:lnTo>
                    <a:pt x="678" y="234"/>
                  </a:lnTo>
                  <a:lnTo>
                    <a:pt x="678" y="234"/>
                  </a:lnTo>
                  <a:lnTo>
                    <a:pt x="680" y="236"/>
                  </a:lnTo>
                  <a:lnTo>
                    <a:pt x="680" y="236"/>
                  </a:lnTo>
                  <a:lnTo>
                    <a:pt x="680" y="236"/>
                  </a:lnTo>
                  <a:lnTo>
                    <a:pt x="683" y="236"/>
                  </a:lnTo>
                  <a:lnTo>
                    <a:pt x="685" y="238"/>
                  </a:lnTo>
                  <a:lnTo>
                    <a:pt x="685" y="238"/>
                  </a:lnTo>
                  <a:lnTo>
                    <a:pt x="687" y="238"/>
                  </a:lnTo>
                  <a:lnTo>
                    <a:pt x="685" y="241"/>
                  </a:lnTo>
                  <a:lnTo>
                    <a:pt x="683" y="241"/>
                  </a:lnTo>
                  <a:lnTo>
                    <a:pt x="680" y="243"/>
                  </a:lnTo>
                  <a:lnTo>
                    <a:pt x="680" y="245"/>
                  </a:lnTo>
                  <a:lnTo>
                    <a:pt x="680" y="248"/>
                  </a:lnTo>
                  <a:lnTo>
                    <a:pt x="680" y="248"/>
                  </a:lnTo>
                  <a:lnTo>
                    <a:pt x="680" y="245"/>
                  </a:lnTo>
                  <a:lnTo>
                    <a:pt x="683" y="245"/>
                  </a:lnTo>
                  <a:lnTo>
                    <a:pt x="683" y="248"/>
                  </a:lnTo>
                  <a:lnTo>
                    <a:pt x="680" y="250"/>
                  </a:lnTo>
                  <a:lnTo>
                    <a:pt x="680" y="250"/>
                  </a:lnTo>
                  <a:lnTo>
                    <a:pt x="680" y="253"/>
                  </a:lnTo>
                  <a:lnTo>
                    <a:pt x="680" y="253"/>
                  </a:lnTo>
                  <a:lnTo>
                    <a:pt x="680" y="253"/>
                  </a:lnTo>
                  <a:lnTo>
                    <a:pt x="680" y="255"/>
                  </a:lnTo>
                  <a:lnTo>
                    <a:pt x="680" y="255"/>
                  </a:lnTo>
                  <a:lnTo>
                    <a:pt x="680" y="255"/>
                  </a:lnTo>
                  <a:lnTo>
                    <a:pt x="678" y="255"/>
                  </a:lnTo>
                  <a:lnTo>
                    <a:pt x="678" y="257"/>
                  </a:lnTo>
                  <a:lnTo>
                    <a:pt x="678" y="260"/>
                  </a:lnTo>
                  <a:lnTo>
                    <a:pt x="675" y="260"/>
                  </a:lnTo>
                  <a:lnTo>
                    <a:pt x="675" y="260"/>
                  </a:lnTo>
                  <a:lnTo>
                    <a:pt x="675" y="262"/>
                  </a:lnTo>
                  <a:lnTo>
                    <a:pt x="675" y="262"/>
                  </a:lnTo>
                  <a:lnTo>
                    <a:pt x="675" y="264"/>
                  </a:lnTo>
                  <a:lnTo>
                    <a:pt x="675" y="264"/>
                  </a:lnTo>
                  <a:lnTo>
                    <a:pt x="675" y="267"/>
                  </a:lnTo>
                  <a:lnTo>
                    <a:pt x="673" y="264"/>
                  </a:lnTo>
                  <a:lnTo>
                    <a:pt x="673" y="267"/>
                  </a:lnTo>
                  <a:lnTo>
                    <a:pt x="671" y="267"/>
                  </a:lnTo>
                  <a:lnTo>
                    <a:pt x="671" y="267"/>
                  </a:lnTo>
                  <a:lnTo>
                    <a:pt x="671" y="269"/>
                  </a:lnTo>
                  <a:lnTo>
                    <a:pt x="673" y="269"/>
                  </a:lnTo>
                  <a:lnTo>
                    <a:pt x="673" y="271"/>
                  </a:lnTo>
                  <a:lnTo>
                    <a:pt x="671" y="271"/>
                  </a:lnTo>
                  <a:lnTo>
                    <a:pt x="673" y="271"/>
                  </a:lnTo>
                  <a:lnTo>
                    <a:pt x="673" y="271"/>
                  </a:lnTo>
                  <a:lnTo>
                    <a:pt x="671" y="274"/>
                  </a:lnTo>
                  <a:lnTo>
                    <a:pt x="671" y="274"/>
                  </a:lnTo>
                  <a:lnTo>
                    <a:pt x="673" y="274"/>
                  </a:lnTo>
                  <a:lnTo>
                    <a:pt x="671" y="279"/>
                  </a:lnTo>
                  <a:lnTo>
                    <a:pt x="673" y="279"/>
                  </a:lnTo>
                  <a:lnTo>
                    <a:pt x="673" y="279"/>
                  </a:lnTo>
                  <a:lnTo>
                    <a:pt x="673" y="279"/>
                  </a:lnTo>
                  <a:lnTo>
                    <a:pt x="673" y="279"/>
                  </a:lnTo>
                  <a:lnTo>
                    <a:pt x="673" y="281"/>
                  </a:lnTo>
                  <a:lnTo>
                    <a:pt x="673" y="281"/>
                  </a:lnTo>
                  <a:lnTo>
                    <a:pt x="673" y="281"/>
                  </a:lnTo>
                  <a:lnTo>
                    <a:pt x="675" y="281"/>
                  </a:lnTo>
                  <a:lnTo>
                    <a:pt x="678" y="283"/>
                  </a:lnTo>
                  <a:lnTo>
                    <a:pt x="678" y="283"/>
                  </a:lnTo>
                  <a:lnTo>
                    <a:pt x="680" y="283"/>
                  </a:lnTo>
                  <a:lnTo>
                    <a:pt x="680" y="286"/>
                  </a:lnTo>
                  <a:lnTo>
                    <a:pt x="683" y="286"/>
                  </a:lnTo>
                  <a:lnTo>
                    <a:pt x="685" y="286"/>
                  </a:lnTo>
                  <a:lnTo>
                    <a:pt x="685" y="283"/>
                  </a:lnTo>
                  <a:lnTo>
                    <a:pt x="687" y="283"/>
                  </a:lnTo>
                  <a:lnTo>
                    <a:pt x="687" y="283"/>
                  </a:lnTo>
                  <a:lnTo>
                    <a:pt x="687" y="281"/>
                  </a:lnTo>
                  <a:lnTo>
                    <a:pt x="690" y="281"/>
                  </a:lnTo>
                  <a:lnTo>
                    <a:pt x="690" y="281"/>
                  </a:lnTo>
                  <a:lnTo>
                    <a:pt x="692" y="281"/>
                  </a:lnTo>
                  <a:lnTo>
                    <a:pt x="694" y="281"/>
                  </a:lnTo>
                  <a:lnTo>
                    <a:pt x="697" y="283"/>
                  </a:lnTo>
                  <a:lnTo>
                    <a:pt x="697" y="283"/>
                  </a:lnTo>
                  <a:lnTo>
                    <a:pt x="699" y="281"/>
                  </a:lnTo>
                  <a:lnTo>
                    <a:pt x="699" y="281"/>
                  </a:lnTo>
                  <a:lnTo>
                    <a:pt x="699" y="283"/>
                  </a:lnTo>
                  <a:lnTo>
                    <a:pt x="701" y="283"/>
                  </a:lnTo>
                  <a:lnTo>
                    <a:pt x="701" y="281"/>
                  </a:lnTo>
                  <a:lnTo>
                    <a:pt x="701" y="281"/>
                  </a:lnTo>
                  <a:lnTo>
                    <a:pt x="704" y="283"/>
                  </a:lnTo>
                  <a:lnTo>
                    <a:pt x="704" y="283"/>
                  </a:lnTo>
                  <a:lnTo>
                    <a:pt x="704" y="283"/>
                  </a:lnTo>
                  <a:lnTo>
                    <a:pt x="706" y="283"/>
                  </a:lnTo>
                  <a:lnTo>
                    <a:pt x="706" y="281"/>
                  </a:lnTo>
                  <a:lnTo>
                    <a:pt x="706" y="281"/>
                  </a:lnTo>
                  <a:lnTo>
                    <a:pt x="706" y="279"/>
                  </a:lnTo>
                  <a:lnTo>
                    <a:pt x="706" y="279"/>
                  </a:lnTo>
                  <a:lnTo>
                    <a:pt x="709" y="279"/>
                  </a:lnTo>
                  <a:lnTo>
                    <a:pt x="706" y="279"/>
                  </a:lnTo>
                  <a:lnTo>
                    <a:pt x="706" y="279"/>
                  </a:lnTo>
                  <a:lnTo>
                    <a:pt x="706" y="276"/>
                  </a:lnTo>
                  <a:lnTo>
                    <a:pt x="709" y="276"/>
                  </a:lnTo>
                  <a:lnTo>
                    <a:pt x="709" y="279"/>
                  </a:lnTo>
                  <a:lnTo>
                    <a:pt x="711" y="276"/>
                  </a:lnTo>
                  <a:lnTo>
                    <a:pt x="713" y="276"/>
                  </a:lnTo>
                  <a:lnTo>
                    <a:pt x="713" y="279"/>
                  </a:lnTo>
                  <a:lnTo>
                    <a:pt x="711" y="279"/>
                  </a:lnTo>
                  <a:lnTo>
                    <a:pt x="711" y="281"/>
                  </a:lnTo>
                  <a:lnTo>
                    <a:pt x="713" y="279"/>
                  </a:lnTo>
                  <a:lnTo>
                    <a:pt x="713" y="279"/>
                  </a:lnTo>
                  <a:lnTo>
                    <a:pt x="713" y="281"/>
                  </a:lnTo>
                  <a:lnTo>
                    <a:pt x="716" y="281"/>
                  </a:lnTo>
                  <a:lnTo>
                    <a:pt x="716" y="281"/>
                  </a:lnTo>
                  <a:lnTo>
                    <a:pt x="716" y="281"/>
                  </a:lnTo>
                  <a:lnTo>
                    <a:pt x="718" y="283"/>
                  </a:lnTo>
                  <a:lnTo>
                    <a:pt x="718" y="281"/>
                  </a:lnTo>
                  <a:lnTo>
                    <a:pt x="720" y="281"/>
                  </a:lnTo>
                  <a:lnTo>
                    <a:pt x="723" y="281"/>
                  </a:lnTo>
                  <a:lnTo>
                    <a:pt x="723" y="283"/>
                  </a:lnTo>
                  <a:lnTo>
                    <a:pt x="723" y="283"/>
                  </a:lnTo>
                  <a:lnTo>
                    <a:pt x="723" y="281"/>
                  </a:lnTo>
                  <a:lnTo>
                    <a:pt x="725" y="281"/>
                  </a:lnTo>
                  <a:lnTo>
                    <a:pt x="727" y="281"/>
                  </a:lnTo>
                  <a:lnTo>
                    <a:pt x="730" y="281"/>
                  </a:lnTo>
                  <a:lnTo>
                    <a:pt x="732" y="281"/>
                  </a:lnTo>
                  <a:lnTo>
                    <a:pt x="730" y="281"/>
                  </a:lnTo>
                  <a:lnTo>
                    <a:pt x="730" y="279"/>
                  </a:lnTo>
                  <a:lnTo>
                    <a:pt x="732" y="281"/>
                  </a:lnTo>
                  <a:lnTo>
                    <a:pt x="735" y="279"/>
                  </a:lnTo>
                  <a:lnTo>
                    <a:pt x="735" y="281"/>
                  </a:lnTo>
                  <a:lnTo>
                    <a:pt x="735" y="281"/>
                  </a:lnTo>
                  <a:lnTo>
                    <a:pt x="737" y="281"/>
                  </a:lnTo>
                  <a:lnTo>
                    <a:pt x="739" y="283"/>
                  </a:lnTo>
                  <a:lnTo>
                    <a:pt x="739" y="286"/>
                  </a:lnTo>
                  <a:lnTo>
                    <a:pt x="742" y="283"/>
                  </a:lnTo>
                  <a:lnTo>
                    <a:pt x="742" y="283"/>
                  </a:lnTo>
                  <a:lnTo>
                    <a:pt x="744" y="283"/>
                  </a:lnTo>
                  <a:lnTo>
                    <a:pt x="744" y="283"/>
                  </a:lnTo>
                  <a:lnTo>
                    <a:pt x="744" y="283"/>
                  </a:lnTo>
                  <a:lnTo>
                    <a:pt x="746" y="283"/>
                  </a:lnTo>
                  <a:lnTo>
                    <a:pt x="749" y="283"/>
                  </a:lnTo>
                  <a:lnTo>
                    <a:pt x="751" y="283"/>
                  </a:lnTo>
                  <a:lnTo>
                    <a:pt x="751" y="283"/>
                  </a:lnTo>
                  <a:lnTo>
                    <a:pt x="751" y="283"/>
                  </a:lnTo>
                  <a:lnTo>
                    <a:pt x="751" y="281"/>
                  </a:lnTo>
                  <a:lnTo>
                    <a:pt x="751" y="281"/>
                  </a:lnTo>
                  <a:lnTo>
                    <a:pt x="753" y="281"/>
                  </a:lnTo>
                  <a:lnTo>
                    <a:pt x="753" y="283"/>
                  </a:lnTo>
                  <a:lnTo>
                    <a:pt x="753" y="283"/>
                  </a:lnTo>
                  <a:lnTo>
                    <a:pt x="753" y="283"/>
                  </a:lnTo>
                  <a:lnTo>
                    <a:pt x="753" y="283"/>
                  </a:lnTo>
                  <a:lnTo>
                    <a:pt x="753" y="286"/>
                  </a:lnTo>
                  <a:lnTo>
                    <a:pt x="753" y="286"/>
                  </a:lnTo>
                  <a:lnTo>
                    <a:pt x="753" y="286"/>
                  </a:lnTo>
                  <a:lnTo>
                    <a:pt x="756" y="283"/>
                  </a:lnTo>
                  <a:lnTo>
                    <a:pt x="756" y="283"/>
                  </a:lnTo>
                  <a:lnTo>
                    <a:pt x="756" y="283"/>
                  </a:lnTo>
                  <a:lnTo>
                    <a:pt x="758" y="283"/>
                  </a:lnTo>
                  <a:lnTo>
                    <a:pt x="761" y="281"/>
                  </a:lnTo>
                  <a:lnTo>
                    <a:pt x="761" y="281"/>
                  </a:lnTo>
                  <a:lnTo>
                    <a:pt x="763" y="281"/>
                  </a:lnTo>
                  <a:lnTo>
                    <a:pt x="763" y="281"/>
                  </a:lnTo>
                  <a:lnTo>
                    <a:pt x="763" y="283"/>
                  </a:lnTo>
                  <a:lnTo>
                    <a:pt x="765" y="281"/>
                  </a:lnTo>
                  <a:lnTo>
                    <a:pt x="765" y="283"/>
                  </a:lnTo>
                  <a:lnTo>
                    <a:pt x="768" y="283"/>
                  </a:lnTo>
                  <a:lnTo>
                    <a:pt x="768" y="286"/>
                  </a:lnTo>
                  <a:lnTo>
                    <a:pt x="768" y="288"/>
                  </a:lnTo>
                  <a:lnTo>
                    <a:pt x="770" y="288"/>
                  </a:lnTo>
                  <a:lnTo>
                    <a:pt x="770" y="288"/>
                  </a:lnTo>
                  <a:lnTo>
                    <a:pt x="770" y="288"/>
                  </a:lnTo>
                  <a:lnTo>
                    <a:pt x="770" y="288"/>
                  </a:lnTo>
                  <a:lnTo>
                    <a:pt x="770" y="288"/>
                  </a:lnTo>
                  <a:lnTo>
                    <a:pt x="772" y="290"/>
                  </a:lnTo>
                  <a:lnTo>
                    <a:pt x="772" y="290"/>
                  </a:lnTo>
                  <a:lnTo>
                    <a:pt x="772" y="290"/>
                  </a:lnTo>
                  <a:lnTo>
                    <a:pt x="775" y="290"/>
                  </a:lnTo>
                  <a:lnTo>
                    <a:pt x="775" y="290"/>
                  </a:lnTo>
                  <a:lnTo>
                    <a:pt x="775" y="290"/>
                  </a:lnTo>
                  <a:lnTo>
                    <a:pt x="775" y="290"/>
                  </a:lnTo>
                  <a:lnTo>
                    <a:pt x="775" y="293"/>
                  </a:lnTo>
                  <a:lnTo>
                    <a:pt x="775" y="293"/>
                  </a:lnTo>
                  <a:lnTo>
                    <a:pt x="772" y="293"/>
                  </a:lnTo>
                  <a:lnTo>
                    <a:pt x="772" y="295"/>
                  </a:lnTo>
                  <a:lnTo>
                    <a:pt x="772" y="297"/>
                  </a:lnTo>
                  <a:lnTo>
                    <a:pt x="770" y="297"/>
                  </a:lnTo>
                  <a:lnTo>
                    <a:pt x="768" y="300"/>
                  </a:lnTo>
                  <a:lnTo>
                    <a:pt x="768" y="300"/>
                  </a:lnTo>
                  <a:lnTo>
                    <a:pt x="768" y="302"/>
                  </a:lnTo>
                  <a:lnTo>
                    <a:pt x="768" y="302"/>
                  </a:lnTo>
                  <a:lnTo>
                    <a:pt x="768" y="305"/>
                  </a:lnTo>
                  <a:lnTo>
                    <a:pt x="768" y="307"/>
                  </a:lnTo>
                  <a:lnTo>
                    <a:pt x="768" y="307"/>
                  </a:lnTo>
                  <a:lnTo>
                    <a:pt x="770" y="307"/>
                  </a:lnTo>
                  <a:lnTo>
                    <a:pt x="770" y="307"/>
                  </a:lnTo>
                  <a:lnTo>
                    <a:pt x="770" y="309"/>
                  </a:lnTo>
                  <a:lnTo>
                    <a:pt x="768" y="309"/>
                  </a:lnTo>
                  <a:lnTo>
                    <a:pt x="768" y="309"/>
                  </a:lnTo>
                  <a:lnTo>
                    <a:pt x="768" y="309"/>
                  </a:lnTo>
                  <a:lnTo>
                    <a:pt x="768" y="312"/>
                  </a:lnTo>
                  <a:lnTo>
                    <a:pt x="768" y="312"/>
                  </a:lnTo>
                  <a:lnTo>
                    <a:pt x="768" y="312"/>
                  </a:lnTo>
                  <a:lnTo>
                    <a:pt x="768" y="312"/>
                  </a:lnTo>
                  <a:lnTo>
                    <a:pt x="768" y="314"/>
                  </a:lnTo>
                  <a:lnTo>
                    <a:pt x="768" y="314"/>
                  </a:lnTo>
                  <a:lnTo>
                    <a:pt x="768" y="316"/>
                  </a:lnTo>
                  <a:lnTo>
                    <a:pt x="768" y="316"/>
                  </a:lnTo>
                  <a:lnTo>
                    <a:pt x="768" y="316"/>
                  </a:lnTo>
                  <a:lnTo>
                    <a:pt x="768" y="319"/>
                  </a:lnTo>
                  <a:lnTo>
                    <a:pt x="768" y="319"/>
                  </a:lnTo>
                  <a:lnTo>
                    <a:pt x="768" y="319"/>
                  </a:lnTo>
                  <a:lnTo>
                    <a:pt x="768" y="321"/>
                  </a:lnTo>
                  <a:lnTo>
                    <a:pt x="765" y="321"/>
                  </a:lnTo>
                  <a:lnTo>
                    <a:pt x="763" y="323"/>
                  </a:lnTo>
                  <a:lnTo>
                    <a:pt x="763" y="323"/>
                  </a:lnTo>
                  <a:lnTo>
                    <a:pt x="763" y="323"/>
                  </a:lnTo>
                  <a:lnTo>
                    <a:pt x="763" y="326"/>
                  </a:lnTo>
                  <a:lnTo>
                    <a:pt x="763" y="326"/>
                  </a:lnTo>
                  <a:lnTo>
                    <a:pt x="763" y="326"/>
                  </a:lnTo>
                  <a:lnTo>
                    <a:pt x="763" y="328"/>
                  </a:lnTo>
                  <a:lnTo>
                    <a:pt x="763" y="328"/>
                  </a:lnTo>
                  <a:lnTo>
                    <a:pt x="763" y="328"/>
                  </a:lnTo>
                  <a:lnTo>
                    <a:pt x="765" y="328"/>
                  </a:lnTo>
                  <a:lnTo>
                    <a:pt x="765" y="331"/>
                  </a:lnTo>
                  <a:lnTo>
                    <a:pt x="768" y="331"/>
                  </a:lnTo>
                  <a:lnTo>
                    <a:pt x="768" y="333"/>
                  </a:lnTo>
                  <a:lnTo>
                    <a:pt x="768" y="333"/>
                  </a:lnTo>
                  <a:lnTo>
                    <a:pt x="768" y="335"/>
                  </a:lnTo>
                  <a:lnTo>
                    <a:pt x="768" y="335"/>
                  </a:lnTo>
                  <a:lnTo>
                    <a:pt x="770" y="335"/>
                  </a:lnTo>
                  <a:lnTo>
                    <a:pt x="770" y="338"/>
                  </a:lnTo>
                  <a:lnTo>
                    <a:pt x="772" y="338"/>
                  </a:lnTo>
                  <a:lnTo>
                    <a:pt x="772" y="335"/>
                  </a:lnTo>
                  <a:lnTo>
                    <a:pt x="772" y="335"/>
                  </a:lnTo>
                  <a:lnTo>
                    <a:pt x="775" y="333"/>
                  </a:lnTo>
                  <a:lnTo>
                    <a:pt x="777" y="333"/>
                  </a:lnTo>
                  <a:lnTo>
                    <a:pt x="777" y="333"/>
                  </a:lnTo>
                  <a:lnTo>
                    <a:pt x="777" y="331"/>
                  </a:lnTo>
                  <a:lnTo>
                    <a:pt x="779" y="326"/>
                  </a:lnTo>
                  <a:lnTo>
                    <a:pt x="784" y="323"/>
                  </a:lnTo>
                  <a:lnTo>
                    <a:pt x="787" y="323"/>
                  </a:lnTo>
                  <a:lnTo>
                    <a:pt x="787" y="321"/>
                  </a:lnTo>
                  <a:lnTo>
                    <a:pt x="789" y="323"/>
                  </a:lnTo>
                  <a:lnTo>
                    <a:pt x="791" y="323"/>
                  </a:lnTo>
                  <a:lnTo>
                    <a:pt x="791" y="326"/>
                  </a:lnTo>
                  <a:lnTo>
                    <a:pt x="791" y="326"/>
                  </a:lnTo>
                  <a:lnTo>
                    <a:pt x="794" y="328"/>
                  </a:lnTo>
                  <a:lnTo>
                    <a:pt x="794" y="328"/>
                  </a:lnTo>
                  <a:lnTo>
                    <a:pt x="794" y="328"/>
                  </a:lnTo>
                  <a:lnTo>
                    <a:pt x="796" y="328"/>
                  </a:lnTo>
                  <a:lnTo>
                    <a:pt x="796" y="331"/>
                  </a:lnTo>
                  <a:lnTo>
                    <a:pt x="796" y="328"/>
                  </a:lnTo>
                  <a:lnTo>
                    <a:pt x="798" y="328"/>
                  </a:lnTo>
                  <a:lnTo>
                    <a:pt x="798" y="333"/>
                  </a:lnTo>
                  <a:lnTo>
                    <a:pt x="796" y="333"/>
                  </a:lnTo>
                  <a:lnTo>
                    <a:pt x="796" y="333"/>
                  </a:lnTo>
                  <a:lnTo>
                    <a:pt x="798" y="333"/>
                  </a:lnTo>
                  <a:lnTo>
                    <a:pt x="798" y="331"/>
                  </a:lnTo>
                  <a:lnTo>
                    <a:pt x="801" y="328"/>
                  </a:lnTo>
                  <a:lnTo>
                    <a:pt x="801" y="328"/>
                  </a:lnTo>
                  <a:lnTo>
                    <a:pt x="801" y="328"/>
                  </a:lnTo>
                  <a:lnTo>
                    <a:pt x="803" y="328"/>
                  </a:lnTo>
                  <a:lnTo>
                    <a:pt x="803" y="328"/>
                  </a:lnTo>
                  <a:lnTo>
                    <a:pt x="803" y="328"/>
                  </a:lnTo>
                  <a:lnTo>
                    <a:pt x="803" y="326"/>
                  </a:lnTo>
                  <a:lnTo>
                    <a:pt x="805" y="326"/>
                  </a:lnTo>
                  <a:lnTo>
                    <a:pt x="805" y="326"/>
                  </a:lnTo>
                  <a:lnTo>
                    <a:pt x="805" y="323"/>
                  </a:lnTo>
                  <a:lnTo>
                    <a:pt x="805" y="323"/>
                  </a:lnTo>
                  <a:lnTo>
                    <a:pt x="805" y="323"/>
                  </a:lnTo>
                  <a:lnTo>
                    <a:pt x="805" y="323"/>
                  </a:lnTo>
                  <a:lnTo>
                    <a:pt x="805" y="321"/>
                  </a:lnTo>
                  <a:lnTo>
                    <a:pt x="808" y="321"/>
                  </a:lnTo>
                  <a:lnTo>
                    <a:pt x="808" y="323"/>
                  </a:lnTo>
                  <a:lnTo>
                    <a:pt x="808" y="323"/>
                  </a:lnTo>
                  <a:lnTo>
                    <a:pt x="810" y="326"/>
                  </a:lnTo>
                  <a:lnTo>
                    <a:pt x="810" y="326"/>
                  </a:lnTo>
                  <a:lnTo>
                    <a:pt x="810" y="326"/>
                  </a:lnTo>
                  <a:lnTo>
                    <a:pt x="810" y="326"/>
                  </a:lnTo>
                  <a:lnTo>
                    <a:pt x="810" y="328"/>
                  </a:lnTo>
                  <a:lnTo>
                    <a:pt x="810" y="328"/>
                  </a:lnTo>
                  <a:lnTo>
                    <a:pt x="812" y="328"/>
                  </a:lnTo>
                  <a:lnTo>
                    <a:pt x="812" y="328"/>
                  </a:lnTo>
                  <a:lnTo>
                    <a:pt x="810" y="331"/>
                  </a:lnTo>
                  <a:lnTo>
                    <a:pt x="812" y="333"/>
                  </a:lnTo>
                  <a:lnTo>
                    <a:pt x="810" y="335"/>
                  </a:lnTo>
                  <a:lnTo>
                    <a:pt x="812" y="335"/>
                  </a:lnTo>
                  <a:lnTo>
                    <a:pt x="812" y="335"/>
                  </a:lnTo>
                  <a:lnTo>
                    <a:pt x="815" y="338"/>
                  </a:lnTo>
                  <a:lnTo>
                    <a:pt x="815" y="340"/>
                  </a:lnTo>
                  <a:lnTo>
                    <a:pt x="815" y="342"/>
                  </a:lnTo>
                  <a:lnTo>
                    <a:pt x="815" y="342"/>
                  </a:lnTo>
                  <a:lnTo>
                    <a:pt x="817" y="342"/>
                  </a:lnTo>
                  <a:lnTo>
                    <a:pt x="820" y="345"/>
                  </a:lnTo>
                  <a:lnTo>
                    <a:pt x="817" y="345"/>
                  </a:lnTo>
                  <a:lnTo>
                    <a:pt x="817" y="345"/>
                  </a:lnTo>
                  <a:lnTo>
                    <a:pt x="817" y="347"/>
                  </a:lnTo>
                  <a:lnTo>
                    <a:pt x="817" y="347"/>
                  </a:lnTo>
                  <a:lnTo>
                    <a:pt x="815" y="349"/>
                  </a:lnTo>
                  <a:lnTo>
                    <a:pt x="815" y="352"/>
                  </a:lnTo>
                  <a:lnTo>
                    <a:pt x="817" y="352"/>
                  </a:lnTo>
                  <a:lnTo>
                    <a:pt x="817" y="352"/>
                  </a:lnTo>
                  <a:lnTo>
                    <a:pt x="820" y="354"/>
                  </a:lnTo>
                  <a:lnTo>
                    <a:pt x="820" y="354"/>
                  </a:lnTo>
                  <a:lnTo>
                    <a:pt x="824" y="356"/>
                  </a:lnTo>
                  <a:lnTo>
                    <a:pt x="827" y="356"/>
                  </a:lnTo>
                  <a:lnTo>
                    <a:pt x="827" y="356"/>
                  </a:lnTo>
                  <a:lnTo>
                    <a:pt x="829" y="356"/>
                  </a:lnTo>
                  <a:lnTo>
                    <a:pt x="829" y="356"/>
                  </a:lnTo>
                  <a:lnTo>
                    <a:pt x="831" y="356"/>
                  </a:lnTo>
                  <a:lnTo>
                    <a:pt x="831" y="354"/>
                  </a:lnTo>
                  <a:lnTo>
                    <a:pt x="831" y="354"/>
                  </a:lnTo>
                  <a:lnTo>
                    <a:pt x="831" y="354"/>
                  </a:lnTo>
                  <a:lnTo>
                    <a:pt x="834" y="354"/>
                  </a:lnTo>
                  <a:lnTo>
                    <a:pt x="834" y="354"/>
                  </a:lnTo>
                  <a:lnTo>
                    <a:pt x="834" y="354"/>
                  </a:lnTo>
                  <a:lnTo>
                    <a:pt x="836" y="354"/>
                  </a:lnTo>
                  <a:lnTo>
                    <a:pt x="834" y="354"/>
                  </a:lnTo>
                  <a:lnTo>
                    <a:pt x="836" y="354"/>
                  </a:lnTo>
                  <a:lnTo>
                    <a:pt x="827" y="361"/>
                  </a:lnTo>
                  <a:lnTo>
                    <a:pt x="827" y="364"/>
                  </a:lnTo>
                  <a:lnTo>
                    <a:pt x="827" y="366"/>
                  </a:lnTo>
                  <a:lnTo>
                    <a:pt x="827" y="366"/>
                  </a:lnTo>
                  <a:lnTo>
                    <a:pt x="827" y="366"/>
                  </a:lnTo>
                  <a:lnTo>
                    <a:pt x="822" y="371"/>
                  </a:lnTo>
                  <a:lnTo>
                    <a:pt x="820" y="373"/>
                  </a:lnTo>
                  <a:lnTo>
                    <a:pt x="815" y="378"/>
                  </a:lnTo>
                  <a:lnTo>
                    <a:pt x="812" y="380"/>
                  </a:lnTo>
                  <a:lnTo>
                    <a:pt x="812" y="385"/>
                  </a:lnTo>
                  <a:lnTo>
                    <a:pt x="810" y="385"/>
                  </a:lnTo>
                  <a:lnTo>
                    <a:pt x="810" y="385"/>
                  </a:lnTo>
                  <a:lnTo>
                    <a:pt x="805" y="387"/>
                  </a:lnTo>
                  <a:lnTo>
                    <a:pt x="803" y="390"/>
                  </a:lnTo>
                  <a:lnTo>
                    <a:pt x="798" y="390"/>
                  </a:lnTo>
                  <a:lnTo>
                    <a:pt x="803" y="392"/>
                  </a:lnTo>
                  <a:lnTo>
                    <a:pt x="801" y="397"/>
                  </a:lnTo>
                  <a:lnTo>
                    <a:pt x="801" y="397"/>
                  </a:lnTo>
                  <a:lnTo>
                    <a:pt x="801" y="399"/>
                  </a:lnTo>
                  <a:lnTo>
                    <a:pt x="801" y="399"/>
                  </a:lnTo>
                  <a:lnTo>
                    <a:pt x="801" y="399"/>
                  </a:lnTo>
                  <a:lnTo>
                    <a:pt x="798" y="399"/>
                  </a:lnTo>
                  <a:lnTo>
                    <a:pt x="798" y="401"/>
                  </a:lnTo>
                  <a:lnTo>
                    <a:pt x="794" y="401"/>
                  </a:lnTo>
                  <a:lnTo>
                    <a:pt x="791" y="401"/>
                  </a:lnTo>
                  <a:lnTo>
                    <a:pt x="787" y="406"/>
                  </a:lnTo>
                  <a:lnTo>
                    <a:pt x="782" y="411"/>
                  </a:lnTo>
                  <a:lnTo>
                    <a:pt x="779" y="418"/>
                  </a:lnTo>
                  <a:lnTo>
                    <a:pt x="772" y="430"/>
                  </a:lnTo>
                  <a:lnTo>
                    <a:pt x="770" y="434"/>
                  </a:lnTo>
                  <a:lnTo>
                    <a:pt x="770" y="437"/>
                  </a:lnTo>
                  <a:lnTo>
                    <a:pt x="770" y="434"/>
                  </a:lnTo>
                  <a:lnTo>
                    <a:pt x="770" y="437"/>
                  </a:lnTo>
                  <a:lnTo>
                    <a:pt x="768" y="437"/>
                  </a:lnTo>
                  <a:lnTo>
                    <a:pt x="768" y="437"/>
                  </a:lnTo>
                  <a:lnTo>
                    <a:pt x="768" y="439"/>
                  </a:lnTo>
                  <a:lnTo>
                    <a:pt x="768" y="439"/>
                  </a:lnTo>
                  <a:lnTo>
                    <a:pt x="768" y="442"/>
                  </a:lnTo>
                  <a:lnTo>
                    <a:pt x="765" y="444"/>
                  </a:lnTo>
                  <a:lnTo>
                    <a:pt x="763" y="451"/>
                  </a:lnTo>
                  <a:lnTo>
                    <a:pt x="763" y="451"/>
                  </a:lnTo>
                  <a:lnTo>
                    <a:pt x="763" y="453"/>
                  </a:lnTo>
                  <a:lnTo>
                    <a:pt x="763" y="453"/>
                  </a:lnTo>
                  <a:lnTo>
                    <a:pt x="763" y="453"/>
                  </a:lnTo>
                  <a:lnTo>
                    <a:pt x="761" y="453"/>
                  </a:lnTo>
                  <a:lnTo>
                    <a:pt x="761" y="453"/>
                  </a:lnTo>
                  <a:lnTo>
                    <a:pt x="761" y="453"/>
                  </a:lnTo>
                  <a:lnTo>
                    <a:pt x="761" y="453"/>
                  </a:lnTo>
                  <a:lnTo>
                    <a:pt x="761" y="453"/>
                  </a:lnTo>
                  <a:lnTo>
                    <a:pt x="758" y="453"/>
                  </a:lnTo>
                  <a:lnTo>
                    <a:pt x="758" y="451"/>
                  </a:lnTo>
                  <a:lnTo>
                    <a:pt x="758" y="451"/>
                  </a:lnTo>
                  <a:lnTo>
                    <a:pt x="756" y="449"/>
                  </a:lnTo>
                  <a:lnTo>
                    <a:pt x="753" y="451"/>
                  </a:lnTo>
                  <a:lnTo>
                    <a:pt x="753" y="453"/>
                  </a:lnTo>
                  <a:lnTo>
                    <a:pt x="753" y="453"/>
                  </a:lnTo>
                  <a:lnTo>
                    <a:pt x="753" y="453"/>
                  </a:lnTo>
                  <a:lnTo>
                    <a:pt x="753" y="453"/>
                  </a:lnTo>
                  <a:lnTo>
                    <a:pt x="749" y="453"/>
                  </a:lnTo>
                  <a:lnTo>
                    <a:pt x="735" y="453"/>
                  </a:lnTo>
                  <a:lnTo>
                    <a:pt x="716" y="453"/>
                  </a:lnTo>
                  <a:lnTo>
                    <a:pt x="718" y="453"/>
                  </a:lnTo>
                  <a:lnTo>
                    <a:pt x="718" y="453"/>
                  </a:lnTo>
                  <a:lnTo>
                    <a:pt x="716" y="453"/>
                  </a:lnTo>
                  <a:lnTo>
                    <a:pt x="716" y="453"/>
                  </a:lnTo>
                  <a:lnTo>
                    <a:pt x="716" y="453"/>
                  </a:lnTo>
                  <a:lnTo>
                    <a:pt x="716" y="453"/>
                  </a:lnTo>
                  <a:lnTo>
                    <a:pt x="713" y="456"/>
                  </a:lnTo>
                  <a:lnTo>
                    <a:pt x="713" y="456"/>
                  </a:lnTo>
                  <a:lnTo>
                    <a:pt x="713" y="456"/>
                  </a:lnTo>
                  <a:lnTo>
                    <a:pt x="713" y="456"/>
                  </a:lnTo>
                  <a:lnTo>
                    <a:pt x="711" y="456"/>
                  </a:lnTo>
                  <a:lnTo>
                    <a:pt x="711" y="458"/>
                  </a:lnTo>
                  <a:lnTo>
                    <a:pt x="709" y="458"/>
                  </a:lnTo>
                  <a:lnTo>
                    <a:pt x="709" y="458"/>
                  </a:lnTo>
                  <a:lnTo>
                    <a:pt x="709" y="456"/>
                  </a:lnTo>
                  <a:lnTo>
                    <a:pt x="706" y="456"/>
                  </a:lnTo>
                  <a:lnTo>
                    <a:pt x="706" y="458"/>
                  </a:lnTo>
                  <a:lnTo>
                    <a:pt x="706" y="458"/>
                  </a:lnTo>
                  <a:lnTo>
                    <a:pt x="704" y="458"/>
                  </a:lnTo>
                  <a:lnTo>
                    <a:pt x="704" y="456"/>
                  </a:lnTo>
                  <a:lnTo>
                    <a:pt x="704" y="456"/>
                  </a:lnTo>
                  <a:lnTo>
                    <a:pt x="701" y="456"/>
                  </a:lnTo>
                  <a:lnTo>
                    <a:pt x="699" y="456"/>
                  </a:lnTo>
                  <a:lnTo>
                    <a:pt x="699" y="456"/>
                  </a:lnTo>
                  <a:lnTo>
                    <a:pt x="699" y="456"/>
                  </a:lnTo>
                  <a:lnTo>
                    <a:pt x="699" y="456"/>
                  </a:lnTo>
                  <a:lnTo>
                    <a:pt x="697" y="456"/>
                  </a:lnTo>
                  <a:lnTo>
                    <a:pt x="697" y="456"/>
                  </a:lnTo>
                  <a:lnTo>
                    <a:pt x="694" y="456"/>
                  </a:lnTo>
                  <a:lnTo>
                    <a:pt x="697" y="456"/>
                  </a:lnTo>
                  <a:lnTo>
                    <a:pt x="694" y="456"/>
                  </a:lnTo>
                  <a:lnTo>
                    <a:pt x="694" y="458"/>
                  </a:lnTo>
                  <a:lnTo>
                    <a:pt x="694" y="456"/>
                  </a:lnTo>
                  <a:lnTo>
                    <a:pt x="694" y="456"/>
                  </a:lnTo>
                  <a:lnTo>
                    <a:pt x="694" y="458"/>
                  </a:lnTo>
                  <a:lnTo>
                    <a:pt x="692" y="456"/>
                  </a:lnTo>
                  <a:lnTo>
                    <a:pt x="692" y="456"/>
                  </a:lnTo>
                  <a:lnTo>
                    <a:pt x="690" y="456"/>
                  </a:lnTo>
                  <a:lnTo>
                    <a:pt x="690" y="456"/>
                  </a:lnTo>
                  <a:lnTo>
                    <a:pt x="690" y="456"/>
                  </a:lnTo>
                  <a:lnTo>
                    <a:pt x="687" y="456"/>
                  </a:lnTo>
                  <a:lnTo>
                    <a:pt x="687" y="458"/>
                  </a:lnTo>
                  <a:lnTo>
                    <a:pt x="685" y="458"/>
                  </a:lnTo>
                  <a:lnTo>
                    <a:pt x="685" y="458"/>
                  </a:lnTo>
                  <a:lnTo>
                    <a:pt x="683" y="458"/>
                  </a:lnTo>
                  <a:lnTo>
                    <a:pt x="683" y="458"/>
                  </a:lnTo>
                  <a:lnTo>
                    <a:pt x="680" y="458"/>
                  </a:lnTo>
                  <a:lnTo>
                    <a:pt x="683" y="460"/>
                  </a:lnTo>
                  <a:lnTo>
                    <a:pt x="680" y="460"/>
                  </a:lnTo>
                  <a:lnTo>
                    <a:pt x="680" y="463"/>
                  </a:lnTo>
                  <a:lnTo>
                    <a:pt x="680" y="463"/>
                  </a:lnTo>
                  <a:lnTo>
                    <a:pt x="680" y="463"/>
                  </a:lnTo>
                  <a:lnTo>
                    <a:pt x="680" y="465"/>
                  </a:lnTo>
                  <a:lnTo>
                    <a:pt x="678" y="465"/>
                  </a:lnTo>
                  <a:lnTo>
                    <a:pt x="678" y="465"/>
                  </a:lnTo>
                  <a:lnTo>
                    <a:pt x="678" y="465"/>
                  </a:lnTo>
                  <a:lnTo>
                    <a:pt x="678" y="465"/>
                  </a:lnTo>
                  <a:lnTo>
                    <a:pt x="678" y="465"/>
                  </a:lnTo>
                  <a:lnTo>
                    <a:pt x="678" y="465"/>
                  </a:lnTo>
                  <a:lnTo>
                    <a:pt x="675" y="465"/>
                  </a:lnTo>
                  <a:lnTo>
                    <a:pt x="675" y="465"/>
                  </a:lnTo>
                  <a:lnTo>
                    <a:pt x="675" y="465"/>
                  </a:lnTo>
                  <a:lnTo>
                    <a:pt x="675" y="468"/>
                  </a:lnTo>
                  <a:lnTo>
                    <a:pt x="675" y="468"/>
                  </a:lnTo>
                  <a:lnTo>
                    <a:pt x="675" y="468"/>
                  </a:lnTo>
                  <a:lnTo>
                    <a:pt x="675" y="468"/>
                  </a:lnTo>
                  <a:lnTo>
                    <a:pt x="675" y="468"/>
                  </a:lnTo>
                  <a:lnTo>
                    <a:pt x="673" y="468"/>
                  </a:lnTo>
                  <a:lnTo>
                    <a:pt x="675" y="470"/>
                  </a:lnTo>
                  <a:lnTo>
                    <a:pt x="673" y="470"/>
                  </a:lnTo>
                  <a:lnTo>
                    <a:pt x="673" y="470"/>
                  </a:lnTo>
                  <a:lnTo>
                    <a:pt x="673" y="470"/>
                  </a:lnTo>
                  <a:lnTo>
                    <a:pt x="671" y="470"/>
                  </a:lnTo>
                  <a:lnTo>
                    <a:pt x="668" y="472"/>
                  </a:lnTo>
                  <a:lnTo>
                    <a:pt x="668" y="472"/>
                  </a:lnTo>
                  <a:lnTo>
                    <a:pt x="668" y="472"/>
                  </a:lnTo>
                  <a:lnTo>
                    <a:pt x="668" y="472"/>
                  </a:lnTo>
                  <a:lnTo>
                    <a:pt x="666" y="472"/>
                  </a:lnTo>
                  <a:lnTo>
                    <a:pt x="666" y="475"/>
                  </a:lnTo>
                  <a:lnTo>
                    <a:pt x="666" y="472"/>
                  </a:lnTo>
                  <a:lnTo>
                    <a:pt x="666" y="475"/>
                  </a:lnTo>
                  <a:lnTo>
                    <a:pt x="666" y="475"/>
                  </a:lnTo>
                  <a:lnTo>
                    <a:pt x="666" y="475"/>
                  </a:lnTo>
                  <a:lnTo>
                    <a:pt x="664" y="475"/>
                  </a:lnTo>
                  <a:lnTo>
                    <a:pt x="664" y="475"/>
                  </a:lnTo>
                  <a:lnTo>
                    <a:pt x="664" y="475"/>
                  </a:lnTo>
                  <a:lnTo>
                    <a:pt x="661" y="475"/>
                  </a:lnTo>
                  <a:lnTo>
                    <a:pt x="661" y="477"/>
                  </a:lnTo>
                  <a:lnTo>
                    <a:pt x="661" y="475"/>
                  </a:lnTo>
                  <a:lnTo>
                    <a:pt x="661" y="475"/>
                  </a:lnTo>
                  <a:lnTo>
                    <a:pt x="661" y="477"/>
                  </a:lnTo>
                  <a:lnTo>
                    <a:pt x="659" y="475"/>
                  </a:lnTo>
                  <a:lnTo>
                    <a:pt x="659" y="477"/>
                  </a:lnTo>
                  <a:lnTo>
                    <a:pt x="659" y="477"/>
                  </a:lnTo>
                  <a:lnTo>
                    <a:pt x="659" y="477"/>
                  </a:lnTo>
                  <a:lnTo>
                    <a:pt x="657" y="477"/>
                  </a:lnTo>
                  <a:lnTo>
                    <a:pt x="657" y="477"/>
                  </a:lnTo>
                  <a:lnTo>
                    <a:pt x="657" y="477"/>
                  </a:lnTo>
                  <a:lnTo>
                    <a:pt x="654" y="477"/>
                  </a:lnTo>
                  <a:lnTo>
                    <a:pt x="654" y="477"/>
                  </a:lnTo>
                  <a:lnTo>
                    <a:pt x="652" y="477"/>
                  </a:lnTo>
                  <a:lnTo>
                    <a:pt x="652" y="479"/>
                  </a:lnTo>
                  <a:lnTo>
                    <a:pt x="650" y="479"/>
                  </a:lnTo>
                  <a:lnTo>
                    <a:pt x="650" y="479"/>
                  </a:lnTo>
                  <a:lnTo>
                    <a:pt x="650" y="482"/>
                  </a:lnTo>
                  <a:lnTo>
                    <a:pt x="650" y="482"/>
                  </a:lnTo>
                  <a:lnTo>
                    <a:pt x="650" y="482"/>
                  </a:lnTo>
                  <a:lnTo>
                    <a:pt x="650" y="482"/>
                  </a:lnTo>
                  <a:lnTo>
                    <a:pt x="650" y="484"/>
                  </a:lnTo>
                  <a:lnTo>
                    <a:pt x="650" y="482"/>
                  </a:lnTo>
                  <a:lnTo>
                    <a:pt x="650" y="484"/>
                  </a:lnTo>
                  <a:lnTo>
                    <a:pt x="650" y="484"/>
                  </a:lnTo>
                  <a:lnTo>
                    <a:pt x="647" y="484"/>
                  </a:lnTo>
                  <a:lnTo>
                    <a:pt x="647" y="484"/>
                  </a:lnTo>
                  <a:lnTo>
                    <a:pt x="647" y="484"/>
                  </a:lnTo>
                  <a:lnTo>
                    <a:pt x="645" y="484"/>
                  </a:lnTo>
                  <a:lnTo>
                    <a:pt x="645" y="484"/>
                  </a:lnTo>
                  <a:lnTo>
                    <a:pt x="645" y="484"/>
                  </a:lnTo>
                  <a:lnTo>
                    <a:pt x="645" y="484"/>
                  </a:lnTo>
                  <a:lnTo>
                    <a:pt x="642" y="484"/>
                  </a:lnTo>
                  <a:lnTo>
                    <a:pt x="642" y="484"/>
                  </a:lnTo>
                  <a:lnTo>
                    <a:pt x="645" y="484"/>
                  </a:lnTo>
                  <a:lnTo>
                    <a:pt x="642" y="484"/>
                  </a:lnTo>
                  <a:lnTo>
                    <a:pt x="642" y="484"/>
                  </a:lnTo>
                  <a:lnTo>
                    <a:pt x="642" y="484"/>
                  </a:lnTo>
                  <a:lnTo>
                    <a:pt x="642" y="484"/>
                  </a:lnTo>
                  <a:lnTo>
                    <a:pt x="642" y="486"/>
                  </a:lnTo>
                  <a:lnTo>
                    <a:pt x="640" y="486"/>
                  </a:lnTo>
                  <a:lnTo>
                    <a:pt x="638" y="484"/>
                  </a:lnTo>
                  <a:lnTo>
                    <a:pt x="638" y="484"/>
                  </a:lnTo>
                  <a:lnTo>
                    <a:pt x="638" y="484"/>
                  </a:lnTo>
                  <a:lnTo>
                    <a:pt x="638" y="484"/>
                  </a:lnTo>
                  <a:lnTo>
                    <a:pt x="635" y="484"/>
                  </a:lnTo>
                  <a:lnTo>
                    <a:pt x="635" y="484"/>
                  </a:lnTo>
                  <a:lnTo>
                    <a:pt x="635" y="484"/>
                  </a:lnTo>
                  <a:lnTo>
                    <a:pt x="635" y="484"/>
                  </a:lnTo>
                  <a:lnTo>
                    <a:pt x="633" y="484"/>
                  </a:lnTo>
                  <a:lnTo>
                    <a:pt x="633" y="482"/>
                  </a:lnTo>
                  <a:lnTo>
                    <a:pt x="633" y="484"/>
                  </a:lnTo>
                  <a:lnTo>
                    <a:pt x="633" y="484"/>
                  </a:lnTo>
                  <a:lnTo>
                    <a:pt x="631" y="482"/>
                  </a:lnTo>
                  <a:lnTo>
                    <a:pt x="633" y="482"/>
                  </a:lnTo>
                  <a:lnTo>
                    <a:pt x="633" y="479"/>
                  </a:lnTo>
                  <a:lnTo>
                    <a:pt x="631" y="479"/>
                  </a:lnTo>
                  <a:lnTo>
                    <a:pt x="631" y="482"/>
                  </a:lnTo>
                  <a:lnTo>
                    <a:pt x="631" y="482"/>
                  </a:lnTo>
                  <a:lnTo>
                    <a:pt x="631" y="482"/>
                  </a:lnTo>
                  <a:lnTo>
                    <a:pt x="631" y="482"/>
                  </a:lnTo>
                  <a:lnTo>
                    <a:pt x="628" y="482"/>
                  </a:lnTo>
                  <a:lnTo>
                    <a:pt x="628" y="479"/>
                  </a:lnTo>
                  <a:lnTo>
                    <a:pt x="628" y="479"/>
                  </a:lnTo>
                  <a:lnTo>
                    <a:pt x="628" y="482"/>
                  </a:lnTo>
                  <a:lnTo>
                    <a:pt x="626" y="479"/>
                  </a:lnTo>
                  <a:lnTo>
                    <a:pt x="626" y="482"/>
                  </a:lnTo>
                  <a:lnTo>
                    <a:pt x="626" y="479"/>
                  </a:lnTo>
                  <a:lnTo>
                    <a:pt x="624" y="479"/>
                  </a:lnTo>
                  <a:lnTo>
                    <a:pt x="626" y="477"/>
                  </a:lnTo>
                  <a:lnTo>
                    <a:pt x="624" y="477"/>
                  </a:lnTo>
                  <a:lnTo>
                    <a:pt x="624" y="477"/>
                  </a:lnTo>
                  <a:lnTo>
                    <a:pt x="621" y="475"/>
                  </a:lnTo>
                  <a:lnTo>
                    <a:pt x="621" y="477"/>
                  </a:lnTo>
                  <a:lnTo>
                    <a:pt x="619" y="477"/>
                  </a:lnTo>
                  <a:lnTo>
                    <a:pt x="619" y="475"/>
                  </a:lnTo>
                  <a:lnTo>
                    <a:pt x="621" y="475"/>
                  </a:lnTo>
                  <a:lnTo>
                    <a:pt x="619" y="475"/>
                  </a:lnTo>
                  <a:lnTo>
                    <a:pt x="616" y="475"/>
                  </a:lnTo>
                  <a:lnTo>
                    <a:pt x="616" y="472"/>
                  </a:lnTo>
                  <a:lnTo>
                    <a:pt x="614" y="470"/>
                  </a:lnTo>
                  <a:lnTo>
                    <a:pt x="614" y="468"/>
                  </a:lnTo>
                  <a:lnTo>
                    <a:pt x="614" y="468"/>
                  </a:lnTo>
                  <a:lnTo>
                    <a:pt x="614" y="470"/>
                  </a:lnTo>
                  <a:lnTo>
                    <a:pt x="614" y="470"/>
                  </a:lnTo>
                  <a:lnTo>
                    <a:pt x="614" y="472"/>
                  </a:lnTo>
                  <a:lnTo>
                    <a:pt x="614" y="472"/>
                  </a:lnTo>
                  <a:lnTo>
                    <a:pt x="612" y="468"/>
                  </a:lnTo>
                  <a:lnTo>
                    <a:pt x="612" y="470"/>
                  </a:lnTo>
                  <a:lnTo>
                    <a:pt x="612" y="470"/>
                  </a:lnTo>
                  <a:lnTo>
                    <a:pt x="609" y="470"/>
                  </a:lnTo>
                  <a:lnTo>
                    <a:pt x="609" y="468"/>
                  </a:lnTo>
                  <a:lnTo>
                    <a:pt x="607" y="468"/>
                  </a:lnTo>
                  <a:lnTo>
                    <a:pt x="607" y="468"/>
                  </a:lnTo>
                  <a:lnTo>
                    <a:pt x="607" y="465"/>
                  </a:lnTo>
                  <a:lnTo>
                    <a:pt x="607" y="465"/>
                  </a:lnTo>
                  <a:lnTo>
                    <a:pt x="605" y="465"/>
                  </a:lnTo>
                  <a:lnTo>
                    <a:pt x="605" y="465"/>
                  </a:lnTo>
                  <a:lnTo>
                    <a:pt x="607" y="465"/>
                  </a:lnTo>
                  <a:lnTo>
                    <a:pt x="607" y="463"/>
                  </a:lnTo>
                  <a:lnTo>
                    <a:pt x="605" y="463"/>
                  </a:lnTo>
                  <a:lnTo>
                    <a:pt x="605" y="463"/>
                  </a:lnTo>
                  <a:lnTo>
                    <a:pt x="605" y="463"/>
                  </a:lnTo>
                  <a:lnTo>
                    <a:pt x="605" y="463"/>
                  </a:lnTo>
                  <a:lnTo>
                    <a:pt x="602" y="463"/>
                  </a:lnTo>
                  <a:lnTo>
                    <a:pt x="602" y="463"/>
                  </a:lnTo>
                  <a:lnTo>
                    <a:pt x="602" y="460"/>
                  </a:lnTo>
                  <a:lnTo>
                    <a:pt x="602" y="460"/>
                  </a:lnTo>
                  <a:lnTo>
                    <a:pt x="598" y="458"/>
                  </a:lnTo>
                  <a:lnTo>
                    <a:pt x="598" y="460"/>
                  </a:lnTo>
                  <a:lnTo>
                    <a:pt x="598" y="458"/>
                  </a:lnTo>
                  <a:lnTo>
                    <a:pt x="595" y="458"/>
                  </a:lnTo>
                  <a:lnTo>
                    <a:pt x="593" y="458"/>
                  </a:lnTo>
                  <a:lnTo>
                    <a:pt x="593" y="458"/>
                  </a:lnTo>
                  <a:lnTo>
                    <a:pt x="593" y="458"/>
                  </a:lnTo>
                  <a:lnTo>
                    <a:pt x="593" y="456"/>
                  </a:lnTo>
                  <a:lnTo>
                    <a:pt x="590" y="458"/>
                  </a:lnTo>
                  <a:lnTo>
                    <a:pt x="590" y="458"/>
                  </a:lnTo>
                  <a:lnTo>
                    <a:pt x="593" y="458"/>
                  </a:lnTo>
                  <a:lnTo>
                    <a:pt x="588" y="463"/>
                  </a:lnTo>
                  <a:lnTo>
                    <a:pt x="588" y="460"/>
                  </a:lnTo>
                  <a:lnTo>
                    <a:pt x="588" y="458"/>
                  </a:lnTo>
                  <a:lnTo>
                    <a:pt x="588" y="458"/>
                  </a:lnTo>
                  <a:lnTo>
                    <a:pt x="586" y="456"/>
                  </a:lnTo>
                  <a:lnTo>
                    <a:pt x="586" y="458"/>
                  </a:lnTo>
                  <a:lnTo>
                    <a:pt x="583" y="458"/>
                  </a:lnTo>
                  <a:lnTo>
                    <a:pt x="583" y="458"/>
                  </a:lnTo>
                  <a:lnTo>
                    <a:pt x="586" y="460"/>
                  </a:lnTo>
                  <a:lnTo>
                    <a:pt x="583" y="460"/>
                  </a:lnTo>
                  <a:lnTo>
                    <a:pt x="581" y="458"/>
                  </a:lnTo>
                  <a:lnTo>
                    <a:pt x="581" y="458"/>
                  </a:lnTo>
                  <a:lnTo>
                    <a:pt x="579" y="458"/>
                  </a:lnTo>
                  <a:lnTo>
                    <a:pt x="579" y="460"/>
                  </a:lnTo>
                  <a:lnTo>
                    <a:pt x="576" y="460"/>
                  </a:lnTo>
                  <a:lnTo>
                    <a:pt x="576" y="460"/>
                  </a:lnTo>
                  <a:lnTo>
                    <a:pt x="576" y="460"/>
                  </a:lnTo>
                  <a:lnTo>
                    <a:pt x="576" y="463"/>
                  </a:lnTo>
                  <a:lnTo>
                    <a:pt x="576" y="460"/>
                  </a:lnTo>
                  <a:lnTo>
                    <a:pt x="574" y="458"/>
                  </a:lnTo>
                  <a:lnTo>
                    <a:pt x="574" y="460"/>
                  </a:lnTo>
                  <a:lnTo>
                    <a:pt x="572" y="463"/>
                  </a:lnTo>
                  <a:lnTo>
                    <a:pt x="569" y="463"/>
                  </a:lnTo>
                  <a:lnTo>
                    <a:pt x="569" y="463"/>
                  </a:lnTo>
                  <a:lnTo>
                    <a:pt x="567" y="460"/>
                  </a:lnTo>
                  <a:lnTo>
                    <a:pt x="567" y="463"/>
                  </a:lnTo>
                  <a:lnTo>
                    <a:pt x="567" y="463"/>
                  </a:lnTo>
                  <a:lnTo>
                    <a:pt x="567" y="458"/>
                  </a:lnTo>
                  <a:lnTo>
                    <a:pt x="567" y="458"/>
                  </a:lnTo>
                  <a:lnTo>
                    <a:pt x="564" y="458"/>
                  </a:lnTo>
                  <a:lnTo>
                    <a:pt x="562" y="458"/>
                  </a:lnTo>
                  <a:lnTo>
                    <a:pt x="562" y="458"/>
                  </a:lnTo>
                  <a:lnTo>
                    <a:pt x="562" y="460"/>
                  </a:lnTo>
                  <a:lnTo>
                    <a:pt x="562" y="460"/>
                  </a:lnTo>
                  <a:lnTo>
                    <a:pt x="562" y="460"/>
                  </a:lnTo>
                  <a:lnTo>
                    <a:pt x="564" y="460"/>
                  </a:lnTo>
                  <a:lnTo>
                    <a:pt x="564" y="460"/>
                  </a:lnTo>
                  <a:lnTo>
                    <a:pt x="564" y="460"/>
                  </a:lnTo>
                  <a:lnTo>
                    <a:pt x="564" y="463"/>
                  </a:lnTo>
                  <a:lnTo>
                    <a:pt x="562" y="463"/>
                  </a:lnTo>
                  <a:lnTo>
                    <a:pt x="562" y="465"/>
                  </a:lnTo>
                  <a:lnTo>
                    <a:pt x="562" y="465"/>
                  </a:lnTo>
                  <a:lnTo>
                    <a:pt x="560" y="465"/>
                  </a:lnTo>
                  <a:lnTo>
                    <a:pt x="560" y="463"/>
                  </a:lnTo>
                  <a:lnTo>
                    <a:pt x="560" y="463"/>
                  </a:lnTo>
                  <a:lnTo>
                    <a:pt x="557" y="463"/>
                  </a:lnTo>
                  <a:lnTo>
                    <a:pt x="557" y="463"/>
                  </a:lnTo>
                  <a:lnTo>
                    <a:pt x="557" y="463"/>
                  </a:lnTo>
                  <a:lnTo>
                    <a:pt x="555" y="463"/>
                  </a:lnTo>
                  <a:lnTo>
                    <a:pt x="555" y="460"/>
                  </a:lnTo>
                  <a:lnTo>
                    <a:pt x="553" y="458"/>
                  </a:lnTo>
                  <a:lnTo>
                    <a:pt x="553" y="460"/>
                  </a:lnTo>
                  <a:lnTo>
                    <a:pt x="553" y="463"/>
                  </a:lnTo>
                  <a:lnTo>
                    <a:pt x="550" y="460"/>
                  </a:lnTo>
                  <a:lnTo>
                    <a:pt x="550" y="463"/>
                  </a:lnTo>
                  <a:lnTo>
                    <a:pt x="548" y="463"/>
                  </a:lnTo>
                  <a:lnTo>
                    <a:pt x="543" y="465"/>
                  </a:lnTo>
                  <a:lnTo>
                    <a:pt x="543" y="465"/>
                  </a:lnTo>
                  <a:lnTo>
                    <a:pt x="543" y="465"/>
                  </a:lnTo>
                  <a:lnTo>
                    <a:pt x="543" y="468"/>
                  </a:lnTo>
                  <a:lnTo>
                    <a:pt x="543" y="468"/>
                  </a:lnTo>
                  <a:lnTo>
                    <a:pt x="543" y="470"/>
                  </a:lnTo>
                  <a:lnTo>
                    <a:pt x="543" y="470"/>
                  </a:lnTo>
                  <a:lnTo>
                    <a:pt x="543" y="472"/>
                  </a:lnTo>
                  <a:lnTo>
                    <a:pt x="543" y="472"/>
                  </a:lnTo>
                  <a:lnTo>
                    <a:pt x="543" y="472"/>
                  </a:lnTo>
                  <a:lnTo>
                    <a:pt x="543" y="472"/>
                  </a:lnTo>
                  <a:lnTo>
                    <a:pt x="543" y="472"/>
                  </a:lnTo>
                  <a:lnTo>
                    <a:pt x="543" y="472"/>
                  </a:lnTo>
                  <a:lnTo>
                    <a:pt x="543" y="472"/>
                  </a:lnTo>
                  <a:lnTo>
                    <a:pt x="541" y="472"/>
                  </a:lnTo>
                  <a:lnTo>
                    <a:pt x="541" y="472"/>
                  </a:lnTo>
                  <a:lnTo>
                    <a:pt x="538" y="470"/>
                  </a:lnTo>
                  <a:lnTo>
                    <a:pt x="538" y="470"/>
                  </a:lnTo>
                  <a:lnTo>
                    <a:pt x="538" y="470"/>
                  </a:lnTo>
                  <a:lnTo>
                    <a:pt x="538" y="470"/>
                  </a:lnTo>
                  <a:lnTo>
                    <a:pt x="538" y="468"/>
                  </a:lnTo>
                  <a:lnTo>
                    <a:pt x="538" y="465"/>
                  </a:lnTo>
                  <a:lnTo>
                    <a:pt x="534" y="463"/>
                  </a:lnTo>
                  <a:lnTo>
                    <a:pt x="534" y="463"/>
                  </a:lnTo>
                  <a:lnTo>
                    <a:pt x="534" y="463"/>
                  </a:lnTo>
                  <a:lnTo>
                    <a:pt x="531" y="463"/>
                  </a:lnTo>
                  <a:lnTo>
                    <a:pt x="531" y="463"/>
                  </a:lnTo>
                  <a:lnTo>
                    <a:pt x="529" y="463"/>
                  </a:lnTo>
                  <a:lnTo>
                    <a:pt x="529" y="463"/>
                  </a:lnTo>
                  <a:lnTo>
                    <a:pt x="529" y="460"/>
                  </a:lnTo>
                  <a:lnTo>
                    <a:pt x="529" y="460"/>
                  </a:lnTo>
                  <a:lnTo>
                    <a:pt x="527" y="458"/>
                  </a:lnTo>
                  <a:lnTo>
                    <a:pt x="527" y="460"/>
                  </a:lnTo>
                  <a:lnTo>
                    <a:pt x="527" y="458"/>
                  </a:lnTo>
                  <a:lnTo>
                    <a:pt x="524" y="458"/>
                  </a:lnTo>
                  <a:lnTo>
                    <a:pt x="524" y="458"/>
                  </a:lnTo>
                  <a:lnTo>
                    <a:pt x="524" y="458"/>
                  </a:lnTo>
                  <a:lnTo>
                    <a:pt x="524" y="460"/>
                  </a:lnTo>
                  <a:lnTo>
                    <a:pt x="524" y="458"/>
                  </a:lnTo>
                  <a:lnTo>
                    <a:pt x="524" y="458"/>
                  </a:lnTo>
                  <a:lnTo>
                    <a:pt x="522" y="458"/>
                  </a:lnTo>
                  <a:lnTo>
                    <a:pt x="522" y="458"/>
                  </a:lnTo>
                  <a:lnTo>
                    <a:pt x="522" y="458"/>
                  </a:lnTo>
                  <a:lnTo>
                    <a:pt x="520" y="458"/>
                  </a:lnTo>
                  <a:lnTo>
                    <a:pt x="520" y="458"/>
                  </a:lnTo>
                  <a:lnTo>
                    <a:pt x="515" y="460"/>
                  </a:lnTo>
                  <a:lnTo>
                    <a:pt x="515" y="460"/>
                  </a:lnTo>
                  <a:lnTo>
                    <a:pt x="515" y="458"/>
                  </a:lnTo>
                  <a:lnTo>
                    <a:pt x="515" y="458"/>
                  </a:lnTo>
                  <a:lnTo>
                    <a:pt x="512" y="456"/>
                  </a:lnTo>
                  <a:lnTo>
                    <a:pt x="512" y="456"/>
                  </a:lnTo>
                  <a:lnTo>
                    <a:pt x="510" y="458"/>
                  </a:lnTo>
                  <a:lnTo>
                    <a:pt x="510" y="460"/>
                  </a:lnTo>
                  <a:lnTo>
                    <a:pt x="510" y="463"/>
                  </a:lnTo>
                  <a:lnTo>
                    <a:pt x="512" y="463"/>
                  </a:lnTo>
                  <a:lnTo>
                    <a:pt x="512" y="460"/>
                  </a:lnTo>
                  <a:lnTo>
                    <a:pt x="515" y="460"/>
                  </a:lnTo>
                  <a:lnTo>
                    <a:pt x="515" y="460"/>
                  </a:lnTo>
                  <a:lnTo>
                    <a:pt x="515" y="463"/>
                  </a:lnTo>
                  <a:lnTo>
                    <a:pt x="515" y="463"/>
                  </a:lnTo>
                  <a:lnTo>
                    <a:pt x="512" y="463"/>
                  </a:lnTo>
                  <a:lnTo>
                    <a:pt x="510" y="465"/>
                  </a:lnTo>
                  <a:lnTo>
                    <a:pt x="510" y="465"/>
                  </a:lnTo>
                  <a:lnTo>
                    <a:pt x="505" y="463"/>
                  </a:lnTo>
                  <a:lnTo>
                    <a:pt x="503" y="465"/>
                  </a:lnTo>
                  <a:lnTo>
                    <a:pt x="503" y="468"/>
                  </a:lnTo>
                  <a:lnTo>
                    <a:pt x="501" y="468"/>
                  </a:lnTo>
                  <a:lnTo>
                    <a:pt x="503" y="472"/>
                  </a:lnTo>
                  <a:lnTo>
                    <a:pt x="503" y="472"/>
                  </a:lnTo>
                  <a:lnTo>
                    <a:pt x="501" y="472"/>
                  </a:lnTo>
                  <a:lnTo>
                    <a:pt x="498" y="475"/>
                  </a:lnTo>
                  <a:lnTo>
                    <a:pt x="498" y="475"/>
                  </a:lnTo>
                  <a:lnTo>
                    <a:pt x="498" y="477"/>
                  </a:lnTo>
                  <a:lnTo>
                    <a:pt x="496" y="479"/>
                  </a:lnTo>
                  <a:lnTo>
                    <a:pt x="496" y="479"/>
                  </a:lnTo>
                  <a:lnTo>
                    <a:pt x="491" y="482"/>
                  </a:lnTo>
                  <a:lnTo>
                    <a:pt x="494" y="486"/>
                  </a:lnTo>
                  <a:lnTo>
                    <a:pt x="494" y="486"/>
                  </a:lnTo>
                  <a:lnTo>
                    <a:pt x="491" y="486"/>
                  </a:lnTo>
                  <a:lnTo>
                    <a:pt x="489" y="486"/>
                  </a:lnTo>
                  <a:lnTo>
                    <a:pt x="489" y="484"/>
                  </a:lnTo>
                  <a:lnTo>
                    <a:pt x="489" y="484"/>
                  </a:lnTo>
                  <a:lnTo>
                    <a:pt x="484" y="484"/>
                  </a:lnTo>
                  <a:lnTo>
                    <a:pt x="484" y="486"/>
                  </a:lnTo>
                  <a:lnTo>
                    <a:pt x="482" y="486"/>
                  </a:lnTo>
                  <a:lnTo>
                    <a:pt x="479" y="486"/>
                  </a:lnTo>
                  <a:lnTo>
                    <a:pt x="479" y="491"/>
                  </a:lnTo>
                  <a:lnTo>
                    <a:pt x="479" y="491"/>
                  </a:lnTo>
                  <a:lnTo>
                    <a:pt x="477" y="491"/>
                  </a:lnTo>
                  <a:lnTo>
                    <a:pt x="475" y="486"/>
                  </a:lnTo>
                  <a:lnTo>
                    <a:pt x="475" y="486"/>
                  </a:lnTo>
                  <a:lnTo>
                    <a:pt x="475" y="489"/>
                  </a:lnTo>
                  <a:lnTo>
                    <a:pt x="472" y="491"/>
                  </a:lnTo>
                  <a:lnTo>
                    <a:pt x="472" y="493"/>
                  </a:lnTo>
                  <a:lnTo>
                    <a:pt x="470" y="493"/>
                  </a:lnTo>
                  <a:lnTo>
                    <a:pt x="470" y="493"/>
                  </a:lnTo>
                  <a:lnTo>
                    <a:pt x="470" y="489"/>
                  </a:lnTo>
                  <a:lnTo>
                    <a:pt x="468" y="486"/>
                  </a:lnTo>
                  <a:lnTo>
                    <a:pt x="465" y="486"/>
                  </a:lnTo>
                  <a:lnTo>
                    <a:pt x="465" y="486"/>
                  </a:lnTo>
                  <a:lnTo>
                    <a:pt x="468" y="491"/>
                  </a:lnTo>
                  <a:lnTo>
                    <a:pt x="465" y="491"/>
                  </a:lnTo>
                  <a:lnTo>
                    <a:pt x="465" y="491"/>
                  </a:lnTo>
                  <a:lnTo>
                    <a:pt x="465" y="491"/>
                  </a:lnTo>
                  <a:lnTo>
                    <a:pt x="461" y="491"/>
                  </a:lnTo>
                  <a:lnTo>
                    <a:pt x="461" y="486"/>
                  </a:lnTo>
                  <a:lnTo>
                    <a:pt x="458" y="486"/>
                  </a:lnTo>
                  <a:lnTo>
                    <a:pt x="458" y="484"/>
                  </a:lnTo>
                  <a:lnTo>
                    <a:pt x="451" y="486"/>
                  </a:lnTo>
                  <a:lnTo>
                    <a:pt x="451" y="486"/>
                  </a:lnTo>
                  <a:lnTo>
                    <a:pt x="449" y="484"/>
                  </a:lnTo>
                  <a:lnTo>
                    <a:pt x="446" y="486"/>
                  </a:lnTo>
                  <a:lnTo>
                    <a:pt x="446" y="486"/>
                  </a:lnTo>
                  <a:lnTo>
                    <a:pt x="446" y="489"/>
                  </a:lnTo>
                  <a:lnTo>
                    <a:pt x="446" y="491"/>
                  </a:lnTo>
                  <a:lnTo>
                    <a:pt x="444" y="491"/>
                  </a:lnTo>
                  <a:lnTo>
                    <a:pt x="442" y="491"/>
                  </a:lnTo>
                  <a:lnTo>
                    <a:pt x="442" y="491"/>
                  </a:lnTo>
                  <a:lnTo>
                    <a:pt x="442" y="493"/>
                  </a:lnTo>
                  <a:lnTo>
                    <a:pt x="439" y="493"/>
                  </a:lnTo>
                  <a:lnTo>
                    <a:pt x="439" y="491"/>
                  </a:lnTo>
                  <a:lnTo>
                    <a:pt x="437" y="493"/>
                  </a:lnTo>
                  <a:lnTo>
                    <a:pt x="437" y="493"/>
                  </a:lnTo>
                  <a:lnTo>
                    <a:pt x="437" y="493"/>
                  </a:lnTo>
                  <a:lnTo>
                    <a:pt x="435" y="493"/>
                  </a:lnTo>
                  <a:lnTo>
                    <a:pt x="432" y="493"/>
                  </a:lnTo>
                  <a:lnTo>
                    <a:pt x="432" y="493"/>
                  </a:lnTo>
                  <a:lnTo>
                    <a:pt x="432" y="493"/>
                  </a:lnTo>
                  <a:lnTo>
                    <a:pt x="430" y="496"/>
                  </a:lnTo>
                  <a:lnTo>
                    <a:pt x="430" y="498"/>
                  </a:lnTo>
                  <a:lnTo>
                    <a:pt x="427" y="498"/>
                  </a:lnTo>
                  <a:lnTo>
                    <a:pt x="427" y="498"/>
                  </a:lnTo>
                  <a:lnTo>
                    <a:pt x="427" y="498"/>
                  </a:lnTo>
                  <a:lnTo>
                    <a:pt x="425" y="501"/>
                  </a:lnTo>
                  <a:lnTo>
                    <a:pt x="427" y="501"/>
                  </a:lnTo>
                  <a:lnTo>
                    <a:pt x="427" y="501"/>
                  </a:lnTo>
                  <a:lnTo>
                    <a:pt x="425" y="503"/>
                  </a:lnTo>
                  <a:lnTo>
                    <a:pt x="425" y="503"/>
                  </a:lnTo>
                  <a:lnTo>
                    <a:pt x="427" y="505"/>
                  </a:lnTo>
                  <a:lnTo>
                    <a:pt x="423" y="505"/>
                  </a:lnTo>
                  <a:lnTo>
                    <a:pt x="423" y="508"/>
                  </a:lnTo>
                  <a:lnTo>
                    <a:pt x="423" y="508"/>
                  </a:lnTo>
                  <a:lnTo>
                    <a:pt x="420" y="508"/>
                  </a:lnTo>
                  <a:lnTo>
                    <a:pt x="420" y="508"/>
                  </a:lnTo>
                  <a:lnTo>
                    <a:pt x="423" y="510"/>
                  </a:lnTo>
                  <a:lnTo>
                    <a:pt x="420" y="510"/>
                  </a:lnTo>
                  <a:lnTo>
                    <a:pt x="420" y="510"/>
                  </a:lnTo>
                  <a:lnTo>
                    <a:pt x="420" y="512"/>
                  </a:lnTo>
                  <a:lnTo>
                    <a:pt x="423" y="512"/>
                  </a:lnTo>
                  <a:lnTo>
                    <a:pt x="423" y="515"/>
                  </a:lnTo>
                  <a:lnTo>
                    <a:pt x="423" y="515"/>
                  </a:lnTo>
                  <a:lnTo>
                    <a:pt x="423" y="515"/>
                  </a:lnTo>
                  <a:lnTo>
                    <a:pt x="425" y="515"/>
                  </a:lnTo>
                  <a:lnTo>
                    <a:pt x="427" y="517"/>
                  </a:lnTo>
                  <a:lnTo>
                    <a:pt x="425" y="517"/>
                  </a:lnTo>
                  <a:lnTo>
                    <a:pt x="427" y="517"/>
                  </a:lnTo>
                  <a:lnTo>
                    <a:pt x="425" y="519"/>
                  </a:lnTo>
                  <a:lnTo>
                    <a:pt x="425" y="519"/>
                  </a:lnTo>
                  <a:lnTo>
                    <a:pt x="423" y="519"/>
                  </a:lnTo>
                  <a:lnTo>
                    <a:pt x="423" y="519"/>
                  </a:lnTo>
                  <a:lnTo>
                    <a:pt x="423" y="522"/>
                  </a:lnTo>
                  <a:lnTo>
                    <a:pt x="425" y="522"/>
                  </a:lnTo>
                  <a:lnTo>
                    <a:pt x="425" y="524"/>
                  </a:lnTo>
                  <a:lnTo>
                    <a:pt x="427" y="524"/>
                  </a:lnTo>
                  <a:lnTo>
                    <a:pt x="427" y="527"/>
                  </a:lnTo>
                  <a:lnTo>
                    <a:pt x="427" y="527"/>
                  </a:lnTo>
                  <a:lnTo>
                    <a:pt x="427" y="527"/>
                  </a:lnTo>
                  <a:lnTo>
                    <a:pt x="430" y="527"/>
                  </a:lnTo>
                  <a:lnTo>
                    <a:pt x="430" y="529"/>
                  </a:lnTo>
                  <a:lnTo>
                    <a:pt x="430" y="529"/>
                  </a:lnTo>
                  <a:lnTo>
                    <a:pt x="430" y="529"/>
                  </a:lnTo>
                  <a:lnTo>
                    <a:pt x="430" y="531"/>
                  </a:lnTo>
                  <a:lnTo>
                    <a:pt x="430" y="531"/>
                  </a:lnTo>
                  <a:lnTo>
                    <a:pt x="430" y="534"/>
                  </a:lnTo>
                  <a:lnTo>
                    <a:pt x="427" y="534"/>
                  </a:lnTo>
                  <a:lnTo>
                    <a:pt x="430" y="536"/>
                  </a:lnTo>
                  <a:lnTo>
                    <a:pt x="427" y="536"/>
                  </a:lnTo>
                  <a:lnTo>
                    <a:pt x="427" y="538"/>
                  </a:lnTo>
                  <a:lnTo>
                    <a:pt x="425" y="538"/>
                  </a:lnTo>
                  <a:lnTo>
                    <a:pt x="425" y="538"/>
                  </a:lnTo>
                  <a:lnTo>
                    <a:pt x="423" y="538"/>
                  </a:lnTo>
                  <a:lnTo>
                    <a:pt x="423" y="538"/>
                  </a:lnTo>
                  <a:lnTo>
                    <a:pt x="423" y="538"/>
                  </a:lnTo>
                  <a:lnTo>
                    <a:pt x="423" y="541"/>
                  </a:lnTo>
                  <a:lnTo>
                    <a:pt x="420" y="541"/>
                  </a:lnTo>
                  <a:lnTo>
                    <a:pt x="418" y="541"/>
                  </a:lnTo>
                  <a:lnTo>
                    <a:pt x="416" y="541"/>
                  </a:lnTo>
                  <a:lnTo>
                    <a:pt x="416" y="541"/>
                  </a:lnTo>
                  <a:lnTo>
                    <a:pt x="416" y="541"/>
                  </a:lnTo>
                  <a:lnTo>
                    <a:pt x="413" y="541"/>
                  </a:lnTo>
                  <a:lnTo>
                    <a:pt x="411" y="541"/>
                  </a:lnTo>
                  <a:lnTo>
                    <a:pt x="411" y="541"/>
                  </a:lnTo>
                  <a:lnTo>
                    <a:pt x="409" y="541"/>
                  </a:lnTo>
                  <a:lnTo>
                    <a:pt x="406" y="543"/>
                  </a:lnTo>
                  <a:lnTo>
                    <a:pt x="409" y="545"/>
                  </a:lnTo>
                  <a:lnTo>
                    <a:pt x="409" y="548"/>
                  </a:lnTo>
                  <a:lnTo>
                    <a:pt x="406" y="548"/>
                  </a:lnTo>
                  <a:lnTo>
                    <a:pt x="406" y="548"/>
                  </a:lnTo>
                  <a:lnTo>
                    <a:pt x="406" y="548"/>
                  </a:lnTo>
                  <a:lnTo>
                    <a:pt x="404" y="545"/>
                  </a:lnTo>
                  <a:lnTo>
                    <a:pt x="401" y="543"/>
                  </a:lnTo>
                  <a:lnTo>
                    <a:pt x="401" y="541"/>
                  </a:lnTo>
                  <a:lnTo>
                    <a:pt x="401" y="538"/>
                  </a:lnTo>
                  <a:lnTo>
                    <a:pt x="399" y="538"/>
                  </a:lnTo>
                  <a:lnTo>
                    <a:pt x="399" y="536"/>
                  </a:lnTo>
                  <a:lnTo>
                    <a:pt x="397" y="536"/>
                  </a:lnTo>
                  <a:lnTo>
                    <a:pt x="397" y="536"/>
                  </a:lnTo>
                  <a:lnTo>
                    <a:pt x="397" y="536"/>
                  </a:lnTo>
                  <a:lnTo>
                    <a:pt x="397" y="534"/>
                  </a:lnTo>
                  <a:lnTo>
                    <a:pt x="394" y="531"/>
                  </a:lnTo>
                  <a:lnTo>
                    <a:pt x="394" y="531"/>
                  </a:lnTo>
                  <a:lnTo>
                    <a:pt x="392" y="531"/>
                  </a:lnTo>
                  <a:lnTo>
                    <a:pt x="385" y="531"/>
                  </a:lnTo>
                  <a:lnTo>
                    <a:pt x="383" y="531"/>
                  </a:lnTo>
                  <a:lnTo>
                    <a:pt x="380" y="531"/>
                  </a:lnTo>
                  <a:lnTo>
                    <a:pt x="378" y="531"/>
                  </a:lnTo>
                  <a:lnTo>
                    <a:pt x="375" y="531"/>
                  </a:lnTo>
                  <a:lnTo>
                    <a:pt x="373" y="529"/>
                  </a:lnTo>
                  <a:lnTo>
                    <a:pt x="371" y="531"/>
                  </a:lnTo>
                  <a:lnTo>
                    <a:pt x="368" y="531"/>
                  </a:lnTo>
                  <a:lnTo>
                    <a:pt x="366" y="531"/>
                  </a:lnTo>
                  <a:lnTo>
                    <a:pt x="359" y="531"/>
                  </a:lnTo>
                  <a:lnTo>
                    <a:pt x="357" y="531"/>
                  </a:lnTo>
                  <a:lnTo>
                    <a:pt x="354" y="531"/>
                  </a:lnTo>
                  <a:lnTo>
                    <a:pt x="352" y="534"/>
                  </a:lnTo>
                  <a:lnTo>
                    <a:pt x="349" y="531"/>
                  </a:lnTo>
                  <a:lnTo>
                    <a:pt x="347" y="534"/>
                  </a:lnTo>
                  <a:lnTo>
                    <a:pt x="347" y="534"/>
                  </a:lnTo>
                  <a:lnTo>
                    <a:pt x="347" y="534"/>
                  </a:lnTo>
                  <a:lnTo>
                    <a:pt x="347" y="531"/>
                  </a:lnTo>
                  <a:lnTo>
                    <a:pt x="345" y="531"/>
                  </a:lnTo>
                  <a:lnTo>
                    <a:pt x="340" y="531"/>
                  </a:lnTo>
                  <a:lnTo>
                    <a:pt x="338" y="529"/>
                  </a:lnTo>
                  <a:lnTo>
                    <a:pt x="338" y="531"/>
                  </a:lnTo>
                  <a:lnTo>
                    <a:pt x="335" y="529"/>
                  </a:lnTo>
                  <a:lnTo>
                    <a:pt x="333" y="529"/>
                  </a:lnTo>
                  <a:lnTo>
                    <a:pt x="333" y="529"/>
                  </a:lnTo>
                  <a:lnTo>
                    <a:pt x="331" y="529"/>
                  </a:lnTo>
                  <a:lnTo>
                    <a:pt x="328" y="529"/>
                  </a:lnTo>
                  <a:lnTo>
                    <a:pt x="328" y="527"/>
                  </a:lnTo>
                  <a:lnTo>
                    <a:pt x="328" y="527"/>
                  </a:lnTo>
                  <a:lnTo>
                    <a:pt x="328" y="527"/>
                  </a:lnTo>
                  <a:lnTo>
                    <a:pt x="326" y="527"/>
                  </a:lnTo>
                  <a:lnTo>
                    <a:pt x="324" y="524"/>
                  </a:lnTo>
                  <a:lnTo>
                    <a:pt x="324" y="524"/>
                  </a:lnTo>
                  <a:lnTo>
                    <a:pt x="324" y="524"/>
                  </a:lnTo>
                  <a:lnTo>
                    <a:pt x="321" y="524"/>
                  </a:lnTo>
                  <a:lnTo>
                    <a:pt x="321" y="522"/>
                  </a:lnTo>
                  <a:lnTo>
                    <a:pt x="319" y="522"/>
                  </a:lnTo>
                  <a:lnTo>
                    <a:pt x="319" y="522"/>
                  </a:lnTo>
                  <a:lnTo>
                    <a:pt x="319" y="519"/>
                  </a:lnTo>
                  <a:lnTo>
                    <a:pt x="316" y="517"/>
                  </a:lnTo>
                  <a:lnTo>
                    <a:pt x="314" y="517"/>
                  </a:lnTo>
                  <a:lnTo>
                    <a:pt x="314" y="517"/>
                  </a:lnTo>
                  <a:lnTo>
                    <a:pt x="312" y="517"/>
                  </a:lnTo>
                  <a:lnTo>
                    <a:pt x="312" y="517"/>
                  </a:lnTo>
                  <a:lnTo>
                    <a:pt x="307" y="512"/>
                  </a:lnTo>
                  <a:lnTo>
                    <a:pt x="305" y="515"/>
                  </a:lnTo>
                  <a:lnTo>
                    <a:pt x="302" y="517"/>
                  </a:lnTo>
                  <a:lnTo>
                    <a:pt x="300" y="517"/>
                  </a:lnTo>
                  <a:lnTo>
                    <a:pt x="300" y="515"/>
                  </a:lnTo>
                  <a:lnTo>
                    <a:pt x="300" y="515"/>
                  </a:lnTo>
                  <a:lnTo>
                    <a:pt x="298" y="515"/>
                  </a:lnTo>
                  <a:lnTo>
                    <a:pt x="295" y="517"/>
                  </a:lnTo>
                  <a:lnTo>
                    <a:pt x="295" y="517"/>
                  </a:lnTo>
                  <a:lnTo>
                    <a:pt x="295" y="515"/>
                  </a:lnTo>
                  <a:lnTo>
                    <a:pt x="293" y="512"/>
                  </a:lnTo>
                  <a:lnTo>
                    <a:pt x="290" y="512"/>
                  </a:lnTo>
                  <a:lnTo>
                    <a:pt x="288" y="512"/>
                  </a:lnTo>
                  <a:lnTo>
                    <a:pt x="288" y="512"/>
                  </a:lnTo>
                  <a:lnTo>
                    <a:pt x="286" y="512"/>
                  </a:lnTo>
                  <a:lnTo>
                    <a:pt x="286" y="512"/>
                  </a:lnTo>
                  <a:lnTo>
                    <a:pt x="283" y="512"/>
                  </a:lnTo>
                  <a:lnTo>
                    <a:pt x="283" y="512"/>
                  </a:lnTo>
                  <a:lnTo>
                    <a:pt x="281" y="512"/>
                  </a:lnTo>
                  <a:lnTo>
                    <a:pt x="281" y="510"/>
                  </a:lnTo>
                  <a:lnTo>
                    <a:pt x="281" y="512"/>
                  </a:lnTo>
                  <a:lnTo>
                    <a:pt x="279" y="512"/>
                  </a:lnTo>
                  <a:lnTo>
                    <a:pt x="276" y="512"/>
                  </a:lnTo>
                  <a:lnTo>
                    <a:pt x="274" y="512"/>
                  </a:lnTo>
                  <a:lnTo>
                    <a:pt x="274" y="512"/>
                  </a:lnTo>
                  <a:lnTo>
                    <a:pt x="274" y="512"/>
                  </a:lnTo>
                  <a:lnTo>
                    <a:pt x="272" y="512"/>
                  </a:lnTo>
                  <a:lnTo>
                    <a:pt x="272" y="510"/>
                  </a:lnTo>
                  <a:lnTo>
                    <a:pt x="269" y="510"/>
                  </a:lnTo>
                  <a:lnTo>
                    <a:pt x="264" y="508"/>
                  </a:lnTo>
                  <a:lnTo>
                    <a:pt x="262" y="508"/>
                  </a:lnTo>
                  <a:lnTo>
                    <a:pt x="262" y="510"/>
                  </a:lnTo>
                  <a:lnTo>
                    <a:pt x="260" y="508"/>
                  </a:lnTo>
                  <a:lnTo>
                    <a:pt x="260" y="510"/>
                  </a:lnTo>
                  <a:lnTo>
                    <a:pt x="257" y="508"/>
                  </a:lnTo>
                  <a:lnTo>
                    <a:pt x="255" y="510"/>
                  </a:lnTo>
                  <a:lnTo>
                    <a:pt x="255" y="510"/>
                  </a:lnTo>
                  <a:lnTo>
                    <a:pt x="255" y="510"/>
                  </a:lnTo>
                  <a:lnTo>
                    <a:pt x="253" y="510"/>
                  </a:lnTo>
                  <a:lnTo>
                    <a:pt x="253" y="508"/>
                  </a:lnTo>
                  <a:lnTo>
                    <a:pt x="253" y="508"/>
                  </a:lnTo>
                  <a:lnTo>
                    <a:pt x="250" y="508"/>
                  </a:lnTo>
                  <a:lnTo>
                    <a:pt x="250" y="505"/>
                  </a:lnTo>
                  <a:lnTo>
                    <a:pt x="250" y="505"/>
                  </a:lnTo>
                  <a:lnTo>
                    <a:pt x="248" y="503"/>
                  </a:lnTo>
                  <a:lnTo>
                    <a:pt x="246" y="501"/>
                  </a:lnTo>
                  <a:lnTo>
                    <a:pt x="243" y="503"/>
                  </a:lnTo>
                  <a:lnTo>
                    <a:pt x="241" y="503"/>
                  </a:lnTo>
                  <a:lnTo>
                    <a:pt x="241" y="501"/>
                  </a:lnTo>
                  <a:lnTo>
                    <a:pt x="241" y="503"/>
                  </a:lnTo>
                  <a:lnTo>
                    <a:pt x="238" y="501"/>
                  </a:lnTo>
                  <a:lnTo>
                    <a:pt x="238" y="501"/>
                  </a:lnTo>
                  <a:lnTo>
                    <a:pt x="236" y="501"/>
                  </a:lnTo>
                  <a:lnTo>
                    <a:pt x="236" y="501"/>
                  </a:lnTo>
                  <a:lnTo>
                    <a:pt x="236" y="501"/>
                  </a:lnTo>
                  <a:lnTo>
                    <a:pt x="234" y="501"/>
                  </a:lnTo>
                  <a:lnTo>
                    <a:pt x="231" y="501"/>
                  </a:lnTo>
                  <a:lnTo>
                    <a:pt x="231" y="501"/>
                  </a:lnTo>
                  <a:lnTo>
                    <a:pt x="229" y="501"/>
                  </a:lnTo>
                  <a:lnTo>
                    <a:pt x="229" y="501"/>
                  </a:lnTo>
                  <a:lnTo>
                    <a:pt x="229" y="501"/>
                  </a:lnTo>
                  <a:lnTo>
                    <a:pt x="227" y="501"/>
                  </a:lnTo>
                  <a:lnTo>
                    <a:pt x="224" y="501"/>
                  </a:lnTo>
                  <a:lnTo>
                    <a:pt x="224" y="501"/>
                  </a:lnTo>
                  <a:lnTo>
                    <a:pt x="220" y="503"/>
                  </a:lnTo>
                  <a:lnTo>
                    <a:pt x="220" y="503"/>
                  </a:lnTo>
                  <a:lnTo>
                    <a:pt x="220" y="503"/>
                  </a:lnTo>
                  <a:lnTo>
                    <a:pt x="217" y="503"/>
                  </a:lnTo>
                  <a:lnTo>
                    <a:pt x="217" y="503"/>
                  </a:lnTo>
                  <a:lnTo>
                    <a:pt x="215" y="501"/>
                  </a:lnTo>
                  <a:lnTo>
                    <a:pt x="212" y="503"/>
                  </a:lnTo>
                  <a:lnTo>
                    <a:pt x="212" y="503"/>
                  </a:lnTo>
                  <a:lnTo>
                    <a:pt x="210" y="503"/>
                  </a:lnTo>
                  <a:lnTo>
                    <a:pt x="205" y="501"/>
                  </a:lnTo>
                  <a:lnTo>
                    <a:pt x="201" y="503"/>
                  </a:lnTo>
                  <a:lnTo>
                    <a:pt x="198" y="505"/>
                  </a:lnTo>
                  <a:lnTo>
                    <a:pt x="194" y="508"/>
                  </a:lnTo>
                  <a:lnTo>
                    <a:pt x="194" y="508"/>
                  </a:lnTo>
                  <a:lnTo>
                    <a:pt x="191" y="505"/>
                  </a:lnTo>
                  <a:lnTo>
                    <a:pt x="191" y="505"/>
                  </a:lnTo>
                  <a:lnTo>
                    <a:pt x="191" y="505"/>
                  </a:lnTo>
                  <a:lnTo>
                    <a:pt x="189" y="503"/>
                  </a:lnTo>
                  <a:lnTo>
                    <a:pt x="189" y="503"/>
                  </a:lnTo>
                  <a:lnTo>
                    <a:pt x="186" y="503"/>
                  </a:lnTo>
                  <a:lnTo>
                    <a:pt x="186" y="501"/>
                  </a:lnTo>
                  <a:lnTo>
                    <a:pt x="184" y="501"/>
                  </a:lnTo>
                  <a:lnTo>
                    <a:pt x="184" y="501"/>
                  </a:lnTo>
                  <a:lnTo>
                    <a:pt x="184" y="501"/>
                  </a:lnTo>
                  <a:lnTo>
                    <a:pt x="182" y="501"/>
                  </a:lnTo>
                  <a:lnTo>
                    <a:pt x="182" y="501"/>
                  </a:lnTo>
                  <a:lnTo>
                    <a:pt x="179" y="498"/>
                  </a:lnTo>
                  <a:lnTo>
                    <a:pt x="179" y="498"/>
                  </a:lnTo>
                  <a:lnTo>
                    <a:pt x="179" y="498"/>
                  </a:lnTo>
                  <a:lnTo>
                    <a:pt x="175" y="496"/>
                  </a:lnTo>
                  <a:lnTo>
                    <a:pt x="172" y="493"/>
                  </a:lnTo>
                  <a:lnTo>
                    <a:pt x="172" y="493"/>
                  </a:lnTo>
                  <a:lnTo>
                    <a:pt x="172" y="493"/>
                  </a:lnTo>
                  <a:lnTo>
                    <a:pt x="172" y="493"/>
                  </a:lnTo>
                  <a:lnTo>
                    <a:pt x="172" y="491"/>
                  </a:lnTo>
                  <a:lnTo>
                    <a:pt x="170" y="489"/>
                  </a:lnTo>
                  <a:lnTo>
                    <a:pt x="170" y="489"/>
                  </a:lnTo>
                  <a:lnTo>
                    <a:pt x="170" y="486"/>
                  </a:lnTo>
                  <a:lnTo>
                    <a:pt x="165" y="489"/>
                  </a:lnTo>
                  <a:lnTo>
                    <a:pt x="165" y="489"/>
                  </a:lnTo>
                  <a:lnTo>
                    <a:pt x="163" y="489"/>
                  </a:lnTo>
                  <a:lnTo>
                    <a:pt x="163" y="489"/>
                  </a:lnTo>
                  <a:lnTo>
                    <a:pt x="163" y="486"/>
                  </a:lnTo>
                  <a:lnTo>
                    <a:pt x="161" y="486"/>
                  </a:lnTo>
                  <a:lnTo>
                    <a:pt x="161" y="486"/>
                  </a:lnTo>
                  <a:lnTo>
                    <a:pt x="161" y="489"/>
                  </a:lnTo>
                  <a:lnTo>
                    <a:pt x="158" y="486"/>
                  </a:lnTo>
                  <a:lnTo>
                    <a:pt x="158" y="489"/>
                  </a:lnTo>
                  <a:lnTo>
                    <a:pt x="156" y="486"/>
                  </a:lnTo>
                  <a:lnTo>
                    <a:pt x="156" y="486"/>
                  </a:lnTo>
                  <a:lnTo>
                    <a:pt x="151" y="491"/>
                  </a:lnTo>
                  <a:lnTo>
                    <a:pt x="149" y="491"/>
                  </a:lnTo>
                  <a:lnTo>
                    <a:pt x="149" y="491"/>
                  </a:lnTo>
                  <a:lnTo>
                    <a:pt x="146" y="493"/>
                  </a:lnTo>
                  <a:lnTo>
                    <a:pt x="144" y="493"/>
                  </a:lnTo>
                  <a:lnTo>
                    <a:pt x="144" y="493"/>
                  </a:lnTo>
                  <a:lnTo>
                    <a:pt x="142" y="493"/>
                  </a:lnTo>
                  <a:lnTo>
                    <a:pt x="137" y="493"/>
                  </a:lnTo>
                  <a:lnTo>
                    <a:pt x="135" y="493"/>
                  </a:lnTo>
                  <a:lnTo>
                    <a:pt x="135" y="493"/>
                  </a:lnTo>
                  <a:lnTo>
                    <a:pt x="132" y="491"/>
                  </a:lnTo>
                  <a:lnTo>
                    <a:pt x="130" y="491"/>
                  </a:lnTo>
                  <a:lnTo>
                    <a:pt x="130" y="489"/>
                  </a:lnTo>
                  <a:lnTo>
                    <a:pt x="127" y="489"/>
                  </a:lnTo>
                  <a:lnTo>
                    <a:pt x="125" y="489"/>
                  </a:lnTo>
                  <a:lnTo>
                    <a:pt x="125" y="489"/>
                  </a:lnTo>
                  <a:lnTo>
                    <a:pt x="123" y="489"/>
                  </a:lnTo>
                  <a:lnTo>
                    <a:pt x="123" y="486"/>
                  </a:lnTo>
                  <a:lnTo>
                    <a:pt x="123" y="486"/>
                  </a:lnTo>
                  <a:lnTo>
                    <a:pt x="123" y="486"/>
                  </a:lnTo>
                  <a:lnTo>
                    <a:pt x="120" y="486"/>
                  </a:lnTo>
                  <a:lnTo>
                    <a:pt x="123" y="484"/>
                  </a:lnTo>
                  <a:lnTo>
                    <a:pt x="120" y="482"/>
                  </a:lnTo>
                  <a:lnTo>
                    <a:pt x="120" y="482"/>
                  </a:lnTo>
                  <a:lnTo>
                    <a:pt x="120" y="482"/>
                  </a:lnTo>
                  <a:lnTo>
                    <a:pt x="118" y="477"/>
                  </a:lnTo>
                  <a:lnTo>
                    <a:pt x="118" y="477"/>
                  </a:lnTo>
                  <a:lnTo>
                    <a:pt x="116" y="475"/>
                  </a:lnTo>
                  <a:lnTo>
                    <a:pt x="116" y="475"/>
                  </a:lnTo>
                  <a:lnTo>
                    <a:pt x="113" y="472"/>
                  </a:lnTo>
                  <a:lnTo>
                    <a:pt x="113" y="472"/>
                  </a:lnTo>
                  <a:lnTo>
                    <a:pt x="111" y="470"/>
                  </a:lnTo>
                  <a:lnTo>
                    <a:pt x="111" y="470"/>
                  </a:lnTo>
                  <a:lnTo>
                    <a:pt x="111" y="468"/>
                  </a:lnTo>
                  <a:lnTo>
                    <a:pt x="111" y="468"/>
                  </a:lnTo>
                  <a:lnTo>
                    <a:pt x="111" y="465"/>
                  </a:lnTo>
                  <a:lnTo>
                    <a:pt x="111" y="465"/>
                  </a:lnTo>
                  <a:lnTo>
                    <a:pt x="111" y="463"/>
                  </a:lnTo>
                  <a:lnTo>
                    <a:pt x="111" y="463"/>
                  </a:lnTo>
                  <a:lnTo>
                    <a:pt x="111" y="460"/>
                  </a:lnTo>
                  <a:lnTo>
                    <a:pt x="111" y="460"/>
                  </a:lnTo>
                  <a:lnTo>
                    <a:pt x="109" y="460"/>
                  </a:lnTo>
                  <a:lnTo>
                    <a:pt x="109" y="460"/>
                  </a:lnTo>
                  <a:lnTo>
                    <a:pt x="109" y="460"/>
                  </a:lnTo>
                  <a:lnTo>
                    <a:pt x="109" y="460"/>
                  </a:lnTo>
                  <a:lnTo>
                    <a:pt x="109" y="458"/>
                  </a:lnTo>
                  <a:lnTo>
                    <a:pt x="109" y="460"/>
                  </a:lnTo>
                  <a:lnTo>
                    <a:pt x="106" y="458"/>
                  </a:lnTo>
                  <a:lnTo>
                    <a:pt x="106" y="458"/>
                  </a:lnTo>
                  <a:lnTo>
                    <a:pt x="106" y="458"/>
                  </a:lnTo>
                  <a:lnTo>
                    <a:pt x="106" y="458"/>
                  </a:lnTo>
                  <a:lnTo>
                    <a:pt x="106" y="458"/>
                  </a:lnTo>
                  <a:lnTo>
                    <a:pt x="106" y="456"/>
                  </a:lnTo>
                  <a:lnTo>
                    <a:pt x="104" y="456"/>
                  </a:lnTo>
                  <a:lnTo>
                    <a:pt x="104" y="456"/>
                  </a:lnTo>
                  <a:lnTo>
                    <a:pt x="104" y="456"/>
                  </a:lnTo>
                  <a:lnTo>
                    <a:pt x="101" y="456"/>
                  </a:lnTo>
                  <a:lnTo>
                    <a:pt x="101" y="453"/>
                  </a:lnTo>
                  <a:lnTo>
                    <a:pt x="101" y="453"/>
                  </a:lnTo>
                  <a:lnTo>
                    <a:pt x="101" y="453"/>
                  </a:lnTo>
                  <a:lnTo>
                    <a:pt x="101" y="453"/>
                  </a:lnTo>
                  <a:lnTo>
                    <a:pt x="101" y="453"/>
                  </a:lnTo>
                  <a:lnTo>
                    <a:pt x="101" y="453"/>
                  </a:lnTo>
                  <a:lnTo>
                    <a:pt x="99" y="451"/>
                  </a:lnTo>
                  <a:lnTo>
                    <a:pt x="99" y="451"/>
                  </a:lnTo>
                  <a:lnTo>
                    <a:pt x="99" y="451"/>
                  </a:lnTo>
                  <a:lnTo>
                    <a:pt x="99" y="449"/>
                  </a:lnTo>
                  <a:lnTo>
                    <a:pt x="97" y="446"/>
                  </a:lnTo>
                  <a:lnTo>
                    <a:pt x="99" y="446"/>
                  </a:lnTo>
                  <a:lnTo>
                    <a:pt x="99" y="446"/>
                  </a:lnTo>
                  <a:lnTo>
                    <a:pt x="99" y="444"/>
                  </a:lnTo>
                  <a:lnTo>
                    <a:pt x="99" y="446"/>
                  </a:lnTo>
                  <a:lnTo>
                    <a:pt x="101" y="446"/>
                  </a:lnTo>
                  <a:lnTo>
                    <a:pt x="99" y="444"/>
                  </a:lnTo>
                  <a:lnTo>
                    <a:pt x="101" y="444"/>
                  </a:lnTo>
                  <a:lnTo>
                    <a:pt x="99" y="444"/>
                  </a:lnTo>
                  <a:lnTo>
                    <a:pt x="99" y="444"/>
                  </a:lnTo>
                  <a:lnTo>
                    <a:pt x="99" y="444"/>
                  </a:lnTo>
                  <a:lnTo>
                    <a:pt x="99" y="444"/>
                  </a:lnTo>
                  <a:lnTo>
                    <a:pt x="101" y="442"/>
                  </a:lnTo>
                  <a:lnTo>
                    <a:pt x="99" y="442"/>
                  </a:lnTo>
                  <a:lnTo>
                    <a:pt x="99" y="442"/>
                  </a:lnTo>
                  <a:lnTo>
                    <a:pt x="99" y="442"/>
                  </a:lnTo>
                  <a:lnTo>
                    <a:pt x="99" y="439"/>
                  </a:lnTo>
                  <a:lnTo>
                    <a:pt x="97" y="442"/>
                  </a:lnTo>
                  <a:lnTo>
                    <a:pt x="97" y="439"/>
                  </a:lnTo>
                  <a:lnTo>
                    <a:pt x="99" y="439"/>
                  </a:lnTo>
                  <a:lnTo>
                    <a:pt x="99" y="439"/>
                  </a:lnTo>
                  <a:lnTo>
                    <a:pt x="99" y="439"/>
                  </a:lnTo>
                  <a:lnTo>
                    <a:pt x="99" y="439"/>
                  </a:lnTo>
                  <a:lnTo>
                    <a:pt x="99" y="439"/>
                  </a:lnTo>
                  <a:lnTo>
                    <a:pt x="99" y="437"/>
                  </a:lnTo>
                  <a:lnTo>
                    <a:pt x="97" y="437"/>
                  </a:lnTo>
                  <a:lnTo>
                    <a:pt x="99" y="437"/>
                  </a:lnTo>
                  <a:lnTo>
                    <a:pt x="99" y="437"/>
                  </a:lnTo>
                  <a:lnTo>
                    <a:pt x="97" y="434"/>
                  </a:lnTo>
                  <a:lnTo>
                    <a:pt x="97" y="434"/>
                  </a:lnTo>
                  <a:lnTo>
                    <a:pt x="97" y="434"/>
                  </a:lnTo>
                  <a:lnTo>
                    <a:pt x="97" y="432"/>
                  </a:lnTo>
                  <a:lnTo>
                    <a:pt x="99" y="432"/>
                  </a:lnTo>
                  <a:lnTo>
                    <a:pt x="99" y="432"/>
                  </a:lnTo>
                  <a:lnTo>
                    <a:pt x="99" y="430"/>
                  </a:lnTo>
                  <a:lnTo>
                    <a:pt x="101" y="432"/>
                  </a:lnTo>
                  <a:lnTo>
                    <a:pt x="101" y="430"/>
                  </a:lnTo>
                  <a:lnTo>
                    <a:pt x="99" y="430"/>
                  </a:lnTo>
                  <a:lnTo>
                    <a:pt x="99" y="430"/>
                  </a:lnTo>
                  <a:lnTo>
                    <a:pt x="99" y="427"/>
                  </a:lnTo>
                  <a:lnTo>
                    <a:pt x="97" y="427"/>
                  </a:lnTo>
                  <a:lnTo>
                    <a:pt x="99" y="427"/>
                  </a:lnTo>
                  <a:lnTo>
                    <a:pt x="99" y="427"/>
                  </a:lnTo>
                  <a:lnTo>
                    <a:pt x="97" y="425"/>
                  </a:lnTo>
                  <a:lnTo>
                    <a:pt x="97" y="425"/>
                  </a:lnTo>
                  <a:lnTo>
                    <a:pt x="97" y="425"/>
                  </a:lnTo>
                  <a:lnTo>
                    <a:pt x="99" y="425"/>
                  </a:lnTo>
                  <a:lnTo>
                    <a:pt x="97" y="423"/>
                  </a:lnTo>
                  <a:lnTo>
                    <a:pt x="99" y="423"/>
                  </a:lnTo>
                  <a:lnTo>
                    <a:pt x="97" y="420"/>
                  </a:lnTo>
                  <a:lnTo>
                    <a:pt x="94" y="423"/>
                  </a:lnTo>
                  <a:lnTo>
                    <a:pt x="97" y="420"/>
                  </a:lnTo>
                  <a:lnTo>
                    <a:pt x="97" y="418"/>
                  </a:lnTo>
                  <a:lnTo>
                    <a:pt x="94" y="418"/>
                  </a:lnTo>
                  <a:lnTo>
                    <a:pt x="94" y="418"/>
                  </a:lnTo>
                  <a:lnTo>
                    <a:pt x="92" y="418"/>
                  </a:lnTo>
                  <a:lnTo>
                    <a:pt x="94" y="418"/>
                  </a:lnTo>
                  <a:lnTo>
                    <a:pt x="94" y="416"/>
                  </a:lnTo>
                  <a:lnTo>
                    <a:pt x="97" y="416"/>
                  </a:lnTo>
                  <a:lnTo>
                    <a:pt x="97" y="418"/>
                  </a:lnTo>
                  <a:lnTo>
                    <a:pt x="97" y="416"/>
                  </a:lnTo>
                  <a:lnTo>
                    <a:pt x="97" y="416"/>
                  </a:lnTo>
                  <a:lnTo>
                    <a:pt x="97" y="416"/>
                  </a:lnTo>
                  <a:lnTo>
                    <a:pt x="97" y="413"/>
                  </a:lnTo>
                  <a:lnTo>
                    <a:pt x="97" y="413"/>
                  </a:lnTo>
                  <a:lnTo>
                    <a:pt x="94" y="411"/>
                  </a:lnTo>
                  <a:lnTo>
                    <a:pt x="92" y="411"/>
                  </a:lnTo>
                  <a:lnTo>
                    <a:pt x="92" y="411"/>
                  </a:lnTo>
                  <a:lnTo>
                    <a:pt x="92" y="408"/>
                  </a:lnTo>
                  <a:lnTo>
                    <a:pt x="92" y="408"/>
                  </a:lnTo>
                  <a:lnTo>
                    <a:pt x="92" y="408"/>
                  </a:lnTo>
                  <a:lnTo>
                    <a:pt x="92" y="408"/>
                  </a:lnTo>
                  <a:lnTo>
                    <a:pt x="92" y="408"/>
                  </a:lnTo>
                  <a:lnTo>
                    <a:pt x="92" y="406"/>
                  </a:lnTo>
                  <a:lnTo>
                    <a:pt x="92" y="406"/>
                  </a:lnTo>
                  <a:lnTo>
                    <a:pt x="90" y="408"/>
                  </a:lnTo>
                  <a:lnTo>
                    <a:pt x="90" y="406"/>
                  </a:lnTo>
                  <a:lnTo>
                    <a:pt x="87" y="408"/>
                  </a:lnTo>
                  <a:lnTo>
                    <a:pt x="87" y="406"/>
                  </a:lnTo>
                  <a:lnTo>
                    <a:pt x="90" y="406"/>
                  </a:lnTo>
                  <a:lnTo>
                    <a:pt x="87" y="404"/>
                  </a:lnTo>
                  <a:lnTo>
                    <a:pt x="87" y="406"/>
                  </a:lnTo>
                  <a:lnTo>
                    <a:pt x="85" y="406"/>
                  </a:lnTo>
                  <a:lnTo>
                    <a:pt x="85" y="404"/>
                  </a:lnTo>
                  <a:lnTo>
                    <a:pt x="85" y="404"/>
                  </a:lnTo>
                  <a:lnTo>
                    <a:pt x="85" y="406"/>
                  </a:lnTo>
                  <a:lnTo>
                    <a:pt x="83" y="406"/>
                  </a:lnTo>
                  <a:lnTo>
                    <a:pt x="85" y="408"/>
                  </a:lnTo>
                  <a:lnTo>
                    <a:pt x="83" y="408"/>
                  </a:lnTo>
                  <a:lnTo>
                    <a:pt x="83" y="408"/>
                  </a:lnTo>
                  <a:lnTo>
                    <a:pt x="83" y="406"/>
                  </a:lnTo>
                  <a:lnTo>
                    <a:pt x="83" y="404"/>
                  </a:lnTo>
                  <a:lnTo>
                    <a:pt x="80" y="404"/>
                  </a:lnTo>
                  <a:lnTo>
                    <a:pt x="80" y="404"/>
                  </a:lnTo>
                  <a:lnTo>
                    <a:pt x="80" y="404"/>
                  </a:lnTo>
                  <a:lnTo>
                    <a:pt x="80" y="404"/>
                  </a:lnTo>
                  <a:lnTo>
                    <a:pt x="78" y="401"/>
                  </a:lnTo>
                  <a:lnTo>
                    <a:pt x="78" y="401"/>
                  </a:lnTo>
                  <a:lnTo>
                    <a:pt x="75" y="399"/>
                  </a:lnTo>
                  <a:lnTo>
                    <a:pt x="75" y="399"/>
                  </a:lnTo>
                  <a:lnTo>
                    <a:pt x="73" y="399"/>
                  </a:lnTo>
                  <a:lnTo>
                    <a:pt x="73" y="401"/>
                  </a:lnTo>
                  <a:lnTo>
                    <a:pt x="71" y="401"/>
                  </a:lnTo>
                  <a:lnTo>
                    <a:pt x="71" y="399"/>
                  </a:lnTo>
                  <a:lnTo>
                    <a:pt x="68" y="399"/>
                  </a:lnTo>
                  <a:lnTo>
                    <a:pt x="66" y="399"/>
                  </a:lnTo>
                  <a:lnTo>
                    <a:pt x="66" y="401"/>
                  </a:lnTo>
                  <a:lnTo>
                    <a:pt x="66" y="404"/>
                  </a:lnTo>
                  <a:lnTo>
                    <a:pt x="66" y="404"/>
                  </a:lnTo>
                  <a:lnTo>
                    <a:pt x="66" y="406"/>
                  </a:lnTo>
                  <a:lnTo>
                    <a:pt x="64" y="404"/>
                  </a:lnTo>
                  <a:lnTo>
                    <a:pt x="61" y="399"/>
                  </a:lnTo>
                  <a:lnTo>
                    <a:pt x="61" y="397"/>
                  </a:lnTo>
                  <a:lnTo>
                    <a:pt x="66" y="392"/>
                  </a:lnTo>
                  <a:lnTo>
                    <a:pt x="66" y="390"/>
                  </a:lnTo>
                  <a:lnTo>
                    <a:pt x="64" y="390"/>
                  </a:lnTo>
                  <a:lnTo>
                    <a:pt x="64" y="390"/>
                  </a:lnTo>
                  <a:lnTo>
                    <a:pt x="59" y="392"/>
                  </a:lnTo>
                  <a:lnTo>
                    <a:pt x="57" y="394"/>
                  </a:lnTo>
                  <a:lnTo>
                    <a:pt x="57" y="394"/>
                  </a:lnTo>
                  <a:lnTo>
                    <a:pt x="54" y="394"/>
                  </a:lnTo>
                  <a:lnTo>
                    <a:pt x="52" y="394"/>
                  </a:lnTo>
                  <a:lnTo>
                    <a:pt x="52" y="397"/>
                  </a:lnTo>
                  <a:lnTo>
                    <a:pt x="52" y="397"/>
                  </a:lnTo>
                  <a:lnTo>
                    <a:pt x="54" y="399"/>
                  </a:lnTo>
                  <a:lnTo>
                    <a:pt x="54" y="399"/>
                  </a:lnTo>
                  <a:lnTo>
                    <a:pt x="57" y="401"/>
                  </a:lnTo>
                  <a:lnTo>
                    <a:pt x="54" y="401"/>
                  </a:lnTo>
                  <a:lnTo>
                    <a:pt x="52" y="401"/>
                  </a:lnTo>
                  <a:lnTo>
                    <a:pt x="49" y="399"/>
                  </a:lnTo>
                  <a:lnTo>
                    <a:pt x="47" y="399"/>
                  </a:lnTo>
                  <a:lnTo>
                    <a:pt x="47" y="399"/>
                  </a:lnTo>
                  <a:lnTo>
                    <a:pt x="47" y="401"/>
                  </a:lnTo>
                  <a:lnTo>
                    <a:pt x="45" y="401"/>
                  </a:lnTo>
                  <a:lnTo>
                    <a:pt x="45" y="401"/>
                  </a:lnTo>
                  <a:lnTo>
                    <a:pt x="42" y="397"/>
                  </a:lnTo>
                  <a:lnTo>
                    <a:pt x="40" y="397"/>
                  </a:lnTo>
                  <a:lnTo>
                    <a:pt x="35" y="399"/>
                  </a:lnTo>
                  <a:lnTo>
                    <a:pt x="33" y="404"/>
                  </a:lnTo>
                  <a:lnTo>
                    <a:pt x="33" y="404"/>
                  </a:lnTo>
                  <a:lnTo>
                    <a:pt x="31" y="401"/>
                  </a:lnTo>
                  <a:lnTo>
                    <a:pt x="28" y="404"/>
                  </a:lnTo>
                  <a:lnTo>
                    <a:pt x="28" y="404"/>
                  </a:lnTo>
                  <a:lnTo>
                    <a:pt x="28" y="406"/>
                  </a:lnTo>
                  <a:lnTo>
                    <a:pt x="28" y="408"/>
                  </a:lnTo>
                  <a:lnTo>
                    <a:pt x="23" y="411"/>
                  </a:lnTo>
                  <a:lnTo>
                    <a:pt x="23" y="416"/>
                  </a:lnTo>
                  <a:lnTo>
                    <a:pt x="23" y="416"/>
                  </a:lnTo>
                  <a:lnTo>
                    <a:pt x="23" y="416"/>
                  </a:lnTo>
                  <a:lnTo>
                    <a:pt x="21" y="411"/>
                  </a:lnTo>
                  <a:lnTo>
                    <a:pt x="19" y="408"/>
                  </a:lnTo>
                  <a:lnTo>
                    <a:pt x="16" y="406"/>
                  </a:lnTo>
                  <a:lnTo>
                    <a:pt x="14" y="404"/>
                  </a:lnTo>
                  <a:lnTo>
                    <a:pt x="12" y="406"/>
                  </a:lnTo>
                  <a:lnTo>
                    <a:pt x="9" y="406"/>
                  </a:lnTo>
                  <a:lnTo>
                    <a:pt x="9" y="404"/>
                  </a:lnTo>
                  <a:lnTo>
                    <a:pt x="9" y="404"/>
                  </a:lnTo>
                  <a:lnTo>
                    <a:pt x="9" y="401"/>
                  </a:lnTo>
                  <a:lnTo>
                    <a:pt x="7" y="401"/>
                  </a:lnTo>
                  <a:lnTo>
                    <a:pt x="7" y="401"/>
                  </a:lnTo>
                  <a:lnTo>
                    <a:pt x="2" y="401"/>
                  </a:lnTo>
                  <a:lnTo>
                    <a:pt x="2" y="394"/>
                  </a:lnTo>
                  <a:lnTo>
                    <a:pt x="2" y="392"/>
                  </a:lnTo>
                  <a:lnTo>
                    <a:pt x="2" y="387"/>
                  </a:lnTo>
                  <a:lnTo>
                    <a:pt x="0" y="385"/>
                  </a:lnTo>
                  <a:lnTo>
                    <a:pt x="0" y="385"/>
                  </a:lnTo>
                  <a:lnTo>
                    <a:pt x="0" y="382"/>
                  </a:lnTo>
                  <a:lnTo>
                    <a:pt x="0" y="382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 cap="flat">
              <a:solidFill>
                <a:schemeClr val="bg2">
                  <a:lumMod val="7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>
                <a:solidFill>
                  <a:srgbClr val="000000"/>
                </a:solidFill>
              </a:endParaRPr>
            </a:p>
          </p:txBody>
        </p:sp>
        <p:sp>
          <p:nvSpPr>
            <p:cNvPr id="81" name="Freeform 31"/>
            <p:cNvSpPr>
              <a:spLocks/>
            </p:cNvSpPr>
            <p:nvPr/>
          </p:nvSpPr>
          <p:spPr bwMode="gray">
            <a:xfrm>
              <a:off x="1860936" y="5937325"/>
              <a:ext cx="815317" cy="763332"/>
            </a:xfrm>
            <a:custGeom>
              <a:avLst/>
              <a:gdLst/>
              <a:ahLst/>
              <a:cxnLst>
                <a:cxn ang="0">
                  <a:pos x="127" y="274"/>
                </a:cxn>
                <a:cxn ang="0">
                  <a:pos x="210" y="196"/>
                </a:cxn>
                <a:cxn ang="0">
                  <a:pos x="238" y="156"/>
                </a:cxn>
                <a:cxn ang="0">
                  <a:pos x="279" y="133"/>
                </a:cxn>
                <a:cxn ang="0">
                  <a:pos x="321" y="100"/>
                </a:cxn>
                <a:cxn ang="0">
                  <a:pos x="357" y="64"/>
                </a:cxn>
                <a:cxn ang="0">
                  <a:pos x="394" y="55"/>
                </a:cxn>
                <a:cxn ang="0">
                  <a:pos x="430" y="45"/>
                </a:cxn>
                <a:cxn ang="0">
                  <a:pos x="468" y="15"/>
                </a:cxn>
                <a:cxn ang="0">
                  <a:pos x="505" y="12"/>
                </a:cxn>
                <a:cxn ang="0">
                  <a:pos x="538" y="3"/>
                </a:cxn>
                <a:cxn ang="0">
                  <a:pos x="567" y="8"/>
                </a:cxn>
                <a:cxn ang="0">
                  <a:pos x="588" y="15"/>
                </a:cxn>
                <a:cxn ang="0">
                  <a:pos x="621" y="17"/>
                </a:cxn>
                <a:cxn ang="0">
                  <a:pos x="657" y="24"/>
                </a:cxn>
                <a:cxn ang="0">
                  <a:pos x="678" y="31"/>
                </a:cxn>
                <a:cxn ang="0">
                  <a:pos x="697" y="31"/>
                </a:cxn>
                <a:cxn ang="0">
                  <a:pos x="716" y="43"/>
                </a:cxn>
                <a:cxn ang="0">
                  <a:pos x="744" y="57"/>
                </a:cxn>
                <a:cxn ang="0">
                  <a:pos x="770" y="57"/>
                </a:cxn>
                <a:cxn ang="0">
                  <a:pos x="796" y="71"/>
                </a:cxn>
                <a:cxn ang="0">
                  <a:pos x="831" y="97"/>
                </a:cxn>
                <a:cxn ang="0">
                  <a:pos x="857" y="128"/>
                </a:cxn>
                <a:cxn ang="0">
                  <a:pos x="881" y="154"/>
                </a:cxn>
                <a:cxn ang="0">
                  <a:pos x="923" y="178"/>
                </a:cxn>
                <a:cxn ang="0">
                  <a:pos x="947" y="180"/>
                </a:cxn>
                <a:cxn ang="0">
                  <a:pos x="973" y="178"/>
                </a:cxn>
                <a:cxn ang="0">
                  <a:pos x="994" y="182"/>
                </a:cxn>
                <a:cxn ang="0">
                  <a:pos x="1006" y="196"/>
                </a:cxn>
                <a:cxn ang="0">
                  <a:pos x="992" y="211"/>
                </a:cxn>
                <a:cxn ang="0">
                  <a:pos x="978" y="220"/>
                </a:cxn>
                <a:cxn ang="0">
                  <a:pos x="978" y="237"/>
                </a:cxn>
                <a:cxn ang="0">
                  <a:pos x="975" y="256"/>
                </a:cxn>
                <a:cxn ang="0">
                  <a:pos x="968" y="267"/>
                </a:cxn>
                <a:cxn ang="0">
                  <a:pos x="959" y="277"/>
                </a:cxn>
                <a:cxn ang="0">
                  <a:pos x="949" y="284"/>
                </a:cxn>
                <a:cxn ang="0">
                  <a:pos x="966" y="296"/>
                </a:cxn>
                <a:cxn ang="0">
                  <a:pos x="987" y="282"/>
                </a:cxn>
                <a:cxn ang="0">
                  <a:pos x="1004" y="296"/>
                </a:cxn>
                <a:cxn ang="0">
                  <a:pos x="883" y="508"/>
                </a:cxn>
                <a:cxn ang="0">
                  <a:pos x="692" y="671"/>
                </a:cxn>
                <a:cxn ang="0">
                  <a:pos x="534" y="865"/>
                </a:cxn>
                <a:cxn ang="0">
                  <a:pos x="569" y="749"/>
                </a:cxn>
                <a:cxn ang="0">
                  <a:pos x="531" y="709"/>
                </a:cxn>
                <a:cxn ang="0">
                  <a:pos x="503" y="676"/>
                </a:cxn>
                <a:cxn ang="0">
                  <a:pos x="484" y="650"/>
                </a:cxn>
                <a:cxn ang="0">
                  <a:pos x="460" y="631"/>
                </a:cxn>
                <a:cxn ang="0">
                  <a:pos x="404" y="589"/>
                </a:cxn>
                <a:cxn ang="0">
                  <a:pos x="354" y="567"/>
                </a:cxn>
                <a:cxn ang="0">
                  <a:pos x="335" y="548"/>
                </a:cxn>
                <a:cxn ang="0">
                  <a:pos x="305" y="546"/>
                </a:cxn>
                <a:cxn ang="0">
                  <a:pos x="290" y="520"/>
                </a:cxn>
                <a:cxn ang="0">
                  <a:pos x="267" y="496"/>
                </a:cxn>
                <a:cxn ang="0">
                  <a:pos x="248" y="506"/>
                </a:cxn>
                <a:cxn ang="0">
                  <a:pos x="217" y="522"/>
                </a:cxn>
                <a:cxn ang="0">
                  <a:pos x="203" y="482"/>
                </a:cxn>
                <a:cxn ang="0">
                  <a:pos x="179" y="459"/>
                </a:cxn>
                <a:cxn ang="0">
                  <a:pos x="160" y="447"/>
                </a:cxn>
                <a:cxn ang="0">
                  <a:pos x="137" y="421"/>
                </a:cxn>
                <a:cxn ang="0">
                  <a:pos x="108" y="402"/>
                </a:cxn>
                <a:cxn ang="0">
                  <a:pos x="73" y="393"/>
                </a:cxn>
                <a:cxn ang="0">
                  <a:pos x="49" y="416"/>
                </a:cxn>
                <a:cxn ang="0">
                  <a:pos x="5" y="407"/>
                </a:cxn>
              </a:cxnLst>
              <a:rect l="0" t="0" r="r" b="b"/>
              <a:pathLst>
                <a:path w="1009" h="872">
                  <a:moveTo>
                    <a:pt x="40" y="378"/>
                  </a:moveTo>
                  <a:lnTo>
                    <a:pt x="42" y="374"/>
                  </a:lnTo>
                  <a:lnTo>
                    <a:pt x="40" y="367"/>
                  </a:lnTo>
                  <a:lnTo>
                    <a:pt x="40" y="367"/>
                  </a:lnTo>
                  <a:lnTo>
                    <a:pt x="45" y="359"/>
                  </a:lnTo>
                  <a:lnTo>
                    <a:pt x="52" y="355"/>
                  </a:lnTo>
                  <a:lnTo>
                    <a:pt x="54" y="352"/>
                  </a:lnTo>
                  <a:lnTo>
                    <a:pt x="61" y="352"/>
                  </a:lnTo>
                  <a:lnTo>
                    <a:pt x="66" y="352"/>
                  </a:lnTo>
                  <a:lnTo>
                    <a:pt x="66" y="350"/>
                  </a:lnTo>
                  <a:lnTo>
                    <a:pt x="71" y="348"/>
                  </a:lnTo>
                  <a:lnTo>
                    <a:pt x="75" y="343"/>
                  </a:lnTo>
                  <a:lnTo>
                    <a:pt x="83" y="333"/>
                  </a:lnTo>
                  <a:lnTo>
                    <a:pt x="87" y="329"/>
                  </a:lnTo>
                  <a:lnTo>
                    <a:pt x="90" y="326"/>
                  </a:lnTo>
                  <a:lnTo>
                    <a:pt x="94" y="319"/>
                  </a:lnTo>
                  <a:lnTo>
                    <a:pt x="99" y="317"/>
                  </a:lnTo>
                  <a:lnTo>
                    <a:pt x="104" y="315"/>
                  </a:lnTo>
                  <a:lnTo>
                    <a:pt x="106" y="312"/>
                  </a:lnTo>
                  <a:lnTo>
                    <a:pt x="108" y="312"/>
                  </a:lnTo>
                  <a:lnTo>
                    <a:pt x="111" y="308"/>
                  </a:lnTo>
                  <a:lnTo>
                    <a:pt x="111" y="305"/>
                  </a:lnTo>
                  <a:lnTo>
                    <a:pt x="111" y="303"/>
                  </a:lnTo>
                  <a:lnTo>
                    <a:pt x="111" y="300"/>
                  </a:lnTo>
                  <a:lnTo>
                    <a:pt x="113" y="298"/>
                  </a:lnTo>
                  <a:lnTo>
                    <a:pt x="118" y="298"/>
                  </a:lnTo>
                  <a:lnTo>
                    <a:pt x="120" y="298"/>
                  </a:lnTo>
                  <a:lnTo>
                    <a:pt x="125" y="286"/>
                  </a:lnTo>
                  <a:lnTo>
                    <a:pt x="127" y="284"/>
                  </a:lnTo>
                  <a:lnTo>
                    <a:pt x="125" y="282"/>
                  </a:lnTo>
                  <a:lnTo>
                    <a:pt x="127" y="274"/>
                  </a:lnTo>
                  <a:lnTo>
                    <a:pt x="132" y="272"/>
                  </a:lnTo>
                  <a:lnTo>
                    <a:pt x="134" y="265"/>
                  </a:lnTo>
                  <a:lnTo>
                    <a:pt x="137" y="265"/>
                  </a:lnTo>
                  <a:lnTo>
                    <a:pt x="142" y="265"/>
                  </a:lnTo>
                  <a:lnTo>
                    <a:pt x="144" y="263"/>
                  </a:lnTo>
                  <a:lnTo>
                    <a:pt x="146" y="263"/>
                  </a:lnTo>
                  <a:lnTo>
                    <a:pt x="153" y="260"/>
                  </a:lnTo>
                  <a:lnTo>
                    <a:pt x="156" y="260"/>
                  </a:lnTo>
                  <a:lnTo>
                    <a:pt x="156" y="256"/>
                  </a:lnTo>
                  <a:lnTo>
                    <a:pt x="158" y="253"/>
                  </a:lnTo>
                  <a:lnTo>
                    <a:pt x="156" y="251"/>
                  </a:lnTo>
                  <a:lnTo>
                    <a:pt x="156" y="246"/>
                  </a:lnTo>
                  <a:lnTo>
                    <a:pt x="158" y="246"/>
                  </a:lnTo>
                  <a:lnTo>
                    <a:pt x="160" y="244"/>
                  </a:lnTo>
                  <a:lnTo>
                    <a:pt x="165" y="244"/>
                  </a:lnTo>
                  <a:lnTo>
                    <a:pt x="168" y="241"/>
                  </a:lnTo>
                  <a:lnTo>
                    <a:pt x="170" y="237"/>
                  </a:lnTo>
                  <a:lnTo>
                    <a:pt x="172" y="237"/>
                  </a:lnTo>
                  <a:lnTo>
                    <a:pt x="172" y="232"/>
                  </a:lnTo>
                  <a:lnTo>
                    <a:pt x="170" y="227"/>
                  </a:lnTo>
                  <a:lnTo>
                    <a:pt x="172" y="225"/>
                  </a:lnTo>
                  <a:lnTo>
                    <a:pt x="172" y="222"/>
                  </a:lnTo>
                  <a:lnTo>
                    <a:pt x="175" y="220"/>
                  </a:lnTo>
                  <a:lnTo>
                    <a:pt x="184" y="220"/>
                  </a:lnTo>
                  <a:lnTo>
                    <a:pt x="189" y="218"/>
                  </a:lnTo>
                  <a:lnTo>
                    <a:pt x="191" y="213"/>
                  </a:lnTo>
                  <a:lnTo>
                    <a:pt x="194" y="211"/>
                  </a:lnTo>
                  <a:lnTo>
                    <a:pt x="203" y="201"/>
                  </a:lnTo>
                  <a:lnTo>
                    <a:pt x="208" y="199"/>
                  </a:lnTo>
                  <a:lnTo>
                    <a:pt x="208" y="199"/>
                  </a:lnTo>
                  <a:lnTo>
                    <a:pt x="210" y="196"/>
                  </a:lnTo>
                  <a:lnTo>
                    <a:pt x="208" y="194"/>
                  </a:lnTo>
                  <a:lnTo>
                    <a:pt x="205" y="192"/>
                  </a:lnTo>
                  <a:lnTo>
                    <a:pt x="205" y="189"/>
                  </a:lnTo>
                  <a:lnTo>
                    <a:pt x="205" y="189"/>
                  </a:lnTo>
                  <a:lnTo>
                    <a:pt x="208" y="187"/>
                  </a:lnTo>
                  <a:lnTo>
                    <a:pt x="210" y="185"/>
                  </a:lnTo>
                  <a:lnTo>
                    <a:pt x="215" y="185"/>
                  </a:lnTo>
                  <a:lnTo>
                    <a:pt x="220" y="182"/>
                  </a:lnTo>
                  <a:lnTo>
                    <a:pt x="224" y="182"/>
                  </a:lnTo>
                  <a:lnTo>
                    <a:pt x="224" y="182"/>
                  </a:lnTo>
                  <a:lnTo>
                    <a:pt x="224" y="180"/>
                  </a:lnTo>
                  <a:lnTo>
                    <a:pt x="222" y="175"/>
                  </a:lnTo>
                  <a:lnTo>
                    <a:pt x="222" y="173"/>
                  </a:lnTo>
                  <a:lnTo>
                    <a:pt x="222" y="173"/>
                  </a:lnTo>
                  <a:lnTo>
                    <a:pt x="224" y="168"/>
                  </a:lnTo>
                  <a:lnTo>
                    <a:pt x="229" y="166"/>
                  </a:lnTo>
                  <a:lnTo>
                    <a:pt x="231" y="168"/>
                  </a:lnTo>
                  <a:lnTo>
                    <a:pt x="238" y="168"/>
                  </a:lnTo>
                  <a:lnTo>
                    <a:pt x="243" y="168"/>
                  </a:lnTo>
                  <a:lnTo>
                    <a:pt x="243" y="171"/>
                  </a:lnTo>
                  <a:lnTo>
                    <a:pt x="243" y="173"/>
                  </a:lnTo>
                  <a:lnTo>
                    <a:pt x="245" y="173"/>
                  </a:lnTo>
                  <a:lnTo>
                    <a:pt x="245" y="175"/>
                  </a:lnTo>
                  <a:lnTo>
                    <a:pt x="248" y="175"/>
                  </a:lnTo>
                  <a:lnTo>
                    <a:pt x="248" y="173"/>
                  </a:lnTo>
                  <a:lnTo>
                    <a:pt x="248" y="171"/>
                  </a:lnTo>
                  <a:lnTo>
                    <a:pt x="250" y="163"/>
                  </a:lnTo>
                  <a:lnTo>
                    <a:pt x="250" y="163"/>
                  </a:lnTo>
                  <a:lnTo>
                    <a:pt x="245" y="161"/>
                  </a:lnTo>
                  <a:lnTo>
                    <a:pt x="243" y="159"/>
                  </a:lnTo>
                  <a:lnTo>
                    <a:pt x="238" y="156"/>
                  </a:lnTo>
                  <a:lnTo>
                    <a:pt x="236" y="154"/>
                  </a:lnTo>
                  <a:lnTo>
                    <a:pt x="238" y="152"/>
                  </a:lnTo>
                  <a:lnTo>
                    <a:pt x="243" y="149"/>
                  </a:lnTo>
                  <a:lnTo>
                    <a:pt x="248" y="149"/>
                  </a:lnTo>
                  <a:lnTo>
                    <a:pt x="253" y="145"/>
                  </a:lnTo>
                  <a:lnTo>
                    <a:pt x="253" y="145"/>
                  </a:lnTo>
                  <a:lnTo>
                    <a:pt x="255" y="142"/>
                  </a:lnTo>
                  <a:lnTo>
                    <a:pt x="255" y="142"/>
                  </a:lnTo>
                  <a:lnTo>
                    <a:pt x="257" y="142"/>
                  </a:lnTo>
                  <a:lnTo>
                    <a:pt x="255" y="140"/>
                  </a:lnTo>
                  <a:lnTo>
                    <a:pt x="257" y="140"/>
                  </a:lnTo>
                  <a:lnTo>
                    <a:pt x="257" y="137"/>
                  </a:lnTo>
                  <a:lnTo>
                    <a:pt x="257" y="137"/>
                  </a:lnTo>
                  <a:lnTo>
                    <a:pt x="257" y="135"/>
                  </a:lnTo>
                  <a:lnTo>
                    <a:pt x="260" y="135"/>
                  </a:lnTo>
                  <a:lnTo>
                    <a:pt x="262" y="135"/>
                  </a:lnTo>
                  <a:lnTo>
                    <a:pt x="262" y="137"/>
                  </a:lnTo>
                  <a:lnTo>
                    <a:pt x="262" y="137"/>
                  </a:lnTo>
                  <a:lnTo>
                    <a:pt x="262" y="140"/>
                  </a:lnTo>
                  <a:lnTo>
                    <a:pt x="264" y="142"/>
                  </a:lnTo>
                  <a:lnTo>
                    <a:pt x="264" y="142"/>
                  </a:lnTo>
                  <a:lnTo>
                    <a:pt x="267" y="140"/>
                  </a:lnTo>
                  <a:lnTo>
                    <a:pt x="267" y="137"/>
                  </a:lnTo>
                  <a:lnTo>
                    <a:pt x="267" y="137"/>
                  </a:lnTo>
                  <a:lnTo>
                    <a:pt x="267" y="135"/>
                  </a:lnTo>
                  <a:lnTo>
                    <a:pt x="271" y="135"/>
                  </a:lnTo>
                  <a:lnTo>
                    <a:pt x="271" y="133"/>
                  </a:lnTo>
                  <a:lnTo>
                    <a:pt x="274" y="130"/>
                  </a:lnTo>
                  <a:lnTo>
                    <a:pt x="274" y="130"/>
                  </a:lnTo>
                  <a:lnTo>
                    <a:pt x="276" y="133"/>
                  </a:lnTo>
                  <a:lnTo>
                    <a:pt x="279" y="133"/>
                  </a:lnTo>
                  <a:lnTo>
                    <a:pt x="279" y="133"/>
                  </a:lnTo>
                  <a:lnTo>
                    <a:pt x="281" y="130"/>
                  </a:lnTo>
                  <a:lnTo>
                    <a:pt x="283" y="128"/>
                  </a:lnTo>
                  <a:lnTo>
                    <a:pt x="288" y="126"/>
                  </a:lnTo>
                  <a:lnTo>
                    <a:pt x="290" y="123"/>
                  </a:lnTo>
                  <a:lnTo>
                    <a:pt x="290" y="123"/>
                  </a:lnTo>
                  <a:lnTo>
                    <a:pt x="288" y="119"/>
                  </a:lnTo>
                  <a:lnTo>
                    <a:pt x="286" y="119"/>
                  </a:lnTo>
                  <a:lnTo>
                    <a:pt x="286" y="119"/>
                  </a:lnTo>
                  <a:lnTo>
                    <a:pt x="288" y="116"/>
                  </a:lnTo>
                  <a:lnTo>
                    <a:pt x="293" y="116"/>
                  </a:lnTo>
                  <a:lnTo>
                    <a:pt x="293" y="116"/>
                  </a:lnTo>
                  <a:lnTo>
                    <a:pt x="293" y="111"/>
                  </a:lnTo>
                  <a:lnTo>
                    <a:pt x="295" y="109"/>
                  </a:lnTo>
                  <a:lnTo>
                    <a:pt x="295" y="109"/>
                  </a:lnTo>
                  <a:lnTo>
                    <a:pt x="297" y="109"/>
                  </a:lnTo>
                  <a:lnTo>
                    <a:pt x="300" y="111"/>
                  </a:lnTo>
                  <a:lnTo>
                    <a:pt x="302" y="111"/>
                  </a:lnTo>
                  <a:lnTo>
                    <a:pt x="302" y="109"/>
                  </a:lnTo>
                  <a:lnTo>
                    <a:pt x="307" y="104"/>
                  </a:lnTo>
                  <a:lnTo>
                    <a:pt x="312" y="100"/>
                  </a:lnTo>
                  <a:lnTo>
                    <a:pt x="312" y="100"/>
                  </a:lnTo>
                  <a:lnTo>
                    <a:pt x="314" y="102"/>
                  </a:lnTo>
                  <a:lnTo>
                    <a:pt x="316" y="104"/>
                  </a:lnTo>
                  <a:lnTo>
                    <a:pt x="319" y="107"/>
                  </a:lnTo>
                  <a:lnTo>
                    <a:pt x="319" y="107"/>
                  </a:lnTo>
                  <a:lnTo>
                    <a:pt x="319" y="107"/>
                  </a:lnTo>
                  <a:lnTo>
                    <a:pt x="321" y="104"/>
                  </a:lnTo>
                  <a:lnTo>
                    <a:pt x="319" y="102"/>
                  </a:lnTo>
                  <a:lnTo>
                    <a:pt x="321" y="100"/>
                  </a:lnTo>
                  <a:lnTo>
                    <a:pt x="321" y="100"/>
                  </a:lnTo>
                  <a:lnTo>
                    <a:pt x="326" y="100"/>
                  </a:lnTo>
                  <a:lnTo>
                    <a:pt x="328" y="100"/>
                  </a:lnTo>
                  <a:lnTo>
                    <a:pt x="331" y="102"/>
                  </a:lnTo>
                  <a:lnTo>
                    <a:pt x="333" y="100"/>
                  </a:lnTo>
                  <a:lnTo>
                    <a:pt x="333" y="97"/>
                  </a:lnTo>
                  <a:lnTo>
                    <a:pt x="331" y="97"/>
                  </a:lnTo>
                  <a:lnTo>
                    <a:pt x="326" y="95"/>
                  </a:lnTo>
                  <a:lnTo>
                    <a:pt x="326" y="93"/>
                  </a:lnTo>
                  <a:lnTo>
                    <a:pt x="326" y="90"/>
                  </a:lnTo>
                  <a:lnTo>
                    <a:pt x="326" y="90"/>
                  </a:lnTo>
                  <a:lnTo>
                    <a:pt x="328" y="90"/>
                  </a:lnTo>
                  <a:lnTo>
                    <a:pt x="333" y="93"/>
                  </a:lnTo>
                  <a:lnTo>
                    <a:pt x="335" y="95"/>
                  </a:lnTo>
                  <a:lnTo>
                    <a:pt x="335" y="93"/>
                  </a:lnTo>
                  <a:lnTo>
                    <a:pt x="338" y="90"/>
                  </a:lnTo>
                  <a:lnTo>
                    <a:pt x="338" y="90"/>
                  </a:lnTo>
                  <a:lnTo>
                    <a:pt x="340" y="90"/>
                  </a:lnTo>
                  <a:lnTo>
                    <a:pt x="342" y="90"/>
                  </a:lnTo>
                  <a:lnTo>
                    <a:pt x="345" y="90"/>
                  </a:lnTo>
                  <a:lnTo>
                    <a:pt x="345" y="88"/>
                  </a:lnTo>
                  <a:lnTo>
                    <a:pt x="345" y="88"/>
                  </a:lnTo>
                  <a:lnTo>
                    <a:pt x="347" y="85"/>
                  </a:lnTo>
                  <a:lnTo>
                    <a:pt x="347" y="81"/>
                  </a:lnTo>
                  <a:lnTo>
                    <a:pt x="347" y="76"/>
                  </a:lnTo>
                  <a:lnTo>
                    <a:pt x="347" y="74"/>
                  </a:lnTo>
                  <a:lnTo>
                    <a:pt x="349" y="71"/>
                  </a:lnTo>
                  <a:lnTo>
                    <a:pt x="349" y="71"/>
                  </a:lnTo>
                  <a:lnTo>
                    <a:pt x="354" y="71"/>
                  </a:lnTo>
                  <a:lnTo>
                    <a:pt x="354" y="71"/>
                  </a:lnTo>
                  <a:lnTo>
                    <a:pt x="357" y="69"/>
                  </a:lnTo>
                  <a:lnTo>
                    <a:pt x="357" y="64"/>
                  </a:lnTo>
                  <a:lnTo>
                    <a:pt x="359" y="59"/>
                  </a:lnTo>
                  <a:lnTo>
                    <a:pt x="359" y="59"/>
                  </a:lnTo>
                  <a:lnTo>
                    <a:pt x="361" y="59"/>
                  </a:lnTo>
                  <a:lnTo>
                    <a:pt x="364" y="64"/>
                  </a:lnTo>
                  <a:lnTo>
                    <a:pt x="364" y="64"/>
                  </a:lnTo>
                  <a:lnTo>
                    <a:pt x="366" y="64"/>
                  </a:lnTo>
                  <a:lnTo>
                    <a:pt x="366" y="64"/>
                  </a:lnTo>
                  <a:lnTo>
                    <a:pt x="366" y="64"/>
                  </a:lnTo>
                  <a:lnTo>
                    <a:pt x="368" y="62"/>
                  </a:lnTo>
                  <a:lnTo>
                    <a:pt x="371" y="62"/>
                  </a:lnTo>
                  <a:lnTo>
                    <a:pt x="375" y="64"/>
                  </a:lnTo>
                  <a:lnTo>
                    <a:pt x="378" y="64"/>
                  </a:lnTo>
                  <a:lnTo>
                    <a:pt x="378" y="62"/>
                  </a:lnTo>
                  <a:lnTo>
                    <a:pt x="375" y="59"/>
                  </a:lnTo>
                  <a:lnTo>
                    <a:pt x="375" y="57"/>
                  </a:lnTo>
                  <a:lnTo>
                    <a:pt x="378" y="55"/>
                  </a:lnTo>
                  <a:lnTo>
                    <a:pt x="378" y="55"/>
                  </a:lnTo>
                  <a:lnTo>
                    <a:pt x="380" y="55"/>
                  </a:lnTo>
                  <a:lnTo>
                    <a:pt x="380" y="59"/>
                  </a:lnTo>
                  <a:lnTo>
                    <a:pt x="383" y="59"/>
                  </a:lnTo>
                  <a:lnTo>
                    <a:pt x="383" y="59"/>
                  </a:lnTo>
                  <a:lnTo>
                    <a:pt x="385" y="59"/>
                  </a:lnTo>
                  <a:lnTo>
                    <a:pt x="385" y="55"/>
                  </a:lnTo>
                  <a:lnTo>
                    <a:pt x="387" y="52"/>
                  </a:lnTo>
                  <a:lnTo>
                    <a:pt x="387" y="50"/>
                  </a:lnTo>
                  <a:lnTo>
                    <a:pt x="390" y="48"/>
                  </a:lnTo>
                  <a:lnTo>
                    <a:pt x="390" y="48"/>
                  </a:lnTo>
                  <a:lnTo>
                    <a:pt x="390" y="50"/>
                  </a:lnTo>
                  <a:lnTo>
                    <a:pt x="392" y="52"/>
                  </a:lnTo>
                  <a:lnTo>
                    <a:pt x="394" y="55"/>
                  </a:lnTo>
                  <a:lnTo>
                    <a:pt x="394" y="55"/>
                  </a:lnTo>
                  <a:lnTo>
                    <a:pt x="397" y="55"/>
                  </a:lnTo>
                  <a:lnTo>
                    <a:pt x="399" y="52"/>
                  </a:lnTo>
                  <a:lnTo>
                    <a:pt x="399" y="52"/>
                  </a:lnTo>
                  <a:lnTo>
                    <a:pt x="401" y="52"/>
                  </a:lnTo>
                  <a:lnTo>
                    <a:pt x="404" y="52"/>
                  </a:lnTo>
                  <a:lnTo>
                    <a:pt x="406" y="50"/>
                  </a:lnTo>
                  <a:lnTo>
                    <a:pt x="406" y="50"/>
                  </a:lnTo>
                  <a:lnTo>
                    <a:pt x="406" y="48"/>
                  </a:lnTo>
                  <a:lnTo>
                    <a:pt x="404" y="45"/>
                  </a:lnTo>
                  <a:lnTo>
                    <a:pt x="404" y="45"/>
                  </a:lnTo>
                  <a:lnTo>
                    <a:pt x="404" y="45"/>
                  </a:lnTo>
                  <a:lnTo>
                    <a:pt x="408" y="45"/>
                  </a:lnTo>
                  <a:lnTo>
                    <a:pt x="408" y="43"/>
                  </a:lnTo>
                  <a:lnTo>
                    <a:pt x="411" y="43"/>
                  </a:lnTo>
                  <a:lnTo>
                    <a:pt x="411" y="43"/>
                  </a:lnTo>
                  <a:lnTo>
                    <a:pt x="413" y="43"/>
                  </a:lnTo>
                  <a:lnTo>
                    <a:pt x="413" y="45"/>
                  </a:lnTo>
                  <a:lnTo>
                    <a:pt x="416" y="48"/>
                  </a:lnTo>
                  <a:lnTo>
                    <a:pt x="418" y="50"/>
                  </a:lnTo>
                  <a:lnTo>
                    <a:pt x="418" y="50"/>
                  </a:lnTo>
                  <a:lnTo>
                    <a:pt x="420" y="50"/>
                  </a:lnTo>
                  <a:lnTo>
                    <a:pt x="420" y="48"/>
                  </a:lnTo>
                  <a:lnTo>
                    <a:pt x="420" y="45"/>
                  </a:lnTo>
                  <a:lnTo>
                    <a:pt x="420" y="43"/>
                  </a:lnTo>
                  <a:lnTo>
                    <a:pt x="420" y="43"/>
                  </a:lnTo>
                  <a:lnTo>
                    <a:pt x="420" y="43"/>
                  </a:lnTo>
                  <a:lnTo>
                    <a:pt x="423" y="43"/>
                  </a:lnTo>
                  <a:lnTo>
                    <a:pt x="423" y="45"/>
                  </a:lnTo>
                  <a:lnTo>
                    <a:pt x="425" y="48"/>
                  </a:lnTo>
                  <a:lnTo>
                    <a:pt x="427" y="48"/>
                  </a:lnTo>
                  <a:lnTo>
                    <a:pt x="430" y="45"/>
                  </a:lnTo>
                  <a:lnTo>
                    <a:pt x="430" y="43"/>
                  </a:lnTo>
                  <a:lnTo>
                    <a:pt x="430" y="41"/>
                  </a:lnTo>
                  <a:lnTo>
                    <a:pt x="430" y="41"/>
                  </a:lnTo>
                  <a:lnTo>
                    <a:pt x="432" y="41"/>
                  </a:lnTo>
                  <a:lnTo>
                    <a:pt x="434" y="41"/>
                  </a:lnTo>
                  <a:lnTo>
                    <a:pt x="437" y="38"/>
                  </a:lnTo>
                  <a:lnTo>
                    <a:pt x="437" y="36"/>
                  </a:lnTo>
                  <a:lnTo>
                    <a:pt x="437" y="33"/>
                  </a:lnTo>
                  <a:lnTo>
                    <a:pt x="437" y="31"/>
                  </a:lnTo>
                  <a:lnTo>
                    <a:pt x="439" y="29"/>
                  </a:lnTo>
                  <a:lnTo>
                    <a:pt x="439" y="26"/>
                  </a:lnTo>
                  <a:lnTo>
                    <a:pt x="439" y="24"/>
                  </a:lnTo>
                  <a:lnTo>
                    <a:pt x="442" y="22"/>
                  </a:lnTo>
                  <a:lnTo>
                    <a:pt x="442" y="22"/>
                  </a:lnTo>
                  <a:lnTo>
                    <a:pt x="442" y="24"/>
                  </a:lnTo>
                  <a:lnTo>
                    <a:pt x="442" y="24"/>
                  </a:lnTo>
                  <a:lnTo>
                    <a:pt x="442" y="26"/>
                  </a:lnTo>
                  <a:lnTo>
                    <a:pt x="444" y="29"/>
                  </a:lnTo>
                  <a:lnTo>
                    <a:pt x="446" y="29"/>
                  </a:lnTo>
                  <a:lnTo>
                    <a:pt x="449" y="29"/>
                  </a:lnTo>
                  <a:lnTo>
                    <a:pt x="449" y="29"/>
                  </a:lnTo>
                  <a:lnTo>
                    <a:pt x="453" y="29"/>
                  </a:lnTo>
                  <a:lnTo>
                    <a:pt x="453" y="26"/>
                  </a:lnTo>
                  <a:lnTo>
                    <a:pt x="456" y="24"/>
                  </a:lnTo>
                  <a:lnTo>
                    <a:pt x="458" y="22"/>
                  </a:lnTo>
                  <a:lnTo>
                    <a:pt x="460" y="19"/>
                  </a:lnTo>
                  <a:lnTo>
                    <a:pt x="460" y="17"/>
                  </a:lnTo>
                  <a:lnTo>
                    <a:pt x="460" y="15"/>
                  </a:lnTo>
                  <a:lnTo>
                    <a:pt x="465" y="15"/>
                  </a:lnTo>
                  <a:lnTo>
                    <a:pt x="465" y="15"/>
                  </a:lnTo>
                  <a:lnTo>
                    <a:pt x="468" y="15"/>
                  </a:lnTo>
                  <a:lnTo>
                    <a:pt x="468" y="12"/>
                  </a:lnTo>
                  <a:lnTo>
                    <a:pt x="468" y="10"/>
                  </a:lnTo>
                  <a:lnTo>
                    <a:pt x="468" y="10"/>
                  </a:lnTo>
                  <a:lnTo>
                    <a:pt x="470" y="10"/>
                  </a:lnTo>
                  <a:lnTo>
                    <a:pt x="472" y="10"/>
                  </a:lnTo>
                  <a:lnTo>
                    <a:pt x="472" y="12"/>
                  </a:lnTo>
                  <a:lnTo>
                    <a:pt x="475" y="12"/>
                  </a:lnTo>
                  <a:lnTo>
                    <a:pt x="477" y="10"/>
                  </a:lnTo>
                  <a:lnTo>
                    <a:pt x="477" y="8"/>
                  </a:lnTo>
                  <a:lnTo>
                    <a:pt x="477" y="5"/>
                  </a:lnTo>
                  <a:lnTo>
                    <a:pt x="482" y="5"/>
                  </a:lnTo>
                  <a:lnTo>
                    <a:pt x="482" y="10"/>
                  </a:lnTo>
                  <a:lnTo>
                    <a:pt x="484" y="12"/>
                  </a:lnTo>
                  <a:lnTo>
                    <a:pt x="484" y="12"/>
                  </a:lnTo>
                  <a:lnTo>
                    <a:pt x="484" y="12"/>
                  </a:lnTo>
                  <a:lnTo>
                    <a:pt x="486" y="12"/>
                  </a:lnTo>
                  <a:lnTo>
                    <a:pt x="486" y="12"/>
                  </a:lnTo>
                  <a:lnTo>
                    <a:pt x="486" y="12"/>
                  </a:lnTo>
                  <a:lnTo>
                    <a:pt x="491" y="8"/>
                  </a:lnTo>
                  <a:lnTo>
                    <a:pt x="494" y="10"/>
                  </a:lnTo>
                  <a:lnTo>
                    <a:pt x="494" y="15"/>
                  </a:lnTo>
                  <a:lnTo>
                    <a:pt x="496" y="15"/>
                  </a:lnTo>
                  <a:lnTo>
                    <a:pt x="498" y="12"/>
                  </a:lnTo>
                  <a:lnTo>
                    <a:pt x="498" y="12"/>
                  </a:lnTo>
                  <a:lnTo>
                    <a:pt x="501" y="12"/>
                  </a:lnTo>
                  <a:lnTo>
                    <a:pt x="501" y="12"/>
                  </a:lnTo>
                  <a:lnTo>
                    <a:pt x="503" y="10"/>
                  </a:lnTo>
                  <a:lnTo>
                    <a:pt x="503" y="10"/>
                  </a:lnTo>
                  <a:lnTo>
                    <a:pt x="505" y="10"/>
                  </a:lnTo>
                  <a:lnTo>
                    <a:pt x="505" y="12"/>
                  </a:lnTo>
                  <a:lnTo>
                    <a:pt x="505" y="12"/>
                  </a:lnTo>
                  <a:lnTo>
                    <a:pt x="508" y="12"/>
                  </a:lnTo>
                  <a:lnTo>
                    <a:pt x="508" y="15"/>
                  </a:lnTo>
                  <a:lnTo>
                    <a:pt x="508" y="17"/>
                  </a:lnTo>
                  <a:lnTo>
                    <a:pt x="508" y="17"/>
                  </a:lnTo>
                  <a:lnTo>
                    <a:pt x="510" y="17"/>
                  </a:lnTo>
                  <a:lnTo>
                    <a:pt x="510" y="15"/>
                  </a:lnTo>
                  <a:lnTo>
                    <a:pt x="512" y="15"/>
                  </a:lnTo>
                  <a:lnTo>
                    <a:pt x="512" y="15"/>
                  </a:lnTo>
                  <a:lnTo>
                    <a:pt x="515" y="15"/>
                  </a:lnTo>
                  <a:lnTo>
                    <a:pt x="517" y="12"/>
                  </a:lnTo>
                  <a:lnTo>
                    <a:pt x="520" y="12"/>
                  </a:lnTo>
                  <a:lnTo>
                    <a:pt x="520" y="12"/>
                  </a:lnTo>
                  <a:lnTo>
                    <a:pt x="522" y="15"/>
                  </a:lnTo>
                  <a:lnTo>
                    <a:pt x="524" y="15"/>
                  </a:lnTo>
                  <a:lnTo>
                    <a:pt x="524" y="15"/>
                  </a:lnTo>
                  <a:lnTo>
                    <a:pt x="527" y="15"/>
                  </a:lnTo>
                  <a:lnTo>
                    <a:pt x="527" y="15"/>
                  </a:lnTo>
                  <a:lnTo>
                    <a:pt x="527" y="12"/>
                  </a:lnTo>
                  <a:lnTo>
                    <a:pt x="527" y="12"/>
                  </a:lnTo>
                  <a:lnTo>
                    <a:pt x="524" y="10"/>
                  </a:lnTo>
                  <a:lnTo>
                    <a:pt x="524" y="10"/>
                  </a:lnTo>
                  <a:lnTo>
                    <a:pt x="524" y="8"/>
                  </a:lnTo>
                  <a:lnTo>
                    <a:pt x="524" y="8"/>
                  </a:lnTo>
                  <a:lnTo>
                    <a:pt x="527" y="8"/>
                  </a:lnTo>
                  <a:lnTo>
                    <a:pt x="527" y="8"/>
                  </a:lnTo>
                  <a:lnTo>
                    <a:pt x="529" y="8"/>
                  </a:lnTo>
                  <a:lnTo>
                    <a:pt x="529" y="8"/>
                  </a:lnTo>
                  <a:lnTo>
                    <a:pt x="531" y="10"/>
                  </a:lnTo>
                  <a:lnTo>
                    <a:pt x="538" y="8"/>
                  </a:lnTo>
                  <a:lnTo>
                    <a:pt x="538" y="5"/>
                  </a:lnTo>
                  <a:lnTo>
                    <a:pt x="538" y="3"/>
                  </a:lnTo>
                  <a:lnTo>
                    <a:pt x="541" y="3"/>
                  </a:lnTo>
                  <a:lnTo>
                    <a:pt x="541" y="3"/>
                  </a:lnTo>
                  <a:lnTo>
                    <a:pt x="543" y="0"/>
                  </a:lnTo>
                  <a:lnTo>
                    <a:pt x="543" y="3"/>
                  </a:lnTo>
                  <a:lnTo>
                    <a:pt x="543" y="3"/>
                  </a:lnTo>
                  <a:lnTo>
                    <a:pt x="546" y="5"/>
                  </a:lnTo>
                  <a:lnTo>
                    <a:pt x="546" y="5"/>
                  </a:lnTo>
                  <a:lnTo>
                    <a:pt x="548" y="5"/>
                  </a:lnTo>
                  <a:lnTo>
                    <a:pt x="548" y="5"/>
                  </a:lnTo>
                  <a:lnTo>
                    <a:pt x="550" y="5"/>
                  </a:lnTo>
                  <a:lnTo>
                    <a:pt x="550" y="5"/>
                  </a:lnTo>
                  <a:lnTo>
                    <a:pt x="550" y="5"/>
                  </a:lnTo>
                  <a:lnTo>
                    <a:pt x="553" y="5"/>
                  </a:lnTo>
                  <a:lnTo>
                    <a:pt x="553" y="8"/>
                  </a:lnTo>
                  <a:lnTo>
                    <a:pt x="553" y="8"/>
                  </a:lnTo>
                  <a:lnTo>
                    <a:pt x="553" y="8"/>
                  </a:lnTo>
                  <a:lnTo>
                    <a:pt x="550" y="10"/>
                  </a:lnTo>
                  <a:lnTo>
                    <a:pt x="548" y="15"/>
                  </a:lnTo>
                  <a:lnTo>
                    <a:pt x="548" y="15"/>
                  </a:lnTo>
                  <a:lnTo>
                    <a:pt x="548" y="17"/>
                  </a:lnTo>
                  <a:lnTo>
                    <a:pt x="548" y="17"/>
                  </a:lnTo>
                  <a:lnTo>
                    <a:pt x="550" y="17"/>
                  </a:lnTo>
                  <a:lnTo>
                    <a:pt x="550" y="17"/>
                  </a:lnTo>
                  <a:lnTo>
                    <a:pt x="553" y="15"/>
                  </a:lnTo>
                  <a:lnTo>
                    <a:pt x="557" y="12"/>
                  </a:lnTo>
                  <a:lnTo>
                    <a:pt x="560" y="12"/>
                  </a:lnTo>
                  <a:lnTo>
                    <a:pt x="560" y="12"/>
                  </a:lnTo>
                  <a:lnTo>
                    <a:pt x="564" y="15"/>
                  </a:lnTo>
                  <a:lnTo>
                    <a:pt x="567" y="15"/>
                  </a:lnTo>
                  <a:lnTo>
                    <a:pt x="567" y="12"/>
                  </a:lnTo>
                  <a:lnTo>
                    <a:pt x="567" y="8"/>
                  </a:lnTo>
                  <a:lnTo>
                    <a:pt x="567" y="8"/>
                  </a:lnTo>
                  <a:lnTo>
                    <a:pt x="569" y="8"/>
                  </a:lnTo>
                  <a:lnTo>
                    <a:pt x="569" y="8"/>
                  </a:lnTo>
                  <a:lnTo>
                    <a:pt x="569" y="8"/>
                  </a:lnTo>
                  <a:lnTo>
                    <a:pt x="571" y="12"/>
                  </a:lnTo>
                  <a:lnTo>
                    <a:pt x="571" y="12"/>
                  </a:lnTo>
                  <a:lnTo>
                    <a:pt x="574" y="12"/>
                  </a:lnTo>
                  <a:lnTo>
                    <a:pt x="576" y="12"/>
                  </a:lnTo>
                  <a:lnTo>
                    <a:pt x="581" y="10"/>
                  </a:lnTo>
                  <a:lnTo>
                    <a:pt x="581" y="8"/>
                  </a:lnTo>
                  <a:lnTo>
                    <a:pt x="581" y="8"/>
                  </a:lnTo>
                  <a:lnTo>
                    <a:pt x="579" y="5"/>
                  </a:lnTo>
                  <a:lnTo>
                    <a:pt x="579" y="3"/>
                  </a:lnTo>
                  <a:lnTo>
                    <a:pt x="579" y="3"/>
                  </a:lnTo>
                  <a:lnTo>
                    <a:pt x="583" y="0"/>
                  </a:lnTo>
                  <a:lnTo>
                    <a:pt x="583" y="0"/>
                  </a:lnTo>
                  <a:lnTo>
                    <a:pt x="586" y="0"/>
                  </a:lnTo>
                  <a:lnTo>
                    <a:pt x="586" y="0"/>
                  </a:lnTo>
                  <a:lnTo>
                    <a:pt x="588" y="0"/>
                  </a:lnTo>
                  <a:lnTo>
                    <a:pt x="586" y="3"/>
                  </a:lnTo>
                  <a:lnTo>
                    <a:pt x="583" y="5"/>
                  </a:lnTo>
                  <a:lnTo>
                    <a:pt x="583" y="8"/>
                  </a:lnTo>
                  <a:lnTo>
                    <a:pt x="586" y="10"/>
                  </a:lnTo>
                  <a:lnTo>
                    <a:pt x="586" y="10"/>
                  </a:lnTo>
                  <a:lnTo>
                    <a:pt x="588" y="8"/>
                  </a:lnTo>
                  <a:lnTo>
                    <a:pt x="590" y="8"/>
                  </a:lnTo>
                  <a:lnTo>
                    <a:pt x="590" y="8"/>
                  </a:lnTo>
                  <a:lnTo>
                    <a:pt x="593" y="8"/>
                  </a:lnTo>
                  <a:lnTo>
                    <a:pt x="593" y="10"/>
                  </a:lnTo>
                  <a:lnTo>
                    <a:pt x="590" y="12"/>
                  </a:lnTo>
                  <a:lnTo>
                    <a:pt x="588" y="15"/>
                  </a:lnTo>
                  <a:lnTo>
                    <a:pt x="588" y="17"/>
                  </a:lnTo>
                  <a:lnTo>
                    <a:pt x="590" y="17"/>
                  </a:lnTo>
                  <a:lnTo>
                    <a:pt x="590" y="17"/>
                  </a:lnTo>
                  <a:lnTo>
                    <a:pt x="593" y="17"/>
                  </a:lnTo>
                  <a:lnTo>
                    <a:pt x="593" y="17"/>
                  </a:lnTo>
                  <a:lnTo>
                    <a:pt x="593" y="12"/>
                  </a:lnTo>
                  <a:lnTo>
                    <a:pt x="595" y="10"/>
                  </a:lnTo>
                  <a:lnTo>
                    <a:pt x="595" y="10"/>
                  </a:lnTo>
                  <a:lnTo>
                    <a:pt x="597" y="12"/>
                  </a:lnTo>
                  <a:lnTo>
                    <a:pt x="597" y="15"/>
                  </a:lnTo>
                  <a:lnTo>
                    <a:pt x="597" y="15"/>
                  </a:lnTo>
                  <a:lnTo>
                    <a:pt x="600" y="15"/>
                  </a:lnTo>
                  <a:lnTo>
                    <a:pt x="602" y="15"/>
                  </a:lnTo>
                  <a:lnTo>
                    <a:pt x="605" y="15"/>
                  </a:lnTo>
                  <a:lnTo>
                    <a:pt x="605" y="12"/>
                  </a:lnTo>
                  <a:lnTo>
                    <a:pt x="607" y="12"/>
                  </a:lnTo>
                  <a:lnTo>
                    <a:pt x="607" y="12"/>
                  </a:lnTo>
                  <a:lnTo>
                    <a:pt x="609" y="12"/>
                  </a:lnTo>
                  <a:lnTo>
                    <a:pt x="609" y="15"/>
                  </a:lnTo>
                  <a:lnTo>
                    <a:pt x="609" y="17"/>
                  </a:lnTo>
                  <a:lnTo>
                    <a:pt x="609" y="17"/>
                  </a:lnTo>
                  <a:lnTo>
                    <a:pt x="612" y="17"/>
                  </a:lnTo>
                  <a:lnTo>
                    <a:pt x="612" y="15"/>
                  </a:lnTo>
                  <a:lnTo>
                    <a:pt x="614" y="15"/>
                  </a:lnTo>
                  <a:lnTo>
                    <a:pt x="614" y="15"/>
                  </a:lnTo>
                  <a:lnTo>
                    <a:pt x="616" y="15"/>
                  </a:lnTo>
                  <a:lnTo>
                    <a:pt x="616" y="17"/>
                  </a:lnTo>
                  <a:lnTo>
                    <a:pt x="619" y="17"/>
                  </a:lnTo>
                  <a:lnTo>
                    <a:pt x="619" y="17"/>
                  </a:lnTo>
                  <a:lnTo>
                    <a:pt x="619" y="17"/>
                  </a:lnTo>
                  <a:lnTo>
                    <a:pt x="621" y="17"/>
                  </a:lnTo>
                  <a:lnTo>
                    <a:pt x="621" y="17"/>
                  </a:lnTo>
                  <a:lnTo>
                    <a:pt x="619" y="22"/>
                  </a:lnTo>
                  <a:lnTo>
                    <a:pt x="619" y="22"/>
                  </a:lnTo>
                  <a:lnTo>
                    <a:pt x="621" y="22"/>
                  </a:lnTo>
                  <a:lnTo>
                    <a:pt x="621" y="24"/>
                  </a:lnTo>
                  <a:lnTo>
                    <a:pt x="621" y="22"/>
                  </a:lnTo>
                  <a:lnTo>
                    <a:pt x="623" y="22"/>
                  </a:lnTo>
                  <a:lnTo>
                    <a:pt x="623" y="19"/>
                  </a:lnTo>
                  <a:lnTo>
                    <a:pt x="626" y="19"/>
                  </a:lnTo>
                  <a:lnTo>
                    <a:pt x="626" y="22"/>
                  </a:lnTo>
                  <a:lnTo>
                    <a:pt x="626" y="24"/>
                  </a:lnTo>
                  <a:lnTo>
                    <a:pt x="626" y="24"/>
                  </a:lnTo>
                  <a:lnTo>
                    <a:pt x="628" y="26"/>
                  </a:lnTo>
                  <a:lnTo>
                    <a:pt x="628" y="26"/>
                  </a:lnTo>
                  <a:lnTo>
                    <a:pt x="631" y="24"/>
                  </a:lnTo>
                  <a:lnTo>
                    <a:pt x="631" y="22"/>
                  </a:lnTo>
                  <a:lnTo>
                    <a:pt x="631" y="22"/>
                  </a:lnTo>
                  <a:lnTo>
                    <a:pt x="633" y="22"/>
                  </a:lnTo>
                  <a:lnTo>
                    <a:pt x="633" y="22"/>
                  </a:lnTo>
                  <a:lnTo>
                    <a:pt x="635" y="24"/>
                  </a:lnTo>
                  <a:lnTo>
                    <a:pt x="635" y="24"/>
                  </a:lnTo>
                  <a:lnTo>
                    <a:pt x="638" y="24"/>
                  </a:lnTo>
                  <a:lnTo>
                    <a:pt x="638" y="24"/>
                  </a:lnTo>
                  <a:lnTo>
                    <a:pt x="640" y="22"/>
                  </a:lnTo>
                  <a:lnTo>
                    <a:pt x="642" y="22"/>
                  </a:lnTo>
                  <a:lnTo>
                    <a:pt x="645" y="22"/>
                  </a:lnTo>
                  <a:lnTo>
                    <a:pt x="645" y="22"/>
                  </a:lnTo>
                  <a:lnTo>
                    <a:pt x="647" y="22"/>
                  </a:lnTo>
                  <a:lnTo>
                    <a:pt x="649" y="24"/>
                  </a:lnTo>
                  <a:lnTo>
                    <a:pt x="652" y="24"/>
                  </a:lnTo>
                  <a:lnTo>
                    <a:pt x="657" y="24"/>
                  </a:lnTo>
                  <a:lnTo>
                    <a:pt x="657" y="24"/>
                  </a:lnTo>
                  <a:lnTo>
                    <a:pt x="657" y="22"/>
                  </a:lnTo>
                  <a:lnTo>
                    <a:pt x="657" y="22"/>
                  </a:lnTo>
                  <a:lnTo>
                    <a:pt x="657" y="19"/>
                  </a:lnTo>
                  <a:lnTo>
                    <a:pt x="659" y="17"/>
                  </a:lnTo>
                  <a:lnTo>
                    <a:pt x="661" y="17"/>
                  </a:lnTo>
                  <a:lnTo>
                    <a:pt x="661" y="17"/>
                  </a:lnTo>
                  <a:lnTo>
                    <a:pt x="661" y="17"/>
                  </a:lnTo>
                  <a:lnTo>
                    <a:pt x="661" y="22"/>
                  </a:lnTo>
                  <a:lnTo>
                    <a:pt x="661" y="22"/>
                  </a:lnTo>
                  <a:lnTo>
                    <a:pt x="661" y="24"/>
                  </a:lnTo>
                  <a:lnTo>
                    <a:pt x="664" y="26"/>
                  </a:lnTo>
                  <a:lnTo>
                    <a:pt x="664" y="26"/>
                  </a:lnTo>
                  <a:lnTo>
                    <a:pt x="666" y="26"/>
                  </a:lnTo>
                  <a:lnTo>
                    <a:pt x="666" y="26"/>
                  </a:lnTo>
                  <a:lnTo>
                    <a:pt x="666" y="26"/>
                  </a:lnTo>
                  <a:lnTo>
                    <a:pt x="666" y="24"/>
                  </a:lnTo>
                  <a:lnTo>
                    <a:pt x="666" y="22"/>
                  </a:lnTo>
                  <a:lnTo>
                    <a:pt x="666" y="22"/>
                  </a:lnTo>
                  <a:lnTo>
                    <a:pt x="668" y="22"/>
                  </a:lnTo>
                  <a:lnTo>
                    <a:pt x="668" y="24"/>
                  </a:lnTo>
                  <a:lnTo>
                    <a:pt x="668" y="24"/>
                  </a:lnTo>
                  <a:lnTo>
                    <a:pt x="668" y="26"/>
                  </a:lnTo>
                  <a:lnTo>
                    <a:pt x="668" y="29"/>
                  </a:lnTo>
                  <a:lnTo>
                    <a:pt x="671" y="29"/>
                  </a:lnTo>
                  <a:lnTo>
                    <a:pt x="671" y="26"/>
                  </a:lnTo>
                  <a:lnTo>
                    <a:pt x="673" y="26"/>
                  </a:lnTo>
                  <a:lnTo>
                    <a:pt x="675" y="29"/>
                  </a:lnTo>
                  <a:lnTo>
                    <a:pt x="675" y="29"/>
                  </a:lnTo>
                  <a:lnTo>
                    <a:pt x="678" y="31"/>
                  </a:lnTo>
                  <a:lnTo>
                    <a:pt x="678" y="31"/>
                  </a:lnTo>
                  <a:lnTo>
                    <a:pt x="678" y="31"/>
                  </a:lnTo>
                  <a:lnTo>
                    <a:pt x="680" y="29"/>
                  </a:lnTo>
                  <a:lnTo>
                    <a:pt x="678" y="26"/>
                  </a:lnTo>
                  <a:lnTo>
                    <a:pt x="678" y="26"/>
                  </a:lnTo>
                  <a:lnTo>
                    <a:pt x="678" y="24"/>
                  </a:lnTo>
                  <a:lnTo>
                    <a:pt x="678" y="24"/>
                  </a:lnTo>
                  <a:lnTo>
                    <a:pt x="678" y="24"/>
                  </a:lnTo>
                  <a:lnTo>
                    <a:pt x="680" y="24"/>
                  </a:lnTo>
                  <a:lnTo>
                    <a:pt x="683" y="24"/>
                  </a:lnTo>
                  <a:lnTo>
                    <a:pt x="685" y="22"/>
                  </a:lnTo>
                  <a:lnTo>
                    <a:pt x="687" y="24"/>
                  </a:lnTo>
                  <a:lnTo>
                    <a:pt x="685" y="24"/>
                  </a:lnTo>
                  <a:lnTo>
                    <a:pt x="683" y="26"/>
                  </a:lnTo>
                  <a:lnTo>
                    <a:pt x="680" y="26"/>
                  </a:lnTo>
                  <a:lnTo>
                    <a:pt x="680" y="29"/>
                  </a:lnTo>
                  <a:lnTo>
                    <a:pt x="685" y="29"/>
                  </a:lnTo>
                  <a:lnTo>
                    <a:pt x="685" y="29"/>
                  </a:lnTo>
                  <a:lnTo>
                    <a:pt x="687" y="31"/>
                  </a:lnTo>
                  <a:lnTo>
                    <a:pt x="687" y="31"/>
                  </a:lnTo>
                  <a:lnTo>
                    <a:pt x="687" y="33"/>
                  </a:lnTo>
                  <a:lnTo>
                    <a:pt x="690" y="33"/>
                  </a:lnTo>
                  <a:lnTo>
                    <a:pt x="690" y="31"/>
                  </a:lnTo>
                  <a:lnTo>
                    <a:pt x="690" y="31"/>
                  </a:lnTo>
                  <a:lnTo>
                    <a:pt x="692" y="26"/>
                  </a:lnTo>
                  <a:lnTo>
                    <a:pt x="694" y="26"/>
                  </a:lnTo>
                  <a:lnTo>
                    <a:pt x="694" y="24"/>
                  </a:lnTo>
                  <a:lnTo>
                    <a:pt x="694" y="24"/>
                  </a:lnTo>
                  <a:lnTo>
                    <a:pt x="697" y="26"/>
                  </a:lnTo>
                  <a:lnTo>
                    <a:pt x="694" y="31"/>
                  </a:lnTo>
                  <a:lnTo>
                    <a:pt x="697" y="31"/>
                  </a:lnTo>
                  <a:lnTo>
                    <a:pt x="697" y="31"/>
                  </a:lnTo>
                  <a:lnTo>
                    <a:pt x="699" y="29"/>
                  </a:lnTo>
                  <a:lnTo>
                    <a:pt x="699" y="29"/>
                  </a:lnTo>
                  <a:lnTo>
                    <a:pt x="701" y="29"/>
                  </a:lnTo>
                  <a:lnTo>
                    <a:pt x="704" y="29"/>
                  </a:lnTo>
                  <a:lnTo>
                    <a:pt x="704" y="31"/>
                  </a:lnTo>
                  <a:lnTo>
                    <a:pt x="704" y="31"/>
                  </a:lnTo>
                  <a:lnTo>
                    <a:pt x="704" y="33"/>
                  </a:lnTo>
                  <a:lnTo>
                    <a:pt x="704" y="33"/>
                  </a:lnTo>
                  <a:lnTo>
                    <a:pt x="706" y="33"/>
                  </a:lnTo>
                  <a:lnTo>
                    <a:pt x="706" y="33"/>
                  </a:lnTo>
                  <a:lnTo>
                    <a:pt x="709" y="33"/>
                  </a:lnTo>
                  <a:lnTo>
                    <a:pt x="711" y="33"/>
                  </a:lnTo>
                  <a:lnTo>
                    <a:pt x="711" y="33"/>
                  </a:lnTo>
                  <a:lnTo>
                    <a:pt x="713" y="33"/>
                  </a:lnTo>
                  <a:lnTo>
                    <a:pt x="716" y="33"/>
                  </a:lnTo>
                  <a:lnTo>
                    <a:pt x="716" y="33"/>
                  </a:lnTo>
                  <a:lnTo>
                    <a:pt x="713" y="36"/>
                  </a:lnTo>
                  <a:lnTo>
                    <a:pt x="713" y="36"/>
                  </a:lnTo>
                  <a:lnTo>
                    <a:pt x="713" y="36"/>
                  </a:lnTo>
                  <a:lnTo>
                    <a:pt x="716" y="38"/>
                  </a:lnTo>
                  <a:lnTo>
                    <a:pt x="716" y="38"/>
                  </a:lnTo>
                  <a:lnTo>
                    <a:pt x="718" y="38"/>
                  </a:lnTo>
                  <a:lnTo>
                    <a:pt x="720" y="38"/>
                  </a:lnTo>
                  <a:lnTo>
                    <a:pt x="723" y="38"/>
                  </a:lnTo>
                  <a:lnTo>
                    <a:pt x="723" y="41"/>
                  </a:lnTo>
                  <a:lnTo>
                    <a:pt x="723" y="41"/>
                  </a:lnTo>
                  <a:lnTo>
                    <a:pt x="718" y="41"/>
                  </a:lnTo>
                  <a:lnTo>
                    <a:pt x="716" y="41"/>
                  </a:lnTo>
                  <a:lnTo>
                    <a:pt x="716" y="41"/>
                  </a:lnTo>
                  <a:lnTo>
                    <a:pt x="716" y="41"/>
                  </a:lnTo>
                  <a:lnTo>
                    <a:pt x="716" y="43"/>
                  </a:lnTo>
                  <a:lnTo>
                    <a:pt x="718" y="43"/>
                  </a:lnTo>
                  <a:lnTo>
                    <a:pt x="718" y="43"/>
                  </a:lnTo>
                  <a:lnTo>
                    <a:pt x="723" y="43"/>
                  </a:lnTo>
                  <a:lnTo>
                    <a:pt x="725" y="45"/>
                  </a:lnTo>
                  <a:lnTo>
                    <a:pt x="725" y="45"/>
                  </a:lnTo>
                  <a:lnTo>
                    <a:pt x="725" y="48"/>
                  </a:lnTo>
                  <a:lnTo>
                    <a:pt x="720" y="50"/>
                  </a:lnTo>
                  <a:lnTo>
                    <a:pt x="723" y="50"/>
                  </a:lnTo>
                  <a:lnTo>
                    <a:pt x="723" y="50"/>
                  </a:lnTo>
                  <a:lnTo>
                    <a:pt x="725" y="50"/>
                  </a:lnTo>
                  <a:lnTo>
                    <a:pt x="727" y="50"/>
                  </a:lnTo>
                  <a:lnTo>
                    <a:pt x="727" y="50"/>
                  </a:lnTo>
                  <a:lnTo>
                    <a:pt x="730" y="50"/>
                  </a:lnTo>
                  <a:lnTo>
                    <a:pt x="730" y="55"/>
                  </a:lnTo>
                  <a:lnTo>
                    <a:pt x="730" y="57"/>
                  </a:lnTo>
                  <a:lnTo>
                    <a:pt x="732" y="57"/>
                  </a:lnTo>
                  <a:lnTo>
                    <a:pt x="732" y="55"/>
                  </a:lnTo>
                  <a:lnTo>
                    <a:pt x="732" y="52"/>
                  </a:lnTo>
                  <a:lnTo>
                    <a:pt x="732" y="52"/>
                  </a:lnTo>
                  <a:lnTo>
                    <a:pt x="732" y="52"/>
                  </a:lnTo>
                  <a:lnTo>
                    <a:pt x="734" y="52"/>
                  </a:lnTo>
                  <a:lnTo>
                    <a:pt x="737" y="52"/>
                  </a:lnTo>
                  <a:lnTo>
                    <a:pt x="737" y="52"/>
                  </a:lnTo>
                  <a:lnTo>
                    <a:pt x="734" y="57"/>
                  </a:lnTo>
                  <a:lnTo>
                    <a:pt x="734" y="57"/>
                  </a:lnTo>
                  <a:lnTo>
                    <a:pt x="737" y="57"/>
                  </a:lnTo>
                  <a:lnTo>
                    <a:pt x="739" y="55"/>
                  </a:lnTo>
                  <a:lnTo>
                    <a:pt x="742" y="59"/>
                  </a:lnTo>
                  <a:lnTo>
                    <a:pt x="742" y="59"/>
                  </a:lnTo>
                  <a:lnTo>
                    <a:pt x="744" y="59"/>
                  </a:lnTo>
                  <a:lnTo>
                    <a:pt x="744" y="57"/>
                  </a:lnTo>
                  <a:lnTo>
                    <a:pt x="744" y="57"/>
                  </a:lnTo>
                  <a:lnTo>
                    <a:pt x="742" y="55"/>
                  </a:lnTo>
                  <a:lnTo>
                    <a:pt x="742" y="52"/>
                  </a:lnTo>
                  <a:lnTo>
                    <a:pt x="744" y="52"/>
                  </a:lnTo>
                  <a:lnTo>
                    <a:pt x="749" y="52"/>
                  </a:lnTo>
                  <a:lnTo>
                    <a:pt x="749" y="52"/>
                  </a:lnTo>
                  <a:lnTo>
                    <a:pt x="749" y="55"/>
                  </a:lnTo>
                  <a:lnTo>
                    <a:pt x="751" y="55"/>
                  </a:lnTo>
                  <a:lnTo>
                    <a:pt x="751" y="55"/>
                  </a:lnTo>
                  <a:lnTo>
                    <a:pt x="753" y="55"/>
                  </a:lnTo>
                  <a:lnTo>
                    <a:pt x="753" y="52"/>
                  </a:lnTo>
                  <a:lnTo>
                    <a:pt x="753" y="52"/>
                  </a:lnTo>
                  <a:lnTo>
                    <a:pt x="756" y="52"/>
                  </a:lnTo>
                  <a:lnTo>
                    <a:pt x="758" y="52"/>
                  </a:lnTo>
                  <a:lnTo>
                    <a:pt x="758" y="52"/>
                  </a:lnTo>
                  <a:lnTo>
                    <a:pt x="758" y="55"/>
                  </a:lnTo>
                  <a:lnTo>
                    <a:pt x="758" y="57"/>
                  </a:lnTo>
                  <a:lnTo>
                    <a:pt x="758" y="57"/>
                  </a:lnTo>
                  <a:lnTo>
                    <a:pt x="760" y="57"/>
                  </a:lnTo>
                  <a:lnTo>
                    <a:pt x="760" y="57"/>
                  </a:lnTo>
                  <a:lnTo>
                    <a:pt x="760" y="55"/>
                  </a:lnTo>
                  <a:lnTo>
                    <a:pt x="760" y="52"/>
                  </a:lnTo>
                  <a:lnTo>
                    <a:pt x="763" y="52"/>
                  </a:lnTo>
                  <a:lnTo>
                    <a:pt x="763" y="52"/>
                  </a:lnTo>
                  <a:lnTo>
                    <a:pt x="763" y="55"/>
                  </a:lnTo>
                  <a:lnTo>
                    <a:pt x="765" y="55"/>
                  </a:lnTo>
                  <a:lnTo>
                    <a:pt x="763" y="59"/>
                  </a:lnTo>
                  <a:lnTo>
                    <a:pt x="763" y="59"/>
                  </a:lnTo>
                  <a:lnTo>
                    <a:pt x="765" y="59"/>
                  </a:lnTo>
                  <a:lnTo>
                    <a:pt x="768" y="57"/>
                  </a:lnTo>
                  <a:lnTo>
                    <a:pt x="770" y="57"/>
                  </a:lnTo>
                  <a:lnTo>
                    <a:pt x="770" y="57"/>
                  </a:lnTo>
                  <a:lnTo>
                    <a:pt x="770" y="59"/>
                  </a:lnTo>
                  <a:lnTo>
                    <a:pt x="770" y="59"/>
                  </a:lnTo>
                  <a:lnTo>
                    <a:pt x="770" y="62"/>
                  </a:lnTo>
                  <a:lnTo>
                    <a:pt x="770" y="64"/>
                  </a:lnTo>
                  <a:lnTo>
                    <a:pt x="770" y="64"/>
                  </a:lnTo>
                  <a:lnTo>
                    <a:pt x="772" y="64"/>
                  </a:lnTo>
                  <a:lnTo>
                    <a:pt x="772" y="64"/>
                  </a:lnTo>
                  <a:lnTo>
                    <a:pt x="772" y="62"/>
                  </a:lnTo>
                  <a:lnTo>
                    <a:pt x="772" y="62"/>
                  </a:lnTo>
                  <a:lnTo>
                    <a:pt x="772" y="62"/>
                  </a:lnTo>
                  <a:lnTo>
                    <a:pt x="775" y="62"/>
                  </a:lnTo>
                  <a:lnTo>
                    <a:pt x="779" y="62"/>
                  </a:lnTo>
                  <a:lnTo>
                    <a:pt x="782" y="62"/>
                  </a:lnTo>
                  <a:lnTo>
                    <a:pt x="782" y="64"/>
                  </a:lnTo>
                  <a:lnTo>
                    <a:pt x="782" y="64"/>
                  </a:lnTo>
                  <a:lnTo>
                    <a:pt x="782" y="67"/>
                  </a:lnTo>
                  <a:lnTo>
                    <a:pt x="784" y="69"/>
                  </a:lnTo>
                  <a:lnTo>
                    <a:pt x="784" y="69"/>
                  </a:lnTo>
                  <a:lnTo>
                    <a:pt x="786" y="69"/>
                  </a:lnTo>
                  <a:lnTo>
                    <a:pt x="786" y="69"/>
                  </a:lnTo>
                  <a:lnTo>
                    <a:pt x="789" y="71"/>
                  </a:lnTo>
                  <a:lnTo>
                    <a:pt x="789" y="74"/>
                  </a:lnTo>
                  <a:lnTo>
                    <a:pt x="789" y="76"/>
                  </a:lnTo>
                  <a:lnTo>
                    <a:pt x="789" y="76"/>
                  </a:lnTo>
                  <a:lnTo>
                    <a:pt x="791" y="74"/>
                  </a:lnTo>
                  <a:lnTo>
                    <a:pt x="791" y="71"/>
                  </a:lnTo>
                  <a:lnTo>
                    <a:pt x="791" y="71"/>
                  </a:lnTo>
                  <a:lnTo>
                    <a:pt x="794" y="71"/>
                  </a:lnTo>
                  <a:lnTo>
                    <a:pt x="796" y="71"/>
                  </a:lnTo>
                  <a:lnTo>
                    <a:pt x="796" y="71"/>
                  </a:lnTo>
                  <a:lnTo>
                    <a:pt x="796" y="76"/>
                  </a:lnTo>
                  <a:lnTo>
                    <a:pt x="796" y="76"/>
                  </a:lnTo>
                  <a:lnTo>
                    <a:pt x="798" y="78"/>
                  </a:lnTo>
                  <a:lnTo>
                    <a:pt x="801" y="76"/>
                  </a:lnTo>
                  <a:lnTo>
                    <a:pt x="803" y="78"/>
                  </a:lnTo>
                  <a:lnTo>
                    <a:pt x="803" y="78"/>
                  </a:lnTo>
                  <a:lnTo>
                    <a:pt x="803" y="78"/>
                  </a:lnTo>
                  <a:lnTo>
                    <a:pt x="803" y="81"/>
                  </a:lnTo>
                  <a:lnTo>
                    <a:pt x="805" y="81"/>
                  </a:lnTo>
                  <a:lnTo>
                    <a:pt x="803" y="81"/>
                  </a:lnTo>
                  <a:lnTo>
                    <a:pt x="803" y="83"/>
                  </a:lnTo>
                  <a:lnTo>
                    <a:pt x="805" y="85"/>
                  </a:lnTo>
                  <a:lnTo>
                    <a:pt x="808" y="83"/>
                  </a:lnTo>
                  <a:lnTo>
                    <a:pt x="808" y="85"/>
                  </a:lnTo>
                  <a:lnTo>
                    <a:pt x="808" y="88"/>
                  </a:lnTo>
                  <a:lnTo>
                    <a:pt x="812" y="88"/>
                  </a:lnTo>
                  <a:lnTo>
                    <a:pt x="812" y="90"/>
                  </a:lnTo>
                  <a:lnTo>
                    <a:pt x="812" y="90"/>
                  </a:lnTo>
                  <a:lnTo>
                    <a:pt x="815" y="90"/>
                  </a:lnTo>
                  <a:lnTo>
                    <a:pt x="815" y="90"/>
                  </a:lnTo>
                  <a:lnTo>
                    <a:pt x="817" y="90"/>
                  </a:lnTo>
                  <a:lnTo>
                    <a:pt x="820" y="90"/>
                  </a:lnTo>
                  <a:lnTo>
                    <a:pt x="822" y="93"/>
                  </a:lnTo>
                  <a:lnTo>
                    <a:pt x="824" y="95"/>
                  </a:lnTo>
                  <a:lnTo>
                    <a:pt x="827" y="95"/>
                  </a:lnTo>
                  <a:lnTo>
                    <a:pt x="827" y="95"/>
                  </a:lnTo>
                  <a:lnTo>
                    <a:pt x="827" y="97"/>
                  </a:lnTo>
                  <a:lnTo>
                    <a:pt x="827" y="97"/>
                  </a:lnTo>
                  <a:lnTo>
                    <a:pt x="827" y="97"/>
                  </a:lnTo>
                  <a:lnTo>
                    <a:pt x="831" y="97"/>
                  </a:lnTo>
                  <a:lnTo>
                    <a:pt x="831" y="97"/>
                  </a:lnTo>
                  <a:lnTo>
                    <a:pt x="834" y="97"/>
                  </a:lnTo>
                  <a:lnTo>
                    <a:pt x="834" y="100"/>
                  </a:lnTo>
                  <a:lnTo>
                    <a:pt x="834" y="102"/>
                  </a:lnTo>
                  <a:lnTo>
                    <a:pt x="834" y="102"/>
                  </a:lnTo>
                  <a:lnTo>
                    <a:pt x="836" y="102"/>
                  </a:lnTo>
                  <a:lnTo>
                    <a:pt x="836" y="104"/>
                  </a:lnTo>
                  <a:lnTo>
                    <a:pt x="836" y="104"/>
                  </a:lnTo>
                  <a:lnTo>
                    <a:pt x="836" y="107"/>
                  </a:lnTo>
                  <a:lnTo>
                    <a:pt x="838" y="109"/>
                  </a:lnTo>
                  <a:lnTo>
                    <a:pt x="841" y="109"/>
                  </a:lnTo>
                  <a:lnTo>
                    <a:pt x="841" y="114"/>
                  </a:lnTo>
                  <a:lnTo>
                    <a:pt x="841" y="114"/>
                  </a:lnTo>
                  <a:lnTo>
                    <a:pt x="841" y="114"/>
                  </a:lnTo>
                  <a:lnTo>
                    <a:pt x="841" y="116"/>
                  </a:lnTo>
                  <a:lnTo>
                    <a:pt x="843" y="116"/>
                  </a:lnTo>
                  <a:lnTo>
                    <a:pt x="843" y="114"/>
                  </a:lnTo>
                  <a:lnTo>
                    <a:pt x="846" y="111"/>
                  </a:lnTo>
                  <a:lnTo>
                    <a:pt x="846" y="114"/>
                  </a:lnTo>
                  <a:lnTo>
                    <a:pt x="846" y="114"/>
                  </a:lnTo>
                  <a:lnTo>
                    <a:pt x="850" y="116"/>
                  </a:lnTo>
                  <a:lnTo>
                    <a:pt x="853" y="116"/>
                  </a:lnTo>
                  <a:lnTo>
                    <a:pt x="853" y="116"/>
                  </a:lnTo>
                  <a:lnTo>
                    <a:pt x="853" y="119"/>
                  </a:lnTo>
                  <a:lnTo>
                    <a:pt x="853" y="121"/>
                  </a:lnTo>
                  <a:lnTo>
                    <a:pt x="853" y="121"/>
                  </a:lnTo>
                  <a:lnTo>
                    <a:pt x="857" y="123"/>
                  </a:lnTo>
                  <a:lnTo>
                    <a:pt x="860" y="123"/>
                  </a:lnTo>
                  <a:lnTo>
                    <a:pt x="860" y="126"/>
                  </a:lnTo>
                  <a:lnTo>
                    <a:pt x="860" y="126"/>
                  </a:lnTo>
                  <a:lnTo>
                    <a:pt x="860" y="128"/>
                  </a:lnTo>
                  <a:lnTo>
                    <a:pt x="857" y="128"/>
                  </a:lnTo>
                  <a:lnTo>
                    <a:pt x="855" y="130"/>
                  </a:lnTo>
                  <a:lnTo>
                    <a:pt x="855" y="130"/>
                  </a:lnTo>
                  <a:lnTo>
                    <a:pt x="857" y="133"/>
                  </a:lnTo>
                  <a:lnTo>
                    <a:pt x="860" y="133"/>
                  </a:lnTo>
                  <a:lnTo>
                    <a:pt x="860" y="135"/>
                  </a:lnTo>
                  <a:lnTo>
                    <a:pt x="860" y="137"/>
                  </a:lnTo>
                  <a:lnTo>
                    <a:pt x="860" y="137"/>
                  </a:lnTo>
                  <a:lnTo>
                    <a:pt x="860" y="137"/>
                  </a:lnTo>
                  <a:lnTo>
                    <a:pt x="862" y="137"/>
                  </a:lnTo>
                  <a:lnTo>
                    <a:pt x="864" y="135"/>
                  </a:lnTo>
                  <a:lnTo>
                    <a:pt x="864" y="135"/>
                  </a:lnTo>
                  <a:lnTo>
                    <a:pt x="867" y="137"/>
                  </a:lnTo>
                  <a:lnTo>
                    <a:pt x="867" y="137"/>
                  </a:lnTo>
                  <a:lnTo>
                    <a:pt x="869" y="137"/>
                  </a:lnTo>
                  <a:lnTo>
                    <a:pt x="869" y="137"/>
                  </a:lnTo>
                  <a:lnTo>
                    <a:pt x="872" y="137"/>
                  </a:lnTo>
                  <a:lnTo>
                    <a:pt x="869" y="140"/>
                  </a:lnTo>
                  <a:lnTo>
                    <a:pt x="872" y="142"/>
                  </a:lnTo>
                  <a:lnTo>
                    <a:pt x="869" y="145"/>
                  </a:lnTo>
                  <a:lnTo>
                    <a:pt x="869" y="145"/>
                  </a:lnTo>
                  <a:lnTo>
                    <a:pt x="872" y="147"/>
                  </a:lnTo>
                  <a:lnTo>
                    <a:pt x="872" y="145"/>
                  </a:lnTo>
                  <a:lnTo>
                    <a:pt x="874" y="145"/>
                  </a:lnTo>
                  <a:lnTo>
                    <a:pt x="874" y="147"/>
                  </a:lnTo>
                  <a:lnTo>
                    <a:pt x="874" y="147"/>
                  </a:lnTo>
                  <a:lnTo>
                    <a:pt x="874" y="149"/>
                  </a:lnTo>
                  <a:lnTo>
                    <a:pt x="874" y="152"/>
                  </a:lnTo>
                  <a:lnTo>
                    <a:pt x="874" y="152"/>
                  </a:lnTo>
                  <a:lnTo>
                    <a:pt x="879" y="154"/>
                  </a:lnTo>
                  <a:lnTo>
                    <a:pt x="881" y="154"/>
                  </a:lnTo>
                  <a:lnTo>
                    <a:pt x="881" y="154"/>
                  </a:lnTo>
                  <a:lnTo>
                    <a:pt x="881" y="159"/>
                  </a:lnTo>
                  <a:lnTo>
                    <a:pt x="883" y="159"/>
                  </a:lnTo>
                  <a:lnTo>
                    <a:pt x="883" y="159"/>
                  </a:lnTo>
                  <a:lnTo>
                    <a:pt x="886" y="161"/>
                  </a:lnTo>
                  <a:lnTo>
                    <a:pt x="886" y="163"/>
                  </a:lnTo>
                  <a:lnTo>
                    <a:pt x="888" y="166"/>
                  </a:lnTo>
                  <a:lnTo>
                    <a:pt x="890" y="168"/>
                  </a:lnTo>
                  <a:lnTo>
                    <a:pt x="890" y="171"/>
                  </a:lnTo>
                  <a:lnTo>
                    <a:pt x="890" y="171"/>
                  </a:lnTo>
                  <a:lnTo>
                    <a:pt x="893" y="171"/>
                  </a:lnTo>
                  <a:lnTo>
                    <a:pt x="895" y="171"/>
                  </a:lnTo>
                  <a:lnTo>
                    <a:pt x="895" y="171"/>
                  </a:lnTo>
                  <a:lnTo>
                    <a:pt x="897" y="171"/>
                  </a:lnTo>
                  <a:lnTo>
                    <a:pt x="897" y="173"/>
                  </a:lnTo>
                  <a:lnTo>
                    <a:pt x="900" y="175"/>
                  </a:lnTo>
                  <a:lnTo>
                    <a:pt x="900" y="175"/>
                  </a:lnTo>
                  <a:lnTo>
                    <a:pt x="902" y="175"/>
                  </a:lnTo>
                  <a:lnTo>
                    <a:pt x="902" y="175"/>
                  </a:lnTo>
                  <a:lnTo>
                    <a:pt x="902" y="173"/>
                  </a:lnTo>
                  <a:lnTo>
                    <a:pt x="905" y="173"/>
                  </a:lnTo>
                  <a:lnTo>
                    <a:pt x="905" y="173"/>
                  </a:lnTo>
                  <a:lnTo>
                    <a:pt x="907" y="173"/>
                  </a:lnTo>
                  <a:lnTo>
                    <a:pt x="909" y="173"/>
                  </a:lnTo>
                  <a:lnTo>
                    <a:pt x="912" y="173"/>
                  </a:lnTo>
                  <a:lnTo>
                    <a:pt x="914" y="175"/>
                  </a:lnTo>
                  <a:lnTo>
                    <a:pt x="914" y="178"/>
                  </a:lnTo>
                  <a:lnTo>
                    <a:pt x="916" y="178"/>
                  </a:lnTo>
                  <a:lnTo>
                    <a:pt x="919" y="178"/>
                  </a:lnTo>
                  <a:lnTo>
                    <a:pt x="921" y="178"/>
                  </a:lnTo>
                  <a:lnTo>
                    <a:pt x="921" y="178"/>
                  </a:lnTo>
                  <a:lnTo>
                    <a:pt x="923" y="178"/>
                  </a:lnTo>
                  <a:lnTo>
                    <a:pt x="923" y="175"/>
                  </a:lnTo>
                  <a:lnTo>
                    <a:pt x="923" y="175"/>
                  </a:lnTo>
                  <a:lnTo>
                    <a:pt x="926" y="175"/>
                  </a:lnTo>
                  <a:lnTo>
                    <a:pt x="926" y="175"/>
                  </a:lnTo>
                  <a:lnTo>
                    <a:pt x="926" y="180"/>
                  </a:lnTo>
                  <a:lnTo>
                    <a:pt x="926" y="180"/>
                  </a:lnTo>
                  <a:lnTo>
                    <a:pt x="926" y="180"/>
                  </a:lnTo>
                  <a:lnTo>
                    <a:pt x="928" y="180"/>
                  </a:lnTo>
                  <a:lnTo>
                    <a:pt x="926" y="178"/>
                  </a:lnTo>
                  <a:lnTo>
                    <a:pt x="928" y="178"/>
                  </a:lnTo>
                  <a:lnTo>
                    <a:pt x="928" y="178"/>
                  </a:lnTo>
                  <a:lnTo>
                    <a:pt x="931" y="178"/>
                  </a:lnTo>
                  <a:lnTo>
                    <a:pt x="933" y="178"/>
                  </a:lnTo>
                  <a:lnTo>
                    <a:pt x="933" y="178"/>
                  </a:lnTo>
                  <a:lnTo>
                    <a:pt x="933" y="180"/>
                  </a:lnTo>
                  <a:lnTo>
                    <a:pt x="933" y="180"/>
                  </a:lnTo>
                  <a:lnTo>
                    <a:pt x="935" y="180"/>
                  </a:lnTo>
                  <a:lnTo>
                    <a:pt x="938" y="180"/>
                  </a:lnTo>
                  <a:lnTo>
                    <a:pt x="938" y="178"/>
                  </a:lnTo>
                  <a:lnTo>
                    <a:pt x="938" y="178"/>
                  </a:lnTo>
                  <a:lnTo>
                    <a:pt x="935" y="178"/>
                  </a:lnTo>
                  <a:lnTo>
                    <a:pt x="938" y="175"/>
                  </a:lnTo>
                  <a:lnTo>
                    <a:pt x="938" y="178"/>
                  </a:lnTo>
                  <a:lnTo>
                    <a:pt x="940" y="180"/>
                  </a:lnTo>
                  <a:lnTo>
                    <a:pt x="942" y="180"/>
                  </a:lnTo>
                  <a:lnTo>
                    <a:pt x="942" y="180"/>
                  </a:lnTo>
                  <a:lnTo>
                    <a:pt x="945" y="178"/>
                  </a:lnTo>
                  <a:lnTo>
                    <a:pt x="945" y="178"/>
                  </a:lnTo>
                  <a:lnTo>
                    <a:pt x="945" y="180"/>
                  </a:lnTo>
                  <a:lnTo>
                    <a:pt x="947" y="180"/>
                  </a:lnTo>
                  <a:lnTo>
                    <a:pt x="947" y="180"/>
                  </a:lnTo>
                  <a:lnTo>
                    <a:pt x="949" y="182"/>
                  </a:lnTo>
                  <a:lnTo>
                    <a:pt x="949" y="185"/>
                  </a:lnTo>
                  <a:lnTo>
                    <a:pt x="949" y="185"/>
                  </a:lnTo>
                  <a:lnTo>
                    <a:pt x="952" y="185"/>
                  </a:lnTo>
                  <a:lnTo>
                    <a:pt x="952" y="182"/>
                  </a:lnTo>
                  <a:lnTo>
                    <a:pt x="949" y="180"/>
                  </a:lnTo>
                  <a:lnTo>
                    <a:pt x="952" y="180"/>
                  </a:lnTo>
                  <a:lnTo>
                    <a:pt x="952" y="178"/>
                  </a:lnTo>
                  <a:lnTo>
                    <a:pt x="954" y="178"/>
                  </a:lnTo>
                  <a:lnTo>
                    <a:pt x="954" y="178"/>
                  </a:lnTo>
                  <a:lnTo>
                    <a:pt x="954" y="175"/>
                  </a:lnTo>
                  <a:lnTo>
                    <a:pt x="954" y="178"/>
                  </a:lnTo>
                  <a:lnTo>
                    <a:pt x="957" y="178"/>
                  </a:lnTo>
                  <a:lnTo>
                    <a:pt x="957" y="178"/>
                  </a:lnTo>
                  <a:lnTo>
                    <a:pt x="954" y="180"/>
                  </a:lnTo>
                  <a:lnTo>
                    <a:pt x="954" y="180"/>
                  </a:lnTo>
                  <a:lnTo>
                    <a:pt x="954" y="182"/>
                  </a:lnTo>
                  <a:lnTo>
                    <a:pt x="957" y="182"/>
                  </a:lnTo>
                  <a:lnTo>
                    <a:pt x="957" y="182"/>
                  </a:lnTo>
                  <a:lnTo>
                    <a:pt x="959" y="182"/>
                  </a:lnTo>
                  <a:lnTo>
                    <a:pt x="961" y="182"/>
                  </a:lnTo>
                  <a:lnTo>
                    <a:pt x="961" y="182"/>
                  </a:lnTo>
                  <a:lnTo>
                    <a:pt x="966" y="182"/>
                  </a:lnTo>
                  <a:lnTo>
                    <a:pt x="966" y="182"/>
                  </a:lnTo>
                  <a:lnTo>
                    <a:pt x="966" y="180"/>
                  </a:lnTo>
                  <a:lnTo>
                    <a:pt x="968" y="180"/>
                  </a:lnTo>
                  <a:lnTo>
                    <a:pt x="971" y="180"/>
                  </a:lnTo>
                  <a:lnTo>
                    <a:pt x="971" y="180"/>
                  </a:lnTo>
                  <a:lnTo>
                    <a:pt x="971" y="178"/>
                  </a:lnTo>
                  <a:lnTo>
                    <a:pt x="973" y="178"/>
                  </a:lnTo>
                  <a:lnTo>
                    <a:pt x="973" y="178"/>
                  </a:lnTo>
                  <a:lnTo>
                    <a:pt x="973" y="180"/>
                  </a:lnTo>
                  <a:lnTo>
                    <a:pt x="975" y="180"/>
                  </a:lnTo>
                  <a:lnTo>
                    <a:pt x="975" y="180"/>
                  </a:lnTo>
                  <a:lnTo>
                    <a:pt x="978" y="180"/>
                  </a:lnTo>
                  <a:lnTo>
                    <a:pt x="978" y="182"/>
                  </a:lnTo>
                  <a:lnTo>
                    <a:pt x="980" y="182"/>
                  </a:lnTo>
                  <a:lnTo>
                    <a:pt x="978" y="180"/>
                  </a:lnTo>
                  <a:lnTo>
                    <a:pt x="978" y="180"/>
                  </a:lnTo>
                  <a:lnTo>
                    <a:pt x="978" y="180"/>
                  </a:lnTo>
                  <a:lnTo>
                    <a:pt x="980" y="180"/>
                  </a:lnTo>
                  <a:lnTo>
                    <a:pt x="983" y="180"/>
                  </a:lnTo>
                  <a:lnTo>
                    <a:pt x="983" y="180"/>
                  </a:lnTo>
                  <a:lnTo>
                    <a:pt x="983" y="180"/>
                  </a:lnTo>
                  <a:lnTo>
                    <a:pt x="985" y="180"/>
                  </a:lnTo>
                  <a:lnTo>
                    <a:pt x="983" y="178"/>
                  </a:lnTo>
                  <a:lnTo>
                    <a:pt x="983" y="178"/>
                  </a:lnTo>
                  <a:lnTo>
                    <a:pt x="985" y="178"/>
                  </a:lnTo>
                  <a:lnTo>
                    <a:pt x="987" y="178"/>
                  </a:lnTo>
                  <a:lnTo>
                    <a:pt x="987" y="178"/>
                  </a:lnTo>
                  <a:lnTo>
                    <a:pt x="990" y="178"/>
                  </a:lnTo>
                  <a:lnTo>
                    <a:pt x="987" y="178"/>
                  </a:lnTo>
                  <a:lnTo>
                    <a:pt x="985" y="180"/>
                  </a:lnTo>
                  <a:lnTo>
                    <a:pt x="987" y="180"/>
                  </a:lnTo>
                  <a:lnTo>
                    <a:pt x="987" y="182"/>
                  </a:lnTo>
                  <a:lnTo>
                    <a:pt x="987" y="182"/>
                  </a:lnTo>
                  <a:lnTo>
                    <a:pt x="987" y="182"/>
                  </a:lnTo>
                  <a:lnTo>
                    <a:pt x="990" y="182"/>
                  </a:lnTo>
                  <a:lnTo>
                    <a:pt x="990" y="185"/>
                  </a:lnTo>
                  <a:lnTo>
                    <a:pt x="990" y="185"/>
                  </a:lnTo>
                  <a:lnTo>
                    <a:pt x="992" y="182"/>
                  </a:lnTo>
                  <a:lnTo>
                    <a:pt x="994" y="182"/>
                  </a:lnTo>
                  <a:lnTo>
                    <a:pt x="992" y="182"/>
                  </a:lnTo>
                  <a:lnTo>
                    <a:pt x="992" y="180"/>
                  </a:lnTo>
                  <a:lnTo>
                    <a:pt x="994" y="180"/>
                  </a:lnTo>
                  <a:lnTo>
                    <a:pt x="994" y="182"/>
                  </a:lnTo>
                  <a:lnTo>
                    <a:pt x="997" y="182"/>
                  </a:lnTo>
                  <a:lnTo>
                    <a:pt x="997" y="185"/>
                  </a:lnTo>
                  <a:lnTo>
                    <a:pt x="997" y="185"/>
                  </a:lnTo>
                  <a:lnTo>
                    <a:pt x="999" y="185"/>
                  </a:lnTo>
                  <a:lnTo>
                    <a:pt x="997" y="182"/>
                  </a:lnTo>
                  <a:lnTo>
                    <a:pt x="999" y="182"/>
                  </a:lnTo>
                  <a:lnTo>
                    <a:pt x="997" y="182"/>
                  </a:lnTo>
                  <a:lnTo>
                    <a:pt x="999" y="180"/>
                  </a:lnTo>
                  <a:lnTo>
                    <a:pt x="999" y="180"/>
                  </a:lnTo>
                  <a:lnTo>
                    <a:pt x="999" y="180"/>
                  </a:lnTo>
                  <a:lnTo>
                    <a:pt x="999" y="182"/>
                  </a:lnTo>
                  <a:lnTo>
                    <a:pt x="999" y="185"/>
                  </a:lnTo>
                  <a:lnTo>
                    <a:pt x="999" y="185"/>
                  </a:lnTo>
                  <a:lnTo>
                    <a:pt x="1001" y="185"/>
                  </a:lnTo>
                  <a:lnTo>
                    <a:pt x="1001" y="185"/>
                  </a:lnTo>
                  <a:lnTo>
                    <a:pt x="1004" y="185"/>
                  </a:lnTo>
                  <a:lnTo>
                    <a:pt x="1001" y="187"/>
                  </a:lnTo>
                  <a:lnTo>
                    <a:pt x="1004" y="187"/>
                  </a:lnTo>
                  <a:lnTo>
                    <a:pt x="1001" y="189"/>
                  </a:lnTo>
                  <a:lnTo>
                    <a:pt x="1001" y="192"/>
                  </a:lnTo>
                  <a:lnTo>
                    <a:pt x="1001" y="192"/>
                  </a:lnTo>
                  <a:lnTo>
                    <a:pt x="1004" y="192"/>
                  </a:lnTo>
                  <a:lnTo>
                    <a:pt x="1006" y="194"/>
                  </a:lnTo>
                  <a:lnTo>
                    <a:pt x="1006" y="196"/>
                  </a:lnTo>
                  <a:lnTo>
                    <a:pt x="1006" y="194"/>
                  </a:lnTo>
                  <a:lnTo>
                    <a:pt x="1006" y="196"/>
                  </a:lnTo>
                  <a:lnTo>
                    <a:pt x="1006" y="196"/>
                  </a:lnTo>
                  <a:lnTo>
                    <a:pt x="1006" y="196"/>
                  </a:lnTo>
                  <a:lnTo>
                    <a:pt x="1006" y="199"/>
                  </a:lnTo>
                  <a:lnTo>
                    <a:pt x="1009" y="199"/>
                  </a:lnTo>
                  <a:lnTo>
                    <a:pt x="1009" y="201"/>
                  </a:lnTo>
                  <a:lnTo>
                    <a:pt x="1009" y="201"/>
                  </a:lnTo>
                  <a:lnTo>
                    <a:pt x="1009" y="201"/>
                  </a:lnTo>
                  <a:lnTo>
                    <a:pt x="1006" y="201"/>
                  </a:lnTo>
                  <a:lnTo>
                    <a:pt x="1006" y="201"/>
                  </a:lnTo>
                  <a:lnTo>
                    <a:pt x="1006" y="201"/>
                  </a:lnTo>
                  <a:lnTo>
                    <a:pt x="1004" y="201"/>
                  </a:lnTo>
                  <a:lnTo>
                    <a:pt x="1001" y="201"/>
                  </a:lnTo>
                  <a:lnTo>
                    <a:pt x="1001" y="201"/>
                  </a:lnTo>
                  <a:lnTo>
                    <a:pt x="999" y="201"/>
                  </a:lnTo>
                  <a:lnTo>
                    <a:pt x="999" y="201"/>
                  </a:lnTo>
                  <a:lnTo>
                    <a:pt x="997" y="201"/>
                  </a:lnTo>
                  <a:lnTo>
                    <a:pt x="997" y="199"/>
                  </a:lnTo>
                  <a:lnTo>
                    <a:pt x="997" y="201"/>
                  </a:lnTo>
                  <a:lnTo>
                    <a:pt x="997" y="201"/>
                  </a:lnTo>
                  <a:lnTo>
                    <a:pt x="994" y="201"/>
                  </a:lnTo>
                  <a:lnTo>
                    <a:pt x="994" y="204"/>
                  </a:lnTo>
                  <a:lnTo>
                    <a:pt x="992" y="204"/>
                  </a:lnTo>
                  <a:lnTo>
                    <a:pt x="994" y="206"/>
                  </a:lnTo>
                  <a:lnTo>
                    <a:pt x="992" y="206"/>
                  </a:lnTo>
                  <a:lnTo>
                    <a:pt x="994" y="206"/>
                  </a:lnTo>
                  <a:lnTo>
                    <a:pt x="992" y="206"/>
                  </a:lnTo>
                  <a:lnTo>
                    <a:pt x="992" y="208"/>
                  </a:lnTo>
                  <a:lnTo>
                    <a:pt x="990" y="208"/>
                  </a:lnTo>
                  <a:lnTo>
                    <a:pt x="990" y="208"/>
                  </a:lnTo>
                  <a:lnTo>
                    <a:pt x="992" y="208"/>
                  </a:lnTo>
                  <a:lnTo>
                    <a:pt x="992" y="211"/>
                  </a:lnTo>
                  <a:lnTo>
                    <a:pt x="992" y="211"/>
                  </a:lnTo>
                  <a:lnTo>
                    <a:pt x="992" y="211"/>
                  </a:lnTo>
                  <a:lnTo>
                    <a:pt x="992" y="211"/>
                  </a:lnTo>
                  <a:lnTo>
                    <a:pt x="990" y="211"/>
                  </a:lnTo>
                  <a:lnTo>
                    <a:pt x="990" y="213"/>
                  </a:lnTo>
                  <a:lnTo>
                    <a:pt x="990" y="213"/>
                  </a:lnTo>
                  <a:lnTo>
                    <a:pt x="990" y="213"/>
                  </a:lnTo>
                  <a:lnTo>
                    <a:pt x="990" y="211"/>
                  </a:lnTo>
                  <a:lnTo>
                    <a:pt x="987" y="211"/>
                  </a:lnTo>
                  <a:lnTo>
                    <a:pt x="987" y="211"/>
                  </a:lnTo>
                  <a:lnTo>
                    <a:pt x="987" y="211"/>
                  </a:lnTo>
                  <a:lnTo>
                    <a:pt x="987" y="213"/>
                  </a:lnTo>
                  <a:lnTo>
                    <a:pt x="987" y="215"/>
                  </a:lnTo>
                  <a:lnTo>
                    <a:pt x="985" y="215"/>
                  </a:lnTo>
                  <a:lnTo>
                    <a:pt x="987" y="218"/>
                  </a:lnTo>
                  <a:lnTo>
                    <a:pt x="985" y="218"/>
                  </a:lnTo>
                  <a:lnTo>
                    <a:pt x="985" y="218"/>
                  </a:lnTo>
                  <a:lnTo>
                    <a:pt x="983" y="218"/>
                  </a:lnTo>
                  <a:lnTo>
                    <a:pt x="985" y="215"/>
                  </a:lnTo>
                  <a:lnTo>
                    <a:pt x="985" y="213"/>
                  </a:lnTo>
                  <a:lnTo>
                    <a:pt x="983" y="215"/>
                  </a:lnTo>
                  <a:lnTo>
                    <a:pt x="983" y="215"/>
                  </a:lnTo>
                  <a:lnTo>
                    <a:pt x="983" y="213"/>
                  </a:lnTo>
                  <a:lnTo>
                    <a:pt x="983" y="213"/>
                  </a:lnTo>
                  <a:lnTo>
                    <a:pt x="980" y="213"/>
                  </a:lnTo>
                  <a:lnTo>
                    <a:pt x="980" y="213"/>
                  </a:lnTo>
                  <a:lnTo>
                    <a:pt x="978" y="215"/>
                  </a:lnTo>
                  <a:lnTo>
                    <a:pt x="978" y="218"/>
                  </a:lnTo>
                  <a:lnTo>
                    <a:pt x="980" y="218"/>
                  </a:lnTo>
                  <a:lnTo>
                    <a:pt x="980" y="218"/>
                  </a:lnTo>
                  <a:lnTo>
                    <a:pt x="980" y="218"/>
                  </a:lnTo>
                  <a:lnTo>
                    <a:pt x="978" y="220"/>
                  </a:lnTo>
                  <a:lnTo>
                    <a:pt x="978" y="218"/>
                  </a:lnTo>
                  <a:lnTo>
                    <a:pt x="978" y="220"/>
                  </a:lnTo>
                  <a:lnTo>
                    <a:pt x="978" y="218"/>
                  </a:lnTo>
                  <a:lnTo>
                    <a:pt x="975" y="220"/>
                  </a:lnTo>
                  <a:lnTo>
                    <a:pt x="975" y="220"/>
                  </a:lnTo>
                  <a:lnTo>
                    <a:pt x="975" y="220"/>
                  </a:lnTo>
                  <a:lnTo>
                    <a:pt x="975" y="222"/>
                  </a:lnTo>
                  <a:lnTo>
                    <a:pt x="975" y="222"/>
                  </a:lnTo>
                  <a:lnTo>
                    <a:pt x="975" y="222"/>
                  </a:lnTo>
                  <a:lnTo>
                    <a:pt x="975" y="225"/>
                  </a:lnTo>
                  <a:lnTo>
                    <a:pt x="978" y="225"/>
                  </a:lnTo>
                  <a:lnTo>
                    <a:pt x="978" y="225"/>
                  </a:lnTo>
                  <a:lnTo>
                    <a:pt x="975" y="225"/>
                  </a:lnTo>
                  <a:lnTo>
                    <a:pt x="975" y="227"/>
                  </a:lnTo>
                  <a:lnTo>
                    <a:pt x="975" y="227"/>
                  </a:lnTo>
                  <a:lnTo>
                    <a:pt x="975" y="227"/>
                  </a:lnTo>
                  <a:lnTo>
                    <a:pt x="975" y="232"/>
                  </a:lnTo>
                  <a:lnTo>
                    <a:pt x="978" y="230"/>
                  </a:lnTo>
                  <a:lnTo>
                    <a:pt x="978" y="232"/>
                  </a:lnTo>
                  <a:lnTo>
                    <a:pt x="975" y="232"/>
                  </a:lnTo>
                  <a:lnTo>
                    <a:pt x="975" y="232"/>
                  </a:lnTo>
                  <a:lnTo>
                    <a:pt x="975" y="234"/>
                  </a:lnTo>
                  <a:lnTo>
                    <a:pt x="973" y="234"/>
                  </a:lnTo>
                  <a:lnTo>
                    <a:pt x="978" y="234"/>
                  </a:lnTo>
                  <a:lnTo>
                    <a:pt x="978" y="234"/>
                  </a:lnTo>
                  <a:lnTo>
                    <a:pt x="978" y="234"/>
                  </a:lnTo>
                  <a:lnTo>
                    <a:pt x="980" y="234"/>
                  </a:lnTo>
                  <a:lnTo>
                    <a:pt x="978" y="234"/>
                  </a:lnTo>
                  <a:lnTo>
                    <a:pt x="978" y="234"/>
                  </a:lnTo>
                  <a:lnTo>
                    <a:pt x="978" y="234"/>
                  </a:lnTo>
                  <a:lnTo>
                    <a:pt x="978" y="237"/>
                  </a:lnTo>
                  <a:lnTo>
                    <a:pt x="978" y="237"/>
                  </a:lnTo>
                  <a:lnTo>
                    <a:pt x="978" y="237"/>
                  </a:lnTo>
                  <a:lnTo>
                    <a:pt x="978" y="237"/>
                  </a:lnTo>
                  <a:lnTo>
                    <a:pt x="975" y="239"/>
                  </a:lnTo>
                  <a:lnTo>
                    <a:pt x="975" y="239"/>
                  </a:lnTo>
                  <a:lnTo>
                    <a:pt x="973" y="239"/>
                  </a:lnTo>
                  <a:lnTo>
                    <a:pt x="975" y="241"/>
                  </a:lnTo>
                  <a:lnTo>
                    <a:pt x="978" y="241"/>
                  </a:lnTo>
                  <a:lnTo>
                    <a:pt x="978" y="241"/>
                  </a:lnTo>
                  <a:lnTo>
                    <a:pt x="978" y="244"/>
                  </a:lnTo>
                  <a:lnTo>
                    <a:pt x="975" y="244"/>
                  </a:lnTo>
                  <a:lnTo>
                    <a:pt x="975" y="246"/>
                  </a:lnTo>
                  <a:lnTo>
                    <a:pt x="978" y="246"/>
                  </a:lnTo>
                  <a:lnTo>
                    <a:pt x="978" y="246"/>
                  </a:lnTo>
                  <a:lnTo>
                    <a:pt x="980" y="248"/>
                  </a:lnTo>
                  <a:lnTo>
                    <a:pt x="978" y="248"/>
                  </a:lnTo>
                  <a:lnTo>
                    <a:pt x="978" y="248"/>
                  </a:lnTo>
                  <a:lnTo>
                    <a:pt x="978" y="248"/>
                  </a:lnTo>
                  <a:lnTo>
                    <a:pt x="978" y="251"/>
                  </a:lnTo>
                  <a:lnTo>
                    <a:pt x="978" y="251"/>
                  </a:lnTo>
                  <a:lnTo>
                    <a:pt x="975" y="251"/>
                  </a:lnTo>
                  <a:lnTo>
                    <a:pt x="975" y="253"/>
                  </a:lnTo>
                  <a:lnTo>
                    <a:pt x="973" y="253"/>
                  </a:lnTo>
                  <a:lnTo>
                    <a:pt x="978" y="253"/>
                  </a:lnTo>
                  <a:lnTo>
                    <a:pt x="978" y="253"/>
                  </a:lnTo>
                  <a:lnTo>
                    <a:pt x="978" y="253"/>
                  </a:lnTo>
                  <a:lnTo>
                    <a:pt x="978" y="253"/>
                  </a:lnTo>
                  <a:lnTo>
                    <a:pt x="978" y="256"/>
                  </a:lnTo>
                  <a:lnTo>
                    <a:pt x="975" y="256"/>
                  </a:lnTo>
                  <a:lnTo>
                    <a:pt x="975" y="256"/>
                  </a:lnTo>
                  <a:lnTo>
                    <a:pt x="975" y="256"/>
                  </a:lnTo>
                  <a:lnTo>
                    <a:pt x="975" y="258"/>
                  </a:lnTo>
                  <a:lnTo>
                    <a:pt x="968" y="260"/>
                  </a:lnTo>
                  <a:lnTo>
                    <a:pt x="971" y="260"/>
                  </a:lnTo>
                  <a:lnTo>
                    <a:pt x="971" y="260"/>
                  </a:lnTo>
                  <a:lnTo>
                    <a:pt x="971" y="260"/>
                  </a:lnTo>
                  <a:lnTo>
                    <a:pt x="973" y="260"/>
                  </a:lnTo>
                  <a:lnTo>
                    <a:pt x="975" y="260"/>
                  </a:lnTo>
                  <a:lnTo>
                    <a:pt x="975" y="260"/>
                  </a:lnTo>
                  <a:lnTo>
                    <a:pt x="978" y="258"/>
                  </a:lnTo>
                  <a:lnTo>
                    <a:pt x="978" y="258"/>
                  </a:lnTo>
                  <a:lnTo>
                    <a:pt x="978" y="260"/>
                  </a:lnTo>
                  <a:lnTo>
                    <a:pt x="975" y="260"/>
                  </a:lnTo>
                  <a:lnTo>
                    <a:pt x="978" y="260"/>
                  </a:lnTo>
                  <a:lnTo>
                    <a:pt x="975" y="260"/>
                  </a:lnTo>
                  <a:lnTo>
                    <a:pt x="975" y="260"/>
                  </a:lnTo>
                  <a:lnTo>
                    <a:pt x="975" y="260"/>
                  </a:lnTo>
                  <a:lnTo>
                    <a:pt x="975" y="263"/>
                  </a:lnTo>
                  <a:lnTo>
                    <a:pt x="973" y="263"/>
                  </a:lnTo>
                  <a:lnTo>
                    <a:pt x="973" y="263"/>
                  </a:lnTo>
                  <a:lnTo>
                    <a:pt x="975" y="263"/>
                  </a:lnTo>
                  <a:lnTo>
                    <a:pt x="973" y="265"/>
                  </a:lnTo>
                  <a:lnTo>
                    <a:pt x="973" y="265"/>
                  </a:lnTo>
                  <a:lnTo>
                    <a:pt x="975" y="265"/>
                  </a:lnTo>
                  <a:lnTo>
                    <a:pt x="973" y="265"/>
                  </a:lnTo>
                  <a:lnTo>
                    <a:pt x="973" y="265"/>
                  </a:lnTo>
                  <a:lnTo>
                    <a:pt x="971" y="265"/>
                  </a:lnTo>
                  <a:lnTo>
                    <a:pt x="973" y="267"/>
                  </a:lnTo>
                  <a:lnTo>
                    <a:pt x="971" y="270"/>
                  </a:lnTo>
                  <a:lnTo>
                    <a:pt x="971" y="267"/>
                  </a:lnTo>
                  <a:lnTo>
                    <a:pt x="971" y="267"/>
                  </a:lnTo>
                  <a:lnTo>
                    <a:pt x="968" y="267"/>
                  </a:lnTo>
                  <a:lnTo>
                    <a:pt x="968" y="270"/>
                  </a:lnTo>
                  <a:lnTo>
                    <a:pt x="968" y="270"/>
                  </a:lnTo>
                  <a:lnTo>
                    <a:pt x="968" y="272"/>
                  </a:lnTo>
                  <a:lnTo>
                    <a:pt x="966" y="272"/>
                  </a:lnTo>
                  <a:lnTo>
                    <a:pt x="966" y="272"/>
                  </a:lnTo>
                  <a:lnTo>
                    <a:pt x="966" y="272"/>
                  </a:lnTo>
                  <a:lnTo>
                    <a:pt x="966" y="274"/>
                  </a:lnTo>
                  <a:lnTo>
                    <a:pt x="968" y="274"/>
                  </a:lnTo>
                  <a:lnTo>
                    <a:pt x="966" y="274"/>
                  </a:lnTo>
                  <a:lnTo>
                    <a:pt x="966" y="274"/>
                  </a:lnTo>
                  <a:lnTo>
                    <a:pt x="964" y="274"/>
                  </a:lnTo>
                  <a:lnTo>
                    <a:pt x="964" y="274"/>
                  </a:lnTo>
                  <a:lnTo>
                    <a:pt x="964" y="274"/>
                  </a:lnTo>
                  <a:lnTo>
                    <a:pt x="961" y="274"/>
                  </a:lnTo>
                  <a:lnTo>
                    <a:pt x="961" y="274"/>
                  </a:lnTo>
                  <a:lnTo>
                    <a:pt x="961" y="274"/>
                  </a:lnTo>
                  <a:lnTo>
                    <a:pt x="961" y="274"/>
                  </a:lnTo>
                  <a:lnTo>
                    <a:pt x="959" y="274"/>
                  </a:lnTo>
                  <a:lnTo>
                    <a:pt x="961" y="274"/>
                  </a:lnTo>
                  <a:lnTo>
                    <a:pt x="959" y="274"/>
                  </a:lnTo>
                  <a:lnTo>
                    <a:pt x="959" y="272"/>
                  </a:lnTo>
                  <a:lnTo>
                    <a:pt x="961" y="272"/>
                  </a:lnTo>
                  <a:lnTo>
                    <a:pt x="961" y="272"/>
                  </a:lnTo>
                  <a:lnTo>
                    <a:pt x="961" y="272"/>
                  </a:lnTo>
                  <a:lnTo>
                    <a:pt x="959" y="272"/>
                  </a:lnTo>
                  <a:lnTo>
                    <a:pt x="957" y="272"/>
                  </a:lnTo>
                  <a:lnTo>
                    <a:pt x="957" y="272"/>
                  </a:lnTo>
                  <a:lnTo>
                    <a:pt x="957" y="274"/>
                  </a:lnTo>
                  <a:lnTo>
                    <a:pt x="957" y="274"/>
                  </a:lnTo>
                  <a:lnTo>
                    <a:pt x="959" y="274"/>
                  </a:lnTo>
                  <a:lnTo>
                    <a:pt x="959" y="277"/>
                  </a:lnTo>
                  <a:lnTo>
                    <a:pt x="959" y="277"/>
                  </a:lnTo>
                  <a:lnTo>
                    <a:pt x="959" y="277"/>
                  </a:lnTo>
                  <a:lnTo>
                    <a:pt x="959" y="277"/>
                  </a:lnTo>
                  <a:lnTo>
                    <a:pt x="959" y="279"/>
                  </a:lnTo>
                  <a:lnTo>
                    <a:pt x="959" y="279"/>
                  </a:lnTo>
                  <a:lnTo>
                    <a:pt x="959" y="279"/>
                  </a:lnTo>
                  <a:lnTo>
                    <a:pt x="959" y="282"/>
                  </a:lnTo>
                  <a:lnTo>
                    <a:pt x="957" y="282"/>
                  </a:lnTo>
                  <a:lnTo>
                    <a:pt x="959" y="279"/>
                  </a:lnTo>
                  <a:lnTo>
                    <a:pt x="957" y="282"/>
                  </a:lnTo>
                  <a:lnTo>
                    <a:pt x="957" y="282"/>
                  </a:lnTo>
                  <a:lnTo>
                    <a:pt x="957" y="279"/>
                  </a:lnTo>
                  <a:lnTo>
                    <a:pt x="957" y="279"/>
                  </a:lnTo>
                  <a:lnTo>
                    <a:pt x="957" y="279"/>
                  </a:lnTo>
                  <a:lnTo>
                    <a:pt x="954" y="279"/>
                  </a:lnTo>
                  <a:lnTo>
                    <a:pt x="954" y="277"/>
                  </a:lnTo>
                  <a:lnTo>
                    <a:pt x="954" y="277"/>
                  </a:lnTo>
                  <a:lnTo>
                    <a:pt x="954" y="277"/>
                  </a:lnTo>
                  <a:lnTo>
                    <a:pt x="952" y="277"/>
                  </a:lnTo>
                  <a:lnTo>
                    <a:pt x="952" y="274"/>
                  </a:lnTo>
                  <a:lnTo>
                    <a:pt x="952" y="277"/>
                  </a:lnTo>
                  <a:lnTo>
                    <a:pt x="952" y="277"/>
                  </a:lnTo>
                  <a:lnTo>
                    <a:pt x="954" y="279"/>
                  </a:lnTo>
                  <a:lnTo>
                    <a:pt x="954" y="279"/>
                  </a:lnTo>
                  <a:lnTo>
                    <a:pt x="952" y="279"/>
                  </a:lnTo>
                  <a:lnTo>
                    <a:pt x="952" y="279"/>
                  </a:lnTo>
                  <a:lnTo>
                    <a:pt x="952" y="282"/>
                  </a:lnTo>
                  <a:lnTo>
                    <a:pt x="952" y="282"/>
                  </a:lnTo>
                  <a:lnTo>
                    <a:pt x="952" y="282"/>
                  </a:lnTo>
                  <a:lnTo>
                    <a:pt x="952" y="282"/>
                  </a:lnTo>
                  <a:lnTo>
                    <a:pt x="949" y="284"/>
                  </a:lnTo>
                  <a:lnTo>
                    <a:pt x="949" y="284"/>
                  </a:lnTo>
                  <a:lnTo>
                    <a:pt x="952" y="284"/>
                  </a:lnTo>
                  <a:lnTo>
                    <a:pt x="952" y="284"/>
                  </a:lnTo>
                  <a:lnTo>
                    <a:pt x="952" y="284"/>
                  </a:lnTo>
                  <a:lnTo>
                    <a:pt x="952" y="284"/>
                  </a:lnTo>
                  <a:lnTo>
                    <a:pt x="952" y="286"/>
                  </a:lnTo>
                  <a:lnTo>
                    <a:pt x="952" y="289"/>
                  </a:lnTo>
                  <a:lnTo>
                    <a:pt x="952" y="289"/>
                  </a:lnTo>
                  <a:lnTo>
                    <a:pt x="952" y="289"/>
                  </a:lnTo>
                  <a:lnTo>
                    <a:pt x="952" y="289"/>
                  </a:lnTo>
                  <a:lnTo>
                    <a:pt x="952" y="291"/>
                  </a:lnTo>
                  <a:lnTo>
                    <a:pt x="954" y="291"/>
                  </a:lnTo>
                  <a:lnTo>
                    <a:pt x="954" y="289"/>
                  </a:lnTo>
                  <a:lnTo>
                    <a:pt x="954" y="289"/>
                  </a:lnTo>
                  <a:lnTo>
                    <a:pt x="954" y="289"/>
                  </a:lnTo>
                  <a:lnTo>
                    <a:pt x="954" y="289"/>
                  </a:lnTo>
                  <a:lnTo>
                    <a:pt x="954" y="289"/>
                  </a:lnTo>
                  <a:lnTo>
                    <a:pt x="957" y="291"/>
                  </a:lnTo>
                  <a:lnTo>
                    <a:pt x="957" y="291"/>
                  </a:lnTo>
                  <a:lnTo>
                    <a:pt x="957" y="291"/>
                  </a:lnTo>
                  <a:lnTo>
                    <a:pt x="959" y="291"/>
                  </a:lnTo>
                  <a:lnTo>
                    <a:pt x="959" y="291"/>
                  </a:lnTo>
                  <a:lnTo>
                    <a:pt x="959" y="293"/>
                  </a:lnTo>
                  <a:lnTo>
                    <a:pt x="961" y="293"/>
                  </a:lnTo>
                  <a:lnTo>
                    <a:pt x="961" y="293"/>
                  </a:lnTo>
                  <a:lnTo>
                    <a:pt x="961" y="293"/>
                  </a:lnTo>
                  <a:lnTo>
                    <a:pt x="964" y="293"/>
                  </a:lnTo>
                  <a:lnTo>
                    <a:pt x="964" y="293"/>
                  </a:lnTo>
                  <a:lnTo>
                    <a:pt x="961" y="296"/>
                  </a:lnTo>
                  <a:lnTo>
                    <a:pt x="964" y="296"/>
                  </a:lnTo>
                  <a:lnTo>
                    <a:pt x="966" y="296"/>
                  </a:lnTo>
                  <a:lnTo>
                    <a:pt x="961" y="291"/>
                  </a:lnTo>
                  <a:lnTo>
                    <a:pt x="961" y="291"/>
                  </a:lnTo>
                  <a:lnTo>
                    <a:pt x="959" y="289"/>
                  </a:lnTo>
                  <a:lnTo>
                    <a:pt x="957" y="289"/>
                  </a:lnTo>
                  <a:lnTo>
                    <a:pt x="957" y="289"/>
                  </a:lnTo>
                  <a:lnTo>
                    <a:pt x="954" y="284"/>
                  </a:lnTo>
                  <a:lnTo>
                    <a:pt x="957" y="284"/>
                  </a:lnTo>
                  <a:lnTo>
                    <a:pt x="957" y="284"/>
                  </a:lnTo>
                  <a:lnTo>
                    <a:pt x="959" y="284"/>
                  </a:lnTo>
                  <a:lnTo>
                    <a:pt x="961" y="284"/>
                  </a:lnTo>
                  <a:lnTo>
                    <a:pt x="961" y="284"/>
                  </a:lnTo>
                  <a:lnTo>
                    <a:pt x="961" y="282"/>
                  </a:lnTo>
                  <a:lnTo>
                    <a:pt x="964" y="282"/>
                  </a:lnTo>
                  <a:lnTo>
                    <a:pt x="966" y="282"/>
                  </a:lnTo>
                  <a:lnTo>
                    <a:pt x="968" y="279"/>
                  </a:lnTo>
                  <a:lnTo>
                    <a:pt x="971" y="282"/>
                  </a:lnTo>
                  <a:lnTo>
                    <a:pt x="971" y="279"/>
                  </a:lnTo>
                  <a:lnTo>
                    <a:pt x="973" y="279"/>
                  </a:lnTo>
                  <a:lnTo>
                    <a:pt x="973" y="277"/>
                  </a:lnTo>
                  <a:lnTo>
                    <a:pt x="975" y="277"/>
                  </a:lnTo>
                  <a:lnTo>
                    <a:pt x="978" y="277"/>
                  </a:lnTo>
                  <a:lnTo>
                    <a:pt x="978" y="277"/>
                  </a:lnTo>
                  <a:lnTo>
                    <a:pt x="978" y="277"/>
                  </a:lnTo>
                  <a:lnTo>
                    <a:pt x="978" y="277"/>
                  </a:lnTo>
                  <a:lnTo>
                    <a:pt x="980" y="279"/>
                  </a:lnTo>
                  <a:lnTo>
                    <a:pt x="980" y="279"/>
                  </a:lnTo>
                  <a:lnTo>
                    <a:pt x="983" y="279"/>
                  </a:lnTo>
                  <a:lnTo>
                    <a:pt x="985" y="279"/>
                  </a:lnTo>
                  <a:lnTo>
                    <a:pt x="987" y="279"/>
                  </a:lnTo>
                  <a:lnTo>
                    <a:pt x="987" y="282"/>
                  </a:lnTo>
                  <a:lnTo>
                    <a:pt x="987" y="282"/>
                  </a:lnTo>
                  <a:lnTo>
                    <a:pt x="990" y="282"/>
                  </a:lnTo>
                  <a:lnTo>
                    <a:pt x="990" y="284"/>
                  </a:lnTo>
                  <a:lnTo>
                    <a:pt x="990" y="284"/>
                  </a:lnTo>
                  <a:lnTo>
                    <a:pt x="990" y="284"/>
                  </a:lnTo>
                  <a:lnTo>
                    <a:pt x="990" y="284"/>
                  </a:lnTo>
                  <a:lnTo>
                    <a:pt x="990" y="286"/>
                  </a:lnTo>
                  <a:lnTo>
                    <a:pt x="990" y="286"/>
                  </a:lnTo>
                  <a:lnTo>
                    <a:pt x="990" y="286"/>
                  </a:lnTo>
                  <a:lnTo>
                    <a:pt x="992" y="286"/>
                  </a:lnTo>
                  <a:lnTo>
                    <a:pt x="992" y="286"/>
                  </a:lnTo>
                  <a:lnTo>
                    <a:pt x="992" y="289"/>
                  </a:lnTo>
                  <a:lnTo>
                    <a:pt x="992" y="289"/>
                  </a:lnTo>
                  <a:lnTo>
                    <a:pt x="994" y="289"/>
                  </a:lnTo>
                  <a:lnTo>
                    <a:pt x="994" y="289"/>
                  </a:lnTo>
                  <a:lnTo>
                    <a:pt x="997" y="289"/>
                  </a:lnTo>
                  <a:lnTo>
                    <a:pt x="997" y="289"/>
                  </a:lnTo>
                  <a:lnTo>
                    <a:pt x="999" y="291"/>
                  </a:lnTo>
                  <a:lnTo>
                    <a:pt x="999" y="291"/>
                  </a:lnTo>
                  <a:lnTo>
                    <a:pt x="1001" y="289"/>
                  </a:lnTo>
                  <a:lnTo>
                    <a:pt x="1001" y="291"/>
                  </a:lnTo>
                  <a:lnTo>
                    <a:pt x="1001" y="291"/>
                  </a:lnTo>
                  <a:lnTo>
                    <a:pt x="1004" y="291"/>
                  </a:lnTo>
                  <a:lnTo>
                    <a:pt x="1004" y="291"/>
                  </a:lnTo>
                  <a:lnTo>
                    <a:pt x="1004" y="291"/>
                  </a:lnTo>
                  <a:lnTo>
                    <a:pt x="1004" y="291"/>
                  </a:lnTo>
                  <a:lnTo>
                    <a:pt x="1001" y="293"/>
                  </a:lnTo>
                  <a:lnTo>
                    <a:pt x="1001" y="293"/>
                  </a:lnTo>
                  <a:lnTo>
                    <a:pt x="1004" y="293"/>
                  </a:lnTo>
                  <a:lnTo>
                    <a:pt x="1004" y="293"/>
                  </a:lnTo>
                  <a:lnTo>
                    <a:pt x="1006" y="293"/>
                  </a:lnTo>
                  <a:lnTo>
                    <a:pt x="1004" y="296"/>
                  </a:lnTo>
                  <a:lnTo>
                    <a:pt x="1004" y="298"/>
                  </a:lnTo>
                  <a:lnTo>
                    <a:pt x="1001" y="300"/>
                  </a:lnTo>
                  <a:lnTo>
                    <a:pt x="994" y="308"/>
                  </a:lnTo>
                  <a:lnTo>
                    <a:pt x="980" y="329"/>
                  </a:lnTo>
                  <a:lnTo>
                    <a:pt x="978" y="333"/>
                  </a:lnTo>
                  <a:lnTo>
                    <a:pt x="978" y="333"/>
                  </a:lnTo>
                  <a:lnTo>
                    <a:pt x="975" y="336"/>
                  </a:lnTo>
                  <a:lnTo>
                    <a:pt x="975" y="338"/>
                  </a:lnTo>
                  <a:lnTo>
                    <a:pt x="971" y="345"/>
                  </a:lnTo>
                  <a:lnTo>
                    <a:pt x="968" y="352"/>
                  </a:lnTo>
                  <a:lnTo>
                    <a:pt x="964" y="357"/>
                  </a:lnTo>
                  <a:lnTo>
                    <a:pt x="961" y="364"/>
                  </a:lnTo>
                  <a:lnTo>
                    <a:pt x="961" y="367"/>
                  </a:lnTo>
                  <a:lnTo>
                    <a:pt x="954" y="378"/>
                  </a:lnTo>
                  <a:lnTo>
                    <a:pt x="952" y="385"/>
                  </a:lnTo>
                  <a:lnTo>
                    <a:pt x="949" y="390"/>
                  </a:lnTo>
                  <a:lnTo>
                    <a:pt x="947" y="395"/>
                  </a:lnTo>
                  <a:lnTo>
                    <a:pt x="942" y="409"/>
                  </a:lnTo>
                  <a:lnTo>
                    <a:pt x="942" y="411"/>
                  </a:lnTo>
                  <a:lnTo>
                    <a:pt x="940" y="416"/>
                  </a:lnTo>
                  <a:lnTo>
                    <a:pt x="940" y="419"/>
                  </a:lnTo>
                  <a:lnTo>
                    <a:pt x="938" y="421"/>
                  </a:lnTo>
                  <a:lnTo>
                    <a:pt x="938" y="426"/>
                  </a:lnTo>
                  <a:lnTo>
                    <a:pt x="933" y="435"/>
                  </a:lnTo>
                  <a:lnTo>
                    <a:pt x="931" y="440"/>
                  </a:lnTo>
                  <a:lnTo>
                    <a:pt x="928" y="447"/>
                  </a:lnTo>
                  <a:lnTo>
                    <a:pt x="923" y="454"/>
                  </a:lnTo>
                  <a:lnTo>
                    <a:pt x="914" y="466"/>
                  </a:lnTo>
                  <a:lnTo>
                    <a:pt x="909" y="473"/>
                  </a:lnTo>
                  <a:lnTo>
                    <a:pt x="897" y="489"/>
                  </a:lnTo>
                  <a:lnTo>
                    <a:pt x="883" y="508"/>
                  </a:lnTo>
                  <a:lnTo>
                    <a:pt x="883" y="511"/>
                  </a:lnTo>
                  <a:lnTo>
                    <a:pt x="876" y="522"/>
                  </a:lnTo>
                  <a:lnTo>
                    <a:pt x="872" y="527"/>
                  </a:lnTo>
                  <a:lnTo>
                    <a:pt x="869" y="532"/>
                  </a:lnTo>
                  <a:lnTo>
                    <a:pt x="862" y="539"/>
                  </a:lnTo>
                  <a:lnTo>
                    <a:pt x="857" y="544"/>
                  </a:lnTo>
                  <a:lnTo>
                    <a:pt x="853" y="548"/>
                  </a:lnTo>
                  <a:lnTo>
                    <a:pt x="850" y="551"/>
                  </a:lnTo>
                  <a:lnTo>
                    <a:pt x="838" y="560"/>
                  </a:lnTo>
                  <a:lnTo>
                    <a:pt x="827" y="570"/>
                  </a:lnTo>
                  <a:lnTo>
                    <a:pt x="822" y="574"/>
                  </a:lnTo>
                  <a:lnTo>
                    <a:pt x="820" y="577"/>
                  </a:lnTo>
                  <a:lnTo>
                    <a:pt x="815" y="582"/>
                  </a:lnTo>
                  <a:lnTo>
                    <a:pt x="812" y="586"/>
                  </a:lnTo>
                  <a:lnTo>
                    <a:pt x="801" y="593"/>
                  </a:lnTo>
                  <a:lnTo>
                    <a:pt x="791" y="600"/>
                  </a:lnTo>
                  <a:lnTo>
                    <a:pt x="784" y="608"/>
                  </a:lnTo>
                  <a:lnTo>
                    <a:pt x="777" y="612"/>
                  </a:lnTo>
                  <a:lnTo>
                    <a:pt x="763" y="619"/>
                  </a:lnTo>
                  <a:lnTo>
                    <a:pt x="751" y="624"/>
                  </a:lnTo>
                  <a:lnTo>
                    <a:pt x="739" y="631"/>
                  </a:lnTo>
                  <a:lnTo>
                    <a:pt x="732" y="638"/>
                  </a:lnTo>
                  <a:lnTo>
                    <a:pt x="725" y="641"/>
                  </a:lnTo>
                  <a:lnTo>
                    <a:pt x="718" y="648"/>
                  </a:lnTo>
                  <a:lnTo>
                    <a:pt x="706" y="662"/>
                  </a:lnTo>
                  <a:lnTo>
                    <a:pt x="706" y="664"/>
                  </a:lnTo>
                  <a:lnTo>
                    <a:pt x="706" y="667"/>
                  </a:lnTo>
                  <a:lnTo>
                    <a:pt x="704" y="664"/>
                  </a:lnTo>
                  <a:lnTo>
                    <a:pt x="701" y="664"/>
                  </a:lnTo>
                  <a:lnTo>
                    <a:pt x="697" y="669"/>
                  </a:lnTo>
                  <a:lnTo>
                    <a:pt x="692" y="671"/>
                  </a:lnTo>
                  <a:lnTo>
                    <a:pt x="687" y="676"/>
                  </a:lnTo>
                  <a:lnTo>
                    <a:pt x="683" y="683"/>
                  </a:lnTo>
                  <a:lnTo>
                    <a:pt x="678" y="690"/>
                  </a:lnTo>
                  <a:lnTo>
                    <a:pt x="673" y="697"/>
                  </a:lnTo>
                  <a:lnTo>
                    <a:pt x="668" y="707"/>
                  </a:lnTo>
                  <a:lnTo>
                    <a:pt x="664" y="723"/>
                  </a:lnTo>
                  <a:lnTo>
                    <a:pt x="661" y="726"/>
                  </a:lnTo>
                  <a:lnTo>
                    <a:pt x="659" y="740"/>
                  </a:lnTo>
                  <a:lnTo>
                    <a:pt x="657" y="747"/>
                  </a:lnTo>
                  <a:lnTo>
                    <a:pt x="652" y="761"/>
                  </a:lnTo>
                  <a:lnTo>
                    <a:pt x="647" y="770"/>
                  </a:lnTo>
                  <a:lnTo>
                    <a:pt x="640" y="782"/>
                  </a:lnTo>
                  <a:lnTo>
                    <a:pt x="635" y="789"/>
                  </a:lnTo>
                  <a:lnTo>
                    <a:pt x="633" y="794"/>
                  </a:lnTo>
                  <a:lnTo>
                    <a:pt x="623" y="806"/>
                  </a:lnTo>
                  <a:lnTo>
                    <a:pt x="614" y="813"/>
                  </a:lnTo>
                  <a:lnTo>
                    <a:pt x="583" y="839"/>
                  </a:lnTo>
                  <a:lnTo>
                    <a:pt x="569" y="851"/>
                  </a:lnTo>
                  <a:lnTo>
                    <a:pt x="557" y="860"/>
                  </a:lnTo>
                  <a:lnTo>
                    <a:pt x="555" y="863"/>
                  </a:lnTo>
                  <a:lnTo>
                    <a:pt x="541" y="872"/>
                  </a:lnTo>
                  <a:lnTo>
                    <a:pt x="541" y="872"/>
                  </a:lnTo>
                  <a:lnTo>
                    <a:pt x="538" y="872"/>
                  </a:lnTo>
                  <a:lnTo>
                    <a:pt x="538" y="872"/>
                  </a:lnTo>
                  <a:lnTo>
                    <a:pt x="536" y="872"/>
                  </a:lnTo>
                  <a:lnTo>
                    <a:pt x="536" y="872"/>
                  </a:lnTo>
                  <a:lnTo>
                    <a:pt x="534" y="870"/>
                  </a:lnTo>
                  <a:lnTo>
                    <a:pt x="534" y="870"/>
                  </a:lnTo>
                  <a:lnTo>
                    <a:pt x="534" y="867"/>
                  </a:lnTo>
                  <a:lnTo>
                    <a:pt x="534" y="865"/>
                  </a:lnTo>
                  <a:lnTo>
                    <a:pt x="534" y="865"/>
                  </a:lnTo>
                  <a:lnTo>
                    <a:pt x="522" y="863"/>
                  </a:lnTo>
                  <a:lnTo>
                    <a:pt x="522" y="863"/>
                  </a:lnTo>
                  <a:lnTo>
                    <a:pt x="522" y="863"/>
                  </a:lnTo>
                  <a:lnTo>
                    <a:pt x="522" y="863"/>
                  </a:lnTo>
                  <a:lnTo>
                    <a:pt x="522" y="860"/>
                  </a:lnTo>
                  <a:lnTo>
                    <a:pt x="522" y="860"/>
                  </a:lnTo>
                  <a:lnTo>
                    <a:pt x="522" y="858"/>
                  </a:lnTo>
                  <a:lnTo>
                    <a:pt x="522" y="858"/>
                  </a:lnTo>
                  <a:lnTo>
                    <a:pt x="522" y="856"/>
                  </a:lnTo>
                  <a:lnTo>
                    <a:pt x="522" y="853"/>
                  </a:lnTo>
                  <a:lnTo>
                    <a:pt x="522" y="853"/>
                  </a:lnTo>
                  <a:lnTo>
                    <a:pt x="522" y="851"/>
                  </a:lnTo>
                  <a:lnTo>
                    <a:pt x="522" y="844"/>
                  </a:lnTo>
                  <a:lnTo>
                    <a:pt x="524" y="834"/>
                  </a:lnTo>
                  <a:lnTo>
                    <a:pt x="524" y="820"/>
                  </a:lnTo>
                  <a:lnTo>
                    <a:pt x="522" y="806"/>
                  </a:lnTo>
                  <a:lnTo>
                    <a:pt x="524" y="794"/>
                  </a:lnTo>
                  <a:lnTo>
                    <a:pt x="531" y="780"/>
                  </a:lnTo>
                  <a:lnTo>
                    <a:pt x="543" y="775"/>
                  </a:lnTo>
                  <a:lnTo>
                    <a:pt x="550" y="775"/>
                  </a:lnTo>
                  <a:lnTo>
                    <a:pt x="557" y="766"/>
                  </a:lnTo>
                  <a:lnTo>
                    <a:pt x="550" y="763"/>
                  </a:lnTo>
                  <a:lnTo>
                    <a:pt x="553" y="761"/>
                  </a:lnTo>
                  <a:lnTo>
                    <a:pt x="555" y="761"/>
                  </a:lnTo>
                  <a:lnTo>
                    <a:pt x="553" y="761"/>
                  </a:lnTo>
                  <a:lnTo>
                    <a:pt x="555" y="763"/>
                  </a:lnTo>
                  <a:lnTo>
                    <a:pt x="555" y="763"/>
                  </a:lnTo>
                  <a:lnTo>
                    <a:pt x="553" y="761"/>
                  </a:lnTo>
                  <a:lnTo>
                    <a:pt x="567" y="754"/>
                  </a:lnTo>
                  <a:lnTo>
                    <a:pt x="569" y="749"/>
                  </a:lnTo>
                  <a:lnTo>
                    <a:pt x="569" y="749"/>
                  </a:lnTo>
                  <a:lnTo>
                    <a:pt x="571" y="745"/>
                  </a:lnTo>
                  <a:lnTo>
                    <a:pt x="579" y="745"/>
                  </a:lnTo>
                  <a:lnTo>
                    <a:pt x="581" y="740"/>
                  </a:lnTo>
                  <a:lnTo>
                    <a:pt x="567" y="728"/>
                  </a:lnTo>
                  <a:lnTo>
                    <a:pt x="567" y="730"/>
                  </a:lnTo>
                  <a:lnTo>
                    <a:pt x="567" y="728"/>
                  </a:lnTo>
                  <a:lnTo>
                    <a:pt x="567" y="728"/>
                  </a:lnTo>
                  <a:lnTo>
                    <a:pt x="562" y="726"/>
                  </a:lnTo>
                  <a:lnTo>
                    <a:pt x="560" y="726"/>
                  </a:lnTo>
                  <a:lnTo>
                    <a:pt x="557" y="721"/>
                  </a:lnTo>
                  <a:lnTo>
                    <a:pt x="555" y="723"/>
                  </a:lnTo>
                  <a:lnTo>
                    <a:pt x="555" y="723"/>
                  </a:lnTo>
                  <a:lnTo>
                    <a:pt x="553" y="723"/>
                  </a:lnTo>
                  <a:lnTo>
                    <a:pt x="553" y="723"/>
                  </a:lnTo>
                  <a:lnTo>
                    <a:pt x="550" y="723"/>
                  </a:lnTo>
                  <a:lnTo>
                    <a:pt x="548" y="721"/>
                  </a:lnTo>
                  <a:lnTo>
                    <a:pt x="548" y="721"/>
                  </a:lnTo>
                  <a:lnTo>
                    <a:pt x="546" y="721"/>
                  </a:lnTo>
                  <a:lnTo>
                    <a:pt x="543" y="721"/>
                  </a:lnTo>
                  <a:lnTo>
                    <a:pt x="543" y="719"/>
                  </a:lnTo>
                  <a:lnTo>
                    <a:pt x="541" y="719"/>
                  </a:lnTo>
                  <a:lnTo>
                    <a:pt x="541" y="721"/>
                  </a:lnTo>
                  <a:lnTo>
                    <a:pt x="538" y="719"/>
                  </a:lnTo>
                  <a:lnTo>
                    <a:pt x="536" y="716"/>
                  </a:lnTo>
                  <a:lnTo>
                    <a:pt x="536" y="716"/>
                  </a:lnTo>
                  <a:lnTo>
                    <a:pt x="536" y="716"/>
                  </a:lnTo>
                  <a:lnTo>
                    <a:pt x="534" y="716"/>
                  </a:lnTo>
                  <a:lnTo>
                    <a:pt x="534" y="714"/>
                  </a:lnTo>
                  <a:lnTo>
                    <a:pt x="531" y="711"/>
                  </a:lnTo>
                  <a:lnTo>
                    <a:pt x="531" y="711"/>
                  </a:lnTo>
                  <a:lnTo>
                    <a:pt x="531" y="709"/>
                  </a:lnTo>
                  <a:lnTo>
                    <a:pt x="531" y="707"/>
                  </a:lnTo>
                  <a:lnTo>
                    <a:pt x="531" y="707"/>
                  </a:lnTo>
                  <a:lnTo>
                    <a:pt x="529" y="707"/>
                  </a:lnTo>
                  <a:lnTo>
                    <a:pt x="529" y="707"/>
                  </a:lnTo>
                  <a:lnTo>
                    <a:pt x="524" y="707"/>
                  </a:lnTo>
                  <a:lnTo>
                    <a:pt x="524" y="707"/>
                  </a:lnTo>
                  <a:lnTo>
                    <a:pt x="524" y="707"/>
                  </a:lnTo>
                  <a:lnTo>
                    <a:pt x="522" y="707"/>
                  </a:lnTo>
                  <a:lnTo>
                    <a:pt x="520" y="704"/>
                  </a:lnTo>
                  <a:lnTo>
                    <a:pt x="520" y="704"/>
                  </a:lnTo>
                  <a:lnTo>
                    <a:pt x="520" y="704"/>
                  </a:lnTo>
                  <a:lnTo>
                    <a:pt x="517" y="702"/>
                  </a:lnTo>
                  <a:lnTo>
                    <a:pt x="515" y="702"/>
                  </a:lnTo>
                  <a:lnTo>
                    <a:pt x="515" y="700"/>
                  </a:lnTo>
                  <a:lnTo>
                    <a:pt x="512" y="700"/>
                  </a:lnTo>
                  <a:lnTo>
                    <a:pt x="512" y="697"/>
                  </a:lnTo>
                  <a:lnTo>
                    <a:pt x="512" y="695"/>
                  </a:lnTo>
                  <a:lnTo>
                    <a:pt x="512" y="695"/>
                  </a:lnTo>
                  <a:lnTo>
                    <a:pt x="508" y="693"/>
                  </a:lnTo>
                  <a:lnTo>
                    <a:pt x="508" y="693"/>
                  </a:lnTo>
                  <a:lnTo>
                    <a:pt x="510" y="688"/>
                  </a:lnTo>
                  <a:lnTo>
                    <a:pt x="508" y="688"/>
                  </a:lnTo>
                  <a:lnTo>
                    <a:pt x="508" y="685"/>
                  </a:lnTo>
                  <a:lnTo>
                    <a:pt x="505" y="685"/>
                  </a:lnTo>
                  <a:lnTo>
                    <a:pt x="505" y="683"/>
                  </a:lnTo>
                  <a:lnTo>
                    <a:pt x="508" y="683"/>
                  </a:lnTo>
                  <a:lnTo>
                    <a:pt x="508" y="683"/>
                  </a:lnTo>
                  <a:lnTo>
                    <a:pt x="505" y="681"/>
                  </a:lnTo>
                  <a:lnTo>
                    <a:pt x="505" y="678"/>
                  </a:lnTo>
                  <a:lnTo>
                    <a:pt x="505" y="678"/>
                  </a:lnTo>
                  <a:lnTo>
                    <a:pt x="503" y="676"/>
                  </a:lnTo>
                  <a:lnTo>
                    <a:pt x="503" y="674"/>
                  </a:lnTo>
                  <a:lnTo>
                    <a:pt x="503" y="671"/>
                  </a:lnTo>
                  <a:lnTo>
                    <a:pt x="501" y="671"/>
                  </a:lnTo>
                  <a:lnTo>
                    <a:pt x="501" y="669"/>
                  </a:lnTo>
                  <a:lnTo>
                    <a:pt x="501" y="669"/>
                  </a:lnTo>
                  <a:lnTo>
                    <a:pt x="501" y="669"/>
                  </a:lnTo>
                  <a:lnTo>
                    <a:pt x="501" y="669"/>
                  </a:lnTo>
                  <a:lnTo>
                    <a:pt x="498" y="667"/>
                  </a:lnTo>
                  <a:lnTo>
                    <a:pt x="498" y="667"/>
                  </a:lnTo>
                  <a:lnTo>
                    <a:pt x="498" y="667"/>
                  </a:lnTo>
                  <a:lnTo>
                    <a:pt x="498" y="662"/>
                  </a:lnTo>
                  <a:lnTo>
                    <a:pt x="496" y="662"/>
                  </a:lnTo>
                  <a:lnTo>
                    <a:pt x="496" y="662"/>
                  </a:lnTo>
                  <a:lnTo>
                    <a:pt x="496" y="662"/>
                  </a:lnTo>
                  <a:lnTo>
                    <a:pt x="496" y="657"/>
                  </a:lnTo>
                  <a:lnTo>
                    <a:pt x="496" y="657"/>
                  </a:lnTo>
                  <a:lnTo>
                    <a:pt x="496" y="657"/>
                  </a:lnTo>
                  <a:lnTo>
                    <a:pt x="496" y="657"/>
                  </a:lnTo>
                  <a:lnTo>
                    <a:pt x="498" y="657"/>
                  </a:lnTo>
                  <a:lnTo>
                    <a:pt x="496" y="655"/>
                  </a:lnTo>
                  <a:lnTo>
                    <a:pt x="496" y="652"/>
                  </a:lnTo>
                  <a:lnTo>
                    <a:pt x="494" y="652"/>
                  </a:lnTo>
                  <a:lnTo>
                    <a:pt x="494" y="652"/>
                  </a:lnTo>
                  <a:lnTo>
                    <a:pt x="494" y="652"/>
                  </a:lnTo>
                  <a:lnTo>
                    <a:pt x="491" y="652"/>
                  </a:lnTo>
                  <a:lnTo>
                    <a:pt x="491" y="652"/>
                  </a:lnTo>
                  <a:lnTo>
                    <a:pt x="489" y="652"/>
                  </a:lnTo>
                  <a:lnTo>
                    <a:pt x="489" y="652"/>
                  </a:lnTo>
                  <a:lnTo>
                    <a:pt x="486" y="652"/>
                  </a:lnTo>
                  <a:lnTo>
                    <a:pt x="486" y="650"/>
                  </a:lnTo>
                  <a:lnTo>
                    <a:pt x="484" y="650"/>
                  </a:lnTo>
                  <a:lnTo>
                    <a:pt x="484" y="650"/>
                  </a:lnTo>
                  <a:lnTo>
                    <a:pt x="484" y="648"/>
                  </a:lnTo>
                  <a:lnTo>
                    <a:pt x="482" y="648"/>
                  </a:lnTo>
                  <a:lnTo>
                    <a:pt x="484" y="648"/>
                  </a:lnTo>
                  <a:lnTo>
                    <a:pt x="482" y="648"/>
                  </a:lnTo>
                  <a:lnTo>
                    <a:pt x="482" y="648"/>
                  </a:lnTo>
                  <a:lnTo>
                    <a:pt x="482" y="645"/>
                  </a:lnTo>
                  <a:lnTo>
                    <a:pt x="482" y="643"/>
                  </a:lnTo>
                  <a:lnTo>
                    <a:pt x="482" y="643"/>
                  </a:lnTo>
                  <a:lnTo>
                    <a:pt x="479" y="643"/>
                  </a:lnTo>
                  <a:lnTo>
                    <a:pt x="479" y="643"/>
                  </a:lnTo>
                  <a:lnTo>
                    <a:pt x="477" y="643"/>
                  </a:lnTo>
                  <a:lnTo>
                    <a:pt x="475" y="641"/>
                  </a:lnTo>
                  <a:lnTo>
                    <a:pt x="475" y="641"/>
                  </a:lnTo>
                  <a:lnTo>
                    <a:pt x="475" y="638"/>
                  </a:lnTo>
                  <a:lnTo>
                    <a:pt x="472" y="638"/>
                  </a:lnTo>
                  <a:lnTo>
                    <a:pt x="470" y="638"/>
                  </a:lnTo>
                  <a:lnTo>
                    <a:pt x="468" y="638"/>
                  </a:lnTo>
                  <a:lnTo>
                    <a:pt x="468" y="638"/>
                  </a:lnTo>
                  <a:lnTo>
                    <a:pt x="465" y="636"/>
                  </a:lnTo>
                  <a:lnTo>
                    <a:pt x="465" y="633"/>
                  </a:lnTo>
                  <a:lnTo>
                    <a:pt x="468" y="633"/>
                  </a:lnTo>
                  <a:lnTo>
                    <a:pt x="468" y="633"/>
                  </a:lnTo>
                  <a:lnTo>
                    <a:pt x="468" y="633"/>
                  </a:lnTo>
                  <a:lnTo>
                    <a:pt x="468" y="633"/>
                  </a:lnTo>
                  <a:lnTo>
                    <a:pt x="468" y="633"/>
                  </a:lnTo>
                  <a:lnTo>
                    <a:pt x="465" y="631"/>
                  </a:lnTo>
                  <a:lnTo>
                    <a:pt x="463" y="631"/>
                  </a:lnTo>
                  <a:lnTo>
                    <a:pt x="460" y="631"/>
                  </a:lnTo>
                  <a:lnTo>
                    <a:pt x="460" y="631"/>
                  </a:lnTo>
                  <a:lnTo>
                    <a:pt x="460" y="631"/>
                  </a:lnTo>
                  <a:lnTo>
                    <a:pt x="460" y="631"/>
                  </a:lnTo>
                  <a:lnTo>
                    <a:pt x="458" y="629"/>
                  </a:lnTo>
                  <a:lnTo>
                    <a:pt x="458" y="629"/>
                  </a:lnTo>
                  <a:lnTo>
                    <a:pt x="458" y="629"/>
                  </a:lnTo>
                  <a:lnTo>
                    <a:pt x="458" y="629"/>
                  </a:lnTo>
                  <a:lnTo>
                    <a:pt x="458" y="629"/>
                  </a:lnTo>
                  <a:lnTo>
                    <a:pt x="456" y="631"/>
                  </a:lnTo>
                  <a:lnTo>
                    <a:pt x="456" y="631"/>
                  </a:lnTo>
                  <a:lnTo>
                    <a:pt x="456" y="631"/>
                  </a:lnTo>
                  <a:lnTo>
                    <a:pt x="453" y="633"/>
                  </a:lnTo>
                  <a:lnTo>
                    <a:pt x="453" y="631"/>
                  </a:lnTo>
                  <a:lnTo>
                    <a:pt x="451" y="633"/>
                  </a:lnTo>
                  <a:lnTo>
                    <a:pt x="451" y="633"/>
                  </a:lnTo>
                  <a:lnTo>
                    <a:pt x="449" y="633"/>
                  </a:lnTo>
                  <a:lnTo>
                    <a:pt x="449" y="633"/>
                  </a:lnTo>
                  <a:lnTo>
                    <a:pt x="449" y="631"/>
                  </a:lnTo>
                  <a:lnTo>
                    <a:pt x="449" y="631"/>
                  </a:lnTo>
                  <a:lnTo>
                    <a:pt x="449" y="631"/>
                  </a:lnTo>
                  <a:lnTo>
                    <a:pt x="444" y="629"/>
                  </a:lnTo>
                  <a:lnTo>
                    <a:pt x="444" y="629"/>
                  </a:lnTo>
                  <a:lnTo>
                    <a:pt x="442" y="626"/>
                  </a:lnTo>
                  <a:lnTo>
                    <a:pt x="404" y="598"/>
                  </a:lnTo>
                  <a:lnTo>
                    <a:pt x="406" y="596"/>
                  </a:lnTo>
                  <a:lnTo>
                    <a:pt x="404" y="596"/>
                  </a:lnTo>
                  <a:lnTo>
                    <a:pt x="404" y="593"/>
                  </a:lnTo>
                  <a:lnTo>
                    <a:pt x="404" y="593"/>
                  </a:lnTo>
                  <a:lnTo>
                    <a:pt x="404" y="591"/>
                  </a:lnTo>
                  <a:lnTo>
                    <a:pt x="404" y="591"/>
                  </a:lnTo>
                  <a:lnTo>
                    <a:pt x="404" y="591"/>
                  </a:lnTo>
                  <a:lnTo>
                    <a:pt x="404" y="591"/>
                  </a:lnTo>
                  <a:lnTo>
                    <a:pt x="404" y="589"/>
                  </a:lnTo>
                  <a:lnTo>
                    <a:pt x="404" y="591"/>
                  </a:lnTo>
                  <a:lnTo>
                    <a:pt x="401" y="586"/>
                  </a:lnTo>
                  <a:lnTo>
                    <a:pt x="401" y="586"/>
                  </a:lnTo>
                  <a:lnTo>
                    <a:pt x="399" y="586"/>
                  </a:lnTo>
                  <a:lnTo>
                    <a:pt x="401" y="584"/>
                  </a:lnTo>
                  <a:lnTo>
                    <a:pt x="397" y="579"/>
                  </a:lnTo>
                  <a:lnTo>
                    <a:pt x="397" y="579"/>
                  </a:lnTo>
                  <a:lnTo>
                    <a:pt x="394" y="577"/>
                  </a:lnTo>
                  <a:lnTo>
                    <a:pt x="392" y="577"/>
                  </a:lnTo>
                  <a:lnTo>
                    <a:pt x="392" y="577"/>
                  </a:lnTo>
                  <a:lnTo>
                    <a:pt x="392" y="577"/>
                  </a:lnTo>
                  <a:lnTo>
                    <a:pt x="392" y="577"/>
                  </a:lnTo>
                  <a:lnTo>
                    <a:pt x="390" y="574"/>
                  </a:lnTo>
                  <a:lnTo>
                    <a:pt x="390" y="574"/>
                  </a:lnTo>
                  <a:lnTo>
                    <a:pt x="390" y="572"/>
                  </a:lnTo>
                  <a:lnTo>
                    <a:pt x="390" y="572"/>
                  </a:lnTo>
                  <a:lnTo>
                    <a:pt x="378" y="572"/>
                  </a:lnTo>
                  <a:lnTo>
                    <a:pt x="375" y="570"/>
                  </a:lnTo>
                  <a:lnTo>
                    <a:pt x="375" y="570"/>
                  </a:lnTo>
                  <a:lnTo>
                    <a:pt x="373" y="570"/>
                  </a:lnTo>
                  <a:lnTo>
                    <a:pt x="373" y="570"/>
                  </a:lnTo>
                  <a:lnTo>
                    <a:pt x="371" y="570"/>
                  </a:lnTo>
                  <a:lnTo>
                    <a:pt x="371" y="567"/>
                  </a:lnTo>
                  <a:lnTo>
                    <a:pt x="366" y="567"/>
                  </a:lnTo>
                  <a:lnTo>
                    <a:pt x="364" y="570"/>
                  </a:lnTo>
                  <a:lnTo>
                    <a:pt x="361" y="567"/>
                  </a:lnTo>
                  <a:lnTo>
                    <a:pt x="359" y="570"/>
                  </a:lnTo>
                  <a:lnTo>
                    <a:pt x="357" y="570"/>
                  </a:lnTo>
                  <a:lnTo>
                    <a:pt x="357" y="570"/>
                  </a:lnTo>
                  <a:lnTo>
                    <a:pt x="354" y="567"/>
                  </a:lnTo>
                  <a:lnTo>
                    <a:pt x="354" y="567"/>
                  </a:lnTo>
                  <a:lnTo>
                    <a:pt x="354" y="565"/>
                  </a:lnTo>
                  <a:lnTo>
                    <a:pt x="352" y="565"/>
                  </a:lnTo>
                  <a:lnTo>
                    <a:pt x="349" y="563"/>
                  </a:lnTo>
                  <a:lnTo>
                    <a:pt x="349" y="563"/>
                  </a:lnTo>
                  <a:lnTo>
                    <a:pt x="349" y="560"/>
                  </a:lnTo>
                  <a:lnTo>
                    <a:pt x="349" y="560"/>
                  </a:lnTo>
                  <a:lnTo>
                    <a:pt x="349" y="563"/>
                  </a:lnTo>
                  <a:lnTo>
                    <a:pt x="347" y="563"/>
                  </a:lnTo>
                  <a:lnTo>
                    <a:pt x="345" y="560"/>
                  </a:lnTo>
                  <a:lnTo>
                    <a:pt x="345" y="563"/>
                  </a:lnTo>
                  <a:lnTo>
                    <a:pt x="345" y="563"/>
                  </a:lnTo>
                  <a:lnTo>
                    <a:pt x="345" y="560"/>
                  </a:lnTo>
                  <a:lnTo>
                    <a:pt x="345" y="560"/>
                  </a:lnTo>
                  <a:lnTo>
                    <a:pt x="345" y="560"/>
                  </a:lnTo>
                  <a:lnTo>
                    <a:pt x="345" y="558"/>
                  </a:lnTo>
                  <a:lnTo>
                    <a:pt x="340" y="558"/>
                  </a:lnTo>
                  <a:lnTo>
                    <a:pt x="340" y="558"/>
                  </a:lnTo>
                  <a:lnTo>
                    <a:pt x="342" y="556"/>
                  </a:lnTo>
                  <a:lnTo>
                    <a:pt x="342" y="556"/>
                  </a:lnTo>
                  <a:lnTo>
                    <a:pt x="340" y="556"/>
                  </a:lnTo>
                  <a:lnTo>
                    <a:pt x="338" y="553"/>
                  </a:lnTo>
                  <a:lnTo>
                    <a:pt x="338" y="553"/>
                  </a:lnTo>
                  <a:lnTo>
                    <a:pt x="338" y="551"/>
                  </a:lnTo>
                  <a:lnTo>
                    <a:pt x="338" y="551"/>
                  </a:lnTo>
                  <a:lnTo>
                    <a:pt x="335" y="551"/>
                  </a:lnTo>
                  <a:lnTo>
                    <a:pt x="338" y="548"/>
                  </a:lnTo>
                  <a:lnTo>
                    <a:pt x="335" y="548"/>
                  </a:lnTo>
                  <a:lnTo>
                    <a:pt x="335" y="548"/>
                  </a:lnTo>
                  <a:lnTo>
                    <a:pt x="335" y="548"/>
                  </a:lnTo>
                  <a:lnTo>
                    <a:pt x="335" y="546"/>
                  </a:lnTo>
                  <a:lnTo>
                    <a:pt x="335" y="548"/>
                  </a:lnTo>
                  <a:lnTo>
                    <a:pt x="333" y="546"/>
                  </a:lnTo>
                  <a:lnTo>
                    <a:pt x="331" y="548"/>
                  </a:lnTo>
                  <a:lnTo>
                    <a:pt x="331" y="548"/>
                  </a:lnTo>
                  <a:lnTo>
                    <a:pt x="331" y="548"/>
                  </a:lnTo>
                  <a:lnTo>
                    <a:pt x="331" y="548"/>
                  </a:lnTo>
                  <a:lnTo>
                    <a:pt x="331" y="551"/>
                  </a:lnTo>
                  <a:lnTo>
                    <a:pt x="331" y="553"/>
                  </a:lnTo>
                  <a:lnTo>
                    <a:pt x="328" y="553"/>
                  </a:lnTo>
                  <a:lnTo>
                    <a:pt x="328" y="553"/>
                  </a:lnTo>
                  <a:lnTo>
                    <a:pt x="328" y="556"/>
                  </a:lnTo>
                  <a:lnTo>
                    <a:pt x="328" y="556"/>
                  </a:lnTo>
                  <a:lnTo>
                    <a:pt x="326" y="556"/>
                  </a:lnTo>
                  <a:lnTo>
                    <a:pt x="326" y="556"/>
                  </a:lnTo>
                  <a:lnTo>
                    <a:pt x="323" y="553"/>
                  </a:lnTo>
                  <a:lnTo>
                    <a:pt x="321" y="553"/>
                  </a:lnTo>
                  <a:lnTo>
                    <a:pt x="321" y="553"/>
                  </a:lnTo>
                  <a:lnTo>
                    <a:pt x="321" y="551"/>
                  </a:lnTo>
                  <a:lnTo>
                    <a:pt x="319" y="551"/>
                  </a:lnTo>
                  <a:lnTo>
                    <a:pt x="319" y="551"/>
                  </a:lnTo>
                  <a:lnTo>
                    <a:pt x="316" y="551"/>
                  </a:lnTo>
                  <a:lnTo>
                    <a:pt x="316" y="548"/>
                  </a:lnTo>
                  <a:lnTo>
                    <a:pt x="316" y="548"/>
                  </a:lnTo>
                  <a:lnTo>
                    <a:pt x="314" y="548"/>
                  </a:lnTo>
                  <a:lnTo>
                    <a:pt x="316" y="548"/>
                  </a:lnTo>
                  <a:lnTo>
                    <a:pt x="314" y="548"/>
                  </a:lnTo>
                  <a:lnTo>
                    <a:pt x="312" y="548"/>
                  </a:lnTo>
                  <a:lnTo>
                    <a:pt x="312" y="546"/>
                  </a:lnTo>
                  <a:lnTo>
                    <a:pt x="307" y="546"/>
                  </a:lnTo>
                  <a:lnTo>
                    <a:pt x="305" y="546"/>
                  </a:lnTo>
                  <a:lnTo>
                    <a:pt x="305" y="546"/>
                  </a:lnTo>
                  <a:lnTo>
                    <a:pt x="305" y="546"/>
                  </a:lnTo>
                  <a:lnTo>
                    <a:pt x="305" y="541"/>
                  </a:lnTo>
                  <a:lnTo>
                    <a:pt x="302" y="539"/>
                  </a:lnTo>
                  <a:lnTo>
                    <a:pt x="305" y="539"/>
                  </a:lnTo>
                  <a:lnTo>
                    <a:pt x="302" y="537"/>
                  </a:lnTo>
                  <a:lnTo>
                    <a:pt x="300" y="537"/>
                  </a:lnTo>
                  <a:lnTo>
                    <a:pt x="300" y="537"/>
                  </a:lnTo>
                  <a:lnTo>
                    <a:pt x="302" y="537"/>
                  </a:lnTo>
                  <a:lnTo>
                    <a:pt x="300" y="534"/>
                  </a:lnTo>
                  <a:lnTo>
                    <a:pt x="300" y="534"/>
                  </a:lnTo>
                  <a:lnTo>
                    <a:pt x="300" y="532"/>
                  </a:lnTo>
                  <a:lnTo>
                    <a:pt x="300" y="532"/>
                  </a:lnTo>
                  <a:lnTo>
                    <a:pt x="300" y="532"/>
                  </a:lnTo>
                  <a:lnTo>
                    <a:pt x="300" y="532"/>
                  </a:lnTo>
                  <a:lnTo>
                    <a:pt x="297" y="530"/>
                  </a:lnTo>
                  <a:lnTo>
                    <a:pt x="297" y="532"/>
                  </a:lnTo>
                  <a:lnTo>
                    <a:pt x="295" y="532"/>
                  </a:lnTo>
                  <a:lnTo>
                    <a:pt x="295" y="530"/>
                  </a:lnTo>
                  <a:lnTo>
                    <a:pt x="295" y="530"/>
                  </a:lnTo>
                  <a:lnTo>
                    <a:pt x="293" y="530"/>
                  </a:lnTo>
                  <a:lnTo>
                    <a:pt x="293" y="530"/>
                  </a:lnTo>
                  <a:lnTo>
                    <a:pt x="293" y="527"/>
                  </a:lnTo>
                  <a:lnTo>
                    <a:pt x="293" y="527"/>
                  </a:lnTo>
                  <a:lnTo>
                    <a:pt x="293" y="527"/>
                  </a:lnTo>
                  <a:lnTo>
                    <a:pt x="293" y="527"/>
                  </a:lnTo>
                  <a:lnTo>
                    <a:pt x="293" y="525"/>
                  </a:lnTo>
                  <a:lnTo>
                    <a:pt x="295" y="522"/>
                  </a:lnTo>
                  <a:lnTo>
                    <a:pt x="293" y="522"/>
                  </a:lnTo>
                  <a:lnTo>
                    <a:pt x="290" y="520"/>
                  </a:lnTo>
                  <a:lnTo>
                    <a:pt x="290" y="522"/>
                  </a:lnTo>
                  <a:lnTo>
                    <a:pt x="290" y="520"/>
                  </a:lnTo>
                  <a:lnTo>
                    <a:pt x="290" y="520"/>
                  </a:lnTo>
                  <a:lnTo>
                    <a:pt x="290" y="518"/>
                  </a:lnTo>
                  <a:lnTo>
                    <a:pt x="290" y="518"/>
                  </a:lnTo>
                  <a:lnTo>
                    <a:pt x="288" y="518"/>
                  </a:lnTo>
                  <a:lnTo>
                    <a:pt x="288" y="515"/>
                  </a:lnTo>
                  <a:lnTo>
                    <a:pt x="288" y="515"/>
                  </a:lnTo>
                  <a:lnTo>
                    <a:pt x="286" y="515"/>
                  </a:lnTo>
                  <a:lnTo>
                    <a:pt x="286" y="515"/>
                  </a:lnTo>
                  <a:lnTo>
                    <a:pt x="283" y="515"/>
                  </a:lnTo>
                  <a:lnTo>
                    <a:pt x="283" y="515"/>
                  </a:lnTo>
                  <a:lnTo>
                    <a:pt x="283" y="513"/>
                  </a:lnTo>
                  <a:lnTo>
                    <a:pt x="281" y="513"/>
                  </a:lnTo>
                  <a:lnTo>
                    <a:pt x="281" y="513"/>
                  </a:lnTo>
                  <a:lnTo>
                    <a:pt x="281" y="511"/>
                  </a:lnTo>
                  <a:lnTo>
                    <a:pt x="281" y="511"/>
                  </a:lnTo>
                  <a:lnTo>
                    <a:pt x="281" y="511"/>
                  </a:lnTo>
                  <a:lnTo>
                    <a:pt x="281" y="508"/>
                  </a:lnTo>
                  <a:lnTo>
                    <a:pt x="281" y="508"/>
                  </a:lnTo>
                  <a:lnTo>
                    <a:pt x="281" y="508"/>
                  </a:lnTo>
                  <a:lnTo>
                    <a:pt x="279" y="508"/>
                  </a:lnTo>
                  <a:lnTo>
                    <a:pt x="276" y="506"/>
                  </a:lnTo>
                  <a:lnTo>
                    <a:pt x="274" y="506"/>
                  </a:lnTo>
                  <a:lnTo>
                    <a:pt x="274" y="506"/>
                  </a:lnTo>
                  <a:lnTo>
                    <a:pt x="274" y="504"/>
                  </a:lnTo>
                  <a:lnTo>
                    <a:pt x="274" y="504"/>
                  </a:lnTo>
                  <a:lnTo>
                    <a:pt x="271" y="501"/>
                  </a:lnTo>
                  <a:lnTo>
                    <a:pt x="271" y="501"/>
                  </a:lnTo>
                  <a:lnTo>
                    <a:pt x="271" y="499"/>
                  </a:lnTo>
                  <a:lnTo>
                    <a:pt x="269" y="499"/>
                  </a:lnTo>
                  <a:lnTo>
                    <a:pt x="267" y="499"/>
                  </a:lnTo>
                  <a:lnTo>
                    <a:pt x="267" y="499"/>
                  </a:lnTo>
                  <a:lnTo>
                    <a:pt x="267" y="496"/>
                  </a:lnTo>
                  <a:lnTo>
                    <a:pt x="264" y="496"/>
                  </a:lnTo>
                  <a:lnTo>
                    <a:pt x="264" y="494"/>
                  </a:lnTo>
                  <a:lnTo>
                    <a:pt x="264" y="494"/>
                  </a:lnTo>
                  <a:lnTo>
                    <a:pt x="264" y="492"/>
                  </a:lnTo>
                  <a:lnTo>
                    <a:pt x="262" y="492"/>
                  </a:lnTo>
                  <a:lnTo>
                    <a:pt x="262" y="492"/>
                  </a:lnTo>
                  <a:lnTo>
                    <a:pt x="262" y="492"/>
                  </a:lnTo>
                  <a:lnTo>
                    <a:pt x="262" y="492"/>
                  </a:lnTo>
                  <a:lnTo>
                    <a:pt x="260" y="492"/>
                  </a:lnTo>
                  <a:lnTo>
                    <a:pt x="257" y="492"/>
                  </a:lnTo>
                  <a:lnTo>
                    <a:pt x="257" y="492"/>
                  </a:lnTo>
                  <a:lnTo>
                    <a:pt x="257" y="492"/>
                  </a:lnTo>
                  <a:lnTo>
                    <a:pt x="255" y="492"/>
                  </a:lnTo>
                  <a:lnTo>
                    <a:pt x="255" y="492"/>
                  </a:lnTo>
                  <a:lnTo>
                    <a:pt x="255" y="494"/>
                  </a:lnTo>
                  <a:lnTo>
                    <a:pt x="253" y="494"/>
                  </a:lnTo>
                  <a:lnTo>
                    <a:pt x="253" y="494"/>
                  </a:lnTo>
                  <a:lnTo>
                    <a:pt x="253" y="496"/>
                  </a:lnTo>
                  <a:lnTo>
                    <a:pt x="253" y="496"/>
                  </a:lnTo>
                  <a:lnTo>
                    <a:pt x="253" y="496"/>
                  </a:lnTo>
                  <a:lnTo>
                    <a:pt x="253" y="499"/>
                  </a:lnTo>
                  <a:lnTo>
                    <a:pt x="255" y="501"/>
                  </a:lnTo>
                  <a:lnTo>
                    <a:pt x="253" y="501"/>
                  </a:lnTo>
                  <a:lnTo>
                    <a:pt x="253" y="501"/>
                  </a:lnTo>
                  <a:lnTo>
                    <a:pt x="253" y="504"/>
                  </a:lnTo>
                  <a:lnTo>
                    <a:pt x="253" y="504"/>
                  </a:lnTo>
                  <a:lnTo>
                    <a:pt x="253" y="506"/>
                  </a:lnTo>
                  <a:lnTo>
                    <a:pt x="253" y="506"/>
                  </a:lnTo>
                  <a:lnTo>
                    <a:pt x="250" y="506"/>
                  </a:lnTo>
                  <a:lnTo>
                    <a:pt x="248" y="506"/>
                  </a:lnTo>
                  <a:lnTo>
                    <a:pt x="248" y="506"/>
                  </a:lnTo>
                  <a:lnTo>
                    <a:pt x="248" y="504"/>
                  </a:lnTo>
                  <a:lnTo>
                    <a:pt x="245" y="506"/>
                  </a:lnTo>
                  <a:lnTo>
                    <a:pt x="245" y="506"/>
                  </a:lnTo>
                  <a:lnTo>
                    <a:pt x="245" y="504"/>
                  </a:lnTo>
                  <a:lnTo>
                    <a:pt x="243" y="504"/>
                  </a:lnTo>
                  <a:lnTo>
                    <a:pt x="245" y="506"/>
                  </a:lnTo>
                  <a:lnTo>
                    <a:pt x="243" y="506"/>
                  </a:lnTo>
                  <a:lnTo>
                    <a:pt x="243" y="508"/>
                  </a:lnTo>
                  <a:lnTo>
                    <a:pt x="243" y="508"/>
                  </a:lnTo>
                  <a:lnTo>
                    <a:pt x="243" y="511"/>
                  </a:lnTo>
                  <a:lnTo>
                    <a:pt x="241" y="511"/>
                  </a:lnTo>
                  <a:lnTo>
                    <a:pt x="241" y="511"/>
                  </a:lnTo>
                  <a:lnTo>
                    <a:pt x="241" y="513"/>
                  </a:lnTo>
                  <a:lnTo>
                    <a:pt x="238" y="511"/>
                  </a:lnTo>
                  <a:lnTo>
                    <a:pt x="238" y="513"/>
                  </a:lnTo>
                  <a:lnTo>
                    <a:pt x="236" y="513"/>
                  </a:lnTo>
                  <a:lnTo>
                    <a:pt x="234" y="513"/>
                  </a:lnTo>
                  <a:lnTo>
                    <a:pt x="234" y="513"/>
                  </a:lnTo>
                  <a:lnTo>
                    <a:pt x="234" y="515"/>
                  </a:lnTo>
                  <a:lnTo>
                    <a:pt x="231" y="518"/>
                  </a:lnTo>
                  <a:lnTo>
                    <a:pt x="231" y="518"/>
                  </a:lnTo>
                  <a:lnTo>
                    <a:pt x="229" y="518"/>
                  </a:lnTo>
                  <a:lnTo>
                    <a:pt x="227" y="518"/>
                  </a:lnTo>
                  <a:lnTo>
                    <a:pt x="227" y="522"/>
                  </a:lnTo>
                  <a:lnTo>
                    <a:pt x="224" y="522"/>
                  </a:lnTo>
                  <a:lnTo>
                    <a:pt x="224" y="522"/>
                  </a:lnTo>
                  <a:lnTo>
                    <a:pt x="224" y="522"/>
                  </a:lnTo>
                  <a:lnTo>
                    <a:pt x="222" y="520"/>
                  </a:lnTo>
                  <a:lnTo>
                    <a:pt x="220" y="522"/>
                  </a:lnTo>
                  <a:lnTo>
                    <a:pt x="220" y="522"/>
                  </a:lnTo>
                  <a:lnTo>
                    <a:pt x="217" y="522"/>
                  </a:lnTo>
                  <a:lnTo>
                    <a:pt x="217" y="522"/>
                  </a:lnTo>
                  <a:lnTo>
                    <a:pt x="215" y="522"/>
                  </a:lnTo>
                  <a:lnTo>
                    <a:pt x="212" y="522"/>
                  </a:lnTo>
                  <a:lnTo>
                    <a:pt x="210" y="522"/>
                  </a:lnTo>
                  <a:lnTo>
                    <a:pt x="210" y="522"/>
                  </a:lnTo>
                  <a:lnTo>
                    <a:pt x="208" y="522"/>
                  </a:lnTo>
                  <a:lnTo>
                    <a:pt x="208" y="522"/>
                  </a:lnTo>
                  <a:lnTo>
                    <a:pt x="208" y="518"/>
                  </a:lnTo>
                  <a:lnTo>
                    <a:pt x="208" y="513"/>
                  </a:lnTo>
                  <a:lnTo>
                    <a:pt x="208" y="511"/>
                  </a:lnTo>
                  <a:lnTo>
                    <a:pt x="208" y="508"/>
                  </a:lnTo>
                  <a:lnTo>
                    <a:pt x="208" y="508"/>
                  </a:lnTo>
                  <a:lnTo>
                    <a:pt x="208" y="506"/>
                  </a:lnTo>
                  <a:lnTo>
                    <a:pt x="208" y="506"/>
                  </a:lnTo>
                  <a:lnTo>
                    <a:pt x="208" y="506"/>
                  </a:lnTo>
                  <a:lnTo>
                    <a:pt x="208" y="501"/>
                  </a:lnTo>
                  <a:lnTo>
                    <a:pt x="208" y="501"/>
                  </a:lnTo>
                  <a:lnTo>
                    <a:pt x="208" y="499"/>
                  </a:lnTo>
                  <a:lnTo>
                    <a:pt x="210" y="494"/>
                  </a:lnTo>
                  <a:lnTo>
                    <a:pt x="210" y="494"/>
                  </a:lnTo>
                  <a:lnTo>
                    <a:pt x="210" y="492"/>
                  </a:lnTo>
                  <a:lnTo>
                    <a:pt x="208" y="492"/>
                  </a:lnTo>
                  <a:lnTo>
                    <a:pt x="208" y="489"/>
                  </a:lnTo>
                  <a:lnTo>
                    <a:pt x="208" y="487"/>
                  </a:lnTo>
                  <a:lnTo>
                    <a:pt x="208" y="487"/>
                  </a:lnTo>
                  <a:lnTo>
                    <a:pt x="208" y="487"/>
                  </a:lnTo>
                  <a:lnTo>
                    <a:pt x="205" y="487"/>
                  </a:lnTo>
                  <a:lnTo>
                    <a:pt x="205" y="485"/>
                  </a:lnTo>
                  <a:lnTo>
                    <a:pt x="205" y="485"/>
                  </a:lnTo>
                  <a:lnTo>
                    <a:pt x="203" y="485"/>
                  </a:lnTo>
                  <a:lnTo>
                    <a:pt x="203" y="482"/>
                  </a:lnTo>
                  <a:lnTo>
                    <a:pt x="203" y="482"/>
                  </a:lnTo>
                  <a:lnTo>
                    <a:pt x="203" y="482"/>
                  </a:lnTo>
                  <a:lnTo>
                    <a:pt x="201" y="482"/>
                  </a:lnTo>
                  <a:lnTo>
                    <a:pt x="201" y="482"/>
                  </a:lnTo>
                  <a:lnTo>
                    <a:pt x="201" y="480"/>
                  </a:lnTo>
                  <a:lnTo>
                    <a:pt x="201" y="478"/>
                  </a:lnTo>
                  <a:lnTo>
                    <a:pt x="198" y="478"/>
                  </a:lnTo>
                  <a:lnTo>
                    <a:pt x="198" y="480"/>
                  </a:lnTo>
                  <a:lnTo>
                    <a:pt x="196" y="480"/>
                  </a:lnTo>
                  <a:lnTo>
                    <a:pt x="196" y="478"/>
                  </a:lnTo>
                  <a:lnTo>
                    <a:pt x="194" y="478"/>
                  </a:lnTo>
                  <a:lnTo>
                    <a:pt x="194" y="478"/>
                  </a:lnTo>
                  <a:lnTo>
                    <a:pt x="191" y="478"/>
                  </a:lnTo>
                  <a:lnTo>
                    <a:pt x="191" y="478"/>
                  </a:lnTo>
                  <a:lnTo>
                    <a:pt x="194" y="475"/>
                  </a:lnTo>
                  <a:lnTo>
                    <a:pt x="191" y="475"/>
                  </a:lnTo>
                  <a:lnTo>
                    <a:pt x="191" y="475"/>
                  </a:lnTo>
                  <a:lnTo>
                    <a:pt x="189" y="473"/>
                  </a:lnTo>
                  <a:lnTo>
                    <a:pt x="189" y="473"/>
                  </a:lnTo>
                  <a:lnTo>
                    <a:pt x="191" y="470"/>
                  </a:lnTo>
                  <a:lnTo>
                    <a:pt x="191" y="470"/>
                  </a:lnTo>
                  <a:lnTo>
                    <a:pt x="189" y="470"/>
                  </a:lnTo>
                  <a:lnTo>
                    <a:pt x="189" y="468"/>
                  </a:lnTo>
                  <a:lnTo>
                    <a:pt x="186" y="466"/>
                  </a:lnTo>
                  <a:lnTo>
                    <a:pt x="189" y="466"/>
                  </a:lnTo>
                  <a:lnTo>
                    <a:pt x="186" y="463"/>
                  </a:lnTo>
                  <a:lnTo>
                    <a:pt x="184" y="463"/>
                  </a:lnTo>
                  <a:lnTo>
                    <a:pt x="186" y="461"/>
                  </a:lnTo>
                  <a:lnTo>
                    <a:pt x="184" y="461"/>
                  </a:lnTo>
                  <a:lnTo>
                    <a:pt x="182" y="461"/>
                  </a:lnTo>
                  <a:lnTo>
                    <a:pt x="179" y="459"/>
                  </a:lnTo>
                  <a:lnTo>
                    <a:pt x="179" y="459"/>
                  </a:lnTo>
                  <a:lnTo>
                    <a:pt x="179" y="459"/>
                  </a:lnTo>
                  <a:lnTo>
                    <a:pt x="179" y="459"/>
                  </a:lnTo>
                  <a:lnTo>
                    <a:pt x="179" y="456"/>
                  </a:lnTo>
                  <a:lnTo>
                    <a:pt x="179" y="456"/>
                  </a:lnTo>
                  <a:lnTo>
                    <a:pt x="177" y="456"/>
                  </a:lnTo>
                  <a:lnTo>
                    <a:pt x="177" y="459"/>
                  </a:lnTo>
                  <a:lnTo>
                    <a:pt x="175" y="459"/>
                  </a:lnTo>
                  <a:lnTo>
                    <a:pt x="175" y="456"/>
                  </a:lnTo>
                  <a:lnTo>
                    <a:pt x="177" y="456"/>
                  </a:lnTo>
                  <a:lnTo>
                    <a:pt x="175" y="454"/>
                  </a:lnTo>
                  <a:lnTo>
                    <a:pt x="175" y="454"/>
                  </a:lnTo>
                  <a:lnTo>
                    <a:pt x="175" y="454"/>
                  </a:lnTo>
                  <a:lnTo>
                    <a:pt x="172" y="454"/>
                  </a:lnTo>
                  <a:lnTo>
                    <a:pt x="172" y="454"/>
                  </a:lnTo>
                  <a:lnTo>
                    <a:pt x="172" y="452"/>
                  </a:lnTo>
                  <a:lnTo>
                    <a:pt x="172" y="452"/>
                  </a:lnTo>
                  <a:lnTo>
                    <a:pt x="172" y="449"/>
                  </a:lnTo>
                  <a:lnTo>
                    <a:pt x="172" y="449"/>
                  </a:lnTo>
                  <a:lnTo>
                    <a:pt x="172" y="449"/>
                  </a:lnTo>
                  <a:lnTo>
                    <a:pt x="170" y="452"/>
                  </a:lnTo>
                  <a:lnTo>
                    <a:pt x="168" y="449"/>
                  </a:lnTo>
                  <a:lnTo>
                    <a:pt x="165" y="449"/>
                  </a:lnTo>
                  <a:lnTo>
                    <a:pt x="165" y="449"/>
                  </a:lnTo>
                  <a:lnTo>
                    <a:pt x="165" y="447"/>
                  </a:lnTo>
                  <a:lnTo>
                    <a:pt x="165" y="447"/>
                  </a:lnTo>
                  <a:lnTo>
                    <a:pt x="163" y="447"/>
                  </a:lnTo>
                  <a:lnTo>
                    <a:pt x="163" y="447"/>
                  </a:lnTo>
                  <a:lnTo>
                    <a:pt x="163" y="447"/>
                  </a:lnTo>
                  <a:lnTo>
                    <a:pt x="160" y="447"/>
                  </a:lnTo>
                  <a:lnTo>
                    <a:pt x="160" y="447"/>
                  </a:lnTo>
                  <a:lnTo>
                    <a:pt x="160" y="447"/>
                  </a:lnTo>
                  <a:lnTo>
                    <a:pt x="160" y="445"/>
                  </a:lnTo>
                  <a:lnTo>
                    <a:pt x="158" y="445"/>
                  </a:lnTo>
                  <a:lnTo>
                    <a:pt x="158" y="445"/>
                  </a:lnTo>
                  <a:lnTo>
                    <a:pt x="158" y="442"/>
                  </a:lnTo>
                  <a:lnTo>
                    <a:pt x="158" y="442"/>
                  </a:lnTo>
                  <a:lnTo>
                    <a:pt x="158" y="442"/>
                  </a:lnTo>
                  <a:lnTo>
                    <a:pt x="158" y="440"/>
                  </a:lnTo>
                  <a:lnTo>
                    <a:pt x="156" y="440"/>
                  </a:lnTo>
                  <a:lnTo>
                    <a:pt x="156" y="437"/>
                  </a:lnTo>
                  <a:lnTo>
                    <a:pt x="156" y="437"/>
                  </a:lnTo>
                  <a:lnTo>
                    <a:pt x="153" y="437"/>
                  </a:lnTo>
                  <a:lnTo>
                    <a:pt x="151" y="437"/>
                  </a:lnTo>
                  <a:lnTo>
                    <a:pt x="153" y="435"/>
                  </a:lnTo>
                  <a:lnTo>
                    <a:pt x="151" y="435"/>
                  </a:lnTo>
                  <a:lnTo>
                    <a:pt x="151" y="430"/>
                  </a:lnTo>
                  <a:lnTo>
                    <a:pt x="149" y="433"/>
                  </a:lnTo>
                  <a:lnTo>
                    <a:pt x="146" y="435"/>
                  </a:lnTo>
                  <a:lnTo>
                    <a:pt x="146" y="435"/>
                  </a:lnTo>
                  <a:lnTo>
                    <a:pt x="146" y="433"/>
                  </a:lnTo>
                  <a:lnTo>
                    <a:pt x="144" y="430"/>
                  </a:lnTo>
                  <a:lnTo>
                    <a:pt x="144" y="430"/>
                  </a:lnTo>
                  <a:lnTo>
                    <a:pt x="144" y="428"/>
                  </a:lnTo>
                  <a:lnTo>
                    <a:pt x="139" y="428"/>
                  </a:lnTo>
                  <a:lnTo>
                    <a:pt x="139" y="428"/>
                  </a:lnTo>
                  <a:lnTo>
                    <a:pt x="139" y="426"/>
                  </a:lnTo>
                  <a:lnTo>
                    <a:pt x="142" y="426"/>
                  </a:lnTo>
                  <a:lnTo>
                    <a:pt x="142" y="423"/>
                  </a:lnTo>
                  <a:lnTo>
                    <a:pt x="139" y="421"/>
                  </a:lnTo>
                  <a:lnTo>
                    <a:pt x="139" y="423"/>
                  </a:lnTo>
                  <a:lnTo>
                    <a:pt x="137" y="421"/>
                  </a:lnTo>
                  <a:lnTo>
                    <a:pt x="137" y="419"/>
                  </a:lnTo>
                  <a:lnTo>
                    <a:pt x="134" y="421"/>
                  </a:lnTo>
                  <a:lnTo>
                    <a:pt x="132" y="421"/>
                  </a:lnTo>
                  <a:lnTo>
                    <a:pt x="132" y="421"/>
                  </a:lnTo>
                  <a:lnTo>
                    <a:pt x="130" y="421"/>
                  </a:lnTo>
                  <a:lnTo>
                    <a:pt x="132" y="419"/>
                  </a:lnTo>
                  <a:lnTo>
                    <a:pt x="132" y="416"/>
                  </a:lnTo>
                  <a:lnTo>
                    <a:pt x="130" y="416"/>
                  </a:lnTo>
                  <a:lnTo>
                    <a:pt x="127" y="414"/>
                  </a:lnTo>
                  <a:lnTo>
                    <a:pt x="127" y="414"/>
                  </a:lnTo>
                  <a:lnTo>
                    <a:pt x="130" y="414"/>
                  </a:lnTo>
                  <a:lnTo>
                    <a:pt x="130" y="414"/>
                  </a:lnTo>
                  <a:lnTo>
                    <a:pt x="127" y="411"/>
                  </a:lnTo>
                  <a:lnTo>
                    <a:pt x="127" y="411"/>
                  </a:lnTo>
                  <a:lnTo>
                    <a:pt x="125" y="411"/>
                  </a:lnTo>
                  <a:lnTo>
                    <a:pt x="125" y="409"/>
                  </a:lnTo>
                  <a:lnTo>
                    <a:pt x="127" y="409"/>
                  </a:lnTo>
                  <a:lnTo>
                    <a:pt x="127" y="409"/>
                  </a:lnTo>
                  <a:lnTo>
                    <a:pt x="125" y="409"/>
                  </a:lnTo>
                  <a:lnTo>
                    <a:pt x="125" y="409"/>
                  </a:lnTo>
                  <a:lnTo>
                    <a:pt x="125" y="407"/>
                  </a:lnTo>
                  <a:lnTo>
                    <a:pt x="123" y="409"/>
                  </a:lnTo>
                  <a:lnTo>
                    <a:pt x="123" y="407"/>
                  </a:lnTo>
                  <a:lnTo>
                    <a:pt x="120" y="409"/>
                  </a:lnTo>
                  <a:lnTo>
                    <a:pt x="118" y="407"/>
                  </a:lnTo>
                  <a:lnTo>
                    <a:pt x="118" y="404"/>
                  </a:lnTo>
                  <a:lnTo>
                    <a:pt x="118" y="404"/>
                  </a:lnTo>
                  <a:lnTo>
                    <a:pt x="116" y="404"/>
                  </a:lnTo>
                  <a:lnTo>
                    <a:pt x="113" y="402"/>
                  </a:lnTo>
                  <a:lnTo>
                    <a:pt x="111" y="402"/>
                  </a:lnTo>
                  <a:lnTo>
                    <a:pt x="108" y="402"/>
                  </a:lnTo>
                  <a:lnTo>
                    <a:pt x="111" y="400"/>
                  </a:lnTo>
                  <a:lnTo>
                    <a:pt x="111" y="397"/>
                  </a:lnTo>
                  <a:lnTo>
                    <a:pt x="108" y="397"/>
                  </a:lnTo>
                  <a:lnTo>
                    <a:pt x="106" y="395"/>
                  </a:lnTo>
                  <a:lnTo>
                    <a:pt x="106" y="395"/>
                  </a:lnTo>
                  <a:lnTo>
                    <a:pt x="104" y="395"/>
                  </a:lnTo>
                  <a:lnTo>
                    <a:pt x="101" y="393"/>
                  </a:lnTo>
                  <a:lnTo>
                    <a:pt x="101" y="393"/>
                  </a:lnTo>
                  <a:lnTo>
                    <a:pt x="99" y="393"/>
                  </a:lnTo>
                  <a:lnTo>
                    <a:pt x="99" y="393"/>
                  </a:lnTo>
                  <a:lnTo>
                    <a:pt x="97" y="393"/>
                  </a:lnTo>
                  <a:lnTo>
                    <a:pt x="94" y="395"/>
                  </a:lnTo>
                  <a:lnTo>
                    <a:pt x="94" y="395"/>
                  </a:lnTo>
                  <a:lnTo>
                    <a:pt x="92" y="395"/>
                  </a:lnTo>
                  <a:lnTo>
                    <a:pt x="92" y="395"/>
                  </a:lnTo>
                  <a:lnTo>
                    <a:pt x="92" y="395"/>
                  </a:lnTo>
                  <a:lnTo>
                    <a:pt x="90" y="393"/>
                  </a:lnTo>
                  <a:lnTo>
                    <a:pt x="87" y="395"/>
                  </a:lnTo>
                  <a:lnTo>
                    <a:pt x="85" y="395"/>
                  </a:lnTo>
                  <a:lnTo>
                    <a:pt x="85" y="393"/>
                  </a:lnTo>
                  <a:lnTo>
                    <a:pt x="83" y="393"/>
                  </a:lnTo>
                  <a:lnTo>
                    <a:pt x="80" y="393"/>
                  </a:lnTo>
                  <a:lnTo>
                    <a:pt x="78" y="393"/>
                  </a:lnTo>
                  <a:lnTo>
                    <a:pt x="78" y="395"/>
                  </a:lnTo>
                  <a:lnTo>
                    <a:pt x="78" y="395"/>
                  </a:lnTo>
                  <a:lnTo>
                    <a:pt x="75" y="395"/>
                  </a:lnTo>
                  <a:lnTo>
                    <a:pt x="73" y="395"/>
                  </a:lnTo>
                  <a:lnTo>
                    <a:pt x="73" y="393"/>
                  </a:lnTo>
                  <a:lnTo>
                    <a:pt x="73" y="393"/>
                  </a:lnTo>
                  <a:lnTo>
                    <a:pt x="73" y="393"/>
                  </a:lnTo>
                  <a:lnTo>
                    <a:pt x="73" y="393"/>
                  </a:lnTo>
                  <a:lnTo>
                    <a:pt x="71" y="395"/>
                  </a:lnTo>
                  <a:lnTo>
                    <a:pt x="71" y="395"/>
                  </a:lnTo>
                  <a:lnTo>
                    <a:pt x="71" y="395"/>
                  </a:lnTo>
                  <a:lnTo>
                    <a:pt x="71" y="397"/>
                  </a:lnTo>
                  <a:lnTo>
                    <a:pt x="71" y="397"/>
                  </a:lnTo>
                  <a:lnTo>
                    <a:pt x="68" y="395"/>
                  </a:lnTo>
                  <a:lnTo>
                    <a:pt x="68" y="397"/>
                  </a:lnTo>
                  <a:lnTo>
                    <a:pt x="68" y="397"/>
                  </a:lnTo>
                  <a:lnTo>
                    <a:pt x="68" y="400"/>
                  </a:lnTo>
                  <a:lnTo>
                    <a:pt x="68" y="400"/>
                  </a:lnTo>
                  <a:lnTo>
                    <a:pt x="66" y="400"/>
                  </a:lnTo>
                  <a:lnTo>
                    <a:pt x="64" y="404"/>
                  </a:lnTo>
                  <a:lnTo>
                    <a:pt x="61" y="404"/>
                  </a:lnTo>
                  <a:lnTo>
                    <a:pt x="61" y="407"/>
                  </a:lnTo>
                  <a:lnTo>
                    <a:pt x="61" y="407"/>
                  </a:lnTo>
                  <a:lnTo>
                    <a:pt x="61" y="409"/>
                  </a:lnTo>
                  <a:lnTo>
                    <a:pt x="61" y="409"/>
                  </a:lnTo>
                  <a:lnTo>
                    <a:pt x="61" y="409"/>
                  </a:lnTo>
                  <a:lnTo>
                    <a:pt x="61" y="409"/>
                  </a:lnTo>
                  <a:lnTo>
                    <a:pt x="61" y="411"/>
                  </a:lnTo>
                  <a:lnTo>
                    <a:pt x="61" y="411"/>
                  </a:lnTo>
                  <a:lnTo>
                    <a:pt x="61" y="414"/>
                  </a:lnTo>
                  <a:lnTo>
                    <a:pt x="61" y="414"/>
                  </a:lnTo>
                  <a:lnTo>
                    <a:pt x="59" y="414"/>
                  </a:lnTo>
                  <a:lnTo>
                    <a:pt x="57" y="416"/>
                  </a:lnTo>
                  <a:lnTo>
                    <a:pt x="57" y="419"/>
                  </a:lnTo>
                  <a:lnTo>
                    <a:pt x="54" y="419"/>
                  </a:lnTo>
                  <a:lnTo>
                    <a:pt x="52" y="419"/>
                  </a:lnTo>
                  <a:lnTo>
                    <a:pt x="49" y="419"/>
                  </a:lnTo>
                  <a:lnTo>
                    <a:pt x="49" y="419"/>
                  </a:lnTo>
                  <a:lnTo>
                    <a:pt x="49" y="416"/>
                  </a:lnTo>
                  <a:lnTo>
                    <a:pt x="49" y="419"/>
                  </a:lnTo>
                  <a:lnTo>
                    <a:pt x="49" y="419"/>
                  </a:lnTo>
                  <a:lnTo>
                    <a:pt x="47" y="421"/>
                  </a:lnTo>
                  <a:lnTo>
                    <a:pt x="45" y="421"/>
                  </a:lnTo>
                  <a:lnTo>
                    <a:pt x="45" y="419"/>
                  </a:lnTo>
                  <a:lnTo>
                    <a:pt x="42" y="416"/>
                  </a:lnTo>
                  <a:lnTo>
                    <a:pt x="42" y="414"/>
                  </a:lnTo>
                  <a:lnTo>
                    <a:pt x="42" y="416"/>
                  </a:lnTo>
                  <a:lnTo>
                    <a:pt x="38" y="419"/>
                  </a:lnTo>
                  <a:lnTo>
                    <a:pt x="35" y="416"/>
                  </a:lnTo>
                  <a:lnTo>
                    <a:pt x="35" y="419"/>
                  </a:lnTo>
                  <a:lnTo>
                    <a:pt x="33" y="419"/>
                  </a:lnTo>
                  <a:lnTo>
                    <a:pt x="33" y="421"/>
                  </a:lnTo>
                  <a:lnTo>
                    <a:pt x="33" y="421"/>
                  </a:lnTo>
                  <a:lnTo>
                    <a:pt x="31" y="421"/>
                  </a:lnTo>
                  <a:lnTo>
                    <a:pt x="28" y="421"/>
                  </a:lnTo>
                  <a:lnTo>
                    <a:pt x="28" y="419"/>
                  </a:lnTo>
                  <a:lnTo>
                    <a:pt x="28" y="419"/>
                  </a:lnTo>
                  <a:lnTo>
                    <a:pt x="28" y="419"/>
                  </a:lnTo>
                  <a:lnTo>
                    <a:pt x="26" y="419"/>
                  </a:lnTo>
                  <a:lnTo>
                    <a:pt x="23" y="416"/>
                  </a:lnTo>
                  <a:lnTo>
                    <a:pt x="21" y="416"/>
                  </a:lnTo>
                  <a:lnTo>
                    <a:pt x="19" y="416"/>
                  </a:lnTo>
                  <a:lnTo>
                    <a:pt x="19" y="419"/>
                  </a:lnTo>
                  <a:lnTo>
                    <a:pt x="16" y="419"/>
                  </a:lnTo>
                  <a:lnTo>
                    <a:pt x="12" y="419"/>
                  </a:lnTo>
                  <a:lnTo>
                    <a:pt x="12" y="416"/>
                  </a:lnTo>
                  <a:lnTo>
                    <a:pt x="9" y="414"/>
                  </a:lnTo>
                  <a:lnTo>
                    <a:pt x="12" y="409"/>
                  </a:lnTo>
                  <a:lnTo>
                    <a:pt x="9" y="409"/>
                  </a:lnTo>
                  <a:lnTo>
                    <a:pt x="5" y="407"/>
                  </a:lnTo>
                  <a:lnTo>
                    <a:pt x="2" y="404"/>
                  </a:lnTo>
                  <a:lnTo>
                    <a:pt x="0" y="407"/>
                  </a:lnTo>
                  <a:lnTo>
                    <a:pt x="2" y="404"/>
                  </a:lnTo>
                  <a:lnTo>
                    <a:pt x="7" y="404"/>
                  </a:lnTo>
                  <a:lnTo>
                    <a:pt x="12" y="402"/>
                  </a:lnTo>
                  <a:lnTo>
                    <a:pt x="21" y="397"/>
                  </a:lnTo>
                  <a:lnTo>
                    <a:pt x="23" y="395"/>
                  </a:lnTo>
                  <a:lnTo>
                    <a:pt x="26" y="390"/>
                  </a:lnTo>
                  <a:lnTo>
                    <a:pt x="28" y="388"/>
                  </a:lnTo>
                  <a:lnTo>
                    <a:pt x="31" y="385"/>
                  </a:lnTo>
                  <a:lnTo>
                    <a:pt x="38" y="381"/>
                  </a:lnTo>
                  <a:lnTo>
                    <a:pt x="40" y="378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 cap="flat">
              <a:solidFill>
                <a:schemeClr val="bg2">
                  <a:lumMod val="7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>
                <a:solidFill>
                  <a:srgbClr val="000000"/>
                </a:solidFill>
              </a:endParaRPr>
            </a:p>
          </p:txBody>
        </p:sp>
        <p:sp>
          <p:nvSpPr>
            <p:cNvPr id="82" name="Freeform 34"/>
            <p:cNvSpPr>
              <a:spLocks noEditPoints="1"/>
            </p:cNvSpPr>
            <p:nvPr/>
          </p:nvSpPr>
          <p:spPr bwMode="gray">
            <a:xfrm>
              <a:off x="2252029" y="5814744"/>
              <a:ext cx="561591" cy="388669"/>
            </a:xfrm>
            <a:custGeom>
              <a:avLst/>
              <a:gdLst/>
              <a:ahLst/>
              <a:cxnLst>
                <a:cxn ang="0">
                  <a:pos x="10" y="144"/>
                </a:cxn>
                <a:cxn ang="0">
                  <a:pos x="21" y="118"/>
                </a:cxn>
                <a:cxn ang="0">
                  <a:pos x="12" y="96"/>
                </a:cxn>
                <a:cxn ang="0">
                  <a:pos x="14" y="78"/>
                </a:cxn>
                <a:cxn ang="0">
                  <a:pos x="17" y="56"/>
                </a:cxn>
                <a:cxn ang="0">
                  <a:pos x="59" y="37"/>
                </a:cxn>
                <a:cxn ang="0">
                  <a:pos x="102" y="54"/>
                </a:cxn>
                <a:cxn ang="0">
                  <a:pos x="154" y="61"/>
                </a:cxn>
                <a:cxn ang="0">
                  <a:pos x="203" y="68"/>
                </a:cxn>
                <a:cxn ang="0">
                  <a:pos x="258" y="82"/>
                </a:cxn>
                <a:cxn ang="0">
                  <a:pos x="317" y="92"/>
                </a:cxn>
                <a:cxn ang="0">
                  <a:pos x="324" y="66"/>
                </a:cxn>
                <a:cxn ang="0">
                  <a:pos x="347" y="42"/>
                </a:cxn>
                <a:cxn ang="0">
                  <a:pos x="392" y="37"/>
                </a:cxn>
                <a:cxn ang="0">
                  <a:pos x="423" y="9"/>
                </a:cxn>
                <a:cxn ang="0">
                  <a:pos x="444" y="21"/>
                </a:cxn>
                <a:cxn ang="0">
                  <a:pos x="468" y="14"/>
                </a:cxn>
                <a:cxn ang="0">
                  <a:pos x="499" y="11"/>
                </a:cxn>
                <a:cxn ang="0">
                  <a:pos x="522" y="28"/>
                </a:cxn>
                <a:cxn ang="0">
                  <a:pos x="543" y="35"/>
                </a:cxn>
                <a:cxn ang="0">
                  <a:pos x="562" y="26"/>
                </a:cxn>
                <a:cxn ang="0">
                  <a:pos x="581" y="16"/>
                </a:cxn>
                <a:cxn ang="0">
                  <a:pos x="607" y="9"/>
                </a:cxn>
                <a:cxn ang="0">
                  <a:pos x="664" y="7"/>
                </a:cxn>
                <a:cxn ang="0">
                  <a:pos x="654" y="106"/>
                </a:cxn>
                <a:cxn ang="0">
                  <a:pos x="664" y="137"/>
                </a:cxn>
                <a:cxn ang="0">
                  <a:pos x="678" y="156"/>
                </a:cxn>
                <a:cxn ang="0">
                  <a:pos x="666" y="179"/>
                </a:cxn>
                <a:cxn ang="0">
                  <a:pos x="664" y="193"/>
                </a:cxn>
                <a:cxn ang="0">
                  <a:pos x="664" y="229"/>
                </a:cxn>
                <a:cxn ang="0">
                  <a:pos x="664" y="271"/>
                </a:cxn>
                <a:cxn ang="0">
                  <a:pos x="650" y="311"/>
                </a:cxn>
                <a:cxn ang="0">
                  <a:pos x="588" y="373"/>
                </a:cxn>
                <a:cxn ang="0">
                  <a:pos x="506" y="432"/>
                </a:cxn>
                <a:cxn ang="0">
                  <a:pos x="477" y="444"/>
                </a:cxn>
                <a:cxn ang="0">
                  <a:pos x="470" y="427"/>
                </a:cxn>
                <a:cxn ang="0">
                  <a:pos x="477" y="422"/>
                </a:cxn>
                <a:cxn ang="0">
                  <a:pos x="491" y="408"/>
                </a:cxn>
                <a:cxn ang="0">
                  <a:pos x="494" y="389"/>
                </a:cxn>
                <a:cxn ang="0">
                  <a:pos x="491" y="368"/>
                </a:cxn>
                <a:cxn ang="0">
                  <a:pos x="508" y="359"/>
                </a:cxn>
                <a:cxn ang="0">
                  <a:pos x="517" y="340"/>
                </a:cxn>
                <a:cxn ang="0">
                  <a:pos x="506" y="326"/>
                </a:cxn>
                <a:cxn ang="0">
                  <a:pos x="470" y="328"/>
                </a:cxn>
                <a:cxn ang="0">
                  <a:pos x="444" y="326"/>
                </a:cxn>
                <a:cxn ang="0">
                  <a:pos x="402" y="311"/>
                </a:cxn>
                <a:cxn ang="0">
                  <a:pos x="373" y="276"/>
                </a:cxn>
                <a:cxn ang="0">
                  <a:pos x="343" y="243"/>
                </a:cxn>
                <a:cxn ang="0">
                  <a:pos x="302" y="217"/>
                </a:cxn>
                <a:cxn ang="0">
                  <a:pos x="274" y="203"/>
                </a:cxn>
                <a:cxn ang="0">
                  <a:pos x="243" y="198"/>
                </a:cxn>
                <a:cxn ang="0">
                  <a:pos x="220" y="179"/>
                </a:cxn>
                <a:cxn ang="0">
                  <a:pos x="194" y="179"/>
                </a:cxn>
                <a:cxn ang="0">
                  <a:pos x="161" y="170"/>
                </a:cxn>
                <a:cxn ang="0">
                  <a:pos x="128" y="165"/>
                </a:cxn>
                <a:cxn ang="0">
                  <a:pos x="102" y="148"/>
                </a:cxn>
                <a:cxn ang="0">
                  <a:pos x="66" y="153"/>
                </a:cxn>
                <a:cxn ang="0">
                  <a:pos x="28" y="163"/>
                </a:cxn>
                <a:cxn ang="0">
                  <a:pos x="671" y="222"/>
                </a:cxn>
                <a:cxn ang="0">
                  <a:pos x="673" y="196"/>
                </a:cxn>
                <a:cxn ang="0">
                  <a:pos x="688" y="215"/>
                </a:cxn>
                <a:cxn ang="0">
                  <a:pos x="669" y="245"/>
                </a:cxn>
              </a:cxnLst>
              <a:rect l="0" t="0" r="r" b="b"/>
              <a:pathLst>
                <a:path w="695" h="444">
                  <a:moveTo>
                    <a:pt x="0" y="160"/>
                  </a:moveTo>
                  <a:lnTo>
                    <a:pt x="0" y="158"/>
                  </a:lnTo>
                  <a:lnTo>
                    <a:pt x="0" y="158"/>
                  </a:lnTo>
                  <a:lnTo>
                    <a:pt x="0" y="156"/>
                  </a:lnTo>
                  <a:lnTo>
                    <a:pt x="5" y="156"/>
                  </a:lnTo>
                  <a:lnTo>
                    <a:pt x="5" y="156"/>
                  </a:lnTo>
                  <a:lnTo>
                    <a:pt x="2" y="156"/>
                  </a:lnTo>
                  <a:lnTo>
                    <a:pt x="0" y="153"/>
                  </a:lnTo>
                  <a:lnTo>
                    <a:pt x="2" y="153"/>
                  </a:lnTo>
                  <a:lnTo>
                    <a:pt x="2" y="153"/>
                  </a:lnTo>
                  <a:lnTo>
                    <a:pt x="2" y="153"/>
                  </a:lnTo>
                  <a:lnTo>
                    <a:pt x="2" y="151"/>
                  </a:lnTo>
                  <a:lnTo>
                    <a:pt x="2" y="151"/>
                  </a:lnTo>
                  <a:lnTo>
                    <a:pt x="2" y="151"/>
                  </a:lnTo>
                  <a:lnTo>
                    <a:pt x="2" y="151"/>
                  </a:lnTo>
                  <a:lnTo>
                    <a:pt x="2" y="151"/>
                  </a:lnTo>
                  <a:lnTo>
                    <a:pt x="5" y="151"/>
                  </a:lnTo>
                  <a:lnTo>
                    <a:pt x="7" y="151"/>
                  </a:lnTo>
                  <a:lnTo>
                    <a:pt x="2" y="148"/>
                  </a:lnTo>
                  <a:lnTo>
                    <a:pt x="2" y="146"/>
                  </a:lnTo>
                  <a:lnTo>
                    <a:pt x="5" y="146"/>
                  </a:lnTo>
                  <a:lnTo>
                    <a:pt x="7" y="146"/>
                  </a:lnTo>
                  <a:lnTo>
                    <a:pt x="7" y="146"/>
                  </a:lnTo>
                  <a:lnTo>
                    <a:pt x="7" y="146"/>
                  </a:lnTo>
                  <a:lnTo>
                    <a:pt x="7" y="146"/>
                  </a:lnTo>
                  <a:lnTo>
                    <a:pt x="5" y="144"/>
                  </a:lnTo>
                  <a:lnTo>
                    <a:pt x="2" y="144"/>
                  </a:lnTo>
                  <a:lnTo>
                    <a:pt x="5" y="144"/>
                  </a:lnTo>
                  <a:lnTo>
                    <a:pt x="7" y="144"/>
                  </a:lnTo>
                  <a:lnTo>
                    <a:pt x="7" y="146"/>
                  </a:lnTo>
                  <a:lnTo>
                    <a:pt x="10" y="146"/>
                  </a:lnTo>
                  <a:lnTo>
                    <a:pt x="10" y="144"/>
                  </a:lnTo>
                  <a:lnTo>
                    <a:pt x="7" y="144"/>
                  </a:lnTo>
                  <a:lnTo>
                    <a:pt x="7" y="141"/>
                  </a:lnTo>
                  <a:lnTo>
                    <a:pt x="7" y="141"/>
                  </a:lnTo>
                  <a:lnTo>
                    <a:pt x="10" y="144"/>
                  </a:lnTo>
                  <a:lnTo>
                    <a:pt x="10" y="141"/>
                  </a:lnTo>
                  <a:lnTo>
                    <a:pt x="10" y="141"/>
                  </a:lnTo>
                  <a:lnTo>
                    <a:pt x="10" y="141"/>
                  </a:lnTo>
                  <a:lnTo>
                    <a:pt x="10" y="139"/>
                  </a:lnTo>
                  <a:lnTo>
                    <a:pt x="10" y="137"/>
                  </a:lnTo>
                  <a:lnTo>
                    <a:pt x="10" y="137"/>
                  </a:lnTo>
                  <a:lnTo>
                    <a:pt x="12" y="139"/>
                  </a:lnTo>
                  <a:lnTo>
                    <a:pt x="12" y="137"/>
                  </a:lnTo>
                  <a:lnTo>
                    <a:pt x="12" y="137"/>
                  </a:lnTo>
                  <a:lnTo>
                    <a:pt x="14" y="137"/>
                  </a:lnTo>
                  <a:lnTo>
                    <a:pt x="14" y="137"/>
                  </a:lnTo>
                  <a:lnTo>
                    <a:pt x="14" y="134"/>
                  </a:lnTo>
                  <a:lnTo>
                    <a:pt x="12" y="134"/>
                  </a:lnTo>
                  <a:lnTo>
                    <a:pt x="12" y="134"/>
                  </a:lnTo>
                  <a:lnTo>
                    <a:pt x="12" y="132"/>
                  </a:lnTo>
                  <a:lnTo>
                    <a:pt x="14" y="132"/>
                  </a:lnTo>
                  <a:lnTo>
                    <a:pt x="17" y="132"/>
                  </a:lnTo>
                  <a:lnTo>
                    <a:pt x="17" y="132"/>
                  </a:lnTo>
                  <a:lnTo>
                    <a:pt x="17" y="130"/>
                  </a:lnTo>
                  <a:lnTo>
                    <a:pt x="17" y="127"/>
                  </a:lnTo>
                  <a:lnTo>
                    <a:pt x="19" y="130"/>
                  </a:lnTo>
                  <a:lnTo>
                    <a:pt x="19" y="130"/>
                  </a:lnTo>
                  <a:lnTo>
                    <a:pt x="21" y="130"/>
                  </a:lnTo>
                  <a:lnTo>
                    <a:pt x="19" y="130"/>
                  </a:lnTo>
                  <a:lnTo>
                    <a:pt x="17" y="127"/>
                  </a:lnTo>
                  <a:lnTo>
                    <a:pt x="19" y="127"/>
                  </a:lnTo>
                  <a:lnTo>
                    <a:pt x="19" y="125"/>
                  </a:lnTo>
                  <a:lnTo>
                    <a:pt x="19" y="125"/>
                  </a:lnTo>
                  <a:lnTo>
                    <a:pt x="19" y="122"/>
                  </a:lnTo>
                  <a:lnTo>
                    <a:pt x="17" y="122"/>
                  </a:lnTo>
                  <a:lnTo>
                    <a:pt x="19" y="120"/>
                  </a:lnTo>
                  <a:lnTo>
                    <a:pt x="19" y="120"/>
                  </a:lnTo>
                  <a:lnTo>
                    <a:pt x="17" y="120"/>
                  </a:lnTo>
                  <a:lnTo>
                    <a:pt x="17" y="118"/>
                  </a:lnTo>
                  <a:lnTo>
                    <a:pt x="21" y="120"/>
                  </a:lnTo>
                  <a:lnTo>
                    <a:pt x="21" y="118"/>
                  </a:lnTo>
                  <a:lnTo>
                    <a:pt x="21" y="118"/>
                  </a:lnTo>
                  <a:lnTo>
                    <a:pt x="19" y="118"/>
                  </a:lnTo>
                  <a:lnTo>
                    <a:pt x="17" y="118"/>
                  </a:lnTo>
                  <a:lnTo>
                    <a:pt x="17" y="115"/>
                  </a:lnTo>
                  <a:lnTo>
                    <a:pt x="19" y="115"/>
                  </a:lnTo>
                  <a:lnTo>
                    <a:pt x="17" y="115"/>
                  </a:lnTo>
                  <a:lnTo>
                    <a:pt x="17" y="113"/>
                  </a:lnTo>
                  <a:lnTo>
                    <a:pt x="17" y="113"/>
                  </a:lnTo>
                  <a:lnTo>
                    <a:pt x="17" y="111"/>
                  </a:lnTo>
                  <a:lnTo>
                    <a:pt x="17" y="113"/>
                  </a:lnTo>
                  <a:lnTo>
                    <a:pt x="17" y="113"/>
                  </a:lnTo>
                  <a:lnTo>
                    <a:pt x="17" y="111"/>
                  </a:lnTo>
                  <a:lnTo>
                    <a:pt x="17" y="111"/>
                  </a:lnTo>
                  <a:lnTo>
                    <a:pt x="14" y="108"/>
                  </a:lnTo>
                  <a:lnTo>
                    <a:pt x="14" y="108"/>
                  </a:lnTo>
                  <a:lnTo>
                    <a:pt x="17" y="108"/>
                  </a:lnTo>
                  <a:lnTo>
                    <a:pt x="17" y="106"/>
                  </a:lnTo>
                  <a:lnTo>
                    <a:pt x="14" y="106"/>
                  </a:lnTo>
                  <a:lnTo>
                    <a:pt x="14" y="108"/>
                  </a:lnTo>
                  <a:lnTo>
                    <a:pt x="12" y="108"/>
                  </a:lnTo>
                  <a:lnTo>
                    <a:pt x="12" y="106"/>
                  </a:lnTo>
                  <a:lnTo>
                    <a:pt x="12" y="106"/>
                  </a:lnTo>
                  <a:lnTo>
                    <a:pt x="14" y="106"/>
                  </a:lnTo>
                  <a:lnTo>
                    <a:pt x="14" y="106"/>
                  </a:lnTo>
                  <a:lnTo>
                    <a:pt x="14" y="104"/>
                  </a:lnTo>
                  <a:lnTo>
                    <a:pt x="14" y="104"/>
                  </a:lnTo>
                  <a:lnTo>
                    <a:pt x="12" y="101"/>
                  </a:lnTo>
                  <a:lnTo>
                    <a:pt x="12" y="104"/>
                  </a:lnTo>
                  <a:lnTo>
                    <a:pt x="10" y="104"/>
                  </a:lnTo>
                  <a:lnTo>
                    <a:pt x="12" y="101"/>
                  </a:lnTo>
                  <a:lnTo>
                    <a:pt x="10" y="101"/>
                  </a:lnTo>
                  <a:lnTo>
                    <a:pt x="10" y="99"/>
                  </a:lnTo>
                  <a:lnTo>
                    <a:pt x="10" y="101"/>
                  </a:lnTo>
                  <a:lnTo>
                    <a:pt x="12" y="99"/>
                  </a:lnTo>
                  <a:lnTo>
                    <a:pt x="12" y="99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14" y="96"/>
                  </a:lnTo>
                  <a:lnTo>
                    <a:pt x="12" y="94"/>
                  </a:lnTo>
                  <a:lnTo>
                    <a:pt x="12" y="94"/>
                  </a:lnTo>
                  <a:lnTo>
                    <a:pt x="14" y="94"/>
                  </a:lnTo>
                  <a:lnTo>
                    <a:pt x="14" y="92"/>
                  </a:lnTo>
                  <a:lnTo>
                    <a:pt x="14" y="92"/>
                  </a:lnTo>
                  <a:lnTo>
                    <a:pt x="14" y="92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0" y="89"/>
                  </a:lnTo>
                  <a:lnTo>
                    <a:pt x="10" y="89"/>
                  </a:lnTo>
                  <a:lnTo>
                    <a:pt x="12" y="89"/>
                  </a:lnTo>
                  <a:lnTo>
                    <a:pt x="12" y="89"/>
                  </a:lnTo>
                  <a:lnTo>
                    <a:pt x="12" y="89"/>
                  </a:lnTo>
                  <a:lnTo>
                    <a:pt x="12" y="87"/>
                  </a:lnTo>
                  <a:lnTo>
                    <a:pt x="12" y="87"/>
                  </a:lnTo>
                  <a:lnTo>
                    <a:pt x="12" y="87"/>
                  </a:lnTo>
                  <a:lnTo>
                    <a:pt x="12" y="85"/>
                  </a:lnTo>
                  <a:lnTo>
                    <a:pt x="12" y="85"/>
                  </a:lnTo>
                  <a:lnTo>
                    <a:pt x="12" y="82"/>
                  </a:lnTo>
                  <a:lnTo>
                    <a:pt x="14" y="82"/>
                  </a:lnTo>
                  <a:lnTo>
                    <a:pt x="14" y="80"/>
                  </a:lnTo>
                  <a:lnTo>
                    <a:pt x="17" y="80"/>
                  </a:lnTo>
                  <a:lnTo>
                    <a:pt x="17" y="80"/>
                  </a:lnTo>
                  <a:lnTo>
                    <a:pt x="14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4" y="80"/>
                  </a:lnTo>
                  <a:lnTo>
                    <a:pt x="12" y="78"/>
                  </a:lnTo>
                  <a:lnTo>
                    <a:pt x="12" y="78"/>
                  </a:lnTo>
                  <a:lnTo>
                    <a:pt x="12" y="78"/>
                  </a:lnTo>
                  <a:lnTo>
                    <a:pt x="14" y="78"/>
                  </a:lnTo>
                  <a:lnTo>
                    <a:pt x="14" y="78"/>
                  </a:lnTo>
                  <a:lnTo>
                    <a:pt x="14" y="75"/>
                  </a:lnTo>
                  <a:lnTo>
                    <a:pt x="12" y="75"/>
                  </a:lnTo>
                  <a:lnTo>
                    <a:pt x="12" y="73"/>
                  </a:lnTo>
                  <a:lnTo>
                    <a:pt x="14" y="73"/>
                  </a:lnTo>
                  <a:lnTo>
                    <a:pt x="14" y="73"/>
                  </a:lnTo>
                  <a:lnTo>
                    <a:pt x="14" y="73"/>
                  </a:lnTo>
                  <a:lnTo>
                    <a:pt x="17" y="73"/>
                  </a:lnTo>
                  <a:lnTo>
                    <a:pt x="17" y="70"/>
                  </a:lnTo>
                  <a:lnTo>
                    <a:pt x="17" y="70"/>
                  </a:lnTo>
                  <a:lnTo>
                    <a:pt x="17" y="70"/>
                  </a:lnTo>
                  <a:lnTo>
                    <a:pt x="17" y="68"/>
                  </a:lnTo>
                  <a:lnTo>
                    <a:pt x="17" y="68"/>
                  </a:lnTo>
                  <a:lnTo>
                    <a:pt x="17" y="68"/>
                  </a:lnTo>
                  <a:lnTo>
                    <a:pt x="17" y="70"/>
                  </a:lnTo>
                  <a:lnTo>
                    <a:pt x="17" y="68"/>
                  </a:lnTo>
                  <a:lnTo>
                    <a:pt x="14" y="68"/>
                  </a:lnTo>
                  <a:lnTo>
                    <a:pt x="17" y="68"/>
                  </a:lnTo>
                  <a:lnTo>
                    <a:pt x="17" y="68"/>
                  </a:lnTo>
                  <a:lnTo>
                    <a:pt x="17" y="66"/>
                  </a:lnTo>
                  <a:lnTo>
                    <a:pt x="17" y="66"/>
                  </a:lnTo>
                  <a:lnTo>
                    <a:pt x="17" y="63"/>
                  </a:lnTo>
                  <a:lnTo>
                    <a:pt x="17" y="63"/>
                  </a:lnTo>
                  <a:lnTo>
                    <a:pt x="17" y="63"/>
                  </a:lnTo>
                  <a:lnTo>
                    <a:pt x="19" y="63"/>
                  </a:lnTo>
                  <a:lnTo>
                    <a:pt x="19" y="63"/>
                  </a:lnTo>
                  <a:lnTo>
                    <a:pt x="17" y="63"/>
                  </a:lnTo>
                  <a:lnTo>
                    <a:pt x="17" y="61"/>
                  </a:lnTo>
                  <a:lnTo>
                    <a:pt x="17" y="61"/>
                  </a:lnTo>
                  <a:lnTo>
                    <a:pt x="17" y="61"/>
                  </a:lnTo>
                  <a:lnTo>
                    <a:pt x="17" y="61"/>
                  </a:lnTo>
                  <a:lnTo>
                    <a:pt x="17" y="59"/>
                  </a:lnTo>
                  <a:lnTo>
                    <a:pt x="17" y="59"/>
                  </a:lnTo>
                  <a:lnTo>
                    <a:pt x="17" y="56"/>
                  </a:lnTo>
                  <a:lnTo>
                    <a:pt x="17" y="56"/>
                  </a:lnTo>
                  <a:lnTo>
                    <a:pt x="17" y="56"/>
                  </a:lnTo>
                  <a:lnTo>
                    <a:pt x="17" y="54"/>
                  </a:lnTo>
                  <a:lnTo>
                    <a:pt x="17" y="54"/>
                  </a:lnTo>
                  <a:lnTo>
                    <a:pt x="19" y="54"/>
                  </a:lnTo>
                  <a:lnTo>
                    <a:pt x="17" y="52"/>
                  </a:lnTo>
                  <a:lnTo>
                    <a:pt x="19" y="52"/>
                  </a:lnTo>
                  <a:lnTo>
                    <a:pt x="19" y="52"/>
                  </a:lnTo>
                  <a:lnTo>
                    <a:pt x="19" y="49"/>
                  </a:lnTo>
                  <a:lnTo>
                    <a:pt x="21" y="49"/>
                  </a:lnTo>
                  <a:lnTo>
                    <a:pt x="19" y="49"/>
                  </a:lnTo>
                  <a:lnTo>
                    <a:pt x="21" y="49"/>
                  </a:lnTo>
                  <a:lnTo>
                    <a:pt x="21" y="49"/>
                  </a:lnTo>
                  <a:lnTo>
                    <a:pt x="21" y="44"/>
                  </a:lnTo>
                  <a:lnTo>
                    <a:pt x="24" y="44"/>
                  </a:lnTo>
                  <a:lnTo>
                    <a:pt x="24" y="42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6" y="40"/>
                  </a:lnTo>
                  <a:lnTo>
                    <a:pt x="26" y="40"/>
                  </a:lnTo>
                  <a:lnTo>
                    <a:pt x="28" y="40"/>
                  </a:lnTo>
                  <a:lnTo>
                    <a:pt x="31" y="40"/>
                  </a:lnTo>
                  <a:lnTo>
                    <a:pt x="31" y="42"/>
                  </a:lnTo>
                  <a:lnTo>
                    <a:pt x="33" y="42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8" y="44"/>
                  </a:lnTo>
                  <a:lnTo>
                    <a:pt x="43" y="44"/>
                  </a:lnTo>
                  <a:lnTo>
                    <a:pt x="45" y="44"/>
                  </a:lnTo>
                  <a:lnTo>
                    <a:pt x="45" y="44"/>
                  </a:lnTo>
                  <a:lnTo>
                    <a:pt x="47" y="44"/>
                  </a:lnTo>
                  <a:lnTo>
                    <a:pt x="50" y="42"/>
                  </a:lnTo>
                  <a:lnTo>
                    <a:pt x="50" y="42"/>
                  </a:lnTo>
                  <a:lnTo>
                    <a:pt x="52" y="42"/>
                  </a:lnTo>
                  <a:lnTo>
                    <a:pt x="57" y="37"/>
                  </a:lnTo>
                  <a:lnTo>
                    <a:pt x="57" y="37"/>
                  </a:lnTo>
                  <a:lnTo>
                    <a:pt x="59" y="40"/>
                  </a:lnTo>
                  <a:lnTo>
                    <a:pt x="59" y="37"/>
                  </a:lnTo>
                  <a:lnTo>
                    <a:pt x="62" y="40"/>
                  </a:lnTo>
                  <a:lnTo>
                    <a:pt x="62" y="37"/>
                  </a:lnTo>
                  <a:lnTo>
                    <a:pt x="62" y="37"/>
                  </a:lnTo>
                  <a:lnTo>
                    <a:pt x="64" y="37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6" y="40"/>
                  </a:lnTo>
                  <a:lnTo>
                    <a:pt x="66" y="40"/>
                  </a:lnTo>
                  <a:lnTo>
                    <a:pt x="71" y="37"/>
                  </a:lnTo>
                  <a:lnTo>
                    <a:pt x="71" y="40"/>
                  </a:lnTo>
                  <a:lnTo>
                    <a:pt x="71" y="40"/>
                  </a:lnTo>
                  <a:lnTo>
                    <a:pt x="73" y="42"/>
                  </a:lnTo>
                  <a:lnTo>
                    <a:pt x="73" y="44"/>
                  </a:lnTo>
                  <a:lnTo>
                    <a:pt x="73" y="44"/>
                  </a:lnTo>
                  <a:lnTo>
                    <a:pt x="73" y="44"/>
                  </a:lnTo>
                  <a:lnTo>
                    <a:pt x="73" y="44"/>
                  </a:lnTo>
                  <a:lnTo>
                    <a:pt x="76" y="47"/>
                  </a:lnTo>
                  <a:lnTo>
                    <a:pt x="80" y="49"/>
                  </a:lnTo>
                  <a:lnTo>
                    <a:pt x="80" y="49"/>
                  </a:lnTo>
                  <a:lnTo>
                    <a:pt x="80" y="49"/>
                  </a:lnTo>
                  <a:lnTo>
                    <a:pt x="83" y="52"/>
                  </a:lnTo>
                  <a:lnTo>
                    <a:pt x="83" y="52"/>
                  </a:lnTo>
                  <a:lnTo>
                    <a:pt x="85" y="52"/>
                  </a:lnTo>
                  <a:lnTo>
                    <a:pt x="85" y="52"/>
                  </a:lnTo>
                  <a:lnTo>
                    <a:pt x="85" y="52"/>
                  </a:lnTo>
                  <a:lnTo>
                    <a:pt x="87" y="52"/>
                  </a:lnTo>
                  <a:lnTo>
                    <a:pt x="87" y="54"/>
                  </a:lnTo>
                  <a:lnTo>
                    <a:pt x="90" y="54"/>
                  </a:lnTo>
                  <a:lnTo>
                    <a:pt x="90" y="54"/>
                  </a:lnTo>
                  <a:lnTo>
                    <a:pt x="92" y="56"/>
                  </a:lnTo>
                  <a:lnTo>
                    <a:pt x="92" y="56"/>
                  </a:lnTo>
                  <a:lnTo>
                    <a:pt x="92" y="56"/>
                  </a:lnTo>
                  <a:lnTo>
                    <a:pt x="95" y="59"/>
                  </a:lnTo>
                  <a:lnTo>
                    <a:pt x="95" y="59"/>
                  </a:lnTo>
                  <a:lnTo>
                    <a:pt x="99" y="56"/>
                  </a:lnTo>
                  <a:lnTo>
                    <a:pt x="102" y="54"/>
                  </a:lnTo>
                  <a:lnTo>
                    <a:pt x="106" y="52"/>
                  </a:lnTo>
                  <a:lnTo>
                    <a:pt x="111" y="54"/>
                  </a:lnTo>
                  <a:lnTo>
                    <a:pt x="113" y="54"/>
                  </a:lnTo>
                  <a:lnTo>
                    <a:pt x="113" y="54"/>
                  </a:lnTo>
                  <a:lnTo>
                    <a:pt x="116" y="52"/>
                  </a:lnTo>
                  <a:lnTo>
                    <a:pt x="118" y="54"/>
                  </a:lnTo>
                  <a:lnTo>
                    <a:pt x="118" y="54"/>
                  </a:lnTo>
                  <a:lnTo>
                    <a:pt x="121" y="54"/>
                  </a:lnTo>
                  <a:lnTo>
                    <a:pt x="121" y="54"/>
                  </a:lnTo>
                  <a:lnTo>
                    <a:pt x="121" y="54"/>
                  </a:lnTo>
                  <a:lnTo>
                    <a:pt x="125" y="52"/>
                  </a:lnTo>
                  <a:lnTo>
                    <a:pt x="125" y="52"/>
                  </a:lnTo>
                  <a:lnTo>
                    <a:pt x="128" y="52"/>
                  </a:lnTo>
                  <a:lnTo>
                    <a:pt x="130" y="52"/>
                  </a:lnTo>
                  <a:lnTo>
                    <a:pt x="130" y="52"/>
                  </a:lnTo>
                  <a:lnTo>
                    <a:pt x="130" y="52"/>
                  </a:lnTo>
                  <a:lnTo>
                    <a:pt x="132" y="52"/>
                  </a:lnTo>
                  <a:lnTo>
                    <a:pt x="132" y="52"/>
                  </a:lnTo>
                  <a:lnTo>
                    <a:pt x="135" y="52"/>
                  </a:lnTo>
                  <a:lnTo>
                    <a:pt x="137" y="52"/>
                  </a:lnTo>
                  <a:lnTo>
                    <a:pt x="137" y="52"/>
                  </a:lnTo>
                  <a:lnTo>
                    <a:pt x="137" y="52"/>
                  </a:lnTo>
                  <a:lnTo>
                    <a:pt x="139" y="52"/>
                  </a:lnTo>
                  <a:lnTo>
                    <a:pt x="139" y="52"/>
                  </a:lnTo>
                  <a:lnTo>
                    <a:pt x="142" y="54"/>
                  </a:lnTo>
                  <a:lnTo>
                    <a:pt x="142" y="52"/>
                  </a:lnTo>
                  <a:lnTo>
                    <a:pt x="142" y="54"/>
                  </a:lnTo>
                  <a:lnTo>
                    <a:pt x="144" y="54"/>
                  </a:lnTo>
                  <a:lnTo>
                    <a:pt x="147" y="52"/>
                  </a:lnTo>
                  <a:lnTo>
                    <a:pt x="149" y="54"/>
                  </a:lnTo>
                  <a:lnTo>
                    <a:pt x="151" y="56"/>
                  </a:lnTo>
                  <a:lnTo>
                    <a:pt x="151" y="56"/>
                  </a:lnTo>
                  <a:lnTo>
                    <a:pt x="151" y="59"/>
                  </a:lnTo>
                  <a:lnTo>
                    <a:pt x="154" y="59"/>
                  </a:lnTo>
                  <a:lnTo>
                    <a:pt x="154" y="59"/>
                  </a:lnTo>
                  <a:lnTo>
                    <a:pt x="154" y="61"/>
                  </a:lnTo>
                  <a:lnTo>
                    <a:pt x="156" y="61"/>
                  </a:lnTo>
                  <a:lnTo>
                    <a:pt x="156" y="61"/>
                  </a:lnTo>
                  <a:lnTo>
                    <a:pt x="156" y="61"/>
                  </a:lnTo>
                  <a:lnTo>
                    <a:pt x="158" y="59"/>
                  </a:lnTo>
                  <a:lnTo>
                    <a:pt x="161" y="61"/>
                  </a:lnTo>
                  <a:lnTo>
                    <a:pt x="161" y="59"/>
                  </a:lnTo>
                  <a:lnTo>
                    <a:pt x="163" y="61"/>
                  </a:lnTo>
                  <a:lnTo>
                    <a:pt x="163" y="59"/>
                  </a:lnTo>
                  <a:lnTo>
                    <a:pt x="165" y="59"/>
                  </a:lnTo>
                  <a:lnTo>
                    <a:pt x="170" y="61"/>
                  </a:lnTo>
                  <a:lnTo>
                    <a:pt x="173" y="61"/>
                  </a:lnTo>
                  <a:lnTo>
                    <a:pt x="173" y="63"/>
                  </a:lnTo>
                  <a:lnTo>
                    <a:pt x="175" y="63"/>
                  </a:lnTo>
                  <a:lnTo>
                    <a:pt x="175" y="63"/>
                  </a:lnTo>
                  <a:lnTo>
                    <a:pt x="175" y="63"/>
                  </a:lnTo>
                  <a:lnTo>
                    <a:pt x="177" y="63"/>
                  </a:lnTo>
                  <a:lnTo>
                    <a:pt x="180" y="63"/>
                  </a:lnTo>
                  <a:lnTo>
                    <a:pt x="182" y="63"/>
                  </a:lnTo>
                  <a:lnTo>
                    <a:pt x="182" y="61"/>
                  </a:lnTo>
                  <a:lnTo>
                    <a:pt x="182" y="63"/>
                  </a:lnTo>
                  <a:lnTo>
                    <a:pt x="184" y="63"/>
                  </a:lnTo>
                  <a:lnTo>
                    <a:pt x="184" y="63"/>
                  </a:lnTo>
                  <a:lnTo>
                    <a:pt x="187" y="63"/>
                  </a:lnTo>
                  <a:lnTo>
                    <a:pt x="187" y="63"/>
                  </a:lnTo>
                  <a:lnTo>
                    <a:pt x="189" y="63"/>
                  </a:lnTo>
                  <a:lnTo>
                    <a:pt x="189" y="63"/>
                  </a:lnTo>
                  <a:lnTo>
                    <a:pt x="191" y="63"/>
                  </a:lnTo>
                  <a:lnTo>
                    <a:pt x="194" y="63"/>
                  </a:lnTo>
                  <a:lnTo>
                    <a:pt x="196" y="66"/>
                  </a:lnTo>
                  <a:lnTo>
                    <a:pt x="196" y="68"/>
                  </a:lnTo>
                  <a:lnTo>
                    <a:pt x="196" y="68"/>
                  </a:lnTo>
                  <a:lnTo>
                    <a:pt x="199" y="66"/>
                  </a:lnTo>
                  <a:lnTo>
                    <a:pt x="201" y="66"/>
                  </a:lnTo>
                  <a:lnTo>
                    <a:pt x="201" y="66"/>
                  </a:lnTo>
                  <a:lnTo>
                    <a:pt x="201" y="68"/>
                  </a:lnTo>
                  <a:lnTo>
                    <a:pt x="203" y="68"/>
                  </a:lnTo>
                  <a:lnTo>
                    <a:pt x="206" y="66"/>
                  </a:lnTo>
                  <a:lnTo>
                    <a:pt x="208" y="63"/>
                  </a:lnTo>
                  <a:lnTo>
                    <a:pt x="213" y="68"/>
                  </a:lnTo>
                  <a:lnTo>
                    <a:pt x="213" y="68"/>
                  </a:lnTo>
                  <a:lnTo>
                    <a:pt x="215" y="68"/>
                  </a:lnTo>
                  <a:lnTo>
                    <a:pt x="215" y="68"/>
                  </a:lnTo>
                  <a:lnTo>
                    <a:pt x="217" y="68"/>
                  </a:lnTo>
                  <a:lnTo>
                    <a:pt x="220" y="70"/>
                  </a:lnTo>
                  <a:lnTo>
                    <a:pt x="220" y="73"/>
                  </a:lnTo>
                  <a:lnTo>
                    <a:pt x="220" y="73"/>
                  </a:lnTo>
                  <a:lnTo>
                    <a:pt x="222" y="73"/>
                  </a:lnTo>
                  <a:lnTo>
                    <a:pt x="222" y="75"/>
                  </a:lnTo>
                  <a:lnTo>
                    <a:pt x="225" y="75"/>
                  </a:lnTo>
                  <a:lnTo>
                    <a:pt x="225" y="75"/>
                  </a:lnTo>
                  <a:lnTo>
                    <a:pt x="225" y="75"/>
                  </a:lnTo>
                  <a:lnTo>
                    <a:pt x="227" y="78"/>
                  </a:lnTo>
                  <a:lnTo>
                    <a:pt x="229" y="78"/>
                  </a:lnTo>
                  <a:lnTo>
                    <a:pt x="229" y="78"/>
                  </a:lnTo>
                  <a:lnTo>
                    <a:pt x="229" y="78"/>
                  </a:lnTo>
                  <a:lnTo>
                    <a:pt x="229" y="80"/>
                  </a:lnTo>
                  <a:lnTo>
                    <a:pt x="232" y="80"/>
                  </a:lnTo>
                  <a:lnTo>
                    <a:pt x="234" y="80"/>
                  </a:lnTo>
                  <a:lnTo>
                    <a:pt x="234" y="80"/>
                  </a:lnTo>
                  <a:lnTo>
                    <a:pt x="236" y="80"/>
                  </a:lnTo>
                  <a:lnTo>
                    <a:pt x="239" y="82"/>
                  </a:lnTo>
                  <a:lnTo>
                    <a:pt x="239" y="80"/>
                  </a:lnTo>
                  <a:lnTo>
                    <a:pt x="241" y="82"/>
                  </a:lnTo>
                  <a:lnTo>
                    <a:pt x="246" y="82"/>
                  </a:lnTo>
                  <a:lnTo>
                    <a:pt x="248" y="82"/>
                  </a:lnTo>
                  <a:lnTo>
                    <a:pt x="248" y="85"/>
                  </a:lnTo>
                  <a:lnTo>
                    <a:pt x="248" y="85"/>
                  </a:lnTo>
                  <a:lnTo>
                    <a:pt x="248" y="85"/>
                  </a:lnTo>
                  <a:lnTo>
                    <a:pt x="250" y="82"/>
                  </a:lnTo>
                  <a:lnTo>
                    <a:pt x="253" y="85"/>
                  </a:lnTo>
                  <a:lnTo>
                    <a:pt x="255" y="82"/>
                  </a:lnTo>
                  <a:lnTo>
                    <a:pt x="258" y="82"/>
                  </a:lnTo>
                  <a:lnTo>
                    <a:pt x="260" y="82"/>
                  </a:lnTo>
                  <a:lnTo>
                    <a:pt x="267" y="82"/>
                  </a:lnTo>
                  <a:lnTo>
                    <a:pt x="269" y="82"/>
                  </a:lnTo>
                  <a:lnTo>
                    <a:pt x="272" y="82"/>
                  </a:lnTo>
                  <a:lnTo>
                    <a:pt x="274" y="80"/>
                  </a:lnTo>
                  <a:lnTo>
                    <a:pt x="276" y="82"/>
                  </a:lnTo>
                  <a:lnTo>
                    <a:pt x="279" y="82"/>
                  </a:lnTo>
                  <a:lnTo>
                    <a:pt x="281" y="82"/>
                  </a:lnTo>
                  <a:lnTo>
                    <a:pt x="284" y="82"/>
                  </a:lnTo>
                  <a:lnTo>
                    <a:pt x="286" y="82"/>
                  </a:lnTo>
                  <a:lnTo>
                    <a:pt x="293" y="82"/>
                  </a:lnTo>
                  <a:lnTo>
                    <a:pt x="295" y="82"/>
                  </a:lnTo>
                  <a:lnTo>
                    <a:pt x="295" y="82"/>
                  </a:lnTo>
                  <a:lnTo>
                    <a:pt x="298" y="85"/>
                  </a:lnTo>
                  <a:lnTo>
                    <a:pt x="298" y="87"/>
                  </a:lnTo>
                  <a:lnTo>
                    <a:pt x="298" y="87"/>
                  </a:lnTo>
                  <a:lnTo>
                    <a:pt x="298" y="87"/>
                  </a:lnTo>
                  <a:lnTo>
                    <a:pt x="300" y="87"/>
                  </a:lnTo>
                  <a:lnTo>
                    <a:pt x="300" y="89"/>
                  </a:lnTo>
                  <a:lnTo>
                    <a:pt x="302" y="89"/>
                  </a:lnTo>
                  <a:lnTo>
                    <a:pt x="302" y="92"/>
                  </a:lnTo>
                  <a:lnTo>
                    <a:pt x="302" y="94"/>
                  </a:lnTo>
                  <a:lnTo>
                    <a:pt x="305" y="96"/>
                  </a:lnTo>
                  <a:lnTo>
                    <a:pt x="307" y="99"/>
                  </a:lnTo>
                  <a:lnTo>
                    <a:pt x="307" y="99"/>
                  </a:lnTo>
                  <a:lnTo>
                    <a:pt x="307" y="99"/>
                  </a:lnTo>
                  <a:lnTo>
                    <a:pt x="310" y="99"/>
                  </a:lnTo>
                  <a:lnTo>
                    <a:pt x="310" y="96"/>
                  </a:lnTo>
                  <a:lnTo>
                    <a:pt x="307" y="94"/>
                  </a:lnTo>
                  <a:lnTo>
                    <a:pt x="310" y="92"/>
                  </a:lnTo>
                  <a:lnTo>
                    <a:pt x="312" y="92"/>
                  </a:lnTo>
                  <a:lnTo>
                    <a:pt x="312" y="92"/>
                  </a:lnTo>
                  <a:lnTo>
                    <a:pt x="314" y="92"/>
                  </a:lnTo>
                  <a:lnTo>
                    <a:pt x="317" y="92"/>
                  </a:lnTo>
                  <a:lnTo>
                    <a:pt x="317" y="92"/>
                  </a:lnTo>
                  <a:lnTo>
                    <a:pt x="317" y="92"/>
                  </a:lnTo>
                  <a:lnTo>
                    <a:pt x="319" y="92"/>
                  </a:lnTo>
                  <a:lnTo>
                    <a:pt x="321" y="92"/>
                  </a:lnTo>
                  <a:lnTo>
                    <a:pt x="324" y="92"/>
                  </a:lnTo>
                  <a:lnTo>
                    <a:pt x="324" y="89"/>
                  </a:lnTo>
                  <a:lnTo>
                    <a:pt x="324" y="89"/>
                  </a:lnTo>
                  <a:lnTo>
                    <a:pt x="324" y="89"/>
                  </a:lnTo>
                  <a:lnTo>
                    <a:pt x="326" y="89"/>
                  </a:lnTo>
                  <a:lnTo>
                    <a:pt x="326" y="89"/>
                  </a:lnTo>
                  <a:lnTo>
                    <a:pt x="328" y="89"/>
                  </a:lnTo>
                  <a:lnTo>
                    <a:pt x="328" y="87"/>
                  </a:lnTo>
                  <a:lnTo>
                    <a:pt x="331" y="87"/>
                  </a:lnTo>
                  <a:lnTo>
                    <a:pt x="328" y="85"/>
                  </a:lnTo>
                  <a:lnTo>
                    <a:pt x="331" y="85"/>
                  </a:lnTo>
                  <a:lnTo>
                    <a:pt x="331" y="82"/>
                  </a:lnTo>
                  <a:lnTo>
                    <a:pt x="331" y="82"/>
                  </a:lnTo>
                  <a:lnTo>
                    <a:pt x="331" y="80"/>
                  </a:lnTo>
                  <a:lnTo>
                    <a:pt x="331" y="80"/>
                  </a:lnTo>
                  <a:lnTo>
                    <a:pt x="331" y="80"/>
                  </a:lnTo>
                  <a:lnTo>
                    <a:pt x="331" y="78"/>
                  </a:lnTo>
                  <a:lnTo>
                    <a:pt x="328" y="78"/>
                  </a:lnTo>
                  <a:lnTo>
                    <a:pt x="328" y="78"/>
                  </a:lnTo>
                  <a:lnTo>
                    <a:pt x="328" y="78"/>
                  </a:lnTo>
                  <a:lnTo>
                    <a:pt x="328" y="75"/>
                  </a:lnTo>
                  <a:lnTo>
                    <a:pt x="326" y="75"/>
                  </a:lnTo>
                  <a:lnTo>
                    <a:pt x="326" y="73"/>
                  </a:lnTo>
                  <a:lnTo>
                    <a:pt x="324" y="73"/>
                  </a:lnTo>
                  <a:lnTo>
                    <a:pt x="324" y="70"/>
                  </a:lnTo>
                  <a:lnTo>
                    <a:pt x="324" y="70"/>
                  </a:lnTo>
                  <a:lnTo>
                    <a:pt x="326" y="70"/>
                  </a:lnTo>
                  <a:lnTo>
                    <a:pt x="326" y="70"/>
                  </a:lnTo>
                  <a:lnTo>
                    <a:pt x="328" y="68"/>
                  </a:lnTo>
                  <a:lnTo>
                    <a:pt x="326" y="68"/>
                  </a:lnTo>
                  <a:lnTo>
                    <a:pt x="328" y="68"/>
                  </a:lnTo>
                  <a:lnTo>
                    <a:pt x="326" y="66"/>
                  </a:lnTo>
                  <a:lnTo>
                    <a:pt x="324" y="66"/>
                  </a:lnTo>
                  <a:lnTo>
                    <a:pt x="324" y="66"/>
                  </a:lnTo>
                  <a:lnTo>
                    <a:pt x="324" y="66"/>
                  </a:lnTo>
                  <a:lnTo>
                    <a:pt x="324" y="63"/>
                  </a:lnTo>
                  <a:lnTo>
                    <a:pt x="321" y="63"/>
                  </a:lnTo>
                  <a:lnTo>
                    <a:pt x="321" y="61"/>
                  </a:lnTo>
                  <a:lnTo>
                    <a:pt x="321" y="61"/>
                  </a:lnTo>
                  <a:lnTo>
                    <a:pt x="324" y="61"/>
                  </a:lnTo>
                  <a:lnTo>
                    <a:pt x="321" y="59"/>
                  </a:lnTo>
                  <a:lnTo>
                    <a:pt x="321" y="59"/>
                  </a:lnTo>
                  <a:lnTo>
                    <a:pt x="324" y="59"/>
                  </a:lnTo>
                  <a:lnTo>
                    <a:pt x="324" y="59"/>
                  </a:lnTo>
                  <a:lnTo>
                    <a:pt x="324" y="56"/>
                  </a:lnTo>
                  <a:lnTo>
                    <a:pt x="328" y="56"/>
                  </a:lnTo>
                  <a:lnTo>
                    <a:pt x="326" y="54"/>
                  </a:lnTo>
                  <a:lnTo>
                    <a:pt x="326" y="54"/>
                  </a:lnTo>
                  <a:lnTo>
                    <a:pt x="328" y="52"/>
                  </a:lnTo>
                  <a:lnTo>
                    <a:pt x="328" y="52"/>
                  </a:lnTo>
                  <a:lnTo>
                    <a:pt x="326" y="52"/>
                  </a:lnTo>
                  <a:lnTo>
                    <a:pt x="328" y="49"/>
                  </a:lnTo>
                  <a:lnTo>
                    <a:pt x="328" y="49"/>
                  </a:lnTo>
                  <a:lnTo>
                    <a:pt x="328" y="49"/>
                  </a:lnTo>
                  <a:lnTo>
                    <a:pt x="331" y="49"/>
                  </a:lnTo>
                  <a:lnTo>
                    <a:pt x="331" y="47"/>
                  </a:lnTo>
                  <a:lnTo>
                    <a:pt x="333" y="44"/>
                  </a:lnTo>
                  <a:lnTo>
                    <a:pt x="333" y="44"/>
                  </a:lnTo>
                  <a:lnTo>
                    <a:pt x="333" y="44"/>
                  </a:lnTo>
                  <a:lnTo>
                    <a:pt x="336" y="44"/>
                  </a:lnTo>
                  <a:lnTo>
                    <a:pt x="338" y="44"/>
                  </a:lnTo>
                  <a:lnTo>
                    <a:pt x="338" y="44"/>
                  </a:lnTo>
                  <a:lnTo>
                    <a:pt x="338" y="44"/>
                  </a:lnTo>
                  <a:lnTo>
                    <a:pt x="340" y="42"/>
                  </a:lnTo>
                  <a:lnTo>
                    <a:pt x="340" y="44"/>
                  </a:lnTo>
                  <a:lnTo>
                    <a:pt x="343" y="44"/>
                  </a:lnTo>
                  <a:lnTo>
                    <a:pt x="343" y="42"/>
                  </a:lnTo>
                  <a:lnTo>
                    <a:pt x="343" y="42"/>
                  </a:lnTo>
                  <a:lnTo>
                    <a:pt x="345" y="42"/>
                  </a:lnTo>
                  <a:lnTo>
                    <a:pt x="347" y="42"/>
                  </a:lnTo>
                  <a:lnTo>
                    <a:pt x="347" y="40"/>
                  </a:lnTo>
                  <a:lnTo>
                    <a:pt x="347" y="37"/>
                  </a:lnTo>
                  <a:lnTo>
                    <a:pt x="347" y="37"/>
                  </a:lnTo>
                  <a:lnTo>
                    <a:pt x="350" y="35"/>
                  </a:lnTo>
                  <a:lnTo>
                    <a:pt x="352" y="37"/>
                  </a:lnTo>
                  <a:lnTo>
                    <a:pt x="352" y="37"/>
                  </a:lnTo>
                  <a:lnTo>
                    <a:pt x="359" y="35"/>
                  </a:lnTo>
                  <a:lnTo>
                    <a:pt x="359" y="37"/>
                  </a:lnTo>
                  <a:lnTo>
                    <a:pt x="362" y="37"/>
                  </a:lnTo>
                  <a:lnTo>
                    <a:pt x="362" y="42"/>
                  </a:lnTo>
                  <a:lnTo>
                    <a:pt x="366" y="42"/>
                  </a:lnTo>
                  <a:lnTo>
                    <a:pt x="366" y="42"/>
                  </a:lnTo>
                  <a:lnTo>
                    <a:pt x="366" y="42"/>
                  </a:lnTo>
                  <a:lnTo>
                    <a:pt x="369" y="42"/>
                  </a:lnTo>
                  <a:lnTo>
                    <a:pt x="366" y="37"/>
                  </a:lnTo>
                  <a:lnTo>
                    <a:pt x="366" y="37"/>
                  </a:lnTo>
                  <a:lnTo>
                    <a:pt x="369" y="37"/>
                  </a:lnTo>
                  <a:lnTo>
                    <a:pt x="371" y="40"/>
                  </a:lnTo>
                  <a:lnTo>
                    <a:pt x="371" y="44"/>
                  </a:lnTo>
                  <a:lnTo>
                    <a:pt x="371" y="44"/>
                  </a:lnTo>
                  <a:lnTo>
                    <a:pt x="373" y="44"/>
                  </a:lnTo>
                  <a:lnTo>
                    <a:pt x="373" y="42"/>
                  </a:lnTo>
                  <a:lnTo>
                    <a:pt x="376" y="40"/>
                  </a:lnTo>
                  <a:lnTo>
                    <a:pt x="376" y="37"/>
                  </a:lnTo>
                  <a:lnTo>
                    <a:pt x="376" y="37"/>
                  </a:lnTo>
                  <a:lnTo>
                    <a:pt x="378" y="42"/>
                  </a:lnTo>
                  <a:lnTo>
                    <a:pt x="380" y="42"/>
                  </a:lnTo>
                  <a:lnTo>
                    <a:pt x="380" y="42"/>
                  </a:lnTo>
                  <a:lnTo>
                    <a:pt x="380" y="37"/>
                  </a:lnTo>
                  <a:lnTo>
                    <a:pt x="383" y="37"/>
                  </a:lnTo>
                  <a:lnTo>
                    <a:pt x="385" y="37"/>
                  </a:lnTo>
                  <a:lnTo>
                    <a:pt x="385" y="35"/>
                  </a:lnTo>
                  <a:lnTo>
                    <a:pt x="390" y="35"/>
                  </a:lnTo>
                  <a:lnTo>
                    <a:pt x="390" y="35"/>
                  </a:lnTo>
                  <a:lnTo>
                    <a:pt x="390" y="37"/>
                  </a:lnTo>
                  <a:lnTo>
                    <a:pt x="392" y="37"/>
                  </a:lnTo>
                  <a:lnTo>
                    <a:pt x="395" y="37"/>
                  </a:lnTo>
                  <a:lnTo>
                    <a:pt x="395" y="37"/>
                  </a:lnTo>
                  <a:lnTo>
                    <a:pt x="392" y="33"/>
                  </a:lnTo>
                  <a:lnTo>
                    <a:pt x="397" y="30"/>
                  </a:lnTo>
                  <a:lnTo>
                    <a:pt x="397" y="30"/>
                  </a:lnTo>
                  <a:lnTo>
                    <a:pt x="399" y="28"/>
                  </a:lnTo>
                  <a:lnTo>
                    <a:pt x="399" y="26"/>
                  </a:lnTo>
                  <a:lnTo>
                    <a:pt x="399" y="26"/>
                  </a:lnTo>
                  <a:lnTo>
                    <a:pt x="402" y="23"/>
                  </a:lnTo>
                  <a:lnTo>
                    <a:pt x="404" y="23"/>
                  </a:lnTo>
                  <a:lnTo>
                    <a:pt x="404" y="23"/>
                  </a:lnTo>
                  <a:lnTo>
                    <a:pt x="402" y="19"/>
                  </a:lnTo>
                  <a:lnTo>
                    <a:pt x="404" y="19"/>
                  </a:lnTo>
                  <a:lnTo>
                    <a:pt x="404" y="16"/>
                  </a:lnTo>
                  <a:lnTo>
                    <a:pt x="406" y="14"/>
                  </a:lnTo>
                  <a:lnTo>
                    <a:pt x="411" y="16"/>
                  </a:lnTo>
                  <a:lnTo>
                    <a:pt x="411" y="16"/>
                  </a:lnTo>
                  <a:lnTo>
                    <a:pt x="413" y="14"/>
                  </a:lnTo>
                  <a:lnTo>
                    <a:pt x="416" y="14"/>
                  </a:lnTo>
                  <a:lnTo>
                    <a:pt x="416" y="14"/>
                  </a:lnTo>
                  <a:lnTo>
                    <a:pt x="416" y="11"/>
                  </a:lnTo>
                  <a:lnTo>
                    <a:pt x="416" y="11"/>
                  </a:lnTo>
                  <a:lnTo>
                    <a:pt x="413" y="11"/>
                  </a:lnTo>
                  <a:lnTo>
                    <a:pt x="413" y="14"/>
                  </a:lnTo>
                  <a:lnTo>
                    <a:pt x="411" y="14"/>
                  </a:lnTo>
                  <a:lnTo>
                    <a:pt x="411" y="11"/>
                  </a:lnTo>
                  <a:lnTo>
                    <a:pt x="411" y="9"/>
                  </a:lnTo>
                  <a:lnTo>
                    <a:pt x="413" y="7"/>
                  </a:lnTo>
                  <a:lnTo>
                    <a:pt x="413" y="7"/>
                  </a:lnTo>
                  <a:lnTo>
                    <a:pt x="416" y="9"/>
                  </a:lnTo>
                  <a:lnTo>
                    <a:pt x="416" y="9"/>
                  </a:lnTo>
                  <a:lnTo>
                    <a:pt x="416" y="11"/>
                  </a:lnTo>
                  <a:lnTo>
                    <a:pt x="416" y="11"/>
                  </a:lnTo>
                  <a:lnTo>
                    <a:pt x="421" y="9"/>
                  </a:lnTo>
                  <a:lnTo>
                    <a:pt x="421" y="9"/>
                  </a:lnTo>
                  <a:lnTo>
                    <a:pt x="423" y="9"/>
                  </a:lnTo>
                  <a:lnTo>
                    <a:pt x="423" y="9"/>
                  </a:lnTo>
                  <a:lnTo>
                    <a:pt x="423" y="9"/>
                  </a:lnTo>
                  <a:lnTo>
                    <a:pt x="425" y="9"/>
                  </a:lnTo>
                  <a:lnTo>
                    <a:pt x="425" y="9"/>
                  </a:lnTo>
                  <a:lnTo>
                    <a:pt x="425" y="11"/>
                  </a:lnTo>
                  <a:lnTo>
                    <a:pt x="425" y="9"/>
                  </a:lnTo>
                  <a:lnTo>
                    <a:pt x="425" y="9"/>
                  </a:lnTo>
                  <a:lnTo>
                    <a:pt x="425" y="9"/>
                  </a:lnTo>
                  <a:lnTo>
                    <a:pt x="428" y="9"/>
                  </a:lnTo>
                  <a:lnTo>
                    <a:pt x="428" y="11"/>
                  </a:lnTo>
                  <a:lnTo>
                    <a:pt x="428" y="9"/>
                  </a:lnTo>
                  <a:lnTo>
                    <a:pt x="430" y="11"/>
                  </a:lnTo>
                  <a:lnTo>
                    <a:pt x="430" y="11"/>
                  </a:lnTo>
                  <a:lnTo>
                    <a:pt x="430" y="14"/>
                  </a:lnTo>
                  <a:lnTo>
                    <a:pt x="430" y="14"/>
                  </a:lnTo>
                  <a:lnTo>
                    <a:pt x="432" y="14"/>
                  </a:lnTo>
                  <a:lnTo>
                    <a:pt x="432" y="14"/>
                  </a:lnTo>
                  <a:lnTo>
                    <a:pt x="435" y="14"/>
                  </a:lnTo>
                  <a:lnTo>
                    <a:pt x="435" y="14"/>
                  </a:lnTo>
                  <a:lnTo>
                    <a:pt x="435" y="14"/>
                  </a:lnTo>
                  <a:lnTo>
                    <a:pt x="439" y="16"/>
                  </a:lnTo>
                  <a:lnTo>
                    <a:pt x="439" y="19"/>
                  </a:lnTo>
                  <a:lnTo>
                    <a:pt x="439" y="21"/>
                  </a:lnTo>
                  <a:lnTo>
                    <a:pt x="439" y="21"/>
                  </a:lnTo>
                  <a:lnTo>
                    <a:pt x="439" y="21"/>
                  </a:lnTo>
                  <a:lnTo>
                    <a:pt x="439" y="21"/>
                  </a:lnTo>
                  <a:lnTo>
                    <a:pt x="442" y="23"/>
                  </a:lnTo>
                  <a:lnTo>
                    <a:pt x="442" y="23"/>
                  </a:lnTo>
                  <a:lnTo>
                    <a:pt x="444" y="23"/>
                  </a:lnTo>
                  <a:lnTo>
                    <a:pt x="444" y="23"/>
                  </a:lnTo>
                  <a:lnTo>
                    <a:pt x="444" y="23"/>
                  </a:lnTo>
                  <a:lnTo>
                    <a:pt x="444" y="23"/>
                  </a:lnTo>
                  <a:lnTo>
                    <a:pt x="444" y="23"/>
                  </a:lnTo>
                  <a:lnTo>
                    <a:pt x="444" y="23"/>
                  </a:lnTo>
                  <a:lnTo>
                    <a:pt x="444" y="23"/>
                  </a:lnTo>
                  <a:lnTo>
                    <a:pt x="444" y="21"/>
                  </a:lnTo>
                  <a:lnTo>
                    <a:pt x="444" y="21"/>
                  </a:lnTo>
                  <a:lnTo>
                    <a:pt x="444" y="19"/>
                  </a:lnTo>
                  <a:lnTo>
                    <a:pt x="444" y="19"/>
                  </a:lnTo>
                  <a:lnTo>
                    <a:pt x="444" y="16"/>
                  </a:lnTo>
                  <a:lnTo>
                    <a:pt x="444" y="16"/>
                  </a:lnTo>
                  <a:lnTo>
                    <a:pt x="444" y="16"/>
                  </a:lnTo>
                  <a:lnTo>
                    <a:pt x="449" y="14"/>
                  </a:lnTo>
                  <a:lnTo>
                    <a:pt x="451" y="14"/>
                  </a:lnTo>
                  <a:lnTo>
                    <a:pt x="451" y="11"/>
                  </a:lnTo>
                  <a:lnTo>
                    <a:pt x="454" y="14"/>
                  </a:lnTo>
                  <a:lnTo>
                    <a:pt x="454" y="11"/>
                  </a:lnTo>
                  <a:lnTo>
                    <a:pt x="454" y="9"/>
                  </a:lnTo>
                  <a:lnTo>
                    <a:pt x="456" y="11"/>
                  </a:lnTo>
                  <a:lnTo>
                    <a:pt x="456" y="14"/>
                  </a:lnTo>
                  <a:lnTo>
                    <a:pt x="458" y="14"/>
                  </a:lnTo>
                  <a:lnTo>
                    <a:pt x="458" y="14"/>
                  </a:lnTo>
                  <a:lnTo>
                    <a:pt x="458" y="14"/>
                  </a:lnTo>
                  <a:lnTo>
                    <a:pt x="461" y="14"/>
                  </a:lnTo>
                  <a:lnTo>
                    <a:pt x="461" y="14"/>
                  </a:lnTo>
                  <a:lnTo>
                    <a:pt x="461" y="16"/>
                  </a:lnTo>
                  <a:lnTo>
                    <a:pt x="463" y="16"/>
                  </a:lnTo>
                  <a:lnTo>
                    <a:pt x="463" y="16"/>
                  </a:lnTo>
                  <a:lnTo>
                    <a:pt x="463" y="14"/>
                  </a:lnTo>
                  <a:lnTo>
                    <a:pt x="465" y="14"/>
                  </a:lnTo>
                  <a:lnTo>
                    <a:pt x="465" y="11"/>
                  </a:lnTo>
                  <a:lnTo>
                    <a:pt x="465" y="11"/>
                  </a:lnTo>
                  <a:lnTo>
                    <a:pt x="465" y="11"/>
                  </a:lnTo>
                  <a:lnTo>
                    <a:pt x="463" y="11"/>
                  </a:lnTo>
                  <a:lnTo>
                    <a:pt x="463" y="11"/>
                  </a:lnTo>
                  <a:lnTo>
                    <a:pt x="463" y="11"/>
                  </a:lnTo>
                  <a:lnTo>
                    <a:pt x="463" y="9"/>
                  </a:lnTo>
                  <a:lnTo>
                    <a:pt x="463" y="9"/>
                  </a:lnTo>
                  <a:lnTo>
                    <a:pt x="465" y="9"/>
                  </a:lnTo>
                  <a:lnTo>
                    <a:pt x="468" y="9"/>
                  </a:lnTo>
                  <a:lnTo>
                    <a:pt x="468" y="9"/>
                  </a:lnTo>
                  <a:lnTo>
                    <a:pt x="468" y="14"/>
                  </a:lnTo>
                  <a:lnTo>
                    <a:pt x="468" y="14"/>
                  </a:lnTo>
                  <a:lnTo>
                    <a:pt x="468" y="11"/>
                  </a:lnTo>
                  <a:lnTo>
                    <a:pt x="470" y="14"/>
                  </a:lnTo>
                  <a:lnTo>
                    <a:pt x="470" y="14"/>
                  </a:lnTo>
                  <a:lnTo>
                    <a:pt x="473" y="14"/>
                  </a:lnTo>
                  <a:lnTo>
                    <a:pt x="475" y="11"/>
                  </a:lnTo>
                  <a:lnTo>
                    <a:pt x="475" y="9"/>
                  </a:lnTo>
                  <a:lnTo>
                    <a:pt x="477" y="11"/>
                  </a:lnTo>
                  <a:lnTo>
                    <a:pt x="477" y="14"/>
                  </a:lnTo>
                  <a:lnTo>
                    <a:pt x="477" y="11"/>
                  </a:lnTo>
                  <a:lnTo>
                    <a:pt x="477" y="11"/>
                  </a:lnTo>
                  <a:lnTo>
                    <a:pt x="477" y="11"/>
                  </a:lnTo>
                  <a:lnTo>
                    <a:pt x="480" y="11"/>
                  </a:lnTo>
                  <a:lnTo>
                    <a:pt x="480" y="9"/>
                  </a:lnTo>
                  <a:lnTo>
                    <a:pt x="482" y="9"/>
                  </a:lnTo>
                  <a:lnTo>
                    <a:pt x="482" y="9"/>
                  </a:lnTo>
                  <a:lnTo>
                    <a:pt x="484" y="11"/>
                  </a:lnTo>
                  <a:lnTo>
                    <a:pt x="487" y="11"/>
                  </a:lnTo>
                  <a:lnTo>
                    <a:pt x="484" y="9"/>
                  </a:lnTo>
                  <a:lnTo>
                    <a:pt x="484" y="9"/>
                  </a:lnTo>
                  <a:lnTo>
                    <a:pt x="487" y="9"/>
                  </a:lnTo>
                  <a:lnTo>
                    <a:pt x="487" y="7"/>
                  </a:lnTo>
                  <a:lnTo>
                    <a:pt x="489" y="9"/>
                  </a:lnTo>
                  <a:lnTo>
                    <a:pt x="489" y="9"/>
                  </a:lnTo>
                  <a:lnTo>
                    <a:pt x="489" y="11"/>
                  </a:lnTo>
                  <a:lnTo>
                    <a:pt x="489" y="14"/>
                  </a:lnTo>
                  <a:lnTo>
                    <a:pt x="494" y="9"/>
                  </a:lnTo>
                  <a:lnTo>
                    <a:pt x="491" y="9"/>
                  </a:lnTo>
                  <a:lnTo>
                    <a:pt x="491" y="9"/>
                  </a:lnTo>
                  <a:lnTo>
                    <a:pt x="494" y="7"/>
                  </a:lnTo>
                  <a:lnTo>
                    <a:pt x="494" y="9"/>
                  </a:lnTo>
                  <a:lnTo>
                    <a:pt x="494" y="9"/>
                  </a:lnTo>
                  <a:lnTo>
                    <a:pt x="494" y="9"/>
                  </a:lnTo>
                  <a:lnTo>
                    <a:pt x="496" y="9"/>
                  </a:lnTo>
                  <a:lnTo>
                    <a:pt x="499" y="9"/>
                  </a:lnTo>
                  <a:lnTo>
                    <a:pt x="499" y="11"/>
                  </a:lnTo>
                  <a:lnTo>
                    <a:pt x="499" y="9"/>
                  </a:lnTo>
                  <a:lnTo>
                    <a:pt x="503" y="11"/>
                  </a:lnTo>
                  <a:lnTo>
                    <a:pt x="503" y="11"/>
                  </a:lnTo>
                  <a:lnTo>
                    <a:pt x="503" y="14"/>
                  </a:lnTo>
                  <a:lnTo>
                    <a:pt x="503" y="14"/>
                  </a:lnTo>
                  <a:lnTo>
                    <a:pt x="506" y="14"/>
                  </a:lnTo>
                  <a:lnTo>
                    <a:pt x="506" y="14"/>
                  </a:lnTo>
                  <a:lnTo>
                    <a:pt x="506" y="14"/>
                  </a:lnTo>
                  <a:lnTo>
                    <a:pt x="506" y="14"/>
                  </a:lnTo>
                  <a:lnTo>
                    <a:pt x="508" y="14"/>
                  </a:lnTo>
                  <a:lnTo>
                    <a:pt x="508" y="16"/>
                  </a:lnTo>
                  <a:lnTo>
                    <a:pt x="506" y="16"/>
                  </a:lnTo>
                  <a:lnTo>
                    <a:pt x="506" y="16"/>
                  </a:lnTo>
                  <a:lnTo>
                    <a:pt x="508" y="16"/>
                  </a:lnTo>
                  <a:lnTo>
                    <a:pt x="508" y="16"/>
                  </a:lnTo>
                  <a:lnTo>
                    <a:pt x="508" y="19"/>
                  </a:lnTo>
                  <a:lnTo>
                    <a:pt x="508" y="19"/>
                  </a:lnTo>
                  <a:lnTo>
                    <a:pt x="510" y="19"/>
                  </a:lnTo>
                  <a:lnTo>
                    <a:pt x="510" y="21"/>
                  </a:lnTo>
                  <a:lnTo>
                    <a:pt x="513" y="21"/>
                  </a:lnTo>
                  <a:lnTo>
                    <a:pt x="513" y="21"/>
                  </a:lnTo>
                  <a:lnTo>
                    <a:pt x="513" y="19"/>
                  </a:lnTo>
                  <a:lnTo>
                    <a:pt x="515" y="23"/>
                  </a:lnTo>
                  <a:lnTo>
                    <a:pt x="515" y="23"/>
                  </a:lnTo>
                  <a:lnTo>
                    <a:pt x="515" y="21"/>
                  </a:lnTo>
                  <a:lnTo>
                    <a:pt x="515" y="21"/>
                  </a:lnTo>
                  <a:lnTo>
                    <a:pt x="515" y="19"/>
                  </a:lnTo>
                  <a:lnTo>
                    <a:pt x="515" y="19"/>
                  </a:lnTo>
                  <a:lnTo>
                    <a:pt x="515" y="21"/>
                  </a:lnTo>
                  <a:lnTo>
                    <a:pt x="517" y="23"/>
                  </a:lnTo>
                  <a:lnTo>
                    <a:pt x="517" y="26"/>
                  </a:lnTo>
                  <a:lnTo>
                    <a:pt x="520" y="26"/>
                  </a:lnTo>
                  <a:lnTo>
                    <a:pt x="522" y="26"/>
                  </a:lnTo>
                  <a:lnTo>
                    <a:pt x="520" y="26"/>
                  </a:lnTo>
                  <a:lnTo>
                    <a:pt x="520" y="28"/>
                  </a:lnTo>
                  <a:lnTo>
                    <a:pt x="522" y="28"/>
                  </a:lnTo>
                  <a:lnTo>
                    <a:pt x="522" y="26"/>
                  </a:lnTo>
                  <a:lnTo>
                    <a:pt x="525" y="28"/>
                  </a:lnTo>
                  <a:lnTo>
                    <a:pt x="525" y="28"/>
                  </a:lnTo>
                  <a:lnTo>
                    <a:pt x="527" y="28"/>
                  </a:lnTo>
                  <a:lnTo>
                    <a:pt x="525" y="30"/>
                  </a:lnTo>
                  <a:lnTo>
                    <a:pt x="527" y="30"/>
                  </a:lnTo>
                  <a:lnTo>
                    <a:pt x="527" y="33"/>
                  </a:lnTo>
                  <a:lnTo>
                    <a:pt x="527" y="30"/>
                  </a:lnTo>
                  <a:lnTo>
                    <a:pt x="529" y="33"/>
                  </a:lnTo>
                  <a:lnTo>
                    <a:pt x="529" y="30"/>
                  </a:lnTo>
                  <a:lnTo>
                    <a:pt x="529" y="30"/>
                  </a:lnTo>
                  <a:lnTo>
                    <a:pt x="529" y="33"/>
                  </a:lnTo>
                  <a:lnTo>
                    <a:pt x="532" y="33"/>
                  </a:lnTo>
                  <a:lnTo>
                    <a:pt x="532" y="33"/>
                  </a:lnTo>
                  <a:lnTo>
                    <a:pt x="532" y="33"/>
                  </a:lnTo>
                  <a:lnTo>
                    <a:pt x="532" y="33"/>
                  </a:lnTo>
                  <a:lnTo>
                    <a:pt x="532" y="30"/>
                  </a:lnTo>
                  <a:lnTo>
                    <a:pt x="534" y="30"/>
                  </a:lnTo>
                  <a:lnTo>
                    <a:pt x="534" y="33"/>
                  </a:lnTo>
                  <a:lnTo>
                    <a:pt x="532" y="33"/>
                  </a:lnTo>
                  <a:lnTo>
                    <a:pt x="534" y="35"/>
                  </a:lnTo>
                  <a:lnTo>
                    <a:pt x="534" y="35"/>
                  </a:lnTo>
                  <a:lnTo>
                    <a:pt x="534" y="33"/>
                  </a:lnTo>
                  <a:lnTo>
                    <a:pt x="534" y="35"/>
                  </a:lnTo>
                  <a:lnTo>
                    <a:pt x="536" y="35"/>
                  </a:lnTo>
                  <a:lnTo>
                    <a:pt x="536" y="35"/>
                  </a:lnTo>
                  <a:lnTo>
                    <a:pt x="536" y="35"/>
                  </a:lnTo>
                  <a:lnTo>
                    <a:pt x="536" y="35"/>
                  </a:lnTo>
                  <a:lnTo>
                    <a:pt x="539" y="35"/>
                  </a:lnTo>
                  <a:lnTo>
                    <a:pt x="539" y="35"/>
                  </a:lnTo>
                  <a:lnTo>
                    <a:pt x="539" y="35"/>
                  </a:lnTo>
                  <a:lnTo>
                    <a:pt x="539" y="35"/>
                  </a:lnTo>
                  <a:lnTo>
                    <a:pt x="541" y="37"/>
                  </a:lnTo>
                  <a:lnTo>
                    <a:pt x="543" y="37"/>
                  </a:lnTo>
                  <a:lnTo>
                    <a:pt x="543" y="35"/>
                  </a:lnTo>
                  <a:lnTo>
                    <a:pt x="543" y="35"/>
                  </a:lnTo>
                  <a:lnTo>
                    <a:pt x="543" y="35"/>
                  </a:lnTo>
                  <a:lnTo>
                    <a:pt x="543" y="35"/>
                  </a:lnTo>
                  <a:lnTo>
                    <a:pt x="546" y="35"/>
                  </a:lnTo>
                  <a:lnTo>
                    <a:pt x="543" y="35"/>
                  </a:lnTo>
                  <a:lnTo>
                    <a:pt x="543" y="35"/>
                  </a:lnTo>
                  <a:lnTo>
                    <a:pt x="546" y="35"/>
                  </a:lnTo>
                  <a:lnTo>
                    <a:pt x="546" y="35"/>
                  </a:lnTo>
                  <a:lnTo>
                    <a:pt x="546" y="35"/>
                  </a:lnTo>
                  <a:lnTo>
                    <a:pt x="546" y="35"/>
                  </a:lnTo>
                  <a:lnTo>
                    <a:pt x="548" y="35"/>
                  </a:lnTo>
                  <a:lnTo>
                    <a:pt x="548" y="35"/>
                  </a:lnTo>
                  <a:lnTo>
                    <a:pt x="548" y="35"/>
                  </a:lnTo>
                  <a:lnTo>
                    <a:pt x="551" y="35"/>
                  </a:lnTo>
                  <a:lnTo>
                    <a:pt x="551" y="35"/>
                  </a:lnTo>
                  <a:lnTo>
                    <a:pt x="551" y="33"/>
                  </a:lnTo>
                  <a:lnTo>
                    <a:pt x="551" y="35"/>
                  </a:lnTo>
                  <a:lnTo>
                    <a:pt x="551" y="33"/>
                  </a:lnTo>
                  <a:lnTo>
                    <a:pt x="551" y="33"/>
                  </a:lnTo>
                  <a:lnTo>
                    <a:pt x="551" y="33"/>
                  </a:lnTo>
                  <a:lnTo>
                    <a:pt x="551" y="33"/>
                  </a:lnTo>
                  <a:lnTo>
                    <a:pt x="551" y="30"/>
                  </a:lnTo>
                  <a:lnTo>
                    <a:pt x="551" y="30"/>
                  </a:lnTo>
                  <a:lnTo>
                    <a:pt x="553" y="30"/>
                  </a:lnTo>
                  <a:lnTo>
                    <a:pt x="553" y="28"/>
                  </a:lnTo>
                  <a:lnTo>
                    <a:pt x="555" y="28"/>
                  </a:lnTo>
                  <a:lnTo>
                    <a:pt x="555" y="28"/>
                  </a:lnTo>
                  <a:lnTo>
                    <a:pt x="558" y="28"/>
                  </a:lnTo>
                  <a:lnTo>
                    <a:pt x="558" y="28"/>
                  </a:lnTo>
                  <a:lnTo>
                    <a:pt x="558" y="28"/>
                  </a:lnTo>
                  <a:lnTo>
                    <a:pt x="560" y="28"/>
                  </a:lnTo>
                  <a:lnTo>
                    <a:pt x="560" y="28"/>
                  </a:lnTo>
                  <a:lnTo>
                    <a:pt x="560" y="28"/>
                  </a:lnTo>
                  <a:lnTo>
                    <a:pt x="560" y="26"/>
                  </a:lnTo>
                  <a:lnTo>
                    <a:pt x="562" y="28"/>
                  </a:lnTo>
                  <a:lnTo>
                    <a:pt x="562" y="26"/>
                  </a:lnTo>
                  <a:lnTo>
                    <a:pt x="562" y="26"/>
                  </a:lnTo>
                  <a:lnTo>
                    <a:pt x="562" y="28"/>
                  </a:lnTo>
                  <a:lnTo>
                    <a:pt x="562" y="26"/>
                  </a:lnTo>
                  <a:lnTo>
                    <a:pt x="565" y="26"/>
                  </a:lnTo>
                  <a:lnTo>
                    <a:pt x="565" y="26"/>
                  </a:lnTo>
                  <a:lnTo>
                    <a:pt x="565" y="26"/>
                  </a:lnTo>
                  <a:lnTo>
                    <a:pt x="567" y="26"/>
                  </a:lnTo>
                  <a:lnTo>
                    <a:pt x="567" y="26"/>
                  </a:lnTo>
                  <a:lnTo>
                    <a:pt x="567" y="26"/>
                  </a:lnTo>
                  <a:lnTo>
                    <a:pt x="567" y="23"/>
                  </a:lnTo>
                  <a:lnTo>
                    <a:pt x="567" y="26"/>
                  </a:lnTo>
                  <a:lnTo>
                    <a:pt x="567" y="23"/>
                  </a:lnTo>
                  <a:lnTo>
                    <a:pt x="569" y="23"/>
                  </a:lnTo>
                  <a:lnTo>
                    <a:pt x="569" y="23"/>
                  </a:lnTo>
                  <a:lnTo>
                    <a:pt x="569" y="23"/>
                  </a:lnTo>
                  <a:lnTo>
                    <a:pt x="569" y="23"/>
                  </a:lnTo>
                  <a:lnTo>
                    <a:pt x="572" y="21"/>
                  </a:lnTo>
                  <a:lnTo>
                    <a:pt x="574" y="21"/>
                  </a:lnTo>
                  <a:lnTo>
                    <a:pt x="574" y="21"/>
                  </a:lnTo>
                  <a:lnTo>
                    <a:pt x="574" y="21"/>
                  </a:lnTo>
                  <a:lnTo>
                    <a:pt x="576" y="21"/>
                  </a:lnTo>
                  <a:lnTo>
                    <a:pt x="574" y="19"/>
                  </a:lnTo>
                  <a:lnTo>
                    <a:pt x="576" y="19"/>
                  </a:lnTo>
                  <a:lnTo>
                    <a:pt x="576" y="19"/>
                  </a:lnTo>
                  <a:lnTo>
                    <a:pt x="576" y="19"/>
                  </a:lnTo>
                  <a:lnTo>
                    <a:pt x="576" y="19"/>
                  </a:lnTo>
                  <a:lnTo>
                    <a:pt x="576" y="19"/>
                  </a:lnTo>
                  <a:lnTo>
                    <a:pt x="576" y="16"/>
                  </a:lnTo>
                  <a:lnTo>
                    <a:pt x="576" y="16"/>
                  </a:lnTo>
                  <a:lnTo>
                    <a:pt x="576" y="16"/>
                  </a:lnTo>
                  <a:lnTo>
                    <a:pt x="579" y="16"/>
                  </a:lnTo>
                  <a:lnTo>
                    <a:pt x="579" y="16"/>
                  </a:lnTo>
                  <a:lnTo>
                    <a:pt x="579" y="16"/>
                  </a:lnTo>
                  <a:lnTo>
                    <a:pt x="579" y="16"/>
                  </a:lnTo>
                  <a:lnTo>
                    <a:pt x="579" y="16"/>
                  </a:lnTo>
                  <a:lnTo>
                    <a:pt x="579" y="16"/>
                  </a:lnTo>
                  <a:lnTo>
                    <a:pt x="581" y="16"/>
                  </a:lnTo>
                  <a:lnTo>
                    <a:pt x="581" y="14"/>
                  </a:lnTo>
                  <a:lnTo>
                    <a:pt x="581" y="14"/>
                  </a:lnTo>
                  <a:lnTo>
                    <a:pt x="581" y="14"/>
                  </a:lnTo>
                  <a:lnTo>
                    <a:pt x="581" y="11"/>
                  </a:lnTo>
                  <a:lnTo>
                    <a:pt x="584" y="11"/>
                  </a:lnTo>
                  <a:lnTo>
                    <a:pt x="581" y="9"/>
                  </a:lnTo>
                  <a:lnTo>
                    <a:pt x="584" y="9"/>
                  </a:lnTo>
                  <a:lnTo>
                    <a:pt x="584" y="9"/>
                  </a:lnTo>
                  <a:lnTo>
                    <a:pt x="586" y="9"/>
                  </a:lnTo>
                  <a:lnTo>
                    <a:pt x="586" y="9"/>
                  </a:lnTo>
                  <a:lnTo>
                    <a:pt x="588" y="9"/>
                  </a:lnTo>
                  <a:lnTo>
                    <a:pt x="588" y="7"/>
                  </a:lnTo>
                  <a:lnTo>
                    <a:pt x="591" y="7"/>
                  </a:lnTo>
                  <a:lnTo>
                    <a:pt x="591" y="7"/>
                  </a:lnTo>
                  <a:lnTo>
                    <a:pt x="591" y="7"/>
                  </a:lnTo>
                  <a:lnTo>
                    <a:pt x="593" y="7"/>
                  </a:lnTo>
                  <a:lnTo>
                    <a:pt x="593" y="7"/>
                  </a:lnTo>
                  <a:lnTo>
                    <a:pt x="595" y="9"/>
                  </a:lnTo>
                  <a:lnTo>
                    <a:pt x="595" y="7"/>
                  </a:lnTo>
                  <a:lnTo>
                    <a:pt x="595" y="7"/>
                  </a:lnTo>
                  <a:lnTo>
                    <a:pt x="595" y="9"/>
                  </a:lnTo>
                  <a:lnTo>
                    <a:pt x="595" y="7"/>
                  </a:lnTo>
                  <a:lnTo>
                    <a:pt x="598" y="7"/>
                  </a:lnTo>
                  <a:lnTo>
                    <a:pt x="595" y="7"/>
                  </a:lnTo>
                  <a:lnTo>
                    <a:pt x="598" y="7"/>
                  </a:lnTo>
                  <a:lnTo>
                    <a:pt x="598" y="7"/>
                  </a:lnTo>
                  <a:lnTo>
                    <a:pt x="600" y="7"/>
                  </a:lnTo>
                  <a:lnTo>
                    <a:pt x="600" y="7"/>
                  </a:lnTo>
                  <a:lnTo>
                    <a:pt x="600" y="7"/>
                  </a:lnTo>
                  <a:lnTo>
                    <a:pt x="600" y="7"/>
                  </a:lnTo>
                  <a:lnTo>
                    <a:pt x="602" y="7"/>
                  </a:lnTo>
                  <a:lnTo>
                    <a:pt x="605" y="7"/>
                  </a:lnTo>
                  <a:lnTo>
                    <a:pt x="605" y="7"/>
                  </a:lnTo>
                  <a:lnTo>
                    <a:pt x="605" y="9"/>
                  </a:lnTo>
                  <a:lnTo>
                    <a:pt x="607" y="9"/>
                  </a:lnTo>
                  <a:lnTo>
                    <a:pt x="607" y="9"/>
                  </a:lnTo>
                  <a:lnTo>
                    <a:pt x="607" y="7"/>
                  </a:lnTo>
                  <a:lnTo>
                    <a:pt x="610" y="7"/>
                  </a:lnTo>
                  <a:lnTo>
                    <a:pt x="610" y="9"/>
                  </a:lnTo>
                  <a:lnTo>
                    <a:pt x="610" y="9"/>
                  </a:lnTo>
                  <a:lnTo>
                    <a:pt x="612" y="9"/>
                  </a:lnTo>
                  <a:lnTo>
                    <a:pt x="612" y="7"/>
                  </a:lnTo>
                  <a:lnTo>
                    <a:pt x="614" y="7"/>
                  </a:lnTo>
                  <a:lnTo>
                    <a:pt x="614" y="7"/>
                  </a:lnTo>
                  <a:lnTo>
                    <a:pt x="614" y="7"/>
                  </a:lnTo>
                  <a:lnTo>
                    <a:pt x="614" y="7"/>
                  </a:lnTo>
                  <a:lnTo>
                    <a:pt x="617" y="4"/>
                  </a:lnTo>
                  <a:lnTo>
                    <a:pt x="617" y="4"/>
                  </a:lnTo>
                  <a:lnTo>
                    <a:pt x="617" y="4"/>
                  </a:lnTo>
                  <a:lnTo>
                    <a:pt x="617" y="4"/>
                  </a:lnTo>
                  <a:lnTo>
                    <a:pt x="619" y="4"/>
                  </a:lnTo>
                  <a:lnTo>
                    <a:pt x="619" y="4"/>
                  </a:lnTo>
                  <a:lnTo>
                    <a:pt x="617" y="4"/>
                  </a:lnTo>
                  <a:lnTo>
                    <a:pt x="636" y="4"/>
                  </a:lnTo>
                  <a:lnTo>
                    <a:pt x="650" y="4"/>
                  </a:lnTo>
                  <a:lnTo>
                    <a:pt x="654" y="4"/>
                  </a:lnTo>
                  <a:lnTo>
                    <a:pt x="654" y="4"/>
                  </a:lnTo>
                  <a:lnTo>
                    <a:pt x="654" y="4"/>
                  </a:lnTo>
                  <a:lnTo>
                    <a:pt x="654" y="4"/>
                  </a:lnTo>
                  <a:lnTo>
                    <a:pt x="654" y="2"/>
                  </a:lnTo>
                  <a:lnTo>
                    <a:pt x="657" y="0"/>
                  </a:lnTo>
                  <a:lnTo>
                    <a:pt x="659" y="2"/>
                  </a:lnTo>
                  <a:lnTo>
                    <a:pt x="659" y="2"/>
                  </a:lnTo>
                  <a:lnTo>
                    <a:pt x="659" y="4"/>
                  </a:lnTo>
                  <a:lnTo>
                    <a:pt x="662" y="4"/>
                  </a:lnTo>
                  <a:lnTo>
                    <a:pt x="662" y="4"/>
                  </a:lnTo>
                  <a:lnTo>
                    <a:pt x="662" y="4"/>
                  </a:lnTo>
                  <a:lnTo>
                    <a:pt x="662" y="4"/>
                  </a:lnTo>
                  <a:lnTo>
                    <a:pt x="662" y="4"/>
                  </a:lnTo>
                  <a:lnTo>
                    <a:pt x="664" y="4"/>
                  </a:lnTo>
                  <a:lnTo>
                    <a:pt x="664" y="4"/>
                  </a:lnTo>
                  <a:lnTo>
                    <a:pt x="664" y="7"/>
                  </a:lnTo>
                  <a:lnTo>
                    <a:pt x="662" y="14"/>
                  </a:lnTo>
                  <a:lnTo>
                    <a:pt x="664" y="16"/>
                  </a:lnTo>
                  <a:lnTo>
                    <a:pt x="664" y="16"/>
                  </a:lnTo>
                  <a:lnTo>
                    <a:pt x="664" y="23"/>
                  </a:lnTo>
                  <a:lnTo>
                    <a:pt x="666" y="28"/>
                  </a:lnTo>
                  <a:lnTo>
                    <a:pt x="669" y="28"/>
                  </a:lnTo>
                  <a:lnTo>
                    <a:pt x="669" y="28"/>
                  </a:lnTo>
                  <a:lnTo>
                    <a:pt x="671" y="28"/>
                  </a:lnTo>
                  <a:lnTo>
                    <a:pt x="673" y="28"/>
                  </a:lnTo>
                  <a:lnTo>
                    <a:pt x="673" y="28"/>
                  </a:lnTo>
                  <a:lnTo>
                    <a:pt x="673" y="33"/>
                  </a:lnTo>
                  <a:lnTo>
                    <a:pt x="673" y="35"/>
                  </a:lnTo>
                  <a:lnTo>
                    <a:pt x="676" y="35"/>
                  </a:lnTo>
                  <a:lnTo>
                    <a:pt x="676" y="35"/>
                  </a:lnTo>
                  <a:lnTo>
                    <a:pt x="678" y="35"/>
                  </a:lnTo>
                  <a:lnTo>
                    <a:pt x="678" y="35"/>
                  </a:lnTo>
                  <a:lnTo>
                    <a:pt x="676" y="37"/>
                  </a:lnTo>
                  <a:lnTo>
                    <a:pt x="676" y="37"/>
                  </a:lnTo>
                  <a:lnTo>
                    <a:pt x="671" y="44"/>
                  </a:lnTo>
                  <a:lnTo>
                    <a:pt x="669" y="49"/>
                  </a:lnTo>
                  <a:lnTo>
                    <a:pt x="669" y="54"/>
                  </a:lnTo>
                  <a:lnTo>
                    <a:pt x="664" y="59"/>
                  </a:lnTo>
                  <a:lnTo>
                    <a:pt x="664" y="63"/>
                  </a:lnTo>
                  <a:lnTo>
                    <a:pt x="664" y="66"/>
                  </a:lnTo>
                  <a:lnTo>
                    <a:pt x="662" y="68"/>
                  </a:lnTo>
                  <a:lnTo>
                    <a:pt x="659" y="73"/>
                  </a:lnTo>
                  <a:lnTo>
                    <a:pt x="657" y="78"/>
                  </a:lnTo>
                  <a:lnTo>
                    <a:pt x="657" y="80"/>
                  </a:lnTo>
                  <a:lnTo>
                    <a:pt x="654" y="82"/>
                  </a:lnTo>
                  <a:lnTo>
                    <a:pt x="654" y="87"/>
                  </a:lnTo>
                  <a:lnTo>
                    <a:pt x="652" y="94"/>
                  </a:lnTo>
                  <a:lnTo>
                    <a:pt x="652" y="96"/>
                  </a:lnTo>
                  <a:lnTo>
                    <a:pt x="654" y="99"/>
                  </a:lnTo>
                  <a:lnTo>
                    <a:pt x="652" y="101"/>
                  </a:lnTo>
                  <a:lnTo>
                    <a:pt x="654" y="106"/>
                  </a:lnTo>
                  <a:lnTo>
                    <a:pt x="654" y="106"/>
                  </a:lnTo>
                  <a:lnTo>
                    <a:pt x="654" y="106"/>
                  </a:lnTo>
                  <a:lnTo>
                    <a:pt x="657" y="108"/>
                  </a:lnTo>
                  <a:lnTo>
                    <a:pt x="657" y="106"/>
                  </a:lnTo>
                  <a:lnTo>
                    <a:pt x="659" y="106"/>
                  </a:lnTo>
                  <a:lnTo>
                    <a:pt x="659" y="108"/>
                  </a:lnTo>
                  <a:lnTo>
                    <a:pt x="662" y="108"/>
                  </a:lnTo>
                  <a:lnTo>
                    <a:pt x="664" y="108"/>
                  </a:lnTo>
                  <a:lnTo>
                    <a:pt x="664" y="108"/>
                  </a:lnTo>
                  <a:lnTo>
                    <a:pt x="664" y="108"/>
                  </a:lnTo>
                  <a:lnTo>
                    <a:pt x="666" y="108"/>
                  </a:lnTo>
                  <a:lnTo>
                    <a:pt x="664" y="111"/>
                  </a:lnTo>
                  <a:lnTo>
                    <a:pt x="666" y="111"/>
                  </a:lnTo>
                  <a:lnTo>
                    <a:pt x="664" y="111"/>
                  </a:lnTo>
                  <a:lnTo>
                    <a:pt x="664" y="111"/>
                  </a:lnTo>
                  <a:lnTo>
                    <a:pt x="664" y="115"/>
                  </a:lnTo>
                  <a:lnTo>
                    <a:pt x="662" y="115"/>
                  </a:lnTo>
                  <a:lnTo>
                    <a:pt x="659" y="115"/>
                  </a:lnTo>
                  <a:lnTo>
                    <a:pt x="659" y="120"/>
                  </a:lnTo>
                  <a:lnTo>
                    <a:pt x="657" y="125"/>
                  </a:lnTo>
                  <a:lnTo>
                    <a:pt x="659" y="125"/>
                  </a:lnTo>
                  <a:lnTo>
                    <a:pt x="657" y="127"/>
                  </a:lnTo>
                  <a:lnTo>
                    <a:pt x="659" y="127"/>
                  </a:lnTo>
                  <a:lnTo>
                    <a:pt x="662" y="127"/>
                  </a:lnTo>
                  <a:lnTo>
                    <a:pt x="659" y="130"/>
                  </a:lnTo>
                  <a:lnTo>
                    <a:pt x="659" y="132"/>
                  </a:lnTo>
                  <a:lnTo>
                    <a:pt x="662" y="132"/>
                  </a:lnTo>
                  <a:lnTo>
                    <a:pt x="659" y="132"/>
                  </a:lnTo>
                  <a:lnTo>
                    <a:pt x="662" y="134"/>
                  </a:lnTo>
                  <a:lnTo>
                    <a:pt x="659" y="134"/>
                  </a:lnTo>
                  <a:lnTo>
                    <a:pt x="659" y="134"/>
                  </a:lnTo>
                  <a:lnTo>
                    <a:pt x="662" y="137"/>
                  </a:lnTo>
                  <a:lnTo>
                    <a:pt x="662" y="137"/>
                  </a:lnTo>
                  <a:lnTo>
                    <a:pt x="664" y="137"/>
                  </a:lnTo>
                  <a:lnTo>
                    <a:pt x="664" y="137"/>
                  </a:lnTo>
                  <a:lnTo>
                    <a:pt x="664" y="137"/>
                  </a:lnTo>
                  <a:lnTo>
                    <a:pt x="664" y="137"/>
                  </a:lnTo>
                  <a:lnTo>
                    <a:pt x="664" y="137"/>
                  </a:lnTo>
                  <a:lnTo>
                    <a:pt x="666" y="137"/>
                  </a:lnTo>
                  <a:lnTo>
                    <a:pt x="666" y="137"/>
                  </a:lnTo>
                  <a:lnTo>
                    <a:pt x="666" y="139"/>
                  </a:lnTo>
                  <a:lnTo>
                    <a:pt x="669" y="139"/>
                  </a:lnTo>
                  <a:lnTo>
                    <a:pt x="666" y="139"/>
                  </a:lnTo>
                  <a:lnTo>
                    <a:pt x="669" y="141"/>
                  </a:lnTo>
                  <a:lnTo>
                    <a:pt x="666" y="141"/>
                  </a:lnTo>
                  <a:lnTo>
                    <a:pt x="666" y="141"/>
                  </a:lnTo>
                  <a:lnTo>
                    <a:pt x="666" y="144"/>
                  </a:lnTo>
                  <a:lnTo>
                    <a:pt x="664" y="146"/>
                  </a:lnTo>
                  <a:lnTo>
                    <a:pt x="664" y="146"/>
                  </a:lnTo>
                  <a:lnTo>
                    <a:pt x="664" y="148"/>
                  </a:lnTo>
                  <a:lnTo>
                    <a:pt x="664" y="148"/>
                  </a:lnTo>
                  <a:lnTo>
                    <a:pt x="664" y="148"/>
                  </a:lnTo>
                  <a:lnTo>
                    <a:pt x="664" y="151"/>
                  </a:lnTo>
                  <a:lnTo>
                    <a:pt x="664" y="148"/>
                  </a:lnTo>
                  <a:lnTo>
                    <a:pt x="662" y="148"/>
                  </a:lnTo>
                  <a:lnTo>
                    <a:pt x="662" y="151"/>
                  </a:lnTo>
                  <a:lnTo>
                    <a:pt x="664" y="153"/>
                  </a:lnTo>
                  <a:lnTo>
                    <a:pt x="666" y="156"/>
                  </a:lnTo>
                  <a:lnTo>
                    <a:pt x="669" y="158"/>
                  </a:lnTo>
                  <a:lnTo>
                    <a:pt x="669" y="158"/>
                  </a:lnTo>
                  <a:lnTo>
                    <a:pt x="671" y="158"/>
                  </a:lnTo>
                  <a:lnTo>
                    <a:pt x="671" y="156"/>
                  </a:lnTo>
                  <a:lnTo>
                    <a:pt x="671" y="156"/>
                  </a:lnTo>
                  <a:lnTo>
                    <a:pt x="673" y="153"/>
                  </a:lnTo>
                  <a:lnTo>
                    <a:pt x="673" y="153"/>
                  </a:lnTo>
                  <a:lnTo>
                    <a:pt x="673" y="153"/>
                  </a:lnTo>
                  <a:lnTo>
                    <a:pt x="673" y="153"/>
                  </a:lnTo>
                  <a:lnTo>
                    <a:pt x="676" y="151"/>
                  </a:lnTo>
                  <a:lnTo>
                    <a:pt x="676" y="153"/>
                  </a:lnTo>
                  <a:lnTo>
                    <a:pt x="673" y="153"/>
                  </a:lnTo>
                  <a:lnTo>
                    <a:pt x="676" y="156"/>
                  </a:lnTo>
                  <a:lnTo>
                    <a:pt x="678" y="156"/>
                  </a:lnTo>
                  <a:lnTo>
                    <a:pt x="678" y="156"/>
                  </a:lnTo>
                  <a:lnTo>
                    <a:pt x="678" y="156"/>
                  </a:lnTo>
                  <a:lnTo>
                    <a:pt x="678" y="156"/>
                  </a:lnTo>
                  <a:lnTo>
                    <a:pt x="680" y="156"/>
                  </a:lnTo>
                  <a:lnTo>
                    <a:pt x="680" y="156"/>
                  </a:lnTo>
                  <a:lnTo>
                    <a:pt x="680" y="158"/>
                  </a:lnTo>
                  <a:lnTo>
                    <a:pt x="678" y="158"/>
                  </a:lnTo>
                  <a:lnTo>
                    <a:pt x="678" y="158"/>
                  </a:lnTo>
                  <a:lnTo>
                    <a:pt x="678" y="160"/>
                  </a:lnTo>
                  <a:lnTo>
                    <a:pt x="676" y="160"/>
                  </a:lnTo>
                  <a:lnTo>
                    <a:pt x="678" y="163"/>
                  </a:lnTo>
                  <a:lnTo>
                    <a:pt x="678" y="163"/>
                  </a:lnTo>
                  <a:lnTo>
                    <a:pt x="680" y="163"/>
                  </a:lnTo>
                  <a:lnTo>
                    <a:pt x="678" y="165"/>
                  </a:lnTo>
                  <a:lnTo>
                    <a:pt x="678" y="165"/>
                  </a:lnTo>
                  <a:lnTo>
                    <a:pt x="678" y="165"/>
                  </a:lnTo>
                  <a:lnTo>
                    <a:pt x="676" y="165"/>
                  </a:lnTo>
                  <a:lnTo>
                    <a:pt x="673" y="165"/>
                  </a:lnTo>
                  <a:lnTo>
                    <a:pt x="673" y="165"/>
                  </a:lnTo>
                  <a:lnTo>
                    <a:pt x="676" y="165"/>
                  </a:lnTo>
                  <a:lnTo>
                    <a:pt x="676" y="163"/>
                  </a:lnTo>
                  <a:lnTo>
                    <a:pt x="673" y="163"/>
                  </a:lnTo>
                  <a:lnTo>
                    <a:pt x="673" y="160"/>
                  </a:lnTo>
                  <a:lnTo>
                    <a:pt x="671" y="163"/>
                  </a:lnTo>
                  <a:lnTo>
                    <a:pt x="669" y="163"/>
                  </a:lnTo>
                  <a:lnTo>
                    <a:pt x="669" y="163"/>
                  </a:lnTo>
                  <a:lnTo>
                    <a:pt x="666" y="165"/>
                  </a:lnTo>
                  <a:lnTo>
                    <a:pt x="666" y="165"/>
                  </a:lnTo>
                  <a:lnTo>
                    <a:pt x="664" y="165"/>
                  </a:lnTo>
                  <a:lnTo>
                    <a:pt x="664" y="165"/>
                  </a:lnTo>
                  <a:lnTo>
                    <a:pt x="662" y="165"/>
                  </a:lnTo>
                  <a:lnTo>
                    <a:pt x="662" y="170"/>
                  </a:lnTo>
                  <a:lnTo>
                    <a:pt x="662" y="170"/>
                  </a:lnTo>
                  <a:lnTo>
                    <a:pt x="662" y="172"/>
                  </a:lnTo>
                  <a:lnTo>
                    <a:pt x="664" y="177"/>
                  </a:lnTo>
                  <a:lnTo>
                    <a:pt x="664" y="179"/>
                  </a:lnTo>
                  <a:lnTo>
                    <a:pt x="666" y="179"/>
                  </a:lnTo>
                  <a:lnTo>
                    <a:pt x="666" y="179"/>
                  </a:lnTo>
                  <a:lnTo>
                    <a:pt x="666" y="179"/>
                  </a:lnTo>
                  <a:lnTo>
                    <a:pt x="669" y="177"/>
                  </a:lnTo>
                  <a:lnTo>
                    <a:pt x="669" y="177"/>
                  </a:lnTo>
                  <a:lnTo>
                    <a:pt x="669" y="179"/>
                  </a:lnTo>
                  <a:lnTo>
                    <a:pt x="669" y="179"/>
                  </a:lnTo>
                  <a:lnTo>
                    <a:pt x="669" y="177"/>
                  </a:lnTo>
                  <a:lnTo>
                    <a:pt x="671" y="177"/>
                  </a:lnTo>
                  <a:lnTo>
                    <a:pt x="671" y="177"/>
                  </a:lnTo>
                  <a:lnTo>
                    <a:pt x="671" y="179"/>
                  </a:lnTo>
                  <a:lnTo>
                    <a:pt x="671" y="181"/>
                  </a:lnTo>
                  <a:lnTo>
                    <a:pt x="673" y="181"/>
                  </a:lnTo>
                  <a:lnTo>
                    <a:pt x="673" y="181"/>
                  </a:lnTo>
                  <a:lnTo>
                    <a:pt x="673" y="181"/>
                  </a:lnTo>
                  <a:lnTo>
                    <a:pt x="671" y="181"/>
                  </a:lnTo>
                  <a:lnTo>
                    <a:pt x="671" y="184"/>
                  </a:lnTo>
                  <a:lnTo>
                    <a:pt x="671" y="184"/>
                  </a:lnTo>
                  <a:lnTo>
                    <a:pt x="673" y="186"/>
                  </a:lnTo>
                  <a:lnTo>
                    <a:pt x="671" y="189"/>
                  </a:lnTo>
                  <a:lnTo>
                    <a:pt x="671" y="186"/>
                  </a:lnTo>
                  <a:lnTo>
                    <a:pt x="671" y="186"/>
                  </a:lnTo>
                  <a:lnTo>
                    <a:pt x="671" y="184"/>
                  </a:lnTo>
                  <a:lnTo>
                    <a:pt x="671" y="184"/>
                  </a:lnTo>
                  <a:lnTo>
                    <a:pt x="669" y="184"/>
                  </a:lnTo>
                  <a:lnTo>
                    <a:pt x="669" y="189"/>
                  </a:lnTo>
                  <a:lnTo>
                    <a:pt x="669" y="189"/>
                  </a:lnTo>
                  <a:lnTo>
                    <a:pt x="669" y="191"/>
                  </a:lnTo>
                  <a:lnTo>
                    <a:pt x="669" y="191"/>
                  </a:lnTo>
                  <a:lnTo>
                    <a:pt x="669" y="191"/>
                  </a:lnTo>
                  <a:lnTo>
                    <a:pt x="669" y="191"/>
                  </a:lnTo>
                  <a:lnTo>
                    <a:pt x="669" y="193"/>
                  </a:lnTo>
                  <a:lnTo>
                    <a:pt x="666" y="193"/>
                  </a:lnTo>
                  <a:lnTo>
                    <a:pt x="666" y="193"/>
                  </a:lnTo>
                  <a:lnTo>
                    <a:pt x="664" y="193"/>
                  </a:lnTo>
                  <a:lnTo>
                    <a:pt x="664" y="193"/>
                  </a:lnTo>
                  <a:lnTo>
                    <a:pt x="664" y="193"/>
                  </a:lnTo>
                  <a:lnTo>
                    <a:pt x="662" y="193"/>
                  </a:lnTo>
                  <a:lnTo>
                    <a:pt x="659" y="196"/>
                  </a:lnTo>
                  <a:lnTo>
                    <a:pt x="659" y="198"/>
                  </a:lnTo>
                  <a:lnTo>
                    <a:pt x="659" y="200"/>
                  </a:lnTo>
                  <a:lnTo>
                    <a:pt x="657" y="200"/>
                  </a:lnTo>
                  <a:lnTo>
                    <a:pt x="659" y="205"/>
                  </a:lnTo>
                  <a:lnTo>
                    <a:pt x="659" y="207"/>
                  </a:lnTo>
                  <a:lnTo>
                    <a:pt x="662" y="207"/>
                  </a:lnTo>
                  <a:lnTo>
                    <a:pt x="662" y="210"/>
                  </a:lnTo>
                  <a:lnTo>
                    <a:pt x="664" y="212"/>
                  </a:lnTo>
                  <a:lnTo>
                    <a:pt x="666" y="212"/>
                  </a:lnTo>
                  <a:lnTo>
                    <a:pt x="666" y="212"/>
                  </a:lnTo>
                  <a:lnTo>
                    <a:pt x="669" y="215"/>
                  </a:lnTo>
                  <a:lnTo>
                    <a:pt x="666" y="217"/>
                  </a:lnTo>
                  <a:lnTo>
                    <a:pt x="669" y="217"/>
                  </a:lnTo>
                  <a:lnTo>
                    <a:pt x="666" y="217"/>
                  </a:lnTo>
                  <a:lnTo>
                    <a:pt x="666" y="217"/>
                  </a:lnTo>
                  <a:lnTo>
                    <a:pt x="664" y="217"/>
                  </a:lnTo>
                  <a:lnTo>
                    <a:pt x="664" y="217"/>
                  </a:lnTo>
                  <a:lnTo>
                    <a:pt x="664" y="217"/>
                  </a:lnTo>
                  <a:lnTo>
                    <a:pt x="664" y="217"/>
                  </a:lnTo>
                  <a:lnTo>
                    <a:pt x="662" y="217"/>
                  </a:lnTo>
                  <a:lnTo>
                    <a:pt x="659" y="217"/>
                  </a:lnTo>
                  <a:lnTo>
                    <a:pt x="662" y="217"/>
                  </a:lnTo>
                  <a:lnTo>
                    <a:pt x="659" y="219"/>
                  </a:lnTo>
                  <a:lnTo>
                    <a:pt x="659" y="219"/>
                  </a:lnTo>
                  <a:lnTo>
                    <a:pt x="659" y="222"/>
                  </a:lnTo>
                  <a:lnTo>
                    <a:pt x="657" y="219"/>
                  </a:lnTo>
                  <a:lnTo>
                    <a:pt x="657" y="222"/>
                  </a:lnTo>
                  <a:lnTo>
                    <a:pt x="659" y="222"/>
                  </a:lnTo>
                  <a:lnTo>
                    <a:pt x="662" y="224"/>
                  </a:lnTo>
                  <a:lnTo>
                    <a:pt x="664" y="224"/>
                  </a:lnTo>
                  <a:lnTo>
                    <a:pt x="664" y="226"/>
                  </a:lnTo>
                  <a:lnTo>
                    <a:pt x="664" y="226"/>
                  </a:lnTo>
                  <a:lnTo>
                    <a:pt x="664" y="229"/>
                  </a:lnTo>
                  <a:lnTo>
                    <a:pt x="664" y="229"/>
                  </a:lnTo>
                  <a:lnTo>
                    <a:pt x="664" y="231"/>
                  </a:lnTo>
                  <a:lnTo>
                    <a:pt x="664" y="233"/>
                  </a:lnTo>
                  <a:lnTo>
                    <a:pt x="664" y="236"/>
                  </a:lnTo>
                  <a:lnTo>
                    <a:pt x="664" y="236"/>
                  </a:lnTo>
                  <a:lnTo>
                    <a:pt x="664" y="238"/>
                  </a:lnTo>
                  <a:lnTo>
                    <a:pt x="664" y="238"/>
                  </a:lnTo>
                  <a:lnTo>
                    <a:pt x="664" y="241"/>
                  </a:lnTo>
                  <a:lnTo>
                    <a:pt x="664" y="243"/>
                  </a:lnTo>
                  <a:lnTo>
                    <a:pt x="666" y="245"/>
                  </a:lnTo>
                  <a:lnTo>
                    <a:pt x="666" y="248"/>
                  </a:lnTo>
                  <a:lnTo>
                    <a:pt x="666" y="248"/>
                  </a:lnTo>
                  <a:lnTo>
                    <a:pt x="666" y="248"/>
                  </a:lnTo>
                  <a:lnTo>
                    <a:pt x="664" y="248"/>
                  </a:lnTo>
                  <a:lnTo>
                    <a:pt x="664" y="248"/>
                  </a:lnTo>
                  <a:lnTo>
                    <a:pt x="664" y="250"/>
                  </a:lnTo>
                  <a:lnTo>
                    <a:pt x="664" y="252"/>
                  </a:lnTo>
                  <a:lnTo>
                    <a:pt x="664" y="252"/>
                  </a:lnTo>
                  <a:lnTo>
                    <a:pt x="664" y="252"/>
                  </a:lnTo>
                  <a:lnTo>
                    <a:pt x="666" y="252"/>
                  </a:lnTo>
                  <a:lnTo>
                    <a:pt x="666" y="255"/>
                  </a:lnTo>
                  <a:lnTo>
                    <a:pt x="666" y="255"/>
                  </a:lnTo>
                  <a:lnTo>
                    <a:pt x="664" y="255"/>
                  </a:lnTo>
                  <a:lnTo>
                    <a:pt x="664" y="257"/>
                  </a:lnTo>
                  <a:lnTo>
                    <a:pt x="662" y="259"/>
                  </a:lnTo>
                  <a:lnTo>
                    <a:pt x="662" y="262"/>
                  </a:lnTo>
                  <a:lnTo>
                    <a:pt x="662" y="262"/>
                  </a:lnTo>
                  <a:lnTo>
                    <a:pt x="662" y="262"/>
                  </a:lnTo>
                  <a:lnTo>
                    <a:pt x="662" y="264"/>
                  </a:lnTo>
                  <a:lnTo>
                    <a:pt x="662" y="264"/>
                  </a:lnTo>
                  <a:lnTo>
                    <a:pt x="659" y="267"/>
                  </a:lnTo>
                  <a:lnTo>
                    <a:pt x="659" y="269"/>
                  </a:lnTo>
                  <a:lnTo>
                    <a:pt x="662" y="271"/>
                  </a:lnTo>
                  <a:lnTo>
                    <a:pt x="662" y="271"/>
                  </a:lnTo>
                  <a:lnTo>
                    <a:pt x="664" y="271"/>
                  </a:lnTo>
                  <a:lnTo>
                    <a:pt x="664" y="274"/>
                  </a:lnTo>
                  <a:lnTo>
                    <a:pt x="664" y="271"/>
                  </a:lnTo>
                  <a:lnTo>
                    <a:pt x="662" y="274"/>
                  </a:lnTo>
                  <a:lnTo>
                    <a:pt x="662" y="274"/>
                  </a:lnTo>
                  <a:lnTo>
                    <a:pt x="662" y="276"/>
                  </a:lnTo>
                  <a:lnTo>
                    <a:pt x="662" y="276"/>
                  </a:lnTo>
                  <a:lnTo>
                    <a:pt x="662" y="278"/>
                  </a:lnTo>
                  <a:lnTo>
                    <a:pt x="659" y="278"/>
                  </a:lnTo>
                  <a:lnTo>
                    <a:pt x="659" y="281"/>
                  </a:lnTo>
                  <a:lnTo>
                    <a:pt x="659" y="281"/>
                  </a:lnTo>
                  <a:lnTo>
                    <a:pt x="659" y="283"/>
                  </a:lnTo>
                  <a:lnTo>
                    <a:pt x="659" y="283"/>
                  </a:lnTo>
                  <a:lnTo>
                    <a:pt x="659" y="283"/>
                  </a:lnTo>
                  <a:lnTo>
                    <a:pt x="659" y="283"/>
                  </a:lnTo>
                  <a:lnTo>
                    <a:pt x="659" y="283"/>
                  </a:lnTo>
                  <a:lnTo>
                    <a:pt x="659" y="283"/>
                  </a:lnTo>
                  <a:lnTo>
                    <a:pt x="659" y="283"/>
                  </a:lnTo>
                  <a:lnTo>
                    <a:pt x="657" y="285"/>
                  </a:lnTo>
                  <a:lnTo>
                    <a:pt x="657" y="285"/>
                  </a:lnTo>
                  <a:lnTo>
                    <a:pt x="659" y="285"/>
                  </a:lnTo>
                  <a:lnTo>
                    <a:pt x="657" y="285"/>
                  </a:lnTo>
                  <a:lnTo>
                    <a:pt x="657" y="288"/>
                  </a:lnTo>
                  <a:lnTo>
                    <a:pt x="657" y="288"/>
                  </a:lnTo>
                  <a:lnTo>
                    <a:pt x="654" y="293"/>
                  </a:lnTo>
                  <a:lnTo>
                    <a:pt x="654" y="293"/>
                  </a:lnTo>
                  <a:lnTo>
                    <a:pt x="657" y="293"/>
                  </a:lnTo>
                  <a:lnTo>
                    <a:pt x="657" y="293"/>
                  </a:lnTo>
                  <a:lnTo>
                    <a:pt x="654" y="295"/>
                  </a:lnTo>
                  <a:lnTo>
                    <a:pt x="654" y="295"/>
                  </a:lnTo>
                  <a:lnTo>
                    <a:pt x="654" y="295"/>
                  </a:lnTo>
                  <a:lnTo>
                    <a:pt x="654" y="297"/>
                  </a:lnTo>
                  <a:lnTo>
                    <a:pt x="657" y="300"/>
                  </a:lnTo>
                  <a:lnTo>
                    <a:pt x="657" y="297"/>
                  </a:lnTo>
                  <a:lnTo>
                    <a:pt x="657" y="300"/>
                  </a:lnTo>
                  <a:lnTo>
                    <a:pt x="654" y="302"/>
                  </a:lnTo>
                  <a:lnTo>
                    <a:pt x="650" y="307"/>
                  </a:lnTo>
                  <a:lnTo>
                    <a:pt x="650" y="311"/>
                  </a:lnTo>
                  <a:lnTo>
                    <a:pt x="650" y="311"/>
                  </a:lnTo>
                  <a:lnTo>
                    <a:pt x="652" y="311"/>
                  </a:lnTo>
                  <a:lnTo>
                    <a:pt x="650" y="311"/>
                  </a:lnTo>
                  <a:lnTo>
                    <a:pt x="647" y="316"/>
                  </a:lnTo>
                  <a:lnTo>
                    <a:pt x="645" y="319"/>
                  </a:lnTo>
                  <a:lnTo>
                    <a:pt x="645" y="321"/>
                  </a:lnTo>
                  <a:lnTo>
                    <a:pt x="645" y="323"/>
                  </a:lnTo>
                  <a:lnTo>
                    <a:pt x="645" y="323"/>
                  </a:lnTo>
                  <a:lnTo>
                    <a:pt x="645" y="323"/>
                  </a:lnTo>
                  <a:lnTo>
                    <a:pt x="643" y="326"/>
                  </a:lnTo>
                  <a:lnTo>
                    <a:pt x="643" y="328"/>
                  </a:lnTo>
                  <a:lnTo>
                    <a:pt x="643" y="333"/>
                  </a:lnTo>
                  <a:lnTo>
                    <a:pt x="645" y="333"/>
                  </a:lnTo>
                  <a:lnTo>
                    <a:pt x="645" y="333"/>
                  </a:lnTo>
                  <a:lnTo>
                    <a:pt x="645" y="335"/>
                  </a:lnTo>
                  <a:lnTo>
                    <a:pt x="645" y="335"/>
                  </a:lnTo>
                  <a:lnTo>
                    <a:pt x="643" y="335"/>
                  </a:lnTo>
                  <a:lnTo>
                    <a:pt x="643" y="337"/>
                  </a:lnTo>
                  <a:lnTo>
                    <a:pt x="645" y="337"/>
                  </a:lnTo>
                  <a:lnTo>
                    <a:pt x="643" y="337"/>
                  </a:lnTo>
                  <a:lnTo>
                    <a:pt x="643" y="340"/>
                  </a:lnTo>
                  <a:lnTo>
                    <a:pt x="640" y="340"/>
                  </a:lnTo>
                  <a:lnTo>
                    <a:pt x="640" y="342"/>
                  </a:lnTo>
                  <a:lnTo>
                    <a:pt x="640" y="342"/>
                  </a:lnTo>
                  <a:lnTo>
                    <a:pt x="638" y="342"/>
                  </a:lnTo>
                  <a:lnTo>
                    <a:pt x="636" y="344"/>
                  </a:lnTo>
                  <a:lnTo>
                    <a:pt x="636" y="347"/>
                  </a:lnTo>
                  <a:lnTo>
                    <a:pt x="638" y="347"/>
                  </a:lnTo>
                  <a:lnTo>
                    <a:pt x="636" y="347"/>
                  </a:lnTo>
                  <a:lnTo>
                    <a:pt x="636" y="347"/>
                  </a:lnTo>
                  <a:lnTo>
                    <a:pt x="633" y="347"/>
                  </a:lnTo>
                  <a:lnTo>
                    <a:pt x="633" y="347"/>
                  </a:lnTo>
                  <a:lnTo>
                    <a:pt x="631" y="349"/>
                  </a:lnTo>
                  <a:lnTo>
                    <a:pt x="624" y="352"/>
                  </a:lnTo>
                  <a:lnTo>
                    <a:pt x="614" y="356"/>
                  </a:lnTo>
                  <a:lnTo>
                    <a:pt x="602" y="363"/>
                  </a:lnTo>
                  <a:lnTo>
                    <a:pt x="588" y="373"/>
                  </a:lnTo>
                  <a:lnTo>
                    <a:pt x="576" y="382"/>
                  </a:lnTo>
                  <a:lnTo>
                    <a:pt x="572" y="387"/>
                  </a:lnTo>
                  <a:lnTo>
                    <a:pt x="572" y="387"/>
                  </a:lnTo>
                  <a:lnTo>
                    <a:pt x="565" y="392"/>
                  </a:lnTo>
                  <a:lnTo>
                    <a:pt x="560" y="399"/>
                  </a:lnTo>
                  <a:lnTo>
                    <a:pt x="548" y="411"/>
                  </a:lnTo>
                  <a:lnTo>
                    <a:pt x="548" y="411"/>
                  </a:lnTo>
                  <a:lnTo>
                    <a:pt x="532" y="430"/>
                  </a:lnTo>
                  <a:lnTo>
                    <a:pt x="522" y="441"/>
                  </a:lnTo>
                  <a:lnTo>
                    <a:pt x="520" y="441"/>
                  </a:lnTo>
                  <a:lnTo>
                    <a:pt x="520" y="441"/>
                  </a:lnTo>
                  <a:lnTo>
                    <a:pt x="517" y="441"/>
                  </a:lnTo>
                  <a:lnTo>
                    <a:pt x="517" y="441"/>
                  </a:lnTo>
                  <a:lnTo>
                    <a:pt x="520" y="439"/>
                  </a:lnTo>
                  <a:lnTo>
                    <a:pt x="520" y="439"/>
                  </a:lnTo>
                  <a:lnTo>
                    <a:pt x="520" y="439"/>
                  </a:lnTo>
                  <a:lnTo>
                    <a:pt x="520" y="439"/>
                  </a:lnTo>
                  <a:lnTo>
                    <a:pt x="517" y="439"/>
                  </a:lnTo>
                  <a:lnTo>
                    <a:pt x="517" y="439"/>
                  </a:lnTo>
                  <a:lnTo>
                    <a:pt x="517" y="437"/>
                  </a:lnTo>
                  <a:lnTo>
                    <a:pt x="515" y="439"/>
                  </a:lnTo>
                  <a:lnTo>
                    <a:pt x="515" y="439"/>
                  </a:lnTo>
                  <a:lnTo>
                    <a:pt x="513" y="437"/>
                  </a:lnTo>
                  <a:lnTo>
                    <a:pt x="513" y="437"/>
                  </a:lnTo>
                  <a:lnTo>
                    <a:pt x="510" y="437"/>
                  </a:lnTo>
                  <a:lnTo>
                    <a:pt x="510" y="437"/>
                  </a:lnTo>
                  <a:lnTo>
                    <a:pt x="508" y="437"/>
                  </a:lnTo>
                  <a:lnTo>
                    <a:pt x="508" y="437"/>
                  </a:lnTo>
                  <a:lnTo>
                    <a:pt x="508" y="434"/>
                  </a:lnTo>
                  <a:lnTo>
                    <a:pt x="508" y="434"/>
                  </a:lnTo>
                  <a:lnTo>
                    <a:pt x="506" y="434"/>
                  </a:lnTo>
                  <a:lnTo>
                    <a:pt x="506" y="434"/>
                  </a:lnTo>
                  <a:lnTo>
                    <a:pt x="506" y="434"/>
                  </a:lnTo>
                  <a:lnTo>
                    <a:pt x="506" y="432"/>
                  </a:lnTo>
                  <a:lnTo>
                    <a:pt x="506" y="432"/>
                  </a:lnTo>
                  <a:lnTo>
                    <a:pt x="506" y="432"/>
                  </a:lnTo>
                  <a:lnTo>
                    <a:pt x="506" y="432"/>
                  </a:lnTo>
                  <a:lnTo>
                    <a:pt x="506" y="430"/>
                  </a:lnTo>
                  <a:lnTo>
                    <a:pt x="503" y="430"/>
                  </a:lnTo>
                  <a:lnTo>
                    <a:pt x="503" y="430"/>
                  </a:lnTo>
                  <a:lnTo>
                    <a:pt x="503" y="427"/>
                  </a:lnTo>
                  <a:lnTo>
                    <a:pt x="501" y="427"/>
                  </a:lnTo>
                  <a:lnTo>
                    <a:pt x="499" y="427"/>
                  </a:lnTo>
                  <a:lnTo>
                    <a:pt x="496" y="427"/>
                  </a:lnTo>
                  <a:lnTo>
                    <a:pt x="496" y="427"/>
                  </a:lnTo>
                  <a:lnTo>
                    <a:pt x="494" y="425"/>
                  </a:lnTo>
                  <a:lnTo>
                    <a:pt x="494" y="425"/>
                  </a:lnTo>
                  <a:lnTo>
                    <a:pt x="494" y="425"/>
                  </a:lnTo>
                  <a:lnTo>
                    <a:pt x="494" y="425"/>
                  </a:lnTo>
                  <a:lnTo>
                    <a:pt x="491" y="425"/>
                  </a:lnTo>
                  <a:lnTo>
                    <a:pt x="489" y="425"/>
                  </a:lnTo>
                  <a:lnTo>
                    <a:pt x="489" y="427"/>
                  </a:lnTo>
                  <a:lnTo>
                    <a:pt x="487" y="427"/>
                  </a:lnTo>
                  <a:lnTo>
                    <a:pt x="487" y="430"/>
                  </a:lnTo>
                  <a:lnTo>
                    <a:pt x="484" y="427"/>
                  </a:lnTo>
                  <a:lnTo>
                    <a:pt x="482" y="430"/>
                  </a:lnTo>
                  <a:lnTo>
                    <a:pt x="480" y="430"/>
                  </a:lnTo>
                  <a:lnTo>
                    <a:pt x="477" y="430"/>
                  </a:lnTo>
                  <a:lnTo>
                    <a:pt x="477" y="432"/>
                  </a:lnTo>
                  <a:lnTo>
                    <a:pt x="477" y="432"/>
                  </a:lnTo>
                  <a:lnTo>
                    <a:pt x="475" y="432"/>
                  </a:lnTo>
                  <a:lnTo>
                    <a:pt x="473" y="432"/>
                  </a:lnTo>
                  <a:lnTo>
                    <a:pt x="473" y="432"/>
                  </a:lnTo>
                  <a:lnTo>
                    <a:pt x="470" y="432"/>
                  </a:lnTo>
                  <a:lnTo>
                    <a:pt x="473" y="437"/>
                  </a:lnTo>
                  <a:lnTo>
                    <a:pt x="473" y="437"/>
                  </a:lnTo>
                  <a:lnTo>
                    <a:pt x="475" y="437"/>
                  </a:lnTo>
                  <a:lnTo>
                    <a:pt x="477" y="439"/>
                  </a:lnTo>
                  <a:lnTo>
                    <a:pt x="477" y="439"/>
                  </a:lnTo>
                  <a:lnTo>
                    <a:pt x="482" y="444"/>
                  </a:lnTo>
                  <a:lnTo>
                    <a:pt x="480" y="444"/>
                  </a:lnTo>
                  <a:lnTo>
                    <a:pt x="477" y="444"/>
                  </a:lnTo>
                  <a:lnTo>
                    <a:pt x="480" y="441"/>
                  </a:lnTo>
                  <a:lnTo>
                    <a:pt x="480" y="441"/>
                  </a:lnTo>
                  <a:lnTo>
                    <a:pt x="477" y="441"/>
                  </a:lnTo>
                  <a:lnTo>
                    <a:pt x="477" y="441"/>
                  </a:lnTo>
                  <a:lnTo>
                    <a:pt x="477" y="441"/>
                  </a:lnTo>
                  <a:lnTo>
                    <a:pt x="475" y="441"/>
                  </a:lnTo>
                  <a:lnTo>
                    <a:pt x="475" y="439"/>
                  </a:lnTo>
                  <a:lnTo>
                    <a:pt x="475" y="439"/>
                  </a:lnTo>
                  <a:lnTo>
                    <a:pt x="473" y="439"/>
                  </a:lnTo>
                  <a:lnTo>
                    <a:pt x="473" y="439"/>
                  </a:lnTo>
                  <a:lnTo>
                    <a:pt x="473" y="439"/>
                  </a:lnTo>
                  <a:lnTo>
                    <a:pt x="470" y="437"/>
                  </a:lnTo>
                  <a:lnTo>
                    <a:pt x="470" y="437"/>
                  </a:lnTo>
                  <a:lnTo>
                    <a:pt x="470" y="437"/>
                  </a:lnTo>
                  <a:lnTo>
                    <a:pt x="470" y="437"/>
                  </a:lnTo>
                  <a:lnTo>
                    <a:pt x="470" y="437"/>
                  </a:lnTo>
                  <a:lnTo>
                    <a:pt x="470" y="439"/>
                  </a:lnTo>
                  <a:lnTo>
                    <a:pt x="468" y="439"/>
                  </a:lnTo>
                  <a:lnTo>
                    <a:pt x="468" y="437"/>
                  </a:lnTo>
                  <a:lnTo>
                    <a:pt x="468" y="437"/>
                  </a:lnTo>
                  <a:lnTo>
                    <a:pt x="468" y="437"/>
                  </a:lnTo>
                  <a:lnTo>
                    <a:pt x="468" y="437"/>
                  </a:lnTo>
                  <a:lnTo>
                    <a:pt x="468" y="434"/>
                  </a:lnTo>
                  <a:lnTo>
                    <a:pt x="468" y="432"/>
                  </a:lnTo>
                  <a:lnTo>
                    <a:pt x="468" y="432"/>
                  </a:lnTo>
                  <a:lnTo>
                    <a:pt x="468" y="432"/>
                  </a:lnTo>
                  <a:lnTo>
                    <a:pt x="468" y="432"/>
                  </a:lnTo>
                  <a:lnTo>
                    <a:pt x="465" y="432"/>
                  </a:lnTo>
                  <a:lnTo>
                    <a:pt x="465" y="432"/>
                  </a:lnTo>
                  <a:lnTo>
                    <a:pt x="468" y="430"/>
                  </a:lnTo>
                  <a:lnTo>
                    <a:pt x="468" y="430"/>
                  </a:lnTo>
                  <a:lnTo>
                    <a:pt x="468" y="430"/>
                  </a:lnTo>
                  <a:lnTo>
                    <a:pt x="468" y="430"/>
                  </a:lnTo>
                  <a:lnTo>
                    <a:pt x="468" y="427"/>
                  </a:lnTo>
                  <a:lnTo>
                    <a:pt x="468" y="427"/>
                  </a:lnTo>
                  <a:lnTo>
                    <a:pt x="470" y="427"/>
                  </a:lnTo>
                  <a:lnTo>
                    <a:pt x="470" y="427"/>
                  </a:lnTo>
                  <a:lnTo>
                    <a:pt x="468" y="425"/>
                  </a:lnTo>
                  <a:lnTo>
                    <a:pt x="468" y="425"/>
                  </a:lnTo>
                  <a:lnTo>
                    <a:pt x="468" y="422"/>
                  </a:lnTo>
                  <a:lnTo>
                    <a:pt x="468" y="425"/>
                  </a:lnTo>
                  <a:lnTo>
                    <a:pt x="470" y="425"/>
                  </a:lnTo>
                  <a:lnTo>
                    <a:pt x="470" y="425"/>
                  </a:lnTo>
                  <a:lnTo>
                    <a:pt x="470" y="425"/>
                  </a:lnTo>
                  <a:lnTo>
                    <a:pt x="470" y="427"/>
                  </a:lnTo>
                  <a:lnTo>
                    <a:pt x="473" y="427"/>
                  </a:lnTo>
                  <a:lnTo>
                    <a:pt x="473" y="427"/>
                  </a:lnTo>
                  <a:lnTo>
                    <a:pt x="473" y="427"/>
                  </a:lnTo>
                  <a:lnTo>
                    <a:pt x="473" y="430"/>
                  </a:lnTo>
                  <a:lnTo>
                    <a:pt x="473" y="430"/>
                  </a:lnTo>
                  <a:lnTo>
                    <a:pt x="475" y="427"/>
                  </a:lnTo>
                  <a:lnTo>
                    <a:pt x="473" y="430"/>
                  </a:lnTo>
                  <a:lnTo>
                    <a:pt x="475" y="430"/>
                  </a:lnTo>
                  <a:lnTo>
                    <a:pt x="475" y="427"/>
                  </a:lnTo>
                  <a:lnTo>
                    <a:pt x="475" y="427"/>
                  </a:lnTo>
                  <a:lnTo>
                    <a:pt x="475" y="427"/>
                  </a:lnTo>
                  <a:lnTo>
                    <a:pt x="475" y="425"/>
                  </a:lnTo>
                  <a:lnTo>
                    <a:pt x="475" y="425"/>
                  </a:lnTo>
                  <a:lnTo>
                    <a:pt x="475" y="425"/>
                  </a:lnTo>
                  <a:lnTo>
                    <a:pt x="475" y="425"/>
                  </a:lnTo>
                  <a:lnTo>
                    <a:pt x="475" y="422"/>
                  </a:lnTo>
                  <a:lnTo>
                    <a:pt x="473" y="422"/>
                  </a:lnTo>
                  <a:lnTo>
                    <a:pt x="473" y="422"/>
                  </a:lnTo>
                  <a:lnTo>
                    <a:pt x="473" y="420"/>
                  </a:lnTo>
                  <a:lnTo>
                    <a:pt x="473" y="420"/>
                  </a:lnTo>
                  <a:lnTo>
                    <a:pt x="475" y="420"/>
                  </a:lnTo>
                  <a:lnTo>
                    <a:pt x="477" y="420"/>
                  </a:lnTo>
                  <a:lnTo>
                    <a:pt x="477" y="420"/>
                  </a:lnTo>
                  <a:lnTo>
                    <a:pt x="477" y="420"/>
                  </a:lnTo>
                  <a:lnTo>
                    <a:pt x="475" y="420"/>
                  </a:lnTo>
                  <a:lnTo>
                    <a:pt x="475" y="422"/>
                  </a:lnTo>
                  <a:lnTo>
                    <a:pt x="477" y="422"/>
                  </a:lnTo>
                  <a:lnTo>
                    <a:pt x="475" y="422"/>
                  </a:lnTo>
                  <a:lnTo>
                    <a:pt x="477" y="422"/>
                  </a:lnTo>
                  <a:lnTo>
                    <a:pt x="477" y="422"/>
                  </a:lnTo>
                  <a:lnTo>
                    <a:pt x="477" y="422"/>
                  </a:lnTo>
                  <a:lnTo>
                    <a:pt x="477" y="422"/>
                  </a:lnTo>
                  <a:lnTo>
                    <a:pt x="480" y="422"/>
                  </a:lnTo>
                  <a:lnTo>
                    <a:pt x="480" y="422"/>
                  </a:lnTo>
                  <a:lnTo>
                    <a:pt x="480" y="422"/>
                  </a:lnTo>
                  <a:lnTo>
                    <a:pt x="482" y="422"/>
                  </a:lnTo>
                  <a:lnTo>
                    <a:pt x="482" y="422"/>
                  </a:lnTo>
                  <a:lnTo>
                    <a:pt x="484" y="422"/>
                  </a:lnTo>
                  <a:lnTo>
                    <a:pt x="482" y="422"/>
                  </a:lnTo>
                  <a:lnTo>
                    <a:pt x="482" y="420"/>
                  </a:lnTo>
                  <a:lnTo>
                    <a:pt x="482" y="420"/>
                  </a:lnTo>
                  <a:lnTo>
                    <a:pt x="482" y="420"/>
                  </a:lnTo>
                  <a:lnTo>
                    <a:pt x="484" y="420"/>
                  </a:lnTo>
                  <a:lnTo>
                    <a:pt x="484" y="418"/>
                  </a:lnTo>
                  <a:lnTo>
                    <a:pt x="484" y="418"/>
                  </a:lnTo>
                  <a:lnTo>
                    <a:pt x="484" y="415"/>
                  </a:lnTo>
                  <a:lnTo>
                    <a:pt x="487" y="415"/>
                  </a:lnTo>
                  <a:lnTo>
                    <a:pt x="487" y="415"/>
                  </a:lnTo>
                  <a:lnTo>
                    <a:pt x="487" y="418"/>
                  </a:lnTo>
                  <a:lnTo>
                    <a:pt x="489" y="415"/>
                  </a:lnTo>
                  <a:lnTo>
                    <a:pt x="487" y="413"/>
                  </a:lnTo>
                  <a:lnTo>
                    <a:pt x="489" y="413"/>
                  </a:lnTo>
                  <a:lnTo>
                    <a:pt x="489" y="413"/>
                  </a:lnTo>
                  <a:lnTo>
                    <a:pt x="491" y="413"/>
                  </a:lnTo>
                  <a:lnTo>
                    <a:pt x="489" y="413"/>
                  </a:lnTo>
                  <a:lnTo>
                    <a:pt x="489" y="413"/>
                  </a:lnTo>
                  <a:lnTo>
                    <a:pt x="491" y="411"/>
                  </a:lnTo>
                  <a:lnTo>
                    <a:pt x="489" y="411"/>
                  </a:lnTo>
                  <a:lnTo>
                    <a:pt x="489" y="411"/>
                  </a:lnTo>
                  <a:lnTo>
                    <a:pt x="491" y="411"/>
                  </a:lnTo>
                  <a:lnTo>
                    <a:pt x="491" y="408"/>
                  </a:lnTo>
                  <a:lnTo>
                    <a:pt x="491" y="408"/>
                  </a:lnTo>
                  <a:lnTo>
                    <a:pt x="491" y="408"/>
                  </a:lnTo>
                  <a:lnTo>
                    <a:pt x="494" y="408"/>
                  </a:lnTo>
                  <a:lnTo>
                    <a:pt x="491" y="408"/>
                  </a:lnTo>
                  <a:lnTo>
                    <a:pt x="494" y="408"/>
                  </a:lnTo>
                  <a:lnTo>
                    <a:pt x="494" y="406"/>
                  </a:lnTo>
                  <a:lnTo>
                    <a:pt x="494" y="406"/>
                  </a:lnTo>
                  <a:lnTo>
                    <a:pt x="491" y="408"/>
                  </a:lnTo>
                  <a:lnTo>
                    <a:pt x="491" y="408"/>
                  </a:lnTo>
                  <a:lnTo>
                    <a:pt x="489" y="408"/>
                  </a:lnTo>
                  <a:lnTo>
                    <a:pt x="487" y="408"/>
                  </a:lnTo>
                  <a:lnTo>
                    <a:pt x="487" y="408"/>
                  </a:lnTo>
                  <a:lnTo>
                    <a:pt x="487" y="408"/>
                  </a:lnTo>
                  <a:lnTo>
                    <a:pt x="484" y="408"/>
                  </a:lnTo>
                  <a:lnTo>
                    <a:pt x="491" y="406"/>
                  </a:lnTo>
                  <a:lnTo>
                    <a:pt x="491" y="404"/>
                  </a:lnTo>
                  <a:lnTo>
                    <a:pt x="491" y="404"/>
                  </a:lnTo>
                  <a:lnTo>
                    <a:pt x="491" y="404"/>
                  </a:lnTo>
                  <a:lnTo>
                    <a:pt x="494" y="404"/>
                  </a:lnTo>
                  <a:lnTo>
                    <a:pt x="494" y="401"/>
                  </a:lnTo>
                  <a:lnTo>
                    <a:pt x="494" y="401"/>
                  </a:lnTo>
                  <a:lnTo>
                    <a:pt x="494" y="401"/>
                  </a:lnTo>
                  <a:lnTo>
                    <a:pt x="494" y="401"/>
                  </a:lnTo>
                  <a:lnTo>
                    <a:pt x="489" y="401"/>
                  </a:lnTo>
                  <a:lnTo>
                    <a:pt x="491" y="401"/>
                  </a:lnTo>
                  <a:lnTo>
                    <a:pt x="491" y="399"/>
                  </a:lnTo>
                  <a:lnTo>
                    <a:pt x="494" y="399"/>
                  </a:lnTo>
                  <a:lnTo>
                    <a:pt x="494" y="399"/>
                  </a:lnTo>
                  <a:lnTo>
                    <a:pt x="494" y="396"/>
                  </a:lnTo>
                  <a:lnTo>
                    <a:pt x="494" y="396"/>
                  </a:lnTo>
                  <a:lnTo>
                    <a:pt x="494" y="396"/>
                  </a:lnTo>
                  <a:lnTo>
                    <a:pt x="496" y="396"/>
                  </a:lnTo>
                  <a:lnTo>
                    <a:pt x="494" y="394"/>
                  </a:lnTo>
                  <a:lnTo>
                    <a:pt x="494" y="394"/>
                  </a:lnTo>
                  <a:lnTo>
                    <a:pt x="491" y="394"/>
                  </a:lnTo>
                  <a:lnTo>
                    <a:pt x="491" y="392"/>
                  </a:lnTo>
                  <a:lnTo>
                    <a:pt x="494" y="392"/>
                  </a:lnTo>
                  <a:lnTo>
                    <a:pt x="494" y="389"/>
                  </a:lnTo>
                  <a:lnTo>
                    <a:pt x="494" y="389"/>
                  </a:lnTo>
                  <a:lnTo>
                    <a:pt x="491" y="389"/>
                  </a:lnTo>
                  <a:lnTo>
                    <a:pt x="489" y="387"/>
                  </a:lnTo>
                  <a:lnTo>
                    <a:pt x="491" y="387"/>
                  </a:lnTo>
                  <a:lnTo>
                    <a:pt x="491" y="387"/>
                  </a:lnTo>
                  <a:lnTo>
                    <a:pt x="494" y="385"/>
                  </a:lnTo>
                  <a:lnTo>
                    <a:pt x="494" y="385"/>
                  </a:lnTo>
                  <a:lnTo>
                    <a:pt x="494" y="385"/>
                  </a:lnTo>
                  <a:lnTo>
                    <a:pt x="494" y="385"/>
                  </a:lnTo>
                  <a:lnTo>
                    <a:pt x="494" y="382"/>
                  </a:lnTo>
                  <a:lnTo>
                    <a:pt x="494" y="382"/>
                  </a:lnTo>
                  <a:lnTo>
                    <a:pt x="494" y="382"/>
                  </a:lnTo>
                  <a:lnTo>
                    <a:pt x="496" y="382"/>
                  </a:lnTo>
                  <a:lnTo>
                    <a:pt x="494" y="382"/>
                  </a:lnTo>
                  <a:lnTo>
                    <a:pt x="494" y="382"/>
                  </a:lnTo>
                  <a:lnTo>
                    <a:pt x="494" y="382"/>
                  </a:lnTo>
                  <a:lnTo>
                    <a:pt x="489" y="382"/>
                  </a:lnTo>
                  <a:lnTo>
                    <a:pt x="491" y="382"/>
                  </a:lnTo>
                  <a:lnTo>
                    <a:pt x="491" y="380"/>
                  </a:lnTo>
                  <a:lnTo>
                    <a:pt x="491" y="380"/>
                  </a:lnTo>
                  <a:lnTo>
                    <a:pt x="494" y="380"/>
                  </a:lnTo>
                  <a:lnTo>
                    <a:pt x="494" y="378"/>
                  </a:lnTo>
                  <a:lnTo>
                    <a:pt x="491" y="380"/>
                  </a:lnTo>
                  <a:lnTo>
                    <a:pt x="491" y="375"/>
                  </a:lnTo>
                  <a:lnTo>
                    <a:pt x="491" y="375"/>
                  </a:lnTo>
                  <a:lnTo>
                    <a:pt x="491" y="375"/>
                  </a:lnTo>
                  <a:lnTo>
                    <a:pt x="491" y="373"/>
                  </a:lnTo>
                  <a:lnTo>
                    <a:pt x="494" y="373"/>
                  </a:lnTo>
                  <a:lnTo>
                    <a:pt x="494" y="373"/>
                  </a:lnTo>
                  <a:lnTo>
                    <a:pt x="491" y="373"/>
                  </a:lnTo>
                  <a:lnTo>
                    <a:pt x="491" y="370"/>
                  </a:lnTo>
                  <a:lnTo>
                    <a:pt x="491" y="370"/>
                  </a:lnTo>
                  <a:lnTo>
                    <a:pt x="491" y="370"/>
                  </a:lnTo>
                  <a:lnTo>
                    <a:pt x="491" y="368"/>
                  </a:lnTo>
                  <a:lnTo>
                    <a:pt x="491" y="368"/>
                  </a:lnTo>
                  <a:lnTo>
                    <a:pt x="491" y="368"/>
                  </a:lnTo>
                  <a:lnTo>
                    <a:pt x="494" y="366"/>
                  </a:lnTo>
                  <a:lnTo>
                    <a:pt x="494" y="368"/>
                  </a:lnTo>
                  <a:lnTo>
                    <a:pt x="494" y="366"/>
                  </a:lnTo>
                  <a:lnTo>
                    <a:pt x="494" y="368"/>
                  </a:lnTo>
                  <a:lnTo>
                    <a:pt x="496" y="366"/>
                  </a:lnTo>
                  <a:lnTo>
                    <a:pt x="496" y="366"/>
                  </a:lnTo>
                  <a:lnTo>
                    <a:pt x="496" y="366"/>
                  </a:lnTo>
                  <a:lnTo>
                    <a:pt x="494" y="366"/>
                  </a:lnTo>
                  <a:lnTo>
                    <a:pt x="494" y="363"/>
                  </a:lnTo>
                  <a:lnTo>
                    <a:pt x="496" y="361"/>
                  </a:lnTo>
                  <a:lnTo>
                    <a:pt x="496" y="361"/>
                  </a:lnTo>
                  <a:lnTo>
                    <a:pt x="499" y="361"/>
                  </a:lnTo>
                  <a:lnTo>
                    <a:pt x="499" y="361"/>
                  </a:lnTo>
                  <a:lnTo>
                    <a:pt x="499" y="363"/>
                  </a:lnTo>
                  <a:lnTo>
                    <a:pt x="499" y="363"/>
                  </a:lnTo>
                  <a:lnTo>
                    <a:pt x="501" y="361"/>
                  </a:lnTo>
                  <a:lnTo>
                    <a:pt x="501" y="363"/>
                  </a:lnTo>
                  <a:lnTo>
                    <a:pt x="499" y="366"/>
                  </a:lnTo>
                  <a:lnTo>
                    <a:pt x="501" y="366"/>
                  </a:lnTo>
                  <a:lnTo>
                    <a:pt x="501" y="366"/>
                  </a:lnTo>
                  <a:lnTo>
                    <a:pt x="503" y="366"/>
                  </a:lnTo>
                  <a:lnTo>
                    <a:pt x="501" y="363"/>
                  </a:lnTo>
                  <a:lnTo>
                    <a:pt x="503" y="363"/>
                  </a:lnTo>
                  <a:lnTo>
                    <a:pt x="503" y="361"/>
                  </a:lnTo>
                  <a:lnTo>
                    <a:pt x="503" y="359"/>
                  </a:lnTo>
                  <a:lnTo>
                    <a:pt x="503" y="359"/>
                  </a:lnTo>
                  <a:lnTo>
                    <a:pt x="503" y="359"/>
                  </a:lnTo>
                  <a:lnTo>
                    <a:pt x="506" y="359"/>
                  </a:lnTo>
                  <a:lnTo>
                    <a:pt x="506" y="361"/>
                  </a:lnTo>
                  <a:lnTo>
                    <a:pt x="506" y="361"/>
                  </a:lnTo>
                  <a:lnTo>
                    <a:pt x="506" y="361"/>
                  </a:lnTo>
                  <a:lnTo>
                    <a:pt x="506" y="359"/>
                  </a:lnTo>
                  <a:lnTo>
                    <a:pt x="508" y="359"/>
                  </a:lnTo>
                  <a:lnTo>
                    <a:pt x="508" y="359"/>
                  </a:lnTo>
                  <a:lnTo>
                    <a:pt x="508" y="359"/>
                  </a:lnTo>
                  <a:lnTo>
                    <a:pt x="508" y="359"/>
                  </a:lnTo>
                  <a:lnTo>
                    <a:pt x="508" y="356"/>
                  </a:lnTo>
                  <a:lnTo>
                    <a:pt x="506" y="356"/>
                  </a:lnTo>
                  <a:lnTo>
                    <a:pt x="506" y="356"/>
                  </a:lnTo>
                  <a:lnTo>
                    <a:pt x="508" y="356"/>
                  </a:lnTo>
                  <a:lnTo>
                    <a:pt x="508" y="354"/>
                  </a:lnTo>
                  <a:lnTo>
                    <a:pt x="510" y="354"/>
                  </a:lnTo>
                  <a:lnTo>
                    <a:pt x="508" y="354"/>
                  </a:lnTo>
                  <a:lnTo>
                    <a:pt x="510" y="354"/>
                  </a:lnTo>
                  <a:lnTo>
                    <a:pt x="508" y="352"/>
                  </a:lnTo>
                  <a:lnTo>
                    <a:pt x="510" y="352"/>
                  </a:lnTo>
                  <a:lnTo>
                    <a:pt x="510" y="349"/>
                  </a:lnTo>
                  <a:lnTo>
                    <a:pt x="513" y="349"/>
                  </a:lnTo>
                  <a:lnTo>
                    <a:pt x="513" y="349"/>
                  </a:lnTo>
                  <a:lnTo>
                    <a:pt x="513" y="347"/>
                  </a:lnTo>
                  <a:lnTo>
                    <a:pt x="513" y="349"/>
                  </a:lnTo>
                  <a:lnTo>
                    <a:pt x="515" y="349"/>
                  </a:lnTo>
                  <a:lnTo>
                    <a:pt x="515" y="349"/>
                  </a:lnTo>
                  <a:lnTo>
                    <a:pt x="517" y="349"/>
                  </a:lnTo>
                  <a:lnTo>
                    <a:pt x="517" y="349"/>
                  </a:lnTo>
                  <a:lnTo>
                    <a:pt x="520" y="349"/>
                  </a:lnTo>
                  <a:lnTo>
                    <a:pt x="522" y="349"/>
                  </a:lnTo>
                  <a:lnTo>
                    <a:pt x="522" y="349"/>
                  </a:lnTo>
                  <a:lnTo>
                    <a:pt x="522" y="349"/>
                  </a:lnTo>
                  <a:lnTo>
                    <a:pt x="525" y="349"/>
                  </a:lnTo>
                  <a:lnTo>
                    <a:pt x="525" y="349"/>
                  </a:lnTo>
                  <a:lnTo>
                    <a:pt x="525" y="349"/>
                  </a:lnTo>
                  <a:lnTo>
                    <a:pt x="525" y="347"/>
                  </a:lnTo>
                  <a:lnTo>
                    <a:pt x="522" y="347"/>
                  </a:lnTo>
                  <a:lnTo>
                    <a:pt x="522" y="344"/>
                  </a:lnTo>
                  <a:lnTo>
                    <a:pt x="522" y="344"/>
                  </a:lnTo>
                  <a:lnTo>
                    <a:pt x="522" y="344"/>
                  </a:lnTo>
                  <a:lnTo>
                    <a:pt x="522" y="342"/>
                  </a:lnTo>
                  <a:lnTo>
                    <a:pt x="522" y="344"/>
                  </a:lnTo>
                  <a:lnTo>
                    <a:pt x="522" y="342"/>
                  </a:lnTo>
                  <a:lnTo>
                    <a:pt x="520" y="340"/>
                  </a:lnTo>
                  <a:lnTo>
                    <a:pt x="517" y="340"/>
                  </a:lnTo>
                  <a:lnTo>
                    <a:pt x="517" y="340"/>
                  </a:lnTo>
                  <a:lnTo>
                    <a:pt x="517" y="337"/>
                  </a:lnTo>
                  <a:lnTo>
                    <a:pt x="520" y="335"/>
                  </a:lnTo>
                  <a:lnTo>
                    <a:pt x="517" y="335"/>
                  </a:lnTo>
                  <a:lnTo>
                    <a:pt x="520" y="333"/>
                  </a:lnTo>
                  <a:lnTo>
                    <a:pt x="517" y="333"/>
                  </a:lnTo>
                  <a:lnTo>
                    <a:pt x="517" y="333"/>
                  </a:lnTo>
                  <a:lnTo>
                    <a:pt x="515" y="333"/>
                  </a:lnTo>
                  <a:lnTo>
                    <a:pt x="515" y="333"/>
                  </a:lnTo>
                  <a:lnTo>
                    <a:pt x="515" y="330"/>
                  </a:lnTo>
                  <a:lnTo>
                    <a:pt x="515" y="328"/>
                  </a:lnTo>
                  <a:lnTo>
                    <a:pt x="515" y="328"/>
                  </a:lnTo>
                  <a:lnTo>
                    <a:pt x="515" y="328"/>
                  </a:lnTo>
                  <a:lnTo>
                    <a:pt x="513" y="330"/>
                  </a:lnTo>
                  <a:lnTo>
                    <a:pt x="515" y="330"/>
                  </a:lnTo>
                  <a:lnTo>
                    <a:pt x="513" y="330"/>
                  </a:lnTo>
                  <a:lnTo>
                    <a:pt x="515" y="333"/>
                  </a:lnTo>
                  <a:lnTo>
                    <a:pt x="513" y="333"/>
                  </a:lnTo>
                  <a:lnTo>
                    <a:pt x="513" y="333"/>
                  </a:lnTo>
                  <a:lnTo>
                    <a:pt x="513" y="330"/>
                  </a:lnTo>
                  <a:lnTo>
                    <a:pt x="510" y="330"/>
                  </a:lnTo>
                  <a:lnTo>
                    <a:pt x="510" y="328"/>
                  </a:lnTo>
                  <a:lnTo>
                    <a:pt x="508" y="328"/>
                  </a:lnTo>
                  <a:lnTo>
                    <a:pt x="508" y="330"/>
                  </a:lnTo>
                  <a:lnTo>
                    <a:pt x="510" y="330"/>
                  </a:lnTo>
                  <a:lnTo>
                    <a:pt x="508" y="330"/>
                  </a:lnTo>
                  <a:lnTo>
                    <a:pt x="506" y="333"/>
                  </a:lnTo>
                  <a:lnTo>
                    <a:pt x="506" y="333"/>
                  </a:lnTo>
                  <a:lnTo>
                    <a:pt x="506" y="330"/>
                  </a:lnTo>
                  <a:lnTo>
                    <a:pt x="503" y="330"/>
                  </a:lnTo>
                  <a:lnTo>
                    <a:pt x="503" y="330"/>
                  </a:lnTo>
                  <a:lnTo>
                    <a:pt x="503" y="330"/>
                  </a:lnTo>
                  <a:lnTo>
                    <a:pt x="503" y="328"/>
                  </a:lnTo>
                  <a:lnTo>
                    <a:pt x="501" y="328"/>
                  </a:lnTo>
                  <a:lnTo>
                    <a:pt x="503" y="326"/>
                  </a:lnTo>
                  <a:lnTo>
                    <a:pt x="506" y="326"/>
                  </a:lnTo>
                  <a:lnTo>
                    <a:pt x="503" y="326"/>
                  </a:lnTo>
                  <a:lnTo>
                    <a:pt x="503" y="326"/>
                  </a:lnTo>
                  <a:lnTo>
                    <a:pt x="501" y="326"/>
                  </a:lnTo>
                  <a:lnTo>
                    <a:pt x="499" y="326"/>
                  </a:lnTo>
                  <a:lnTo>
                    <a:pt x="499" y="326"/>
                  </a:lnTo>
                  <a:lnTo>
                    <a:pt x="501" y="328"/>
                  </a:lnTo>
                  <a:lnTo>
                    <a:pt x="499" y="328"/>
                  </a:lnTo>
                  <a:lnTo>
                    <a:pt x="499" y="328"/>
                  </a:lnTo>
                  <a:lnTo>
                    <a:pt x="499" y="328"/>
                  </a:lnTo>
                  <a:lnTo>
                    <a:pt x="496" y="328"/>
                  </a:lnTo>
                  <a:lnTo>
                    <a:pt x="494" y="328"/>
                  </a:lnTo>
                  <a:lnTo>
                    <a:pt x="494" y="328"/>
                  </a:lnTo>
                  <a:lnTo>
                    <a:pt x="494" y="328"/>
                  </a:lnTo>
                  <a:lnTo>
                    <a:pt x="496" y="330"/>
                  </a:lnTo>
                  <a:lnTo>
                    <a:pt x="494" y="330"/>
                  </a:lnTo>
                  <a:lnTo>
                    <a:pt x="494" y="328"/>
                  </a:lnTo>
                  <a:lnTo>
                    <a:pt x="491" y="328"/>
                  </a:lnTo>
                  <a:lnTo>
                    <a:pt x="491" y="328"/>
                  </a:lnTo>
                  <a:lnTo>
                    <a:pt x="489" y="328"/>
                  </a:lnTo>
                  <a:lnTo>
                    <a:pt x="489" y="326"/>
                  </a:lnTo>
                  <a:lnTo>
                    <a:pt x="489" y="326"/>
                  </a:lnTo>
                  <a:lnTo>
                    <a:pt x="487" y="326"/>
                  </a:lnTo>
                  <a:lnTo>
                    <a:pt x="487" y="328"/>
                  </a:lnTo>
                  <a:lnTo>
                    <a:pt x="487" y="328"/>
                  </a:lnTo>
                  <a:lnTo>
                    <a:pt x="484" y="328"/>
                  </a:lnTo>
                  <a:lnTo>
                    <a:pt x="482" y="328"/>
                  </a:lnTo>
                  <a:lnTo>
                    <a:pt x="482" y="330"/>
                  </a:lnTo>
                  <a:lnTo>
                    <a:pt x="482" y="330"/>
                  </a:lnTo>
                  <a:lnTo>
                    <a:pt x="477" y="330"/>
                  </a:lnTo>
                  <a:lnTo>
                    <a:pt x="477" y="330"/>
                  </a:lnTo>
                  <a:lnTo>
                    <a:pt x="475" y="330"/>
                  </a:lnTo>
                  <a:lnTo>
                    <a:pt x="473" y="330"/>
                  </a:lnTo>
                  <a:lnTo>
                    <a:pt x="473" y="330"/>
                  </a:lnTo>
                  <a:lnTo>
                    <a:pt x="470" y="330"/>
                  </a:lnTo>
                  <a:lnTo>
                    <a:pt x="470" y="328"/>
                  </a:lnTo>
                  <a:lnTo>
                    <a:pt x="470" y="328"/>
                  </a:lnTo>
                  <a:lnTo>
                    <a:pt x="473" y="326"/>
                  </a:lnTo>
                  <a:lnTo>
                    <a:pt x="473" y="326"/>
                  </a:lnTo>
                  <a:lnTo>
                    <a:pt x="470" y="326"/>
                  </a:lnTo>
                  <a:lnTo>
                    <a:pt x="470" y="323"/>
                  </a:lnTo>
                  <a:lnTo>
                    <a:pt x="470" y="326"/>
                  </a:lnTo>
                  <a:lnTo>
                    <a:pt x="470" y="326"/>
                  </a:lnTo>
                  <a:lnTo>
                    <a:pt x="468" y="326"/>
                  </a:lnTo>
                  <a:lnTo>
                    <a:pt x="468" y="328"/>
                  </a:lnTo>
                  <a:lnTo>
                    <a:pt x="465" y="328"/>
                  </a:lnTo>
                  <a:lnTo>
                    <a:pt x="468" y="330"/>
                  </a:lnTo>
                  <a:lnTo>
                    <a:pt x="468" y="333"/>
                  </a:lnTo>
                  <a:lnTo>
                    <a:pt x="465" y="333"/>
                  </a:lnTo>
                  <a:lnTo>
                    <a:pt x="465" y="333"/>
                  </a:lnTo>
                  <a:lnTo>
                    <a:pt x="465" y="330"/>
                  </a:lnTo>
                  <a:lnTo>
                    <a:pt x="463" y="328"/>
                  </a:lnTo>
                  <a:lnTo>
                    <a:pt x="463" y="328"/>
                  </a:lnTo>
                  <a:lnTo>
                    <a:pt x="461" y="328"/>
                  </a:lnTo>
                  <a:lnTo>
                    <a:pt x="461" y="326"/>
                  </a:lnTo>
                  <a:lnTo>
                    <a:pt x="461" y="326"/>
                  </a:lnTo>
                  <a:lnTo>
                    <a:pt x="458" y="328"/>
                  </a:lnTo>
                  <a:lnTo>
                    <a:pt x="458" y="328"/>
                  </a:lnTo>
                  <a:lnTo>
                    <a:pt x="456" y="328"/>
                  </a:lnTo>
                  <a:lnTo>
                    <a:pt x="454" y="326"/>
                  </a:lnTo>
                  <a:lnTo>
                    <a:pt x="454" y="323"/>
                  </a:lnTo>
                  <a:lnTo>
                    <a:pt x="451" y="326"/>
                  </a:lnTo>
                  <a:lnTo>
                    <a:pt x="454" y="326"/>
                  </a:lnTo>
                  <a:lnTo>
                    <a:pt x="454" y="326"/>
                  </a:lnTo>
                  <a:lnTo>
                    <a:pt x="454" y="328"/>
                  </a:lnTo>
                  <a:lnTo>
                    <a:pt x="451" y="328"/>
                  </a:lnTo>
                  <a:lnTo>
                    <a:pt x="449" y="328"/>
                  </a:lnTo>
                  <a:lnTo>
                    <a:pt x="449" y="328"/>
                  </a:lnTo>
                  <a:lnTo>
                    <a:pt x="449" y="326"/>
                  </a:lnTo>
                  <a:lnTo>
                    <a:pt x="449" y="326"/>
                  </a:lnTo>
                  <a:lnTo>
                    <a:pt x="447" y="326"/>
                  </a:lnTo>
                  <a:lnTo>
                    <a:pt x="444" y="326"/>
                  </a:lnTo>
                  <a:lnTo>
                    <a:pt x="444" y="326"/>
                  </a:lnTo>
                  <a:lnTo>
                    <a:pt x="442" y="326"/>
                  </a:lnTo>
                  <a:lnTo>
                    <a:pt x="444" y="328"/>
                  </a:lnTo>
                  <a:lnTo>
                    <a:pt x="442" y="328"/>
                  </a:lnTo>
                  <a:lnTo>
                    <a:pt x="442" y="328"/>
                  </a:lnTo>
                  <a:lnTo>
                    <a:pt x="442" y="328"/>
                  </a:lnTo>
                  <a:lnTo>
                    <a:pt x="442" y="323"/>
                  </a:lnTo>
                  <a:lnTo>
                    <a:pt x="442" y="323"/>
                  </a:lnTo>
                  <a:lnTo>
                    <a:pt x="439" y="323"/>
                  </a:lnTo>
                  <a:lnTo>
                    <a:pt x="439" y="323"/>
                  </a:lnTo>
                  <a:lnTo>
                    <a:pt x="439" y="326"/>
                  </a:lnTo>
                  <a:lnTo>
                    <a:pt x="437" y="326"/>
                  </a:lnTo>
                  <a:lnTo>
                    <a:pt x="437" y="326"/>
                  </a:lnTo>
                  <a:lnTo>
                    <a:pt x="435" y="326"/>
                  </a:lnTo>
                  <a:lnTo>
                    <a:pt x="432" y="326"/>
                  </a:lnTo>
                  <a:lnTo>
                    <a:pt x="430" y="326"/>
                  </a:lnTo>
                  <a:lnTo>
                    <a:pt x="430" y="323"/>
                  </a:lnTo>
                  <a:lnTo>
                    <a:pt x="428" y="321"/>
                  </a:lnTo>
                  <a:lnTo>
                    <a:pt x="425" y="321"/>
                  </a:lnTo>
                  <a:lnTo>
                    <a:pt x="423" y="321"/>
                  </a:lnTo>
                  <a:lnTo>
                    <a:pt x="421" y="321"/>
                  </a:lnTo>
                  <a:lnTo>
                    <a:pt x="421" y="321"/>
                  </a:lnTo>
                  <a:lnTo>
                    <a:pt x="418" y="321"/>
                  </a:lnTo>
                  <a:lnTo>
                    <a:pt x="418" y="323"/>
                  </a:lnTo>
                  <a:lnTo>
                    <a:pt x="418" y="323"/>
                  </a:lnTo>
                  <a:lnTo>
                    <a:pt x="416" y="323"/>
                  </a:lnTo>
                  <a:lnTo>
                    <a:pt x="416" y="323"/>
                  </a:lnTo>
                  <a:lnTo>
                    <a:pt x="413" y="321"/>
                  </a:lnTo>
                  <a:lnTo>
                    <a:pt x="413" y="319"/>
                  </a:lnTo>
                  <a:lnTo>
                    <a:pt x="411" y="319"/>
                  </a:lnTo>
                  <a:lnTo>
                    <a:pt x="411" y="319"/>
                  </a:lnTo>
                  <a:lnTo>
                    <a:pt x="409" y="319"/>
                  </a:lnTo>
                  <a:lnTo>
                    <a:pt x="406" y="319"/>
                  </a:lnTo>
                  <a:lnTo>
                    <a:pt x="406" y="319"/>
                  </a:lnTo>
                  <a:lnTo>
                    <a:pt x="406" y="316"/>
                  </a:lnTo>
                  <a:lnTo>
                    <a:pt x="404" y="314"/>
                  </a:lnTo>
                  <a:lnTo>
                    <a:pt x="402" y="311"/>
                  </a:lnTo>
                  <a:lnTo>
                    <a:pt x="402" y="309"/>
                  </a:lnTo>
                  <a:lnTo>
                    <a:pt x="399" y="307"/>
                  </a:lnTo>
                  <a:lnTo>
                    <a:pt x="399" y="307"/>
                  </a:lnTo>
                  <a:lnTo>
                    <a:pt x="397" y="307"/>
                  </a:lnTo>
                  <a:lnTo>
                    <a:pt x="397" y="302"/>
                  </a:lnTo>
                  <a:lnTo>
                    <a:pt x="397" y="302"/>
                  </a:lnTo>
                  <a:lnTo>
                    <a:pt x="395" y="302"/>
                  </a:lnTo>
                  <a:lnTo>
                    <a:pt x="390" y="300"/>
                  </a:lnTo>
                  <a:lnTo>
                    <a:pt x="390" y="300"/>
                  </a:lnTo>
                  <a:lnTo>
                    <a:pt x="390" y="297"/>
                  </a:lnTo>
                  <a:lnTo>
                    <a:pt x="390" y="295"/>
                  </a:lnTo>
                  <a:lnTo>
                    <a:pt x="390" y="295"/>
                  </a:lnTo>
                  <a:lnTo>
                    <a:pt x="390" y="293"/>
                  </a:lnTo>
                  <a:lnTo>
                    <a:pt x="388" y="293"/>
                  </a:lnTo>
                  <a:lnTo>
                    <a:pt x="388" y="295"/>
                  </a:lnTo>
                  <a:lnTo>
                    <a:pt x="385" y="293"/>
                  </a:lnTo>
                  <a:lnTo>
                    <a:pt x="385" y="293"/>
                  </a:lnTo>
                  <a:lnTo>
                    <a:pt x="388" y="290"/>
                  </a:lnTo>
                  <a:lnTo>
                    <a:pt x="385" y="288"/>
                  </a:lnTo>
                  <a:lnTo>
                    <a:pt x="388" y="285"/>
                  </a:lnTo>
                  <a:lnTo>
                    <a:pt x="385" y="285"/>
                  </a:lnTo>
                  <a:lnTo>
                    <a:pt x="385" y="285"/>
                  </a:lnTo>
                  <a:lnTo>
                    <a:pt x="383" y="285"/>
                  </a:lnTo>
                  <a:lnTo>
                    <a:pt x="383" y="285"/>
                  </a:lnTo>
                  <a:lnTo>
                    <a:pt x="380" y="283"/>
                  </a:lnTo>
                  <a:lnTo>
                    <a:pt x="380" y="283"/>
                  </a:lnTo>
                  <a:lnTo>
                    <a:pt x="378" y="285"/>
                  </a:lnTo>
                  <a:lnTo>
                    <a:pt x="376" y="285"/>
                  </a:lnTo>
                  <a:lnTo>
                    <a:pt x="376" y="285"/>
                  </a:lnTo>
                  <a:lnTo>
                    <a:pt x="376" y="285"/>
                  </a:lnTo>
                  <a:lnTo>
                    <a:pt x="376" y="283"/>
                  </a:lnTo>
                  <a:lnTo>
                    <a:pt x="376" y="281"/>
                  </a:lnTo>
                  <a:lnTo>
                    <a:pt x="373" y="281"/>
                  </a:lnTo>
                  <a:lnTo>
                    <a:pt x="371" y="278"/>
                  </a:lnTo>
                  <a:lnTo>
                    <a:pt x="371" y="278"/>
                  </a:lnTo>
                  <a:lnTo>
                    <a:pt x="373" y="276"/>
                  </a:lnTo>
                  <a:lnTo>
                    <a:pt x="376" y="276"/>
                  </a:lnTo>
                  <a:lnTo>
                    <a:pt x="376" y="274"/>
                  </a:lnTo>
                  <a:lnTo>
                    <a:pt x="376" y="274"/>
                  </a:lnTo>
                  <a:lnTo>
                    <a:pt x="376" y="271"/>
                  </a:lnTo>
                  <a:lnTo>
                    <a:pt x="373" y="271"/>
                  </a:lnTo>
                  <a:lnTo>
                    <a:pt x="369" y="269"/>
                  </a:lnTo>
                  <a:lnTo>
                    <a:pt x="369" y="269"/>
                  </a:lnTo>
                  <a:lnTo>
                    <a:pt x="369" y="267"/>
                  </a:lnTo>
                  <a:lnTo>
                    <a:pt x="369" y="264"/>
                  </a:lnTo>
                  <a:lnTo>
                    <a:pt x="369" y="264"/>
                  </a:lnTo>
                  <a:lnTo>
                    <a:pt x="366" y="264"/>
                  </a:lnTo>
                  <a:lnTo>
                    <a:pt x="362" y="262"/>
                  </a:lnTo>
                  <a:lnTo>
                    <a:pt x="362" y="262"/>
                  </a:lnTo>
                  <a:lnTo>
                    <a:pt x="362" y="259"/>
                  </a:lnTo>
                  <a:lnTo>
                    <a:pt x="359" y="262"/>
                  </a:lnTo>
                  <a:lnTo>
                    <a:pt x="359" y="264"/>
                  </a:lnTo>
                  <a:lnTo>
                    <a:pt x="357" y="264"/>
                  </a:lnTo>
                  <a:lnTo>
                    <a:pt x="357" y="262"/>
                  </a:lnTo>
                  <a:lnTo>
                    <a:pt x="357" y="262"/>
                  </a:lnTo>
                  <a:lnTo>
                    <a:pt x="357" y="262"/>
                  </a:lnTo>
                  <a:lnTo>
                    <a:pt x="357" y="257"/>
                  </a:lnTo>
                  <a:lnTo>
                    <a:pt x="354" y="257"/>
                  </a:lnTo>
                  <a:lnTo>
                    <a:pt x="352" y="255"/>
                  </a:lnTo>
                  <a:lnTo>
                    <a:pt x="352" y="252"/>
                  </a:lnTo>
                  <a:lnTo>
                    <a:pt x="352" y="252"/>
                  </a:lnTo>
                  <a:lnTo>
                    <a:pt x="352" y="250"/>
                  </a:lnTo>
                  <a:lnTo>
                    <a:pt x="350" y="250"/>
                  </a:lnTo>
                  <a:lnTo>
                    <a:pt x="350" y="250"/>
                  </a:lnTo>
                  <a:lnTo>
                    <a:pt x="350" y="248"/>
                  </a:lnTo>
                  <a:lnTo>
                    <a:pt x="350" y="245"/>
                  </a:lnTo>
                  <a:lnTo>
                    <a:pt x="347" y="245"/>
                  </a:lnTo>
                  <a:lnTo>
                    <a:pt x="347" y="245"/>
                  </a:lnTo>
                  <a:lnTo>
                    <a:pt x="343" y="245"/>
                  </a:lnTo>
                  <a:lnTo>
                    <a:pt x="343" y="245"/>
                  </a:lnTo>
                  <a:lnTo>
                    <a:pt x="343" y="245"/>
                  </a:lnTo>
                  <a:lnTo>
                    <a:pt x="343" y="243"/>
                  </a:lnTo>
                  <a:lnTo>
                    <a:pt x="343" y="243"/>
                  </a:lnTo>
                  <a:lnTo>
                    <a:pt x="340" y="243"/>
                  </a:lnTo>
                  <a:lnTo>
                    <a:pt x="338" y="241"/>
                  </a:lnTo>
                  <a:lnTo>
                    <a:pt x="336" y="238"/>
                  </a:lnTo>
                  <a:lnTo>
                    <a:pt x="333" y="238"/>
                  </a:lnTo>
                  <a:lnTo>
                    <a:pt x="331" y="238"/>
                  </a:lnTo>
                  <a:lnTo>
                    <a:pt x="331" y="238"/>
                  </a:lnTo>
                  <a:lnTo>
                    <a:pt x="328" y="238"/>
                  </a:lnTo>
                  <a:lnTo>
                    <a:pt x="328" y="238"/>
                  </a:lnTo>
                  <a:lnTo>
                    <a:pt x="328" y="236"/>
                  </a:lnTo>
                  <a:lnTo>
                    <a:pt x="324" y="236"/>
                  </a:lnTo>
                  <a:lnTo>
                    <a:pt x="324" y="233"/>
                  </a:lnTo>
                  <a:lnTo>
                    <a:pt x="324" y="231"/>
                  </a:lnTo>
                  <a:lnTo>
                    <a:pt x="321" y="233"/>
                  </a:lnTo>
                  <a:lnTo>
                    <a:pt x="319" y="231"/>
                  </a:lnTo>
                  <a:lnTo>
                    <a:pt x="319" y="229"/>
                  </a:lnTo>
                  <a:lnTo>
                    <a:pt x="321" y="229"/>
                  </a:lnTo>
                  <a:lnTo>
                    <a:pt x="319" y="229"/>
                  </a:lnTo>
                  <a:lnTo>
                    <a:pt x="319" y="226"/>
                  </a:lnTo>
                  <a:lnTo>
                    <a:pt x="319" y="226"/>
                  </a:lnTo>
                  <a:lnTo>
                    <a:pt x="319" y="226"/>
                  </a:lnTo>
                  <a:lnTo>
                    <a:pt x="317" y="224"/>
                  </a:lnTo>
                  <a:lnTo>
                    <a:pt x="314" y="226"/>
                  </a:lnTo>
                  <a:lnTo>
                    <a:pt x="312" y="224"/>
                  </a:lnTo>
                  <a:lnTo>
                    <a:pt x="312" y="224"/>
                  </a:lnTo>
                  <a:lnTo>
                    <a:pt x="312" y="219"/>
                  </a:lnTo>
                  <a:lnTo>
                    <a:pt x="312" y="219"/>
                  </a:lnTo>
                  <a:lnTo>
                    <a:pt x="310" y="219"/>
                  </a:lnTo>
                  <a:lnTo>
                    <a:pt x="307" y="219"/>
                  </a:lnTo>
                  <a:lnTo>
                    <a:pt x="307" y="219"/>
                  </a:lnTo>
                  <a:lnTo>
                    <a:pt x="307" y="222"/>
                  </a:lnTo>
                  <a:lnTo>
                    <a:pt x="305" y="224"/>
                  </a:lnTo>
                  <a:lnTo>
                    <a:pt x="305" y="224"/>
                  </a:lnTo>
                  <a:lnTo>
                    <a:pt x="305" y="222"/>
                  </a:lnTo>
                  <a:lnTo>
                    <a:pt x="305" y="219"/>
                  </a:lnTo>
                  <a:lnTo>
                    <a:pt x="302" y="217"/>
                  </a:lnTo>
                  <a:lnTo>
                    <a:pt x="302" y="217"/>
                  </a:lnTo>
                  <a:lnTo>
                    <a:pt x="300" y="217"/>
                  </a:lnTo>
                  <a:lnTo>
                    <a:pt x="300" y="217"/>
                  </a:lnTo>
                  <a:lnTo>
                    <a:pt x="298" y="215"/>
                  </a:lnTo>
                  <a:lnTo>
                    <a:pt x="298" y="212"/>
                  </a:lnTo>
                  <a:lnTo>
                    <a:pt x="298" y="212"/>
                  </a:lnTo>
                  <a:lnTo>
                    <a:pt x="298" y="210"/>
                  </a:lnTo>
                  <a:lnTo>
                    <a:pt x="295" y="210"/>
                  </a:lnTo>
                  <a:lnTo>
                    <a:pt x="291" y="210"/>
                  </a:lnTo>
                  <a:lnTo>
                    <a:pt x="288" y="210"/>
                  </a:lnTo>
                  <a:lnTo>
                    <a:pt x="288" y="210"/>
                  </a:lnTo>
                  <a:lnTo>
                    <a:pt x="288" y="210"/>
                  </a:lnTo>
                  <a:lnTo>
                    <a:pt x="288" y="212"/>
                  </a:lnTo>
                  <a:lnTo>
                    <a:pt x="288" y="212"/>
                  </a:lnTo>
                  <a:lnTo>
                    <a:pt x="286" y="212"/>
                  </a:lnTo>
                  <a:lnTo>
                    <a:pt x="286" y="212"/>
                  </a:lnTo>
                  <a:lnTo>
                    <a:pt x="286" y="210"/>
                  </a:lnTo>
                  <a:lnTo>
                    <a:pt x="286" y="207"/>
                  </a:lnTo>
                  <a:lnTo>
                    <a:pt x="286" y="207"/>
                  </a:lnTo>
                  <a:lnTo>
                    <a:pt x="286" y="205"/>
                  </a:lnTo>
                  <a:lnTo>
                    <a:pt x="286" y="205"/>
                  </a:lnTo>
                  <a:lnTo>
                    <a:pt x="284" y="205"/>
                  </a:lnTo>
                  <a:lnTo>
                    <a:pt x="281" y="207"/>
                  </a:lnTo>
                  <a:lnTo>
                    <a:pt x="279" y="207"/>
                  </a:lnTo>
                  <a:lnTo>
                    <a:pt x="279" y="207"/>
                  </a:lnTo>
                  <a:lnTo>
                    <a:pt x="281" y="203"/>
                  </a:lnTo>
                  <a:lnTo>
                    <a:pt x="279" y="203"/>
                  </a:lnTo>
                  <a:lnTo>
                    <a:pt x="279" y="200"/>
                  </a:lnTo>
                  <a:lnTo>
                    <a:pt x="279" y="200"/>
                  </a:lnTo>
                  <a:lnTo>
                    <a:pt x="276" y="200"/>
                  </a:lnTo>
                  <a:lnTo>
                    <a:pt x="276" y="203"/>
                  </a:lnTo>
                  <a:lnTo>
                    <a:pt x="276" y="205"/>
                  </a:lnTo>
                  <a:lnTo>
                    <a:pt x="276" y="205"/>
                  </a:lnTo>
                  <a:lnTo>
                    <a:pt x="274" y="205"/>
                  </a:lnTo>
                  <a:lnTo>
                    <a:pt x="274" y="205"/>
                  </a:lnTo>
                  <a:lnTo>
                    <a:pt x="274" y="203"/>
                  </a:lnTo>
                  <a:lnTo>
                    <a:pt x="274" y="200"/>
                  </a:lnTo>
                  <a:lnTo>
                    <a:pt x="274" y="200"/>
                  </a:lnTo>
                  <a:lnTo>
                    <a:pt x="272" y="200"/>
                  </a:lnTo>
                  <a:lnTo>
                    <a:pt x="269" y="200"/>
                  </a:lnTo>
                  <a:lnTo>
                    <a:pt x="269" y="200"/>
                  </a:lnTo>
                  <a:lnTo>
                    <a:pt x="269" y="203"/>
                  </a:lnTo>
                  <a:lnTo>
                    <a:pt x="267" y="203"/>
                  </a:lnTo>
                  <a:lnTo>
                    <a:pt x="267" y="203"/>
                  </a:lnTo>
                  <a:lnTo>
                    <a:pt x="265" y="203"/>
                  </a:lnTo>
                  <a:lnTo>
                    <a:pt x="265" y="200"/>
                  </a:lnTo>
                  <a:lnTo>
                    <a:pt x="265" y="200"/>
                  </a:lnTo>
                  <a:lnTo>
                    <a:pt x="260" y="200"/>
                  </a:lnTo>
                  <a:lnTo>
                    <a:pt x="258" y="200"/>
                  </a:lnTo>
                  <a:lnTo>
                    <a:pt x="258" y="203"/>
                  </a:lnTo>
                  <a:lnTo>
                    <a:pt x="260" y="205"/>
                  </a:lnTo>
                  <a:lnTo>
                    <a:pt x="260" y="205"/>
                  </a:lnTo>
                  <a:lnTo>
                    <a:pt x="260" y="207"/>
                  </a:lnTo>
                  <a:lnTo>
                    <a:pt x="258" y="207"/>
                  </a:lnTo>
                  <a:lnTo>
                    <a:pt x="258" y="207"/>
                  </a:lnTo>
                  <a:lnTo>
                    <a:pt x="255" y="203"/>
                  </a:lnTo>
                  <a:lnTo>
                    <a:pt x="253" y="205"/>
                  </a:lnTo>
                  <a:lnTo>
                    <a:pt x="250" y="205"/>
                  </a:lnTo>
                  <a:lnTo>
                    <a:pt x="250" y="205"/>
                  </a:lnTo>
                  <a:lnTo>
                    <a:pt x="253" y="200"/>
                  </a:lnTo>
                  <a:lnTo>
                    <a:pt x="253" y="200"/>
                  </a:lnTo>
                  <a:lnTo>
                    <a:pt x="250" y="200"/>
                  </a:lnTo>
                  <a:lnTo>
                    <a:pt x="248" y="200"/>
                  </a:lnTo>
                  <a:lnTo>
                    <a:pt x="248" y="200"/>
                  </a:lnTo>
                  <a:lnTo>
                    <a:pt x="248" y="200"/>
                  </a:lnTo>
                  <a:lnTo>
                    <a:pt x="248" y="203"/>
                  </a:lnTo>
                  <a:lnTo>
                    <a:pt x="248" y="205"/>
                  </a:lnTo>
                  <a:lnTo>
                    <a:pt x="246" y="205"/>
                  </a:lnTo>
                  <a:lnTo>
                    <a:pt x="246" y="203"/>
                  </a:lnTo>
                  <a:lnTo>
                    <a:pt x="246" y="198"/>
                  </a:lnTo>
                  <a:lnTo>
                    <a:pt x="243" y="198"/>
                  </a:lnTo>
                  <a:lnTo>
                    <a:pt x="243" y="198"/>
                  </a:lnTo>
                  <a:lnTo>
                    <a:pt x="241" y="198"/>
                  </a:lnTo>
                  <a:lnTo>
                    <a:pt x="239" y="198"/>
                  </a:lnTo>
                  <a:lnTo>
                    <a:pt x="239" y="198"/>
                  </a:lnTo>
                  <a:lnTo>
                    <a:pt x="236" y="198"/>
                  </a:lnTo>
                  <a:lnTo>
                    <a:pt x="241" y="196"/>
                  </a:lnTo>
                  <a:lnTo>
                    <a:pt x="241" y="193"/>
                  </a:lnTo>
                  <a:lnTo>
                    <a:pt x="241" y="193"/>
                  </a:lnTo>
                  <a:lnTo>
                    <a:pt x="239" y="191"/>
                  </a:lnTo>
                  <a:lnTo>
                    <a:pt x="234" y="191"/>
                  </a:lnTo>
                  <a:lnTo>
                    <a:pt x="234" y="191"/>
                  </a:lnTo>
                  <a:lnTo>
                    <a:pt x="232" y="191"/>
                  </a:lnTo>
                  <a:lnTo>
                    <a:pt x="232" y="189"/>
                  </a:lnTo>
                  <a:lnTo>
                    <a:pt x="232" y="189"/>
                  </a:lnTo>
                  <a:lnTo>
                    <a:pt x="232" y="189"/>
                  </a:lnTo>
                  <a:lnTo>
                    <a:pt x="234" y="189"/>
                  </a:lnTo>
                  <a:lnTo>
                    <a:pt x="239" y="189"/>
                  </a:lnTo>
                  <a:lnTo>
                    <a:pt x="239" y="189"/>
                  </a:lnTo>
                  <a:lnTo>
                    <a:pt x="239" y="186"/>
                  </a:lnTo>
                  <a:lnTo>
                    <a:pt x="236" y="186"/>
                  </a:lnTo>
                  <a:lnTo>
                    <a:pt x="234" y="186"/>
                  </a:lnTo>
                  <a:lnTo>
                    <a:pt x="232" y="186"/>
                  </a:lnTo>
                  <a:lnTo>
                    <a:pt x="232" y="186"/>
                  </a:lnTo>
                  <a:lnTo>
                    <a:pt x="229" y="184"/>
                  </a:lnTo>
                  <a:lnTo>
                    <a:pt x="229" y="184"/>
                  </a:lnTo>
                  <a:lnTo>
                    <a:pt x="229" y="184"/>
                  </a:lnTo>
                  <a:lnTo>
                    <a:pt x="232" y="181"/>
                  </a:lnTo>
                  <a:lnTo>
                    <a:pt x="232" y="181"/>
                  </a:lnTo>
                  <a:lnTo>
                    <a:pt x="229" y="181"/>
                  </a:lnTo>
                  <a:lnTo>
                    <a:pt x="227" y="181"/>
                  </a:lnTo>
                  <a:lnTo>
                    <a:pt x="227" y="181"/>
                  </a:lnTo>
                  <a:lnTo>
                    <a:pt x="225" y="181"/>
                  </a:lnTo>
                  <a:lnTo>
                    <a:pt x="222" y="181"/>
                  </a:lnTo>
                  <a:lnTo>
                    <a:pt x="222" y="181"/>
                  </a:lnTo>
                  <a:lnTo>
                    <a:pt x="220" y="181"/>
                  </a:lnTo>
                  <a:lnTo>
                    <a:pt x="220" y="181"/>
                  </a:lnTo>
                  <a:lnTo>
                    <a:pt x="220" y="179"/>
                  </a:lnTo>
                  <a:lnTo>
                    <a:pt x="220" y="179"/>
                  </a:lnTo>
                  <a:lnTo>
                    <a:pt x="220" y="177"/>
                  </a:lnTo>
                  <a:lnTo>
                    <a:pt x="217" y="177"/>
                  </a:lnTo>
                  <a:lnTo>
                    <a:pt x="215" y="177"/>
                  </a:lnTo>
                  <a:lnTo>
                    <a:pt x="215" y="177"/>
                  </a:lnTo>
                  <a:lnTo>
                    <a:pt x="213" y="179"/>
                  </a:lnTo>
                  <a:lnTo>
                    <a:pt x="213" y="179"/>
                  </a:lnTo>
                  <a:lnTo>
                    <a:pt x="210" y="179"/>
                  </a:lnTo>
                  <a:lnTo>
                    <a:pt x="213" y="174"/>
                  </a:lnTo>
                  <a:lnTo>
                    <a:pt x="210" y="172"/>
                  </a:lnTo>
                  <a:lnTo>
                    <a:pt x="210" y="172"/>
                  </a:lnTo>
                  <a:lnTo>
                    <a:pt x="210" y="174"/>
                  </a:lnTo>
                  <a:lnTo>
                    <a:pt x="208" y="174"/>
                  </a:lnTo>
                  <a:lnTo>
                    <a:pt x="206" y="179"/>
                  </a:lnTo>
                  <a:lnTo>
                    <a:pt x="206" y="179"/>
                  </a:lnTo>
                  <a:lnTo>
                    <a:pt x="206" y="181"/>
                  </a:lnTo>
                  <a:lnTo>
                    <a:pt x="203" y="181"/>
                  </a:lnTo>
                  <a:lnTo>
                    <a:pt x="203" y="179"/>
                  </a:lnTo>
                  <a:lnTo>
                    <a:pt x="203" y="179"/>
                  </a:lnTo>
                  <a:lnTo>
                    <a:pt x="201" y="177"/>
                  </a:lnTo>
                  <a:lnTo>
                    <a:pt x="201" y="177"/>
                  </a:lnTo>
                  <a:lnTo>
                    <a:pt x="196" y="177"/>
                  </a:lnTo>
                  <a:lnTo>
                    <a:pt x="196" y="174"/>
                  </a:lnTo>
                  <a:lnTo>
                    <a:pt x="199" y="174"/>
                  </a:lnTo>
                  <a:lnTo>
                    <a:pt x="201" y="172"/>
                  </a:lnTo>
                  <a:lnTo>
                    <a:pt x="203" y="172"/>
                  </a:lnTo>
                  <a:lnTo>
                    <a:pt x="201" y="170"/>
                  </a:lnTo>
                  <a:lnTo>
                    <a:pt x="199" y="172"/>
                  </a:lnTo>
                  <a:lnTo>
                    <a:pt x="196" y="172"/>
                  </a:lnTo>
                  <a:lnTo>
                    <a:pt x="194" y="172"/>
                  </a:lnTo>
                  <a:lnTo>
                    <a:pt x="194" y="172"/>
                  </a:lnTo>
                  <a:lnTo>
                    <a:pt x="194" y="172"/>
                  </a:lnTo>
                  <a:lnTo>
                    <a:pt x="194" y="174"/>
                  </a:lnTo>
                  <a:lnTo>
                    <a:pt x="194" y="174"/>
                  </a:lnTo>
                  <a:lnTo>
                    <a:pt x="196" y="177"/>
                  </a:lnTo>
                  <a:lnTo>
                    <a:pt x="194" y="179"/>
                  </a:lnTo>
                  <a:lnTo>
                    <a:pt x="194" y="179"/>
                  </a:lnTo>
                  <a:lnTo>
                    <a:pt x="194" y="179"/>
                  </a:lnTo>
                  <a:lnTo>
                    <a:pt x="191" y="177"/>
                  </a:lnTo>
                  <a:lnTo>
                    <a:pt x="191" y="177"/>
                  </a:lnTo>
                  <a:lnTo>
                    <a:pt x="189" y="174"/>
                  </a:lnTo>
                  <a:lnTo>
                    <a:pt x="187" y="174"/>
                  </a:lnTo>
                  <a:lnTo>
                    <a:pt x="187" y="177"/>
                  </a:lnTo>
                  <a:lnTo>
                    <a:pt x="184" y="177"/>
                  </a:lnTo>
                  <a:lnTo>
                    <a:pt x="184" y="174"/>
                  </a:lnTo>
                  <a:lnTo>
                    <a:pt x="184" y="172"/>
                  </a:lnTo>
                  <a:lnTo>
                    <a:pt x="184" y="172"/>
                  </a:lnTo>
                  <a:lnTo>
                    <a:pt x="184" y="170"/>
                  </a:lnTo>
                  <a:lnTo>
                    <a:pt x="182" y="170"/>
                  </a:lnTo>
                  <a:lnTo>
                    <a:pt x="182" y="170"/>
                  </a:lnTo>
                  <a:lnTo>
                    <a:pt x="182" y="172"/>
                  </a:lnTo>
                  <a:lnTo>
                    <a:pt x="182" y="174"/>
                  </a:lnTo>
                  <a:lnTo>
                    <a:pt x="182" y="174"/>
                  </a:lnTo>
                  <a:lnTo>
                    <a:pt x="182" y="174"/>
                  </a:lnTo>
                  <a:lnTo>
                    <a:pt x="180" y="174"/>
                  </a:lnTo>
                  <a:lnTo>
                    <a:pt x="180" y="174"/>
                  </a:lnTo>
                  <a:lnTo>
                    <a:pt x="177" y="172"/>
                  </a:lnTo>
                  <a:lnTo>
                    <a:pt x="177" y="170"/>
                  </a:lnTo>
                  <a:lnTo>
                    <a:pt x="177" y="170"/>
                  </a:lnTo>
                  <a:lnTo>
                    <a:pt x="177" y="165"/>
                  </a:lnTo>
                  <a:lnTo>
                    <a:pt x="177" y="165"/>
                  </a:lnTo>
                  <a:lnTo>
                    <a:pt x="177" y="165"/>
                  </a:lnTo>
                  <a:lnTo>
                    <a:pt x="175" y="165"/>
                  </a:lnTo>
                  <a:lnTo>
                    <a:pt x="173" y="167"/>
                  </a:lnTo>
                  <a:lnTo>
                    <a:pt x="173" y="170"/>
                  </a:lnTo>
                  <a:lnTo>
                    <a:pt x="173" y="170"/>
                  </a:lnTo>
                  <a:lnTo>
                    <a:pt x="173" y="172"/>
                  </a:lnTo>
                  <a:lnTo>
                    <a:pt x="173" y="172"/>
                  </a:lnTo>
                  <a:lnTo>
                    <a:pt x="168" y="172"/>
                  </a:lnTo>
                  <a:lnTo>
                    <a:pt x="165" y="172"/>
                  </a:lnTo>
                  <a:lnTo>
                    <a:pt x="163" y="170"/>
                  </a:lnTo>
                  <a:lnTo>
                    <a:pt x="161" y="170"/>
                  </a:lnTo>
                  <a:lnTo>
                    <a:pt x="161" y="170"/>
                  </a:lnTo>
                  <a:lnTo>
                    <a:pt x="158" y="170"/>
                  </a:lnTo>
                  <a:lnTo>
                    <a:pt x="156" y="170"/>
                  </a:lnTo>
                  <a:lnTo>
                    <a:pt x="154" y="172"/>
                  </a:lnTo>
                  <a:lnTo>
                    <a:pt x="154" y="172"/>
                  </a:lnTo>
                  <a:lnTo>
                    <a:pt x="151" y="172"/>
                  </a:lnTo>
                  <a:lnTo>
                    <a:pt x="151" y="172"/>
                  </a:lnTo>
                  <a:lnTo>
                    <a:pt x="149" y="170"/>
                  </a:lnTo>
                  <a:lnTo>
                    <a:pt x="149" y="170"/>
                  </a:lnTo>
                  <a:lnTo>
                    <a:pt x="147" y="170"/>
                  </a:lnTo>
                  <a:lnTo>
                    <a:pt x="147" y="170"/>
                  </a:lnTo>
                  <a:lnTo>
                    <a:pt x="147" y="172"/>
                  </a:lnTo>
                  <a:lnTo>
                    <a:pt x="144" y="174"/>
                  </a:lnTo>
                  <a:lnTo>
                    <a:pt x="144" y="174"/>
                  </a:lnTo>
                  <a:lnTo>
                    <a:pt x="142" y="172"/>
                  </a:lnTo>
                  <a:lnTo>
                    <a:pt x="142" y="172"/>
                  </a:lnTo>
                  <a:lnTo>
                    <a:pt x="142" y="170"/>
                  </a:lnTo>
                  <a:lnTo>
                    <a:pt x="142" y="167"/>
                  </a:lnTo>
                  <a:lnTo>
                    <a:pt x="139" y="167"/>
                  </a:lnTo>
                  <a:lnTo>
                    <a:pt x="139" y="170"/>
                  </a:lnTo>
                  <a:lnTo>
                    <a:pt x="137" y="170"/>
                  </a:lnTo>
                  <a:lnTo>
                    <a:pt x="137" y="172"/>
                  </a:lnTo>
                  <a:lnTo>
                    <a:pt x="137" y="170"/>
                  </a:lnTo>
                  <a:lnTo>
                    <a:pt x="135" y="170"/>
                  </a:lnTo>
                  <a:lnTo>
                    <a:pt x="135" y="170"/>
                  </a:lnTo>
                  <a:lnTo>
                    <a:pt x="137" y="165"/>
                  </a:lnTo>
                  <a:lnTo>
                    <a:pt x="137" y="165"/>
                  </a:lnTo>
                  <a:lnTo>
                    <a:pt x="135" y="165"/>
                  </a:lnTo>
                  <a:lnTo>
                    <a:pt x="135" y="165"/>
                  </a:lnTo>
                  <a:lnTo>
                    <a:pt x="135" y="165"/>
                  </a:lnTo>
                  <a:lnTo>
                    <a:pt x="132" y="165"/>
                  </a:lnTo>
                  <a:lnTo>
                    <a:pt x="132" y="163"/>
                  </a:lnTo>
                  <a:lnTo>
                    <a:pt x="130" y="163"/>
                  </a:lnTo>
                  <a:lnTo>
                    <a:pt x="130" y="163"/>
                  </a:lnTo>
                  <a:lnTo>
                    <a:pt x="128" y="163"/>
                  </a:lnTo>
                  <a:lnTo>
                    <a:pt x="128" y="165"/>
                  </a:lnTo>
                  <a:lnTo>
                    <a:pt x="125" y="165"/>
                  </a:lnTo>
                  <a:lnTo>
                    <a:pt x="125" y="165"/>
                  </a:lnTo>
                  <a:lnTo>
                    <a:pt x="125" y="163"/>
                  </a:lnTo>
                  <a:lnTo>
                    <a:pt x="125" y="160"/>
                  </a:lnTo>
                  <a:lnTo>
                    <a:pt x="123" y="160"/>
                  </a:lnTo>
                  <a:lnTo>
                    <a:pt x="123" y="160"/>
                  </a:lnTo>
                  <a:lnTo>
                    <a:pt x="121" y="160"/>
                  </a:lnTo>
                  <a:lnTo>
                    <a:pt x="121" y="163"/>
                  </a:lnTo>
                  <a:lnTo>
                    <a:pt x="118" y="163"/>
                  </a:lnTo>
                  <a:lnTo>
                    <a:pt x="116" y="163"/>
                  </a:lnTo>
                  <a:lnTo>
                    <a:pt x="113" y="163"/>
                  </a:lnTo>
                  <a:lnTo>
                    <a:pt x="113" y="163"/>
                  </a:lnTo>
                  <a:lnTo>
                    <a:pt x="113" y="160"/>
                  </a:lnTo>
                  <a:lnTo>
                    <a:pt x="111" y="158"/>
                  </a:lnTo>
                  <a:lnTo>
                    <a:pt x="111" y="158"/>
                  </a:lnTo>
                  <a:lnTo>
                    <a:pt x="109" y="160"/>
                  </a:lnTo>
                  <a:lnTo>
                    <a:pt x="109" y="165"/>
                  </a:lnTo>
                  <a:lnTo>
                    <a:pt x="109" y="165"/>
                  </a:lnTo>
                  <a:lnTo>
                    <a:pt x="106" y="165"/>
                  </a:lnTo>
                  <a:lnTo>
                    <a:pt x="106" y="165"/>
                  </a:lnTo>
                  <a:lnTo>
                    <a:pt x="104" y="165"/>
                  </a:lnTo>
                  <a:lnTo>
                    <a:pt x="104" y="163"/>
                  </a:lnTo>
                  <a:lnTo>
                    <a:pt x="106" y="160"/>
                  </a:lnTo>
                  <a:lnTo>
                    <a:pt x="109" y="158"/>
                  </a:lnTo>
                  <a:lnTo>
                    <a:pt x="109" y="156"/>
                  </a:lnTo>
                  <a:lnTo>
                    <a:pt x="106" y="156"/>
                  </a:lnTo>
                  <a:lnTo>
                    <a:pt x="106" y="156"/>
                  </a:lnTo>
                  <a:lnTo>
                    <a:pt x="104" y="156"/>
                  </a:lnTo>
                  <a:lnTo>
                    <a:pt x="102" y="158"/>
                  </a:lnTo>
                  <a:lnTo>
                    <a:pt x="102" y="158"/>
                  </a:lnTo>
                  <a:lnTo>
                    <a:pt x="99" y="156"/>
                  </a:lnTo>
                  <a:lnTo>
                    <a:pt x="99" y="153"/>
                  </a:lnTo>
                  <a:lnTo>
                    <a:pt x="102" y="151"/>
                  </a:lnTo>
                  <a:lnTo>
                    <a:pt x="104" y="148"/>
                  </a:lnTo>
                  <a:lnTo>
                    <a:pt x="102" y="148"/>
                  </a:lnTo>
                  <a:lnTo>
                    <a:pt x="102" y="148"/>
                  </a:lnTo>
                  <a:lnTo>
                    <a:pt x="99" y="148"/>
                  </a:lnTo>
                  <a:lnTo>
                    <a:pt x="99" y="148"/>
                  </a:lnTo>
                  <a:lnTo>
                    <a:pt x="95" y="151"/>
                  </a:lnTo>
                  <a:lnTo>
                    <a:pt x="95" y="151"/>
                  </a:lnTo>
                  <a:lnTo>
                    <a:pt x="95" y="153"/>
                  </a:lnTo>
                  <a:lnTo>
                    <a:pt x="97" y="156"/>
                  </a:lnTo>
                  <a:lnTo>
                    <a:pt x="97" y="156"/>
                  </a:lnTo>
                  <a:lnTo>
                    <a:pt x="97" y="158"/>
                  </a:lnTo>
                  <a:lnTo>
                    <a:pt x="92" y="160"/>
                  </a:lnTo>
                  <a:lnTo>
                    <a:pt x="90" y="160"/>
                  </a:lnTo>
                  <a:lnTo>
                    <a:pt x="87" y="160"/>
                  </a:lnTo>
                  <a:lnTo>
                    <a:pt x="87" y="160"/>
                  </a:lnTo>
                  <a:lnTo>
                    <a:pt x="85" y="156"/>
                  </a:lnTo>
                  <a:lnTo>
                    <a:pt x="85" y="156"/>
                  </a:lnTo>
                  <a:lnTo>
                    <a:pt x="85" y="156"/>
                  </a:lnTo>
                  <a:lnTo>
                    <a:pt x="83" y="156"/>
                  </a:lnTo>
                  <a:lnTo>
                    <a:pt x="83" y="156"/>
                  </a:lnTo>
                  <a:lnTo>
                    <a:pt x="83" y="160"/>
                  </a:lnTo>
                  <a:lnTo>
                    <a:pt x="83" y="163"/>
                  </a:lnTo>
                  <a:lnTo>
                    <a:pt x="80" y="163"/>
                  </a:lnTo>
                  <a:lnTo>
                    <a:pt x="76" y="160"/>
                  </a:lnTo>
                  <a:lnTo>
                    <a:pt x="76" y="160"/>
                  </a:lnTo>
                  <a:lnTo>
                    <a:pt x="73" y="160"/>
                  </a:lnTo>
                  <a:lnTo>
                    <a:pt x="69" y="163"/>
                  </a:lnTo>
                  <a:lnTo>
                    <a:pt x="66" y="165"/>
                  </a:lnTo>
                  <a:lnTo>
                    <a:pt x="66" y="165"/>
                  </a:lnTo>
                  <a:lnTo>
                    <a:pt x="64" y="165"/>
                  </a:lnTo>
                  <a:lnTo>
                    <a:pt x="64" y="165"/>
                  </a:lnTo>
                  <a:lnTo>
                    <a:pt x="64" y="163"/>
                  </a:lnTo>
                  <a:lnTo>
                    <a:pt x="64" y="163"/>
                  </a:lnTo>
                  <a:lnTo>
                    <a:pt x="66" y="158"/>
                  </a:lnTo>
                  <a:lnTo>
                    <a:pt x="69" y="156"/>
                  </a:lnTo>
                  <a:lnTo>
                    <a:pt x="69" y="156"/>
                  </a:lnTo>
                  <a:lnTo>
                    <a:pt x="69" y="156"/>
                  </a:lnTo>
                  <a:lnTo>
                    <a:pt x="69" y="153"/>
                  </a:lnTo>
                  <a:lnTo>
                    <a:pt x="66" y="153"/>
                  </a:lnTo>
                  <a:lnTo>
                    <a:pt x="66" y="153"/>
                  </a:lnTo>
                  <a:lnTo>
                    <a:pt x="66" y="153"/>
                  </a:lnTo>
                  <a:lnTo>
                    <a:pt x="64" y="153"/>
                  </a:lnTo>
                  <a:lnTo>
                    <a:pt x="64" y="153"/>
                  </a:lnTo>
                  <a:lnTo>
                    <a:pt x="62" y="153"/>
                  </a:lnTo>
                  <a:lnTo>
                    <a:pt x="62" y="153"/>
                  </a:lnTo>
                  <a:lnTo>
                    <a:pt x="59" y="151"/>
                  </a:lnTo>
                  <a:lnTo>
                    <a:pt x="59" y="151"/>
                  </a:lnTo>
                  <a:lnTo>
                    <a:pt x="59" y="148"/>
                  </a:lnTo>
                  <a:lnTo>
                    <a:pt x="57" y="151"/>
                  </a:lnTo>
                  <a:lnTo>
                    <a:pt x="57" y="151"/>
                  </a:lnTo>
                  <a:lnTo>
                    <a:pt x="54" y="151"/>
                  </a:lnTo>
                  <a:lnTo>
                    <a:pt x="54" y="153"/>
                  </a:lnTo>
                  <a:lnTo>
                    <a:pt x="54" y="156"/>
                  </a:lnTo>
                  <a:lnTo>
                    <a:pt x="47" y="158"/>
                  </a:lnTo>
                  <a:lnTo>
                    <a:pt x="45" y="156"/>
                  </a:lnTo>
                  <a:lnTo>
                    <a:pt x="45" y="156"/>
                  </a:lnTo>
                  <a:lnTo>
                    <a:pt x="43" y="156"/>
                  </a:lnTo>
                  <a:lnTo>
                    <a:pt x="43" y="156"/>
                  </a:lnTo>
                  <a:lnTo>
                    <a:pt x="40" y="156"/>
                  </a:lnTo>
                  <a:lnTo>
                    <a:pt x="40" y="156"/>
                  </a:lnTo>
                  <a:lnTo>
                    <a:pt x="40" y="158"/>
                  </a:lnTo>
                  <a:lnTo>
                    <a:pt x="40" y="158"/>
                  </a:lnTo>
                  <a:lnTo>
                    <a:pt x="43" y="160"/>
                  </a:lnTo>
                  <a:lnTo>
                    <a:pt x="43" y="160"/>
                  </a:lnTo>
                  <a:lnTo>
                    <a:pt x="43" y="163"/>
                  </a:lnTo>
                  <a:lnTo>
                    <a:pt x="43" y="163"/>
                  </a:lnTo>
                  <a:lnTo>
                    <a:pt x="40" y="163"/>
                  </a:lnTo>
                  <a:lnTo>
                    <a:pt x="40" y="163"/>
                  </a:lnTo>
                  <a:lnTo>
                    <a:pt x="38" y="163"/>
                  </a:lnTo>
                  <a:lnTo>
                    <a:pt x="36" y="160"/>
                  </a:lnTo>
                  <a:lnTo>
                    <a:pt x="36" y="160"/>
                  </a:lnTo>
                  <a:lnTo>
                    <a:pt x="33" y="160"/>
                  </a:lnTo>
                  <a:lnTo>
                    <a:pt x="31" y="163"/>
                  </a:lnTo>
                  <a:lnTo>
                    <a:pt x="28" y="163"/>
                  </a:lnTo>
                  <a:lnTo>
                    <a:pt x="28" y="163"/>
                  </a:lnTo>
                  <a:lnTo>
                    <a:pt x="26" y="163"/>
                  </a:lnTo>
                  <a:lnTo>
                    <a:pt x="26" y="165"/>
                  </a:lnTo>
                  <a:lnTo>
                    <a:pt x="24" y="165"/>
                  </a:lnTo>
                  <a:lnTo>
                    <a:pt x="24" y="165"/>
                  </a:lnTo>
                  <a:lnTo>
                    <a:pt x="24" y="163"/>
                  </a:lnTo>
                  <a:lnTo>
                    <a:pt x="24" y="160"/>
                  </a:lnTo>
                  <a:lnTo>
                    <a:pt x="21" y="160"/>
                  </a:lnTo>
                  <a:lnTo>
                    <a:pt x="21" y="160"/>
                  </a:lnTo>
                  <a:lnTo>
                    <a:pt x="21" y="158"/>
                  </a:lnTo>
                  <a:lnTo>
                    <a:pt x="19" y="158"/>
                  </a:lnTo>
                  <a:lnTo>
                    <a:pt x="19" y="158"/>
                  </a:lnTo>
                  <a:lnTo>
                    <a:pt x="17" y="160"/>
                  </a:lnTo>
                  <a:lnTo>
                    <a:pt x="17" y="160"/>
                  </a:lnTo>
                  <a:lnTo>
                    <a:pt x="14" y="160"/>
                  </a:lnTo>
                  <a:lnTo>
                    <a:pt x="14" y="160"/>
                  </a:lnTo>
                  <a:lnTo>
                    <a:pt x="12" y="163"/>
                  </a:lnTo>
                  <a:lnTo>
                    <a:pt x="10" y="163"/>
                  </a:lnTo>
                  <a:lnTo>
                    <a:pt x="10" y="158"/>
                  </a:lnTo>
                  <a:lnTo>
                    <a:pt x="7" y="156"/>
                  </a:lnTo>
                  <a:lnTo>
                    <a:pt x="2" y="160"/>
                  </a:lnTo>
                  <a:lnTo>
                    <a:pt x="2" y="160"/>
                  </a:lnTo>
                  <a:lnTo>
                    <a:pt x="2" y="160"/>
                  </a:lnTo>
                  <a:lnTo>
                    <a:pt x="0" y="160"/>
                  </a:lnTo>
                  <a:lnTo>
                    <a:pt x="0" y="160"/>
                  </a:lnTo>
                  <a:close/>
                  <a:moveTo>
                    <a:pt x="669" y="203"/>
                  </a:moveTo>
                  <a:lnTo>
                    <a:pt x="669" y="200"/>
                  </a:lnTo>
                  <a:lnTo>
                    <a:pt x="669" y="203"/>
                  </a:lnTo>
                  <a:close/>
                  <a:moveTo>
                    <a:pt x="669" y="229"/>
                  </a:moveTo>
                  <a:lnTo>
                    <a:pt x="669" y="229"/>
                  </a:lnTo>
                  <a:lnTo>
                    <a:pt x="669" y="229"/>
                  </a:lnTo>
                  <a:lnTo>
                    <a:pt x="669" y="226"/>
                  </a:lnTo>
                  <a:lnTo>
                    <a:pt x="669" y="226"/>
                  </a:lnTo>
                  <a:lnTo>
                    <a:pt x="669" y="226"/>
                  </a:lnTo>
                  <a:lnTo>
                    <a:pt x="669" y="224"/>
                  </a:lnTo>
                  <a:lnTo>
                    <a:pt x="669" y="222"/>
                  </a:lnTo>
                  <a:lnTo>
                    <a:pt x="671" y="222"/>
                  </a:lnTo>
                  <a:lnTo>
                    <a:pt x="673" y="222"/>
                  </a:lnTo>
                  <a:lnTo>
                    <a:pt x="673" y="217"/>
                  </a:lnTo>
                  <a:lnTo>
                    <a:pt x="671" y="217"/>
                  </a:lnTo>
                  <a:lnTo>
                    <a:pt x="671" y="217"/>
                  </a:lnTo>
                  <a:lnTo>
                    <a:pt x="671" y="217"/>
                  </a:lnTo>
                  <a:lnTo>
                    <a:pt x="671" y="217"/>
                  </a:lnTo>
                  <a:lnTo>
                    <a:pt x="669" y="215"/>
                  </a:lnTo>
                  <a:lnTo>
                    <a:pt x="669" y="215"/>
                  </a:lnTo>
                  <a:lnTo>
                    <a:pt x="671" y="212"/>
                  </a:lnTo>
                  <a:lnTo>
                    <a:pt x="671" y="212"/>
                  </a:lnTo>
                  <a:lnTo>
                    <a:pt x="671" y="212"/>
                  </a:lnTo>
                  <a:lnTo>
                    <a:pt x="673" y="212"/>
                  </a:lnTo>
                  <a:lnTo>
                    <a:pt x="673" y="212"/>
                  </a:lnTo>
                  <a:lnTo>
                    <a:pt x="673" y="210"/>
                  </a:lnTo>
                  <a:lnTo>
                    <a:pt x="673" y="210"/>
                  </a:lnTo>
                  <a:lnTo>
                    <a:pt x="676" y="210"/>
                  </a:lnTo>
                  <a:lnTo>
                    <a:pt x="673" y="207"/>
                  </a:lnTo>
                  <a:lnTo>
                    <a:pt x="673" y="207"/>
                  </a:lnTo>
                  <a:lnTo>
                    <a:pt x="673" y="207"/>
                  </a:lnTo>
                  <a:lnTo>
                    <a:pt x="673" y="205"/>
                  </a:lnTo>
                  <a:lnTo>
                    <a:pt x="673" y="205"/>
                  </a:lnTo>
                  <a:lnTo>
                    <a:pt x="673" y="203"/>
                  </a:lnTo>
                  <a:lnTo>
                    <a:pt x="673" y="203"/>
                  </a:lnTo>
                  <a:lnTo>
                    <a:pt x="673" y="203"/>
                  </a:lnTo>
                  <a:lnTo>
                    <a:pt x="671" y="200"/>
                  </a:lnTo>
                  <a:lnTo>
                    <a:pt x="671" y="200"/>
                  </a:lnTo>
                  <a:lnTo>
                    <a:pt x="671" y="200"/>
                  </a:lnTo>
                  <a:lnTo>
                    <a:pt x="671" y="198"/>
                  </a:lnTo>
                  <a:lnTo>
                    <a:pt x="673" y="198"/>
                  </a:lnTo>
                  <a:lnTo>
                    <a:pt x="673" y="198"/>
                  </a:lnTo>
                  <a:lnTo>
                    <a:pt x="673" y="198"/>
                  </a:lnTo>
                  <a:lnTo>
                    <a:pt x="673" y="196"/>
                  </a:lnTo>
                  <a:lnTo>
                    <a:pt x="671" y="196"/>
                  </a:lnTo>
                  <a:lnTo>
                    <a:pt x="671" y="198"/>
                  </a:lnTo>
                  <a:lnTo>
                    <a:pt x="671" y="196"/>
                  </a:lnTo>
                  <a:lnTo>
                    <a:pt x="673" y="196"/>
                  </a:lnTo>
                  <a:lnTo>
                    <a:pt x="673" y="193"/>
                  </a:lnTo>
                  <a:lnTo>
                    <a:pt x="676" y="193"/>
                  </a:lnTo>
                  <a:lnTo>
                    <a:pt x="678" y="193"/>
                  </a:lnTo>
                  <a:lnTo>
                    <a:pt x="680" y="193"/>
                  </a:lnTo>
                  <a:lnTo>
                    <a:pt x="683" y="193"/>
                  </a:lnTo>
                  <a:lnTo>
                    <a:pt x="685" y="191"/>
                  </a:lnTo>
                  <a:lnTo>
                    <a:pt x="685" y="191"/>
                  </a:lnTo>
                  <a:lnTo>
                    <a:pt x="685" y="189"/>
                  </a:lnTo>
                  <a:lnTo>
                    <a:pt x="685" y="191"/>
                  </a:lnTo>
                  <a:lnTo>
                    <a:pt x="685" y="189"/>
                  </a:lnTo>
                  <a:lnTo>
                    <a:pt x="685" y="189"/>
                  </a:lnTo>
                  <a:lnTo>
                    <a:pt x="685" y="189"/>
                  </a:lnTo>
                  <a:lnTo>
                    <a:pt x="688" y="189"/>
                  </a:lnTo>
                  <a:lnTo>
                    <a:pt x="688" y="186"/>
                  </a:lnTo>
                  <a:lnTo>
                    <a:pt x="688" y="189"/>
                  </a:lnTo>
                  <a:lnTo>
                    <a:pt x="688" y="191"/>
                  </a:lnTo>
                  <a:lnTo>
                    <a:pt x="688" y="191"/>
                  </a:lnTo>
                  <a:lnTo>
                    <a:pt x="690" y="193"/>
                  </a:lnTo>
                  <a:lnTo>
                    <a:pt x="690" y="193"/>
                  </a:lnTo>
                  <a:lnTo>
                    <a:pt x="692" y="196"/>
                  </a:lnTo>
                  <a:lnTo>
                    <a:pt x="692" y="193"/>
                  </a:lnTo>
                  <a:lnTo>
                    <a:pt x="695" y="193"/>
                  </a:lnTo>
                  <a:lnTo>
                    <a:pt x="695" y="196"/>
                  </a:lnTo>
                  <a:lnTo>
                    <a:pt x="692" y="196"/>
                  </a:lnTo>
                  <a:lnTo>
                    <a:pt x="692" y="198"/>
                  </a:lnTo>
                  <a:lnTo>
                    <a:pt x="692" y="200"/>
                  </a:lnTo>
                  <a:lnTo>
                    <a:pt x="690" y="200"/>
                  </a:lnTo>
                  <a:lnTo>
                    <a:pt x="688" y="205"/>
                  </a:lnTo>
                  <a:lnTo>
                    <a:pt x="685" y="207"/>
                  </a:lnTo>
                  <a:lnTo>
                    <a:pt x="685" y="210"/>
                  </a:lnTo>
                  <a:lnTo>
                    <a:pt x="685" y="212"/>
                  </a:lnTo>
                  <a:lnTo>
                    <a:pt x="685" y="212"/>
                  </a:lnTo>
                  <a:lnTo>
                    <a:pt x="688" y="212"/>
                  </a:lnTo>
                  <a:lnTo>
                    <a:pt x="688" y="212"/>
                  </a:lnTo>
                  <a:lnTo>
                    <a:pt x="688" y="212"/>
                  </a:lnTo>
                  <a:lnTo>
                    <a:pt x="688" y="215"/>
                  </a:lnTo>
                  <a:lnTo>
                    <a:pt x="685" y="215"/>
                  </a:lnTo>
                  <a:lnTo>
                    <a:pt x="685" y="217"/>
                  </a:lnTo>
                  <a:lnTo>
                    <a:pt x="685" y="217"/>
                  </a:lnTo>
                  <a:lnTo>
                    <a:pt x="683" y="217"/>
                  </a:lnTo>
                  <a:lnTo>
                    <a:pt x="683" y="219"/>
                  </a:lnTo>
                  <a:lnTo>
                    <a:pt x="683" y="219"/>
                  </a:lnTo>
                  <a:lnTo>
                    <a:pt x="680" y="222"/>
                  </a:lnTo>
                  <a:lnTo>
                    <a:pt x="680" y="224"/>
                  </a:lnTo>
                  <a:lnTo>
                    <a:pt x="678" y="226"/>
                  </a:lnTo>
                  <a:lnTo>
                    <a:pt x="676" y="231"/>
                  </a:lnTo>
                  <a:lnTo>
                    <a:pt x="676" y="231"/>
                  </a:lnTo>
                  <a:lnTo>
                    <a:pt x="676" y="233"/>
                  </a:lnTo>
                  <a:lnTo>
                    <a:pt x="676" y="236"/>
                  </a:lnTo>
                  <a:lnTo>
                    <a:pt x="676" y="236"/>
                  </a:lnTo>
                  <a:lnTo>
                    <a:pt x="676" y="236"/>
                  </a:lnTo>
                  <a:lnTo>
                    <a:pt x="678" y="236"/>
                  </a:lnTo>
                  <a:lnTo>
                    <a:pt x="678" y="236"/>
                  </a:lnTo>
                  <a:lnTo>
                    <a:pt x="678" y="236"/>
                  </a:lnTo>
                  <a:lnTo>
                    <a:pt x="680" y="236"/>
                  </a:lnTo>
                  <a:lnTo>
                    <a:pt x="680" y="238"/>
                  </a:lnTo>
                  <a:lnTo>
                    <a:pt x="678" y="238"/>
                  </a:lnTo>
                  <a:lnTo>
                    <a:pt x="678" y="238"/>
                  </a:lnTo>
                  <a:lnTo>
                    <a:pt x="678" y="238"/>
                  </a:lnTo>
                  <a:lnTo>
                    <a:pt x="678" y="238"/>
                  </a:lnTo>
                  <a:lnTo>
                    <a:pt x="678" y="241"/>
                  </a:lnTo>
                  <a:lnTo>
                    <a:pt x="676" y="241"/>
                  </a:lnTo>
                  <a:lnTo>
                    <a:pt x="676" y="241"/>
                  </a:lnTo>
                  <a:lnTo>
                    <a:pt x="676" y="238"/>
                  </a:lnTo>
                  <a:lnTo>
                    <a:pt x="673" y="238"/>
                  </a:lnTo>
                  <a:lnTo>
                    <a:pt x="673" y="241"/>
                  </a:lnTo>
                  <a:lnTo>
                    <a:pt x="671" y="241"/>
                  </a:lnTo>
                  <a:lnTo>
                    <a:pt x="671" y="245"/>
                  </a:lnTo>
                  <a:lnTo>
                    <a:pt x="671" y="245"/>
                  </a:lnTo>
                  <a:lnTo>
                    <a:pt x="669" y="248"/>
                  </a:lnTo>
                  <a:lnTo>
                    <a:pt x="669" y="245"/>
                  </a:lnTo>
                  <a:lnTo>
                    <a:pt x="669" y="245"/>
                  </a:lnTo>
                  <a:lnTo>
                    <a:pt x="669" y="245"/>
                  </a:lnTo>
                  <a:lnTo>
                    <a:pt x="669" y="243"/>
                  </a:lnTo>
                  <a:lnTo>
                    <a:pt x="669" y="243"/>
                  </a:lnTo>
                  <a:lnTo>
                    <a:pt x="669" y="241"/>
                  </a:lnTo>
                  <a:lnTo>
                    <a:pt x="669" y="241"/>
                  </a:lnTo>
                  <a:lnTo>
                    <a:pt x="666" y="238"/>
                  </a:lnTo>
                  <a:lnTo>
                    <a:pt x="666" y="238"/>
                  </a:lnTo>
                  <a:lnTo>
                    <a:pt x="666" y="236"/>
                  </a:lnTo>
                  <a:lnTo>
                    <a:pt x="669" y="236"/>
                  </a:lnTo>
                  <a:lnTo>
                    <a:pt x="669" y="236"/>
                  </a:lnTo>
                  <a:lnTo>
                    <a:pt x="669" y="233"/>
                  </a:lnTo>
                  <a:lnTo>
                    <a:pt x="669" y="231"/>
                  </a:lnTo>
                  <a:lnTo>
                    <a:pt x="671" y="229"/>
                  </a:lnTo>
                  <a:lnTo>
                    <a:pt x="669" y="229"/>
                  </a:lnTo>
                  <a:lnTo>
                    <a:pt x="669" y="229"/>
                  </a:lnTo>
                  <a:lnTo>
                    <a:pt x="669" y="229"/>
                  </a:lnTo>
                  <a:lnTo>
                    <a:pt x="669" y="229"/>
                  </a:lnTo>
                  <a:close/>
                  <a:moveTo>
                    <a:pt x="669" y="200"/>
                  </a:moveTo>
                  <a:lnTo>
                    <a:pt x="669" y="200"/>
                  </a:lnTo>
                  <a:lnTo>
                    <a:pt x="669" y="200"/>
                  </a:lnTo>
                  <a:lnTo>
                    <a:pt x="669" y="198"/>
                  </a:lnTo>
                  <a:lnTo>
                    <a:pt x="669" y="200"/>
                  </a:lnTo>
                  <a:lnTo>
                    <a:pt x="669" y="200"/>
                  </a:lnTo>
                  <a:lnTo>
                    <a:pt x="669" y="20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 cap="flat">
              <a:solidFill>
                <a:schemeClr val="bg2">
                  <a:lumMod val="7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>
                <a:solidFill>
                  <a:srgbClr val="000000"/>
                </a:solidFill>
              </a:endParaRPr>
            </a:p>
          </p:txBody>
        </p:sp>
        <p:sp>
          <p:nvSpPr>
            <p:cNvPr id="83" name="Freeform 35"/>
            <p:cNvSpPr>
              <a:spLocks noEditPoints="1"/>
            </p:cNvSpPr>
            <p:nvPr/>
          </p:nvSpPr>
          <p:spPr bwMode="gray">
            <a:xfrm>
              <a:off x="2326370" y="5107187"/>
              <a:ext cx="916322" cy="632900"/>
            </a:xfrm>
            <a:custGeom>
              <a:avLst/>
              <a:gdLst/>
              <a:ahLst/>
              <a:cxnLst>
                <a:cxn ang="0">
                  <a:pos x="99" y="286"/>
                </a:cxn>
                <a:cxn ang="0">
                  <a:pos x="158" y="194"/>
                </a:cxn>
                <a:cxn ang="0">
                  <a:pos x="210" y="92"/>
                </a:cxn>
                <a:cxn ang="0">
                  <a:pos x="307" y="17"/>
                </a:cxn>
                <a:cxn ang="0">
                  <a:pos x="407" y="19"/>
                </a:cxn>
                <a:cxn ang="0">
                  <a:pos x="487" y="62"/>
                </a:cxn>
                <a:cxn ang="0">
                  <a:pos x="548" y="50"/>
                </a:cxn>
                <a:cxn ang="0">
                  <a:pos x="624" y="38"/>
                </a:cxn>
                <a:cxn ang="0">
                  <a:pos x="681" y="26"/>
                </a:cxn>
                <a:cxn ang="0">
                  <a:pos x="742" y="50"/>
                </a:cxn>
                <a:cxn ang="0">
                  <a:pos x="754" y="95"/>
                </a:cxn>
                <a:cxn ang="0">
                  <a:pos x="754" y="151"/>
                </a:cxn>
                <a:cxn ang="0">
                  <a:pos x="770" y="199"/>
                </a:cxn>
                <a:cxn ang="0">
                  <a:pos x="801" y="206"/>
                </a:cxn>
                <a:cxn ang="0">
                  <a:pos x="836" y="222"/>
                </a:cxn>
                <a:cxn ang="0">
                  <a:pos x="815" y="267"/>
                </a:cxn>
                <a:cxn ang="0">
                  <a:pos x="810" y="300"/>
                </a:cxn>
                <a:cxn ang="0">
                  <a:pos x="813" y="336"/>
                </a:cxn>
                <a:cxn ang="0">
                  <a:pos x="848" y="362"/>
                </a:cxn>
                <a:cxn ang="0">
                  <a:pos x="858" y="390"/>
                </a:cxn>
                <a:cxn ang="0">
                  <a:pos x="891" y="406"/>
                </a:cxn>
                <a:cxn ang="0">
                  <a:pos x="931" y="399"/>
                </a:cxn>
                <a:cxn ang="0">
                  <a:pos x="940" y="373"/>
                </a:cxn>
                <a:cxn ang="0">
                  <a:pos x="966" y="371"/>
                </a:cxn>
                <a:cxn ang="0">
                  <a:pos x="1018" y="352"/>
                </a:cxn>
                <a:cxn ang="0">
                  <a:pos x="1070" y="362"/>
                </a:cxn>
                <a:cxn ang="0">
                  <a:pos x="1103" y="369"/>
                </a:cxn>
                <a:cxn ang="0">
                  <a:pos x="1134" y="378"/>
                </a:cxn>
                <a:cxn ang="0">
                  <a:pos x="1099" y="404"/>
                </a:cxn>
                <a:cxn ang="0">
                  <a:pos x="1054" y="421"/>
                </a:cxn>
                <a:cxn ang="0">
                  <a:pos x="1049" y="456"/>
                </a:cxn>
                <a:cxn ang="0">
                  <a:pos x="1035" y="468"/>
                </a:cxn>
                <a:cxn ang="0">
                  <a:pos x="1014" y="484"/>
                </a:cxn>
                <a:cxn ang="0">
                  <a:pos x="1002" y="496"/>
                </a:cxn>
                <a:cxn ang="0">
                  <a:pos x="973" y="527"/>
                </a:cxn>
                <a:cxn ang="0">
                  <a:pos x="926" y="520"/>
                </a:cxn>
                <a:cxn ang="0">
                  <a:pos x="877" y="548"/>
                </a:cxn>
                <a:cxn ang="0">
                  <a:pos x="853" y="553"/>
                </a:cxn>
                <a:cxn ang="0">
                  <a:pos x="747" y="626"/>
                </a:cxn>
                <a:cxn ang="0">
                  <a:pos x="643" y="711"/>
                </a:cxn>
                <a:cxn ang="0">
                  <a:pos x="617" y="678"/>
                </a:cxn>
                <a:cxn ang="0">
                  <a:pos x="579" y="695"/>
                </a:cxn>
                <a:cxn ang="0">
                  <a:pos x="577" y="659"/>
                </a:cxn>
                <a:cxn ang="0">
                  <a:pos x="562" y="638"/>
                </a:cxn>
                <a:cxn ang="0">
                  <a:pos x="522" y="633"/>
                </a:cxn>
                <a:cxn ang="0">
                  <a:pos x="482" y="636"/>
                </a:cxn>
                <a:cxn ang="0">
                  <a:pos x="489" y="600"/>
                </a:cxn>
                <a:cxn ang="0">
                  <a:pos x="468" y="565"/>
                </a:cxn>
                <a:cxn ang="0">
                  <a:pos x="456" y="543"/>
                </a:cxn>
                <a:cxn ang="0">
                  <a:pos x="451" y="515"/>
                </a:cxn>
                <a:cxn ang="0">
                  <a:pos x="444" y="477"/>
                </a:cxn>
                <a:cxn ang="0">
                  <a:pos x="433" y="442"/>
                </a:cxn>
                <a:cxn ang="0">
                  <a:pos x="397" y="409"/>
                </a:cxn>
                <a:cxn ang="0">
                  <a:pos x="340" y="413"/>
                </a:cxn>
                <a:cxn ang="0">
                  <a:pos x="274" y="395"/>
                </a:cxn>
                <a:cxn ang="0">
                  <a:pos x="175" y="371"/>
                </a:cxn>
                <a:cxn ang="0">
                  <a:pos x="90" y="371"/>
                </a:cxn>
                <a:cxn ang="0">
                  <a:pos x="1047" y="473"/>
                </a:cxn>
                <a:cxn ang="0">
                  <a:pos x="1040" y="475"/>
                </a:cxn>
                <a:cxn ang="0">
                  <a:pos x="983" y="541"/>
                </a:cxn>
                <a:cxn ang="0">
                  <a:pos x="997" y="527"/>
                </a:cxn>
                <a:cxn ang="0">
                  <a:pos x="962" y="529"/>
                </a:cxn>
                <a:cxn ang="0">
                  <a:pos x="1009" y="494"/>
                </a:cxn>
              </a:cxnLst>
              <a:rect l="0" t="0" r="r" b="b"/>
              <a:pathLst>
                <a:path w="1134" h="723">
                  <a:moveTo>
                    <a:pt x="0" y="371"/>
                  </a:moveTo>
                  <a:lnTo>
                    <a:pt x="0" y="369"/>
                  </a:lnTo>
                  <a:lnTo>
                    <a:pt x="0" y="369"/>
                  </a:lnTo>
                  <a:lnTo>
                    <a:pt x="0" y="369"/>
                  </a:lnTo>
                  <a:lnTo>
                    <a:pt x="0" y="366"/>
                  </a:lnTo>
                  <a:lnTo>
                    <a:pt x="3" y="362"/>
                  </a:lnTo>
                  <a:lnTo>
                    <a:pt x="5" y="359"/>
                  </a:lnTo>
                  <a:lnTo>
                    <a:pt x="7" y="359"/>
                  </a:lnTo>
                  <a:lnTo>
                    <a:pt x="12" y="357"/>
                  </a:lnTo>
                  <a:lnTo>
                    <a:pt x="12" y="357"/>
                  </a:lnTo>
                  <a:lnTo>
                    <a:pt x="14" y="354"/>
                  </a:lnTo>
                  <a:lnTo>
                    <a:pt x="19" y="352"/>
                  </a:lnTo>
                  <a:lnTo>
                    <a:pt x="19" y="352"/>
                  </a:lnTo>
                  <a:lnTo>
                    <a:pt x="21" y="350"/>
                  </a:lnTo>
                  <a:lnTo>
                    <a:pt x="29" y="350"/>
                  </a:lnTo>
                  <a:lnTo>
                    <a:pt x="31" y="347"/>
                  </a:lnTo>
                  <a:lnTo>
                    <a:pt x="31" y="347"/>
                  </a:lnTo>
                  <a:lnTo>
                    <a:pt x="33" y="343"/>
                  </a:lnTo>
                  <a:lnTo>
                    <a:pt x="38" y="340"/>
                  </a:lnTo>
                  <a:lnTo>
                    <a:pt x="38" y="338"/>
                  </a:lnTo>
                  <a:lnTo>
                    <a:pt x="45" y="333"/>
                  </a:lnTo>
                  <a:lnTo>
                    <a:pt x="47" y="333"/>
                  </a:lnTo>
                  <a:lnTo>
                    <a:pt x="52" y="331"/>
                  </a:lnTo>
                  <a:lnTo>
                    <a:pt x="57" y="328"/>
                  </a:lnTo>
                  <a:lnTo>
                    <a:pt x="59" y="326"/>
                  </a:lnTo>
                  <a:lnTo>
                    <a:pt x="62" y="326"/>
                  </a:lnTo>
                  <a:lnTo>
                    <a:pt x="64" y="324"/>
                  </a:lnTo>
                  <a:lnTo>
                    <a:pt x="66" y="321"/>
                  </a:lnTo>
                  <a:lnTo>
                    <a:pt x="71" y="321"/>
                  </a:lnTo>
                  <a:lnTo>
                    <a:pt x="73" y="319"/>
                  </a:lnTo>
                  <a:lnTo>
                    <a:pt x="76" y="319"/>
                  </a:lnTo>
                  <a:lnTo>
                    <a:pt x="78" y="317"/>
                  </a:lnTo>
                  <a:lnTo>
                    <a:pt x="78" y="317"/>
                  </a:lnTo>
                  <a:lnTo>
                    <a:pt x="81" y="317"/>
                  </a:lnTo>
                  <a:lnTo>
                    <a:pt x="83" y="314"/>
                  </a:lnTo>
                  <a:lnTo>
                    <a:pt x="83" y="312"/>
                  </a:lnTo>
                  <a:lnTo>
                    <a:pt x="90" y="307"/>
                  </a:lnTo>
                  <a:lnTo>
                    <a:pt x="90" y="305"/>
                  </a:lnTo>
                  <a:lnTo>
                    <a:pt x="90" y="305"/>
                  </a:lnTo>
                  <a:lnTo>
                    <a:pt x="92" y="302"/>
                  </a:lnTo>
                  <a:lnTo>
                    <a:pt x="97" y="298"/>
                  </a:lnTo>
                  <a:lnTo>
                    <a:pt x="99" y="286"/>
                  </a:lnTo>
                  <a:lnTo>
                    <a:pt x="102" y="284"/>
                  </a:lnTo>
                  <a:lnTo>
                    <a:pt x="104" y="279"/>
                  </a:lnTo>
                  <a:lnTo>
                    <a:pt x="107" y="279"/>
                  </a:lnTo>
                  <a:lnTo>
                    <a:pt x="107" y="276"/>
                  </a:lnTo>
                  <a:lnTo>
                    <a:pt x="109" y="276"/>
                  </a:lnTo>
                  <a:lnTo>
                    <a:pt x="111" y="274"/>
                  </a:lnTo>
                  <a:lnTo>
                    <a:pt x="116" y="269"/>
                  </a:lnTo>
                  <a:lnTo>
                    <a:pt x="118" y="267"/>
                  </a:lnTo>
                  <a:lnTo>
                    <a:pt x="118" y="265"/>
                  </a:lnTo>
                  <a:lnTo>
                    <a:pt x="121" y="260"/>
                  </a:lnTo>
                  <a:lnTo>
                    <a:pt x="123" y="258"/>
                  </a:lnTo>
                  <a:lnTo>
                    <a:pt x="128" y="255"/>
                  </a:lnTo>
                  <a:lnTo>
                    <a:pt x="128" y="253"/>
                  </a:lnTo>
                  <a:lnTo>
                    <a:pt x="130" y="253"/>
                  </a:lnTo>
                  <a:lnTo>
                    <a:pt x="133" y="246"/>
                  </a:lnTo>
                  <a:lnTo>
                    <a:pt x="133" y="246"/>
                  </a:lnTo>
                  <a:lnTo>
                    <a:pt x="133" y="243"/>
                  </a:lnTo>
                  <a:lnTo>
                    <a:pt x="133" y="239"/>
                  </a:lnTo>
                  <a:lnTo>
                    <a:pt x="133" y="236"/>
                  </a:lnTo>
                  <a:lnTo>
                    <a:pt x="128" y="234"/>
                  </a:lnTo>
                  <a:lnTo>
                    <a:pt x="128" y="232"/>
                  </a:lnTo>
                  <a:lnTo>
                    <a:pt x="128" y="229"/>
                  </a:lnTo>
                  <a:lnTo>
                    <a:pt x="130" y="225"/>
                  </a:lnTo>
                  <a:lnTo>
                    <a:pt x="133" y="225"/>
                  </a:lnTo>
                  <a:lnTo>
                    <a:pt x="133" y="225"/>
                  </a:lnTo>
                  <a:lnTo>
                    <a:pt x="137" y="225"/>
                  </a:lnTo>
                  <a:lnTo>
                    <a:pt x="140" y="225"/>
                  </a:lnTo>
                  <a:lnTo>
                    <a:pt x="144" y="225"/>
                  </a:lnTo>
                  <a:lnTo>
                    <a:pt x="144" y="222"/>
                  </a:lnTo>
                  <a:lnTo>
                    <a:pt x="147" y="220"/>
                  </a:lnTo>
                  <a:lnTo>
                    <a:pt x="149" y="217"/>
                  </a:lnTo>
                  <a:lnTo>
                    <a:pt x="149" y="215"/>
                  </a:lnTo>
                  <a:lnTo>
                    <a:pt x="151" y="213"/>
                  </a:lnTo>
                  <a:lnTo>
                    <a:pt x="151" y="208"/>
                  </a:lnTo>
                  <a:lnTo>
                    <a:pt x="156" y="206"/>
                  </a:lnTo>
                  <a:lnTo>
                    <a:pt x="158" y="203"/>
                  </a:lnTo>
                  <a:lnTo>
                    <a:pt x="158" y="203"/>
                  </a:lnTo>
                  <a:lnTo>
                    <a:pt x="158" y="203"/>
                  </a:lnTo>
                  <a:lnTo>
                    <a:pt x="158" y="201"/>
                  </a:lnTo>
                  <a:lnTo>
                    <a:pt x="158" y="199"/>
                  </a:lnTo>
                  <a:lnTo>
                    <a:pt x="158" y="194"/>
                  </a:lnTo>
                  <a:lnTo>
                    <a:pt x="158" y="194"/>
                  </a:lnTo>
                  <a:lnTo>
                    <a:pt x="158" y="187"/>
                  </a:lnTo>
                  <a:lnTo>
                    <a:pt x="156" y="184"/>
                  </a:lnTo>
                  <a:lnTo>
                    <a:pt x="156" y="184"/>
                  </a:lnTo>
                  <a:lnTo>
                    <a:pt x="156" y="182"/>
                  </a:lnTo>
                  <a:lnTo>
                    <a:pt x="156" y="177"/>
                  </a:lnTo>
                  <a:lnTo>
                    <a:pt x="156" y="177"/>
                  </a:lnTo>
                  <a:lnTo>
                    <a:pt x="156" y="175"/>
                  </a:lnTo>
                  <a:lnTo>
                    <a:pt x="161" y="175"/>
                  </a:lnTo>
                  <a:lnTo>
                    <a:pt x="163" y="175"/>
                  </a:lnTo>
                  <a:lnTo>
                    <a:pt x="163" y="175"/>
                  </a:lnTo>
                  <a:lnTo>
                    <a:pt x="166" y="173"/>
                  </a:lnTo>
                  <a:lnTo>
                    <a:pt x="168" y="173"/>
                  </a:lnTo>
                  <a:lnTo>
                    <a:pt x="168" y="168"/>
                  </a:lnTo>
                  <a:lnTo>
                    <a:pt x="168" y="165"/>
                  </a:lnTo>
                  <a:lnTo>
                    <a:pt x="170" y="163"/>
                  </a:lnTo>
                  <a:lnTo>
                    <a:pt x="173" y="161"/>
                  </a:lnTo>
                  <a:lnTo>
                    <a:pt x="175" y="156"/>
                  </a:lnTo>
                  <a:lnTo>
                    <a:pt x="177" y="154"/>
                  </a:lnTo>
                  <a:lnTo>
                    <a:pt x="182" y="154"/>
                  </a:lnTo>
                  <a:lnTo>
                    <a:pt x="182" y="154"/>
                  </a:lnTo>
                  <a:lnTo>
                    <a:pt x="187" y="151"/>
                  </a:lnTo>
                  <a:lnTo>
                    <a:pt x="189" y="149"/>
                  </a:lnTo>
                  <a:lnTo>
                    <a:pt x="189" y="144"/>
                  </a:lnTo>
                  <a:lnTo>
                    <a:pt x="187" y="142"/>
                  </a:lnTo>
                  <a:lnTo>
                    <a:pt x="187" y="139"/>
                  </a:lnTo>
                  <a:lnTo>
                    <a:pt x="187" y="135"/>
                  </a:lnTo>
                  <a:lnTo>
                    <a:pt x="187" y="130"/>
                  </a:lnTo>
                  <a:lnTo>
                    <a:pt x="187" y="130"/>
                  </a:lnTo>
                  <a:lnTo>
                    <a:pt x="187" y="130"/>
                  </a:lnTo>
                  <a:lnTo>
                    <a:pt x="187" y="125"/>
                  </a:lnTo>
                  <a:lnTo>
                    <a:pt x="187" y="123"/>
                  </a:lnTo>
                  <a:lnTo>
                    <a:pt x="192" y="113"/>
                  </a:lnTo>
                  <a:lnTo>
                    <a:pt x="192" y="111"/>
                  </a:lnTo>
                  <a:lnTo>
                    <a:pt x="194" y="111"/>
                  </a:lnTo>
                  <a:lnTo>
                    <a:pt x="194" y="111"/>
                  </a:lnTo>
                  <a:lnTo>
                    <a:pt x="194" y="109"/>
                  </a:lnTo>
                  <a:lnTo>
                    <a:pt x="194" y="109"/>
                  </a:lnTo>
                  <a:lnTo>
                    <a:pt x="201" y="104"/>
                  </a:lnTo>
                  <a:lnTo>
                    <a:pt x="203" y="102"/>
                  </a:lnTo>
                  <a:lnTo>
                    <a:pt x="203" y="99"/>
                  </a:lnTo>
                  <a:lnTo>
                    <a:pt x="208" y="92"/>
                  </a:lnTo>
                  <a:lnTo>
                    <a:pt x="210" y="92"/>
                  </a:lnTo>
                  <a:lnTo>
                    <a:pt x="213" y="88"/>
                  </a:lnTo>
                  <a:lnTo>
                    <a:pt x="215" y="88"/>
                  </a:lnTo>
                  <a:lnTo>
                    <a:pt x="215" y="88"/>
                  </a:lnTo>
                  <a:lnTo>
                    <a:pt x="220" y="78"/>
                  </a:lnTo>
                  <a:lnTo>
                    <a:pt x="222" y="78"/>
                  </a:lnTo>
                  <a:lnTo>
                    <a:pt x="222" y="76"/>
                  </a:lnTo>
                  <a:lnTo>
                    <a:pt x="222" y="73"/>
                  </a:lnTo>
                  <a:lnTo>
                    <a:pt x="225" y="73"/>
                  </a:lnTo>
                  <a:lnTo>
                    <a:pt x="227" y="71"/>
                  </a:lnTo>
                  <a:lnTo>
                    <a:pt x="229" y="71"/>
                  </a:lnTo>
                  <a:lnTo>
                    <a:pt x="236" y="69"/>
                  </a:lnTo>
                  <a:lnTo>
                    <a:pt x="241" y="69"/>
                  </a:lnTo>
                  <a:lnTo>
                    <a:pt x="246" y="69"/>
                  </a:lnTo>
                  <a:lnTo>
                    <a:pt x="248" y="66"/>
                  </a:lnTo>
                  <a:lnTo>
                    <a:pt x="248" y="66"/>
                  </a:lnTo>
                  <a:lnTo>
                    <a:pt x="251" y="66"/>
                  </a:lnTo>
                  <a:lnTo>
                    <a:pt x="253" y="64"/>
                  </a:lnTo>
                  <a:lnTo>
                    <a:pt x="255" y="64"/>
                  </a:lnTo>
                  <a:lnTo>
                    <a:pt x="258" y="59"/>
                  </a:lnTo>
                  <a:lnTo>
                    <a:pt x="260" y="59"/>
                  </a:lnTo>
                  <a:lnTo>
                    <a:pt x="260" y="52"/>
                  </a:lnTo>
                  <a:lnTo>
                    <a:pt x="265" y="47"/>
                  </a:lnTo>
                  <a:lnTo>
                    <a:pt x="267" y="40"/>
                  </a:lnTo>
                  <a:lnTo>
                    <a:pt x="267" y="38"/>
                  </a:lnTo>
                  <a:lnTo>
                    <a:pt x="272" y="33"/>
                  </a:lnTo>
                  <a:lnTo>
                    <a:pt x="272" y="31"/>
                  </a:lnTo>
                  <a:lnTo>
                    <a:pt x="274" y="31"/>
                  </a:lnTo>
                  <a:lnTo>
                    <a:pt x="274" y="31"/>
                  </a:lnTo>
                  <a:lnTo>
                    <a:pt x="277" y="31"/>
                  </a:lnTo>
                  <a:lnTo>
                    <a:pt x="279" y="28"/>
                  </a:lnTo>
                  <a:lnTo>
                    <a:pt x="279" y="26"/>
                  </a:lnTo>
                  <a:lnTo>
                    <a:pt x="279" y="26"/>
                  </a:lnTo>
                  <a:lnTo>
                    <a:pt x="281" y="26"/>
                  </a:lnTo>
                  <a:lnTo>
                    <a:pt x="284" y="26"/>
                  </a:lnTo>
                  <a:lnTo>
                    <a:pt x="286" y="24"/>
                  </a:lnTo>
                  <a:lnTo>
                    <a:pt x="286" y="24"/>
                  </a:lnTo>
                  <a:lnTo>
                    <a:pt x="291" y="21"/>
                  </a:lnTo>
                  <a:lnTo>
                    <a:pt x="293" y="21"/>
                  </a:lnTo>
                  <a:lnTo>
                    <a:pt x="293" y="19"/>
                  </a:lnTo>
                  <a:lnTo>
                    <a:pt x="296" y="19"/>
                  </a:lnTo>
                  <a:lnTo>
                    <a:pt x="303" y="19"/>
                  </a:lnTo>
                  <a:lnTo>
                    <a:pt x="307" y="17"/>
                  </a:lnTo>
                  <a:lnTo>
                    <a:pt x="307" y="17"/>
                  </a:lnTo>
                  <a:lnTo>
                    <a:pt x="310" y="14"/>
                  </a:lnTo>
                  <a:lnTo>
                    <a:pt x="312" y="14"/>
                  </a:lnTo>
                  <a:lnTo>
                    <a:pt x="314" y="12"/>
                  </a:lnTo>
                  <a:lnTo>
                    <a:pt x="314" y="10"/>
                  </a:lnTo>
                  <a:lnTo>
                    <a:pt x="317" y="10"/>
                  </a:lnTo>
                  <a:lnTo>
                    <a:pt x="319" y="5"/>
                  </a:lnTo>
                  <a:lnTo>
                    <a:pt x="321" y="2"/>
                  </a:lnTo>
                  <a:lnTo>
                    <a:pt x="321" y="2"/>
                  </a:lnTo>
                  <a:lnTo>
                    <a:pt x="324" y="2"/>
                  </a:lnTo>
                  <a:lnTo>
                    <a:pt x="326" y="2"/>
                  </a:lnTo>
                  <a:lnTo>
                    <a:pt x="329" y="0"/>
                  </a:lnTo>
                  <a:lnTo>
                    <a:pt x="331" y="0"/>
                  </a:lnTo>
                  <a:lnTo>
                    <a:pt x="333" y="0"/>
                  </a:lnTo>
                  <a:lnTo>
                    <a:pt x="333" y="0"/>
                  </a:lnTo>
                  <a:lnTo>
                    <a:pt x="336" y="0"/>
                  </a:lnTo>
                  <a:lnTo>
                    <a:pt x="338" y="0"/>
                  </a:lnTo>
                  <a:lnTo>
                    <a:pt x="340" y="2"/>
                  </a:lnTo>
                  <a:lnTo>
                    <a:pt x="347" y="7"/>
                  </a:lnTo>
                  <a:lnTo>
                    <a:pt x="350" y="10"/>
                  </a:lnTo>
                  <a:lnTo>
                    <a:pt x="350" y="10"/>
                  </a:lnTo>
                  <a:lnTo>
                    <a:pt x="352" y="10"/>
                  </a:lnTo>
                  <a:lnTo>
                    <a:pt x="352" y="12"/>
                  </a:lnTo>
                  <a:lnTo>
                    <a:pt x="355" y="12"/>
                  </a:lnTo>
                  <a:lnTo>
                    <a:pt x="357" y="10"/>
                  </a:lnTo>
                  <a:lnTo>
                    <a:pt x="362" y="12"/>
                  </a:lnTo>
                  <a:lnTo>
                    <a:pt x="366" y="10"/>
                  </a:lnTo>
                  <a:lnTo>
                    <a:pt x="369" y="10"/>
                  </a:lnTo>
                  <a:lnTo>
                    <a:pt x="371" y="12"/>
                  </a:lnTo>
                  <a:lnTo>
                    <a:pt x="373" y="12"/>
                  </a:lnTo>
                  <a:lnTo>
                    <a:pt x="373" y="12"/>
                  </a:lnTo>
                  <a:lnTo>
                    <a:pt x="376" y="12"/>
                  </a:lnTo>
                  <a:lnTo>
                    <a:pt x="381" y="12"/>
                  </a:lnTo>
                  <a:lnTo>
                    <a:pt x="381" y="12"/>
                  </a:lnTo>
                  <a:lnTo>
                    <a:pt x="383" y="12"/>
                  </a:lnTo>
                  <a:lnTo>
                    <a:pt x="385" y="12"/>
                  </a:lnTo>
                  <a:lnTo>
                    <a:pt x="388" y="17"/>
                  </a:lnTo>
                  <a:lnTo>
                    <a:pt x="388" y="17"/>
                  </a:lnTo>
                  <a:lnTo>
                    <a:pt x="390" y="17"/>
                  </a:lnTo>
                  <a:lnTo>
                    <a:pt x="392" y="19"/>
                  </a:lnTo>
                  <a:lnTo>
                    <a:pt x="399" y="17"/>
                  </a:lnTo>
                  <a:lnTo>
                    <a:pt x="407" y="19"/>
                  </a:lnTo>
                  <a:lnTo>
                    <a:pt x="407" y="21"/>
                  </a:lnTo>
                  <a:lnTo>
                    <a:pt x="411" y="21"/>
                  </a:lnTo>
                  <a:lnTo>
                    <a:pt x="414" y="21"/>
                  </a:lnTo>
                  <a:lnTo>
                    <a:pt x="416" y="19"/>
                  </a:lnTo>
                  <a:lnTo>
                    <a:pt x="421" y="19"/>
                  </a:lnTo>
                  <a:lnTo>
                    <a:pt x="421" y="19"/>
                  </a:lnTo>
                  <a:lnTo>
                    <a:pt x="425" y="19"/>
                  </a:lnTo>
                  <a:lnTo>
                    <a:pt x="425" y="19"/>
                  </a:lnTo>
                  <a:lnTo>
                    <a:pt x="430" y="19"/>
                  </a:lnTo>
                  <a:lnTo>
                    <a:pt x="440" y="19"/>
                  </a:lnTo>
                  <a:lnTo>
                    <a:pt x="442" y="19"/>
                  </a:lnTo>
                  <a:lnTo>
                    <a:pt x="442" y="19"/>
                  </a:lnTo>
                  <a:lnTo>
                    <a:pt x="444" y="17"/>
                  </a:lnTo>
                  <a:lnTo>
                    <a:pt x="447" y="17"/>
                  </a:lnTo>
                  <a:lnTo>
                    <a:pt x="449" y="17"/>
                  </a:lnTo>
                  <a:lnTo>
                    <a:pt x="451" y="14"/>
                  </a:lnTo>
                  <a:lnTo>
                    <a:pt x="454" y="17"/>
                  </a:lnTo>
                  <a:lnTo>
                    <a:pt x="456" y="17"/>
                  </a:lnTo>
                  <a:lnTo>
                    <a:pt x="459" y="21"/>
                  </a:lnTo>
                  <a:lnTo>
                    <a:pt x="459" y="21"/>
                  </a:lnTo>
                  <a:lnTo>
                    <a:pt x="463" y="24"/>
                  </a:lnTo>
                  <a:lnTo>
                    <a:pt x="466" y="24"/>
                  </a:lnTo>
                  <a:lnTo>
                    <a:pt x="475" y="26"/>
                  </a:lnTo>
                  <a:lnTo>
                    <a:pt x="477" y="24"/>
                  </a:lnTo>
                  <a:lnTo>
                    <a:pt x="480" y="24"/>
                  </a:lnTo>
                  <a:lnTo>
                    <a:pt x="484" y="21"/>
                  </a:lnTo>
                  <a:lnTo>
                    <a:pt x="487" y="24"/>
                  </a:lnTo>
                  <a:lnTo>
                    <a:pt x="489" y="24"/>
                  </a:lnTo>
                  <a:lnTo>
                    <a:pt x="489" y="24"/>
                  </a:lnTo>
                  <a:lnTo>
                    <a:pt x="489" y="26"/>
                  </a:lnTo>
                  <a:lnTo>
                    <a:pt x="489" y="28"/>
                  </a:lnTo>
                  <a:lnTo>
                    <a:pt x="487" y="28"/>
                  </a:lnTo>
                  <a:lnTo>
                    <a:pt x="484" y="28"/>
                  </a:lnTo>
                  <a:lnTo>
                    <a:pt x="484" y="31"/>
                  </a:lnTo>
                  <a:lnTo>
                    <a:pt x="482" y="38"/>
                  </a:lnTo>
                  <a:lnTo>
                    <a:pt x="482" y="40"/>
                  </a:lnTo>
                  <a:lnTo>
                    <a:pt x="482" y="40"/>
                  </a:lnTo>
                  <a:lnTo>
                    <a:pt x="482" y="43"/>
                  </a:lnTo>
                  <a:lnTo>
                    <a:pt x="482" y="50"/>
                  </a:lnTo>
                  <a:lnTo>
                    <a:pt x="487" y="57"/>
                  </a:lnTo>
                  <a:lnTo>
                    <a:pt x="487" y="59"/>
                  </a:lnTo>
                  <a:lnTo>
                    <a:pt x="487" y="62"/>
                  </a:lnTo>
                  <a:lnTo>
                    <a:pt x="492" y="66"/>
                  </a:lnTo>
                  <a:lnTo>
                    <a:pt x="492" y="66"/>
                  </a:lnTo>
                  <a:lnTo>
                    <a:pt x="496" y="69"/>
                  </a:lnTo>
                  <a:lnTo>
                    <a:pt x="499" y="69"/>
                  </a:lnTo>
                  <a:lnTo>
                    <a:pt x="499" y="69"/>
                  </a:lnTo>
                  <a:lnTo>
                    <a:pt x="499" y="69"/>
                  </a:lnTo>
                  <a:lnTo>
                    <a:pt x="503" y="64"/>
                  </a:lnTo>
                  <a:lnTo>
                    <a:pt x="506" y="62"/>
                  </a:lnTo>
                  <a:lnTo>
                    <a:pt x="508" y="54"/>
                  </a:lnTo>
                  <a:lnTo>
                    <a:pt x="513" y="47"/>
                  </a:lnTo>
                  <a:lnTo>
                    <a:pt x="513" y="47"/>
                  </a:lnTo>
                  <a:lnTo>
                    <a:pt x="518" y="47"/>
                  </a:lnTo>
                  <a:lnTo>
                    <a:pt x="518" y="47"/>
                  </a:lnTo>
                  <a:lnTo>
                    <a:pt x="522" y="50"/>
                  </a:lnTo>
                  <a:lnTo>
                    <a:pt x="522" y="50"/>
                  </a:lnTo>
                  <a:lnTo>
                    <a:pt x="525" y="54"/>
                  </a:lnTo>
                  <a:lnTo>
                    <a:pt x="525" y="62"/>
                  </a:lnTo>
                  <a:lnTo>
                    <a:pt x="525" y="64"/>
                  </a:lnTo>
                  <a:lnTo>
                    <a:pt x="525" y="78"/>
                  </a:lnTo>
                  <a:lnTo>
                    <a:pt x="525" y="80"/>
                  </a:lnTo>
                  <a:lnTo>
                    <a:pt x="534" y="85"/>
                  </a:lnTo>
                  <a:lnTo>
                    <a:pt x="534" y="85"/>
                  </a:lnTo>
                  <a:lnTo>
                    <a:pt x="536" y="85"/>
                  </a:lnTo>
                  <a:lnTo>
                    <a:pt x="536" y="80"/>
                  </a:lnTo>
                  <a:lnTo>
                    <a:pt x="536" y="80"/>
                  </a:lnTo>
                  <a:lnTo>
                    <a:pt x="536" y="78"/>
                  </a:lnTo>
                  <a:lnTo>
                    <a:pt x="536" y="78"/>
                  </a:lnTo>
                  <a:lnTo>
                    <a:pt x="536" y="73"/>
                  </a:lnTo>
                  <a:lnTo>
                    <a:pt x="536" y="69"/>
                  </a:lnTo>
                  <a:lnTo>
                    <a:pt x="534" y="66"/>
                  </a:lnTo>
                  <a:lnTo>
                    <a:pt x="534" y="66"/>
                  </a:lnTo>
                  <a:lnTo>
                    <a:pt x="534" y="62"/>
                  </a:lnTo>
                  <a:lnTo>
                    <a:pt x="536" y="59"/>
                  </a:lnTo>
                  <a:lnTo>
                    <a:pt x="539" y="57"/>
                  </a:lnTo>
                  <a:lnTo>
                    <a:pt x="539" y="57"/>
                  </a:lnTo>
                  <a:lnTo>
                    <a:pt x="539" y="57"/>
                  </a:lnTo>
                  <a:lnTo>
                    <a:pt x="539" y="54"/>
                  </a:lnTo>
                  <a:lnTo>
                    <a:pt x="539" y="52"/>
                  </a:lnTo>
                  <a:lnTo>
                    <a:pt x="541" y="50"/>
                  </a:lnTo>
                  <a:lnTo>
                    <a:pt x="544" y="50"/>
                  </a:lnTo>
                  <a:lnTo>
                    <a:pt x="544" y="50"/>
                  </a:lnTo>
                  <a:lnTo>
                    <a:pt x="548" y="50"/>
                  </a:lnTo>
                  <a:lnTo>
                    <a:pt x="553" y="47"/>
                  </a:lnTo>
                  <a:lnTo>
                    <a:pt x="555" y="47"/>
                  </a:lnTo>
                  <a:lnTo>
                    <a:pt x="555" y="47"/>
                  </a:lnTo>
                  <a:lnTo>
                    <a:pt x="560" y="50"/>
                  </a:lnTo>
                  <a:lnTo>
                    <a:pt x="562" y="50"/>
                  </a:lnTo>
                  <a:lnTo>
                    <a:pt x="562" y="50"/>
                  </a:lnTo>
                  <a:lnTo>
                    <a:pt x="565" y="50"/>
                  </a:lnTo>
                  <a:lnTo>
                    <a:pt x="570" y="50"/>
                  </a:lnTo>
                  <a:lnTo>
                    <a:pt x="572" y="45"/>
                  </a:lnTo>
                  <a:lnTo>
                    <a:pt x="574" y="45"/>
                  </a:lnTo>
                  <a:lnTo>
                    <a:pt x="577" y="45"/>
                  </a:lnTo>
                  <a:lnTo>
                    <a:pt x="579" y="45"/>
                  </a:lnTo>
                  <a:lnTo>
                    <a:pt x="581" y="45"/>
                  </a:lnTo>
                  <a:lnTo>
                    <a:pt x="586" y="45"/>
                  </a:lnTo>
                  <a:lnTo>
                    <a:pt x="591" y="43"/>
                  </a:lnTo>
                  <a:lnTo>
                    <a:pt x="591" y="43"/>
                  </a:lnTo>
                  <a:lnTo>
                    <a:pt x="596" y="43"/>
                  </a:lnTo>
                  <a:lnTo>
                    <a:pt x="600" y="43"/>
                  </a:lnTo>
                  <a:lnTo>
                    <a:pt x="600" y="43"/>
                  </a:lnTo>
                  <a:lnTo>
                    <a:pt x="603" y="43"/>
                  </a:lnTo>
                  <a:lnTo>
                    <a:pt x="603" y="43"/>
                  </a:lnTo>
                  <a:lnTo>
                    <a:pt x="605" y="43"/>
                  </a:lnTo>
                  <a:lnTo>
                    <a:pt x="607" y="43"/>
                  </a:lnTo>
                  <a:lnTo>
                    <a:pt x="610" y="43"/>
                  </a:lnTo>
                  <a:lnTo>
                    <a:pt x="612" y="45"/>
                  </a:lnTo>
                  <a:lnTo>
                    <a:pt x="612" y="47"/>
                  </a:lnTo>
                  <a:lnTo>
                    <a:pt x="614" y="47"/>
                  </a:lnTo>
                  <a:lnTo>
                    <a:pt x="614" y="47"/>
                  </a:lnTo>
                  <a:lnTo>
                    <a:pt x="617" y="47"/>
                  </a:lnTo>
                  <a:lnTo>
                    <a:pt x="619" y="45"/>
                  </a:lnTo>
                  <a:lnTo>
                    <a:pt x="619" y="45"/>
                  </a:lnTo>
                  <a:lnTo>
                    <a:pt x="619" y="43"/>
                  </a:lnTo>
                  <a:lnTo>
                    <a:pt x="619" y="43"/>
                  </a:lnTo>
                  <a:lnTo>
                    <a:pt x="617" y="38"/>
                  </a:lnTo>
                  <a:lnTo>
                    <a:pt x="617" y="38"/>
                  </a:lnTo>
                  <a:lnTo>
                    <a:pt x="617" y="33"/>
                  </a:lnTo>
                  <a:lnTo>
                    <a:pt x="617" y="33"/>
                  </a:lnTo>
                  <a:lnTo>
                    <a:pt x="617" y="31"/>
                  </a:lnTo>
                  <a:lnTo>
                    <a:pt x="619" y="31"/>
                  </a:lnTo>
                  <a:lnTo>
                    <a:pt x="619" y="33"/>
                  </a:lnTo>
                  <a:lnTo>
                    <a:pt x="621" y="33"/>
                  </a:lnTo>
                  <a:lnTo>
                    <a:pt x="624" y="38"/>
                  </a:lnTo>
                  <a:lnTo>
                    <a:pt x="626" y="40"/>
                  </a:lnTo>
                  <a:lnTo>
                    <a:pt x="626" y="40"/>
                  </a:lnTo>
                  <a:lnTo>
                    <a:pt x="626" y="40"/>
                  </a:lnTo>
                  <a:lnTo>
                    <a:pt x="629" y="40"/>
                  </a:lnTo>
                  <a:lnTo>
                    <a:pt x="629" y="43"/>
                  </a:lnTo>
                  <a:lnTo>
                    <a:pt x="631" y="45"/>
                  </a:lnTo>
                  <a:lnTo>
                    <a:pt x="633" y="47"/>
                  </a:lnTo>
                  <a:lnTo>
                    <a:pt x="636" y="47"/>
                  </a:lnTo>
                  <a:lnTo>
                    <a:pt x="638" y="47"/>
                  </a:lnTo>
                  <a:lnTo>
                    <a:pt x="643" y="45"/>
                  </a:lnTo>
                  <a:lnTo>
                    <a:pt x="643" y="43"/>
                  </a:lnTo>
                  <a:lnTo>
                    <a:pt x="645" y="43"/>
                  </a:lnTo>
                  <a:lnTo>
                    <a:pt x="647" y="40"/>
                  </a:lnTo>
                  <a:lnTo>
                    <a:pt x="647" y="40"/>
                  </a:lnTo>
                  <a:lnTo>
                    <a:pt x="647" y="38"/>
                  </a:lnTo>
                  <a:lnTo>
                    <a:pt x="647" y="33"/>
                  </a:lnTo>
                  <a:lnTo>
                    <a:pt x="650" y="33"/>
                  </a:lnTo>
                  <a:lnTo>
                    <a:pt x="650" y="33"/>
                  </a:lnTo>
                  <a:lnTo>
                    <a:pt x="655" y="36"/>
                  </a:lnTo>
                  <a:lnTo>
                    <a:pt x="655" y="40"/>
                  </a:lnTo>
                  <a:lnTo>
                    <a:pt x="657" y="43"/>
                  </a:lnTo>
                  <a:lnTo>
                    <a:pt x="659" y="43"/>
                  </a:lnTo>
                  <a:lnTo>
                    <a:pt x="662" y="43"/>
                  </a:lnTo>
                  <a:lnTo>
                    <a:pt x="664" y="40"/>
                  </a:lnTo>
                  <a:lnTo>
                    <a:pt x="664" y="40"/>
                  </a:lnTo>
                  <a:lnTo>
                    <a:pt x="664" y="38"/>
                  </a:lnTo>
                  <a:lnTo>
                    <a:pt x="664" y="36"/>
                  </a:lnTo>
                  <a:lnTo>
                    <a:pt x="664" y="33"/>
                  </a:lnTo>
                  <a:lnTo>
                    <a:pt x="664" y="33"/>
                  </a:lnTo>
                  <a:lnTo>
                    <a:pt x="664" y="33"/>
                  </a:lnTo>
                  <a:lnTo>
                    <a:pt x="664" y="33"/>
                  </a:lnTo>
                  <a:lnTo>
                    <a:pt x="664" y="31"/>
                  </a:lnTo>
                  <a:lnTo>
                    <a:pt x="664" y="31"/>
                  </a:lnTo>
                  <a:lnTo>
                    <a:pt x="664" y="31"/>
                  </a:lnTo>
                  <a:lnTo>
                    <a:pt x="664" y="28"/>
                  </a:lnTo>
                  <a:lnTo>
                    <a:pt x="666" y="26"/>
                  </a:lnTo>
                  <a:lnTo>
                    <a:pt x="666" y="26"/>
                  </a:lnTo>
                  <a:lnTo>
                    <a:pt x="669" y="28"/>
                  </a:lnTo>
                  <a:lnTo>
                    <a:pt x="673" y="26"/>
                  </a:lnTo>
                  <a:lnTo>
                    <a:pt x="678" y="26"/>
                  </a:lnTo>
                  <a:lnTo>
                    <a:pt x="681" y="26"/>
                  </a:lnTo>
                  <a:lnTo>
                    <a:pt x="681" y="26"/>
                  </a:lnTo>
                  <a:lnTo>
                    <a:pt x="683" y="24"/>
                  </a:lnTo>
                  <a:lnTo>
                    <a:pt x="685" y="24"/>
                  </a:lnTo>
                  <a:lnTo>
                    <a:pt x="690" y="28"/>
                  </a:lnTo>
                  <a:lnTo>
                    <a:pt x="690" y="28"/>
                  </a:lnTo>
                  <a:lnTo>
                    <a:pt x="690" y="31"/>
                  </a:lnTo>
                  <a:lnTo>
                    <a:pt x="690" y="31"/>
                  </a:lnTo>
                  <a:lnTo>
                    <a:pt x="692" y="33"/>
                  </a:lnTo>
                  <a:lnTo>
                    <a:pt x="692" y="33"/>
                  </a:lnTo>
                  <a:lnTo>
                    <a:pt x="695" y="33"/>
                  </a:lnTo>
                  <a:lnTo>
                    <a:pt x="697" y="33"/>
                  </a:lnTo>
                  <a:lnTo>
                    <a:pt x="699" y="31"/>
                  </a:lnTo>
                  <a:lnTo>
                    <a:pt x="699" y="28"/>
                  </a:lnTo>
                  <a:lnTo>
                    <a:pt x="702" y="28"/>
                  </a:lnTo>
                  <a:lnTo>
                    <a:pt x="704" y="28"/>
                  </a:lnTo>
                  <a:lnTo>
                    <a:pt x="704" y="26"/>
                  </a:lnTo>
                  <a:lnTo>
                    <a:pt x="707" y="26"/>
                  </a:lnTo>
                  <a:lnTo>
                    <a:pt x="709" y="26"/>
                  </a:lnTo>
                  <a:lnTo>
                    <a:pt x="711" y="24"/>
                  </a:lnTo>
                  <a:lnTo>
                    <a:pt x="714" y="24"/>
                  </a:lnTo>
                  <a:lnTo>
                    <a:pt x="714" y="24"/>
                  </a:lnTo>
                  <a:lnTo>
                    <a:pt x="716" y="21"/>
                  </a:lnTo>
                  <a:lnTo>
                    <a:pt x="716" y="24"/>
                  </a:lnTo>
                  <a:lnTo>
                    <a:pt x="718" y="26"/>
                  </a:lnTo>
                  <a:lnTo>
                    <a:pt x="718" y="28"/>
                  </a:lnTo>
                  <a:lnTo>
                    <a:pt x="721" y="28"/>
                  </a:lnTo>
                  <a:lnTo>
                    <a:pt x="721" y="31"/>
                  </a:lnTo>
                  <a:lnTo>
                    <a:pt x="721" y="31"/>
                  </a:lnTo>
                  <a:lnTo>
                    <a:pt x="718" y="31"/>
                  </a:lnTo>
                  <a:lnTo>
                    <a:pt x="718" y="33"/>
                  </a:lnTo>
                  <a:lnTo>
                    <a:pt x="718" y="33"/>
                  </a:lnTo>
                  <a:lnTo>
                    <a:pt x="721" y="36"/>
                  </a:lnTo>
                  <a:lnTo>
                    <a:pt x="723" y="38"/>
                  </a:lnTo>
                  <a:lnTo>
                    <a:pt x="723" y="38"/>
                  </a:lnTo>
                  <a:lnTo>
                    <a:pt x="728" y="38"/>
                  </a:lnTo>
                  <a:lnTo>
                    <a:pt x="728" y="40"/>
                  </a:lnTo>
                  <a:lnTo>
                    <a:pt x="730" y="40"/>
                  </a:lnTo>
                  <a:lnTo>
                    <a:pt x="733" y="43"/>
                  </a:lnTo>
                  <a:lnTo>
                    <a:pt x="735" y="43"/>
                  </a:lnTo>
                  <a:lnTo>
                    <a:pt x="737" y="47"/>
                  </a:lnTo>
                  <a:lnTo>
                    <a:pt x="740" y="47"/>
                  </a:lnTo>
                  <a:lnTo>
                    <a:pt x="740" y="47"/>
                  </a:lnTo>
                  <a:lnTo>
                    <a:pt x="742" y="50"/>
                  </a:lnTo>
                  <a:lnTo>
                    <a:pt x="742" y="52"/>
                  </a:lnTo>
                  <a:lnTo>
                    <a:pt x="742" y="52"/>
                  </a:lnTo>
                  <a:lnTo>
                    <a:pt x="744" y="54"/>
                  </a:lnTo>
                  <a:lnTo>
                    <a:pt x="744" y="57"/>
                  </a:lnTo>
                  <a:lnTo>
                    <a:pt x="744" y="57"/>
                  </a:lnTo>
                  <a:lnTo>
                    <a:pt x="744" y="62"/>
                  </a:lnTo>
                  <a:lnTo>
                    <a:pt x="742" y="62"/>
                  </a:lnTo>
                  <a:lnTo>
                    <a:pt x="740" y="64"/>
                  </a:lnTo>
                  <a:lnTo>
                    <a:pt x="740" y="64"/>
                  </a:lnTo>
                  <a:lnTo>
                    <a:pt x="740" y="66"/>
                  </a:lnTo>
                  <a:lnTo>
                    <a:pt x="740" y="69"/>
                  </a:lnTo>
                  <a:lnTo>
                    <a:pt x="737" y="69"/>
                  </a:lnTo>
                  <a:lnTo>
                    <a:pt x="737" y="71"/>
                  </a:lnTo>
                  <a:lnTo>
                    <a:pt x="737" y="71"/>
                  </a:lnTo>
                  <a:lnTo>
                    <a:pt x="737" y="71"/>
                  </a:lnTo>
                  <a:lnTo>
                    <a:pt x="737" y="71"/>
                  </a:lnTo>
                  <a:lnTo>
                    <a:pt x="737" y="73"/>
                  </a:lnTo>
                  <a:lnTo>
                    <a:pt x="737" y="76"/>
                  </a:lnTo>
                  <a:lnTo>
                    <a:pt x="737" y="76"/>
                  </a:lnTo>
                  <a:lnTo>
                    <a:pt x="737" y="78"/>
                  </a:lnTo>
                  <a:lnTo>
                    <a:pt x="737" y="78"/>
                  </a:lnTo>
                  <a:lnTo>
                    <a:pt x="737" y="78"/>
                  </a:lnTo>
                  <a:lnTo>
                    <a:pt x="737" y="80"/>
                  </a:lnTo>
                  <a:lnTo>
                    <a:pt x="737" y="80"/>
                  </a:lnTo>
                  <a:lnTo>
                    <a:pt x="737" y="80"/>
                  </a:lnTo>
                  <a:lnTo>
                    <a:pt x="737" y="80"/>
                  </a:lnTo>
                  <a:lnTo>
                    <a:pt x="737" y="83"/>
                  </a:lnTo>
                  <a:lnTo>
                    <a:pt x="737" y="83"/>
                  </a:lnTo>
                  <a:lnTo>
                    <a:pt x="737" y="83"/>
                  </a:lnTo>
                  <a:lnTo>
                    <a:pt x="737" y="85"/>
                  </a:lnTo>
                  <a:lnTo>
                    <a:pt x="737" y="85"/>
                  </a:lnTo>
                  <a:lnTo>
                    <a:pt x="737" y="85"/>
                  </a:lnTo>
                  <a:lnTo>
                    <a:pt x="737" y="85"/>
                  </a:lnTo>
                  <a:lnTo>
                    <a:pt x="737" y="88"/>
                  </a:lnTo>
                  <a:lnTo>
                    <a:pt x="740" y="88"/>
                  </a:lnTo>
                  <a:lnTo>
                    <a:pt x="742" y="88"/>
                  </a:lnTo>
                  <a:lnTo>
                    <a:pt x="742" y="90"/>
                  </a:lnTo>
                  <a:lnTo>
                    <a:pt x="744" y="92"/>
                  </a:lnTo>
                  <a:lnTo>
                    <a:pt x="747" y="95"/>
                  </a:lnTo>
                  <a:lnTo>
                    <a:pt x="749" y="95"/>
                  </a:lnTo>
                  <a:lnTo>
                    <a:pt x="751" y="95"/>
                  </a:lnTo>
                  <a:lnTo>
                    <a:pt x="754" y="95"/>
                  </a:lnTo>
                  <a:lnTo>
                    <a:pt x="756" y="97"/>
                  </a:lnTo>
                  <a:lnTo>
                    <a:pt x="756" y="97"/>
                  </a:lnTo>
                  <a:lnTo>
                    <a:pt x="756" y="99"/>
                  </a:lnTo>
                  <a:lnTo>
                    <a:pt x="756" y="102"/>
                  </a:lnTo>
                  <a:lnTo>
                    <a:pt x="756" y="102"/>
                  </a:lnTo>
                  <a:lnTo>
                    <a:pt x="759" y="104"/>
                  </a:lnTo>
                  <a:lnTo>
                    <a:pt x="759" y="104"/>
                  </a:lnTo>
                  <a:lnTo>
                    <a:pt x="759" y="106"/>
                  </a:lnTo>
                  <a:lnTo>
                    <a:pt x="759" y="106"/>
                  </a:lnTo>
                  <a:lnTo>
                    <a:pt x="759" y="106"/>
                  </a:lnTo>
                  <a:lnTo>
                    <a:pt x="761" y="109"/>
                  </a:lnTo>
                  <a:lnTo>
                    <a:pt x="761" y="109"/>
                  </a:lnTo>
                  <a:lnTo>
                    <a:pt x="761" y="111"/>
                  </a:lnTo>
                  <a:lnTo>
                    <a:pt x="763" y="111"/>
                  </a:lnTo>
                  <a:lnTo>
                    <a:pt x="763" y="113"/>
                  </a:lnTo>
                  <a:lnTo>
                    <a:pt x="763" y="113"/>
                  </a:lnTo>
                  <a:lnTo>
                    <a:pt x="761" y="116"/>
                  </a:lnTo>
                  <a:lnTo>
                    <a:pt x="761" y="116"/>
                  </a:lnTo>
                  <a:lnTo>
                    <a:pt x="761" y="118"/>
                  </a:lnTo>
                  <a:lnTo>
                    <a:pt x="761" y="121"/>
                  </a:lnTo>
                  <a:lnTo>
                    <a:pt x="761" y="121"/>
                  </a:lnTo>
                  <a:lnTo>
                    <a:pt x="756" y="121"/>
                  </a:lnTo>
                  <a:lnTo>
                    <a:pt x="754" y="121"/>
                  </a:lnTo>
                  <a:lnTo>
                    <a:pt x="754" y="121"/>
                  </a:lnTo>
                  <a:lnTo>
                    <a:pt x="754" y="121"/>
                  </a:lnTo>
                  <a:lnTo>
                    <a:pt x="751" y="123"/>
                  </a:lnTo>
                  <a:lnTo>
                    <a:pt x="751" y="125"/>
                  </a:lnTo>
                  <a:lnTo>
                    <a:pt x="751" y="125"/>
                  </a:lnTo>
                  <a:lnTo>
                    <a:pt x="751" y="128"/>
                  </a:lnTo>
                  <a:lnTo>
                    <a:pt x="749" y="130"/>
                  </a:lnTo>
                  <a:lnTo>
                    <a:pt x="749" y="130"/>
                  </a:lnTo>
                  <a:lnTo>
                    <a:pt x="747" y="132"/>
                  </a:lnTo>
                  <a:lnTo>
                    <a:pt x="747" y="132"/>
                  </a:lnTo>
                  <a:lnTo>
                    <a:pt x="747" y="135"/>
                  </a:lnTo>
                  <a:lnTo>
                    <a:pt x="747" y="139"/>
                  </a:lnTo>
                  <a:lnTo>
                    <a:pt x="744" y="144"/>
                  </a:lnTo>
                  <a:lnTo>
                    <a:pt x="747" y="147"/>
                  </a:lnTo>
                  <a:lnTo>
                    <a:pt x="747" y="149"/>
                  </a:lnTo>
                  <a:lnTo>
                    <a:pt x="751" y="149"/>
                  </a:lnTo>
                  <a:lnTo>
                    <a:pt x="751" y="151"/>
                  </a:lnTo>
                  <a:lnTo>
                    <a:pt x="751" y="151"/>
                  </a:lnTo>
                  <a:lnTo>
                    <a:pt x="754" y="151"/>
                  </a:lnTo>
                  <a:lnTo>
                    <a:pt x="754" y="154"/>
                  </a:lnTo>
                  <a:lnTo>
                    <a:pt x="756" y="154"/>
                  </a:lnTo>
                  <a:lnTo>
                    <a:pt x="756" y="156"/>
                  </a:lnTo>
                  <a:lnTo>
                    <a:pt x="756" y="158"/>
                  </a:lnTo>
                  <a:lnTo>
                    <a:pt x="756" y="161"/>
                  </a:lnTo>
                  <a:lnTo>
                    <a:pt x="754" y="161"/>
                  </a:lnTo>
                  <a:lnTo>
                    <a:pt x="756" y="163"/>
                  </a:lnTo>
                  <a:lnTo>
                    <a:pt x="756" y="165"/>
                  </a:lnTo>
                  <a:lnTo>
                    <a:pt x="756" y="168"/>
                  </a:lnTo>
                  <a:lnTo>
                    <a:pt x="756" y="170"/>
                  </a:lnTo>
                  <a:lnTo>
                    <a:pt x="756" y="170"/>
                  </a:lnTo>
                  <a:lnTo>
                    <a:pt x="759" y="170"/>
                  </a:lnTo>
                  <a:lnTo>
                    <a:pt x="761" y="173"/>
                  </a:lnTo>
                  <a:lnTo>
                    <a:pt x="761" y="173"/>
                  </a:lnTo>
                  <a:lnTo>
                    <a:pt x="759" y="173"/>
                  </a:lnTo>
                  <a:lnTo>
                    <a:pt x="759" y="175"/>
                  </a:lnTo>
                  <a:lnTo>
                    <a:pt x="759" y="175"/>
                  </a:lnTo>
                  <a:lnTo>
                    <a:pt x="756" y="175"/>
                  </a:lnTo>
                  <a:lnTo>
                    <a:pt x="761" y="177"/>
                  </a:lnTo>
                  <a:lnTo>
                    <a:pt x="759" y="180"/>
                  </a:lnTo>
                  <a:lnTo>
                    <a:pt x="761" y="182"/>
                  </a:lnTo>
                  <a:lnTo>
                    <a:pt x="761" y="182"/>
                  </a:lnTo>
                  <a:lnTo>
                    <a:pt x="761" y="184"/>
                  </a:lnTo>
                  <a:lnTo>
                    <a:pt x="763" y="187"/>
                  </a:lnTo>
                  <a:lnTo>
                    <a:pt x="763" y="187"/>
                  </a:lnTo>
                  <a:lnTo>
                    <a:pt x="763" y="187"/>
                  </a:lnTo>
                  <a:lnTo>
                    <a:pt x="766" y="187"/>
                  </a:lnTo>
                  <a:lnTo>
                    <a:pt x="766" y="187"/>
                  </a:lnTo>
                  <a:lnTo>
                    <a:pt x="766" y="187"/>
                  </a:lnTo>
                  <a:lnTo>
                    <a:pt x="766" y="187"/>
                  </a:lnTo>
                  <a:lnTo>
                    <a:pt x="766" y="189"/>
                  </a:lnTo>
                  <a:lnTo>
                    <a:pt x="766" y="189"/>
                  </a:lnTo>
                  <a:lnTo>
                    <a:pt x="766" y="189"/>
                  </a:lnTo>
                  <a:lnTo>
                    <a:pt x="768" y="191"/>
                  </a:lnTo>
                  <a:lnTo>
                    <a:pt x="768" y="191"/>
                  </a:lnTo>
                  <a:lnTo>
                    <a:pt x="768" y="191"/>
                  </a:lnTo>
                  <a:lnTo>
                    <a:pt x="770" y="194"/>
                  </a:lnTo>
                  <a:lnTo>
                    <a:pt x="770" y="196"/>
                  </a:lnTo>
                  <a:lnTo>
                    <a:pt x="770" y="196"/>
                  </a:lnTo>
                  <a:lnTo>
                    <a:pt x="770" y="199"/>
                  </a:lnTo>
                  <a:lnTo>
                    <a:pt x="770" y="199"/>
                  </a:lnTo>
                  <a:lnTo>
                    <a:pt x="770" y="199"/>
                  </a:lnTo>
                  <a:lnTo>
                    <a:pt x="773" y="201"/>
                  </a:lnTo>
                  <a:lnTo>
                    <a:pt x="773" y="201"/>
                  </a:lnTo>
                  <a:lnTo>
                    <a:pt x="773" y="203"/>
                  </a:lnTo>
                  <a:lnTo>
                    <a:pt x="775" y="203"/>
                  </a:lnTo>
                  <a:lnTo>
                    <a:pt x="775" y="206"/>
                  </a:lnTo>
                  <a:lnTo>
                    <a:pt x="775" y="206"/>
                  </a:lnTo>
                  <a:lnTo>
                    <a:pt x="773" y="206"/>
                  </a:lnTo>
                  <a:lnTo>
                    <a:pt x="775" y="208"/>
                  </a:lnTo>
                  <a:lnTo>
                    <a:pt x="773" y="210"/>
                  </a:lnTo>
                  <a:lnTo>
                    <a:pt x="773" y="210"/>
                  </a:lnTo>
                  <a:lnTo>
                    <a:pt x="773" y="213"/>
                  </a:lnTo>
                  <a:lnTo>
                    <a:pt x="773" y="213"/>
                  </a:lnTo>
                  <a:lnTo>
                    <a:pt x="773" y="213"/>
                  </a:lnTo>
                  <a:lnTo>
                    <a:pt x="773" y="213"/>
                  </a:lnTo>
                  <a:lnTo>
                    <a:pt x="775" y="213"/>
                  </a:lnTo>
                  <a:lnTo>
                    <a:pt x="775" y="215"/>
                  </a:lnTo>
                  <a:lnTo>
                    <a:pt x="775" y="213"/>
                  </a:lnTo>
                  <a:lnTo>
                    <a:pt x="775" y="215"/>
                  </a:lnTo>
                  <a:lnTo>
                    <a:pt x="777" y="213"/>
                  </a:lnTo>
                  <a:lnTo>
                    <a:pt x="780" y="213"/>
                  </a:lnTo>
                  <a:lnTo>
                    <a:pt x="780" y="213"/>
                  </a:lnTo>
                  <a:lnTo>
                    <a:pt x="780" y="215"/>
                  </a:lnTo>
                  <a:lnTo>
                    <a:pt x="782" y="213"/>
                  </a:lnTo>
                  <a:lnTo>
                    <a:pt x="782" y="215"/>
                  </a:lnTo>
                  <a:lnTo>
                    <a:pt x="784" y="213"/>
                  </a:lnTo>
                  <a:lnTo>
                    <a:pt x="784" y="215"/>
                  </a:lnTo>
                  <a:lnTo>
                    <a:pt x="784" y="213"/>
                  </a:lnTo>
                  <a:lnTo>
                    <a:pt x="787" y="213"/>
                  </a:lnTo>
                  <a:lnTo>
                    <a:pt x="787" y="213"/>
                  </a:lnTo>
                  <a:lnTo>
                    <a:pt x="789" y="213"/>
                  </a:lnTo>
                  <a:lnTo>
                    <a:pt x="789" y="213"/>
                  </a:lnTo>
                  <a:lnTo>
                    <a:pt x="792" y="210"/>
                  </a:lnTo>
                  <a:lnTo>
                    <a:pt x="792" y="210"/>
                  </a:lnTo>
                  <a:lnTo>
                    <a:pt x="792" y="210"/>
                  </a:lnTo>
                  <a:lnTo>
                    <a:pt x="792" y="208"/>
                  </a:lnTo>
                  <a:lnTo>
                    <a:pt x="794" y="208"/>
                  </a:lnTo>
                  <a:lnTo>
                    <a:pt x="794" y="208"/>
                  </a:lnTo>
                  <a:lnTo>
                    <a:pt x="794" y="208"/>
                  </a:lnTo>
                  <a:lnTo>
                    <a:pt x="796" y="206"/>
                  </a:lnTo>
                  <a:lnTo>
                    <a:pt x="799" y="206"/>
                  </a:lnTo>
                  <a:lnTo>
                    <a:pt x="801" y="208"/>
                  </a:lnTo>
                  <a:lnTo>
                    <a:pt x="801" y="206"/>
                  </a:lnTo>
                  <a:lnTo>
                    <a:pt x="803" y="206"/>
                  </a:lnTo>
                  <a:lnTo>
                    <a:pt x="803" y="206"/>
                  </a:lnTo>
                  <a:lnTo>
                    <a:pt x="806" y="206"/>
                  </a:lnTo>
                  <a:lnTo>
                    <a:pt x="803" y="208"/>
                  </a:lnTo>
                  <a:lnTo>
                    <a:pt x="806" y="208"/>
                  </a:lnTo>
                  <a:lnTo>
                    <a:pt x="808" y="210"/>
                  </a:lnTo>
                  <a:lnTo>
                    <a:pt x="810" y="210"/>
                  </a:lnTo>
                  <a:lnTo>
                    <a:pt x="810" y="208"/>
                  </a:lnTo>
                  <a:lnTo>
                    <a:pt x="810" y="210"/>
                  </a:lnTo>
                  <a:lnTo>
                    <a:pt x="810" y="213"/>
                  </a:lnTo>
                  <a:lnTo>
                    <a:pt x="813" y="208"/>
                  </a:lnTo>
                  <a:lnTo>
                    <a:pt x="813" y="208"/>
                  </a:lnTo>
                  <a:lnTo>
                    <a:pt x="815" y="208"/>
                  </a:lnTo>
                  <a:lnTo>
                    <a:pt x="815" y="208"/>
                  </a:lnTo>
                  <a:lnTo>
                    <a:pt x="818" y="206"/>
                  </a:lnTo>
                  <a:lnTo>
                    <a:pt x="818" y="206"/>
                  </a:lnTo>
                  <a:lnTo>
                    <a:pt x="820" y="206"/>
                  </a:lnTo>
                  <a:lnTo>
                    <a:pt x="820" y="208"/>
                  </a:lnTo>
                  <a:lnTo>
                    <a:pt x="820" y="208"/>
                  </a:lnTo>
                  <a:lnTo>
                    <a:pt x="820" y="208"/>
                  </a:lnTo>
                  <a:lnTo>
                    <a:pt x="820" y="210"/>
                  </a:lnTo>
                  <a:lnTo>
                    <a:pt x="820" y="210"/>
                  </a:lnTo>
                  <a:lnTo>
                    <a:pt x="820" y="213"/>
                  </a:lnTo>
                  <a:lnTo>
                    <a:pt x="822" y="213"/>
                  </a:lnTo>
                  <a:lnTo>
                    <a:pt x="822" y="213"/>
                  </a:lnTo>
                  <a:lnTo>
                    <a:pt x="822" y="215"/>
                  </a:lnTo>
                  <a:lnTo>
                    <a:pt x="822" y="215"/>
                  </a:lnTo>
                  <a:lnTo>
                    <a:pt x="822" y="215"/>
                  </a:lnTo>
                  <a:lnTo>
                    <a:pt x="822" y="215"/>
                  </a:lnTo>
                  <a:lnTo>
                    <a:pt x="825" y="217"/>
                  </a:lnTo>
                  <a:lnTo>
                    <a:pt x="825" y="215"/>
                  </a:lnTo>
                  <a:lnTo>
                    <a:pt x="829" y="215"/>
                  </a:lnTo>
                  <a:lnTo>
                    <a:pt x="829" y="215"/>
                  </a:lnTo>
                  <a:lnTo>
                    <a:pt x="829" y="215"/>
                  </a:lnTo>
                  <a:lnTo>
                    <a:pt x="832" y="215"/>
                  </a:lnTo>
                  <a:lnTo>
                    <a:pt x="834" y="217"/>
                  </a:lnTo>
                  <a:lnTo>
                    <a:pt x="834" y="217"/>
                  </a:lnTo>
                  <a:lnTo>
                    <a:pt x="836" y="217"/>
                  </a:lnTo>
                  <a:lnTo>
                    <a:pt x="836" y="217"/>
                  </a:lnTo>
                  <a:lnTo>
                    <a:pt x="836" y="217"/>
                  </a:lnTo>
                  <a:lnTo>
                    <a:pt x="836" y="220"/>
                  </a:lnTo>
                  <a:lnTo>
                    <a:pt x="836" y="222"/>
                  </a:lnTo>
                  <a:lnTo>
                    <a:pt x="836" y="222"/>
                  </a:lnTo>
                  <a:lnTo>
                    <a:pt x="836" y="225"/>
                  </a:lnTo>
                  <a:lnTo>
                    <a:pt x="836" y="225"/>
                  </a:lnTo>
                  <a:lnTo>
                    <a:pt x="834" y="227"/>
                  </a:lnTo>
                  <a:lnTo>
                    <a:pt x="836" y="227"/>
                  </a:lnTo>
                  <a:lnTo>
                    <a:pt x="836" y="229"/>
                  </a:lnTo>
                  <a:lnTo>
                    <a:pt x="839" y="232"/>
                  </a:lnTo>
                  <a:lnTo>
                    <a:pt x="839" y="232"/>
                  </a:lnTo>
                  <a:lnTo>
                    <a:pt x="836" y="232"/>
                  </a:lnTo>
                  <a:lnTo>
                    <a:pt x="836" y="232"/>
                  </a:lnTo>
                  <a:lnTo>
                    <a:pt x="836" y="234"/>
                  </a:lnTo>
                  <a:lnTo>
                    <a:pt x="836" y="234"/>
                  </a:lnTo>
                  <a:lnTo>
                    <a:pt x="836" y="236"/>
                  </a:lnTo>
                  <a:lnTo>
                    <a:pt x="834" y="236"/>
                  </a:lnTo>
                  <a:lnTo>
                    <a:pt x="836" y="236"/>
                  </a:lnTo>
                  <a:lnTo>
                    <a:pt x="836" y="239"/>
                  </a:lnTo>
                  <a:lnTo>
                    <a:pt x="834" y="239"/>
                  </a:lnTo>
                  <a:lnTo>
                    <a:pt x="834" y="241"/>
                  </a:lnTo>
                  <a:lnTo>
                    <a:pt x="832" y="241"/>
                  </a:lnTo>
                  <a:lnTo>
                    <a:pt x="832" y="241"/>
                  </a:lnTo>
                  <a:lnTo>
                    <a:pt x="832" y="243"/>
                  </a:lnTo>
                  <a:lnTo>
                    <a:pt x="832" y="243"/>
                  </a:lnTo>
                  <a:lnTo>
                    <a:pt x="829" y="243"/>
                  </a:lnTo>
                  <a:lnTo>
                    <a:pt x="829" y="246"/>
                  </a:lnTo>
                  <a:lnTo>
                    <a:pt x="827" y="248"/>
                  </a:lnTo>
                  <a:lnTo>
                    <a:pt x="822" y="246"/>
                  </a:lnTo>
                  <a:lnTo>
                    <a:pt x="822" y="248"/>
                  </a:lnTo>
                  <a:lnTo>
                    <a:pt x="822" y="251"/>
                  </a:lnTo>
                  <a:lnTo>
                    <a:pt x="822" y="251"/>
                  </a:lnTo>
                  <a:lnTo>
                    <a:pt x="822" y="253"/>
                  </a:lnTo>
                  <a:lnTo>
                    <a:pt x="822" y="253"/>
                  </a:lnTo>
                  <a:lnTo>
                    <a:pt x="822" y="255"/>
                  </a:lnTo>
                  <a:lnTo>
                    <a:pt x="822" y="255"/>
                  </a:lnTo>
                  <a:lnTo>
                    <a:pt x="822" y="258"/>
                  </a:lnTo>
                  <a:lnTo>
                    <a:pt x="822" y="260"/>
                  </a:lnTo>
                  <a:lnTo>
                    <a:pt x="820" y="260"/>
                  </a:lnTo>
                  <a:lnTo>
                    <a:pt x="820" y="260"/>
                  </a:lnTo>
                  <a:lnTo>
                    <a:pt x="818" y="260"/>
                  </a:lnTo>
                  <a:lnTo>
                    <a:pt x="820" y="262"/>
                  </a:lnTo>
                  <a:lnTo>
                    <a:pt x="818" y="265"/>
                  </a:lnTo>
                  <a:lnTo>
                    <a:pt x="818" y="265"/>
                  </a:lnTo>
                  <a:lnTo>
                    <a:pt x="815" y="267"/>
                  </a:lnTo>
                  <a:lnTo>
                    <a:pt x="813" y="267"/>
                  </a:lnTo>
                  <a:lnTo>
                    <a:pt x="815" y="269"/>
                  </a:lnTo>
                  <a:lnTo>
                    <a:pt x="815" y="269"/>
                  </a:lnTo>
                  <a:lnTo>
                    <a:pt x="818" y="269"/>
                  </a:lnTo>
                  <a:lnTo>
                    <a:pt x="818" y="272"/>
                  </a:lnTo>
                  <a:lnTo>
                    <a:pt x="818" y="272"/>
                  </a:lnTo>
                  <a:lnTo>
                    <a:pt x="820" y="274"/>
                  </a:lnTo>
                  <a:lnTo>
                    <a:pt x="818" y="276"/>
                  </a:lnTo>
                  <a:lnTo>
                    <a:pt x="818" y="276"/>
                  </a:lnTo>
                  <a:lnTo>
                    <a:pt x="818" y="276"/>
                  </a:lnTo>
                  <a:lnTo>
                    <a:pt x="815" y="276"/>
                  </a:lnTo>
                  <a:lnTo>
                    <a:pt x="818" y="279"/>
                  </a:lnTo>
                  <a:lnTo>
                    <a:pt x="818" y="281"/>
                  </a:lnTo>
                  <a:lnTo>
                    <a:pt x="818" y="281"/>
                  </a:lnTo>
                  <a:lnTo>
                    <a:pt x="818" y="284"/>
                  </a:lnTo>
                  <a:lnTo>
                    <a:pt x="820" y="286"/>
                  </a:lnTo>
                  <a:lnTo>
                    <a:pt x="820" y="286"/>
                  </a:lnTo>
                  <a:lnTo>
                    <a:pt x="822" y="286"/>
                  </a:lnTo>
                  <a:lnTo>
                    <a:pt x="822" y="288"/>
                  </a:lnTo>
                  <a:lnTo>
                    <a:pt x="822" y="288"/>
                  </a:lnTo>
                  <a:lnTo>
                    <a:pt x="822" y="291"/>
                  </a:lnTo>
                  <a:lnTo>
                    <a:pt x="822" y="291"/>
                  </a:lnTo>
                  <a:lnTo>
                    <a:pt x="822" y="291"/>
                  </a:lnTo>
                  <a:lnTo>
                    <a:pt x="822" y="291"/>
                  </a:lnTo>
                  <a:lnTo>
                    <a:pt x="820" y="291"/>
                  </a:lnTo>
                  <a:lnTo>
                    <a:pt x="820" y="291"/>
                  </a:lnTo>
                  <a:lnTo>
                    <a:pt x="818" y="291"/>
                  </a:lnTo>
                  <a:lnTo>
                    <a:pt x="818" y="291"/>
                  </a:lnTo>
                  <a:lnTo>
                    <a:pt x="818" y="293"/>
                  </a:lnTo>
                  <a:lnTo>
                    <a:pt x="815" y="291"/>
                  </a:lnTo>
                  <a:lnTo>
                    <a:pt x="815" y="293"/>
                  </a:lnTo>
                  <a:lnTo>
                    <a:pt x="815" y="293"/>
                  </a:lnTo>
                  <a:lnTo>
                    <a:pt x="813" y="295"/>
                  </a:lnTo>
                  <a:lnTo>
                    <a:pt x="815" y="295"/>
                  </a:lnTo>
                  <a:lnTo>
                    <a:pt x="818" y="298"/>
                  </a:lnTo>
                  <a:lnTo>
                    <a:pt x="818" y="298"/>
                  </a:lnTo>
                  <a:lnTo>
                    <a:pt x="815" y="298"/>
                  </a:lnTo>
                  <a:lnTo>
                    <a:pt x="813" y="298"/>
                  </a:lnTo>
                  <a:lnTo>
                    <a:pt x="810" y="300"/>
                  </a:lnTo>
                  <a:lnTo>
                    <a:pt x="810" y="298"/>
                  </a:lnTo>
                  <a:lnTo>
                    <a:pt x="810" y="298"/>
                  </a:lnTo>
                  <a:lnTo>
                    <a:pt x="810" y="300"/>
                  </a:lnTo>
                  <a:lnTo>
                    <a:pt x="810" y="300"/>
                  </a:lnTo>
                  <a:lnTo>
                    <a:pt x="810" y="300"/>
                  </a:lnTo>
                  <a:lnTo>
                    <a:pt x="810" y="300"/>
                  </a:lnTo>
                  <a:lnTo>
                    <a:pt x="813" y="300"/>
                  </a:lnTo>
                  <a:lnTo>
                    <a:pt x="813" y="300"/>
                  </a:lnTo>
                  <a:lnTo>
                    <a:pt x="813" y="300"/>
                  </a:lnTo>
                  <a:lnTo>
                    <a:pt x="815" y="300"/>
                  </a:lnTo>
                  <a:lnTo>
                    <a:pt x="818" y="302"/>
                  </a:lnTo>
                  <a:lnTo>
                    <a:pt x="820" y="300"/>
                  </a:lnTo>
                  <a:lnTo>
                    <a:pt x="820" y="302"/>
                  </a:lnTo>
                  <a:lnTo>
                    <a:pt x="822" y="305"/>
                  </a:lnTo>
                  <a:lnTo>
                    <a:pt x="822" y="307"/>
                  </a:lnTo>
                  <a:lnTo>
                    <a:pt x="825" y="307"/>
                  </a:lnTo>
                  <a:lnTo>
                    <a:pt x="825" y="307"/>
                  </a:lnTo>
                  <a:lnTo>
                    <a:pt x="822" y="310"/>
                  </a:lnTo>
                  <a:lnTo>
                    <a:pt x="820" y="310"/>
                  </a:lnTo>
                  <a:lnTo>
                    <a:pt x="820" y="312"/>
                  </a:lnTo>
                  <a:lnTo>
                    <a:pt x="818" y="312"/>
                  </a:lnTo>
                  <a:lnTo>
                    <a:pt x="818" y="312"/>
                  </a:lnTo>
                  <a:lnTo>
                    <a:pt x="815" y="312"/>
                  </a:lnTo>
                  <a:lnTo>
                    <a:pt x="818" y="314"/>
                  </a:lnTo>
                  <a:lnTo>
                    <a:pt x="815" y="317"/>
                  </a:lnTo>
                  <a:lnTo>
                    <a:pt x="815" y="319"/>
                  </a:lnTo>
                  <a:lnTo>
                    <a:pt x="813" y="319"/>
                  </a:lnTo>
                  <a:lnTo>
                    <a:pt x="813" y="321"/>
                  </a:lnTo>
                  <a:lnTo>
                    <a:pt x="813" y="321"/>
                  </a:lnTo>
                  <a:lnTo>
                    <a:pt x="813" y="324"/>
                  </a:lnTo>
                  <a:lnTo>
                    <a:pt x="810" y="324"/>
                  </a:lnTo>
                  <a:lnTo>
                    <a:pt x="810" y="324"/>
                  </a:lnTo>
                  <a:lnTo>
                    <a:pt x="813" y="326"/>
                  </a:lnTo>
                  <a:lnTo>
                    <a:pt x="810" y="326"/>
                  </a:lnTo>
                  <a:lnTo>
                    <a:pt x="813" y="328"/>
                  </a:lnTo>
                  <a:lnTo>
                    <a:pt x="810" y="328"/>
                  </a:lnTo>
                  <a:lnTo>
                    <a:pt x="810" y="328"/>
                  </a:lnTo>
                  <a:lnTo>
                    <a:pt x="810" y="331"/>
                  </a:lnTo>
                  <a:lnTo>
                    <a:pt x="810" y="331"/>
                  </a:lnTo>
                  <a:lnTo>
                    <a:pt x="810" y="331"/>
                  </a:lnTo>
                  <a:lnTo>
                    <a:pt x="813" y="331"/>
                  </a:lnTo>
                  <a:lnTo>
                    <a:pt x="813" y="333"/>
                  </a:lnTo>
                  <a:lnTo>
                    <a:pt x="813" y="333"/>
                  </a:lnTo>
                  <a:lnTo>
                    <a:pt x="813" y="333"/>
                  </a:lnTo>
                  <a:lnTo>
                    <a:pt x="813" y="336"/>
                  </a:lnTo>
                  <a:lnTo>
                    <a:pt x="813" y="336"/>
                  </a:lnTo>
                  <a:lnTo>
                    <a:pt x="813" y="336"/>
                  </a:lnTo>
                  <a:lnTo>
                    <a:pt x="815" y="336"/>
                  </a:lnTo>
                  <a:lnTo>
                    <a:pt x="815" y="338"/>
                  </a:lnTo>
                  <a:lnTo>
                    <a:pt x="818" y="338"/>
                  </a:lnTo>
                  <a:lnTo>
                    <a:pt x="818" y="338"/>
                  </a:lnTo>
                  <a:lnTo>
                    <a:pt x="818" y="340"/>
                  </a:lnTo>
                  <a:lnTo>
                    <a:pt x="818" y="343"/>
                  </a:lnTo>
                  <a:lnTo>
                    <a:pt x="818" y="343"/>
                  </a:lnTo>
                  <a:lnTo>
                    <a:pt x="820" y="345"/>
                  </a:lnTo>
                  <a:lnTo>
                    <a:pt x="820" y="345"/>
                  </a:lnTo>
                  <a:lnTo>
                    <a:pt x="820" y="345"/>
                  </a:lnTo>
                  <a:lnTo>
                    <a:pt x="820" y="345"/>
                  </a:lnTo>
                  <a:lnTo>
                    <a:pt x="822" y="347"/>
                  </a:lnTo>
                  <a:lnTo>
                    <a:pt x="822" y="345"/>
                  </a:lnTo>
                  <a:lnTo>
                    <a:pt x="825" y="347"/>
                  </a:lnTo>
                  <a:lnTo>
                    <a:pt x="827" y="347"/>
                  </a:lnTo>
                  <a:lnTo>
                    <a:pt x="827" y="347"/>
                  </a:lnTo>
                  <a:lnTo>
                    <a:pt x="829" y="347"/>
                  </a:lnTo>
                  <a:lnTo>
                    <a:pt x="829" y="350"/>
                  </a:lnTo>
                  <a:lnTo>
                    <a:pt x="829" y="347"/>
                  </a:lnTo>
                  <a:lnTo>
                    <a:pt x="832" y="347"/>
                  </a:lnTo>
                  <a:lnTo>
                    <a:pt x="832" y="350"/>
                  </a:lnTo>
                  <a:lnTo>
                    <a:pt x="832" y="350"/>
                  </a:lnTo>
                  <a:lnTo>
                    <a:pt x="832" y="350"/>
                  </a:lnTo>
                  <a:lnTo>
                    <a:pt x="832" y="350"/>
                  </a:lnTo>
                  <a:lnTo>
                    <a:pt x="834" y="352"/>
                  </a:lnTo>
                  <a:lnTo>
                    <a:pt x="834" y="352"/>
                  </a:lnTo>
                  <a:lnTo>
                    <a:pt x="834" y="354"/>
                  </a:lnTo>
                  <a:lnTo>
                    <a:pt x="836" y="354"/>
                  </a:lnTo>
                  <a:lnTo>
                    <a:pt x="836" y="357"/>
                  </a:lnTo>
                  <a:lnTo>
                    <a:pt x="839" y="357"/>
                  </a:lnTo>
                  <a:lnTo>
                    <a:pt x="839" y="357"/>
                  </a:lnTo>
                  <a:lnTo>
                    <a:pt x="844" y="357"/>
                  </a:lnTo>
                  <a:lnTo>
                    <a:pt x="844" y="357"/>
                  </a:lnTo>
                  <a:lnTo>
                    <a:pt x="844" y="359"/>
                  </a:lnTo>
                  <a:lnTo>
                    <a:pt x="846" y="359"/>
                  </a:lnTo>
                  <a:lnTo>
                    <a:pt x="846" y="359"/>
                  </a:lnTo>
                  <a:lnTo>
                    <a:pt x="848" y="362"/>
                  </a:lnTo>
                  <a:lnTo>
                    <a:pt x="848" y="362"/>
                  </a:lnTo>
                  <a:lnTo>
                    <a:pt x="848" y="359"/>
                  </a:lnTo>
                  <a:lnTo>
                    <a:pt x="848" y="362"/>
                  </a:lnTo>
                  <a:lnTo>
                    <a:pt x="846" y="364"/>
                  </a:lnTo>
                  <a:lnTo>
                    <a:pt x="846" y="366"/>
                  </a:lnTo>
                  <a:lnTo>
                    <a:pt x="848" y="366"/>
                  </a:lnTo>
                  <a:lnTo>
                    <a:pt x="848" y="369"/>
                  </a:lnTo>
                  <a:lnTo>
                    <a:pt x="851" y="371"/>
                  </a:lnTo>
                  <a:lnTo>
                    <a:pt x="848" y="371"/>
                  </a:lnTo>
                  <a:lnTo>
                    <a:pt x="848" y="371"/>
                  </a:lnTo>
                  <a:lnTo>
                    <a:pt x="848" y="373"/>
                  </a:lnTo>
                  <a:lnTo>
                    <a:pt x="851" y="373"/>
                  </a:lnTo>
                  <a:lnTo>
                    <a:pt x="851" y="373"/>
                  </a:lnTo>
                  <a:lnTo>
                    <a:pt x="853" y="373"/>
                  </a:lnTo>
                  <a:lnTo>
                    <a:pt x="853" y="376"/>
                  </a:lnTo>
                  <a:lnTo>
                    <a:pt x="851" y="378"/>
                  </a:lnTo>
                  <a:lnTo>
                    <a:pt x="848" y="378"/>
                  </a:lnTo>
                  <a:lnTo>
                    <a:pt x="851" y="376"/>
                  </a:lnTo>
                  <a:lnTo>
                    <a:pt x="848" y="376"/>
                  </a:lnTo>
                  <a:lnTo>
                    <a:pt x="848" y="376"/>
                  </a:lnTo>
                  <a:lnTo>
                    <a:pt x="846" y="376"/>
                  </a:lnTo>
                  <a:lnTo>
                    <a:pt x="846" y="376"/>
                  </a:lnTo>
                  <a:lnTo>
                    <a:pt x="844" y="378"/>
                  </a:lnTo>
                  <a:lnTo>
                    <a:pt x="844" y="378"/>
                  </a:lnTo>
                  <a:lnTo>
                    <a:pt x="841" y="378"/>
                  </a:lnTo>
                  <a:lnTo>
                    <a:pt x="841" y="378"/>
                  </a:lnTo>
                  <a:lnTo>
                    <a:pt x="841" y="378"/>
                  </a:lnTo>
                  <a:lnTo>
                    <a:pt x="841" y="380"/>
                  </a:lnTo>
                  <a:lnTo>
                    <a:pt x="841" y="380"/>
                  </a:lnTo>
                  <a:lnTo>
                    <a:pt x="841" y="380"/>
                  </a:lnTo>
                  <a:lnTo>
                    <a:pt x="844" y="380"/>
                  </a:lnTo>
                  <a:lnTo>
                    <a:pt x="844" y="383"/>
                  </a:lnTo>
                  <a:lnTo>
                    <a:pt x="846" y="383"/>
                  </a:lnTo>
                  <a:lnTo>
                    <a:pt x="846" y="385"/>
                  </a:lnTo>
                  <a:lnTo>
                    <a:pt x="848" y="385"/>
                  </a:lnTo>
                  <a:lnTo>
                    <a:pt x="848" y="385"/>
                  </a:lnTo>
                  <a:lnTo>
                    <a:pt x="851" y="388"/>
                  </a:lnTo>
                  <a:lnTo>
                    <a:pt x="853" y="388"/>
                  </a:lnTo>
                  <a:lnTo>
                    <a:pt x="853" y="385"/>
                  </a:lnTo>
                  <a:lnTo>
                    <a:pt x="853" y="388"/>
                  </a:lnTo>
                  <a:lnTo>
                    <a:pt x="853" y="388"/>
                  </a:lnTo>
                  <a:lnTo>
                    <a:pt x="855" y="390"/>
                  </a:lnTo>
                  <a:lnTo>
                    <a:pt x="855" y="388"/>
                  </a:lnTo>
                  <a:lnTo>
                    <a:pt x="858" y="388"/>
                  </a:lnTo>
                  <a:lnTo>
                    <a:pt x="858" y="390"/>
                  </a:lnTo>
                  <a:lnTo>
                    <a:pt x="858" y="390"/>
                  </a:lnTo>
                  <a:lnTo>
                    <a:pt x="858" y="390"/>
                  </a:lnTo>
                  <a:lnTo>
                    <a:pt x="858" y="390"/>
                  </a:lnTo>
                  <a:lnTo>
                    <a:pt x="858" y="392"/>
                  </a:lnTo>
                  <a:lnTo>
                    <a:pt x="855" y="392"/>
                  </a:lnTo>
                  <a:lnTo>
                    <a:pt x="853" y="397"/>
                  </a:lnTo>
                  <a:lnTo>
                    <a:pt x="853" y="397"/>
                  </a:lnTo>
                  <a:lnTo>
                    <a:pt x="855" y="399"/>
                  </a:lnTo>
                  <a:lnTo>
                    <a:pt x="853" y="399"/>
                  </a:lnTo>
                  <a:lnTo>
                    <a:pt x="855" y="402"/>
                  </a:lnTo>
                  <a:lnTo>
                    <a:pt x="853" y="402"/>
                  </a:lnTo>
                  <a:lnTo>
                    <a:pt x="853" y="402"/>
                  </a:lnTo>
                  <a:lnTo>
                    <a:pt x="853" y="402"/>
                  </a:lnTo>
                  <a:lnTo>
                    <a:pt x="853" y="404"/>
                  </a:lnTo>
                  <a:lnTo>
                    <a:pt x="855" y="404"/>
                  </a:lnTo>
                  <a:lnTo>
                    <a:pt x="855" y="406"/>
                  </a:lnTo>
                  <a:lnTo>
                    <a:pt x="858" y="406"/>
                  </a:lnTo>
                  <a:lnTo>
                    <a:pt x="858" y="406"/>
                  </a:lnTo>
                  <a:lnTo>
                    <a:pt x="862" y="406"/>
                  </a:lnTo>
                  <a:lnTo>
                    <a:pt x="865" y="406"/>
                  </a:lnTo>
                  <a:lnTo>
                    <a:pt x="865" y="404"/>
                  </a:lnTo>
                  <a:lnTo>
                    <a:pt x="867" y="404"/>
                  </a:lnTo>
                  <a:lnTo>
                    <a:pt x="867" y="404"/>
                  </a:lnTo>
                  <a:lnTo>
                    <a:pt x="867" y="406"/>
                  </a:lnTo>
                  <a:lnTo>
                    <a:pt x="870" y="406"/>
                  </a:lnTo>
                  <a:lnTo>
                    <a:pt x="872" y="406"/>
                  </a:lnTo>
                  <a:lnTo>
                    <a:pt x="872" y="404"/>
                  </a:lnTo>
                  <a:lnTo>
                    <a:pt x="877" y="402"/>
                  </a:lnTo>
                  <a:lnTo>
                    <a:pt x="877" y="402"/>
                  </a:lnTo>
                  <a:lnTo>
                    <a:pt x="877" y="402"/>
                  </a:lnTo>
                  <a:lnTo>
                    <a:pt x="881" y="402"/>
                  </a:lnTo>
                  <a:lnTo>
                    <a:pt x="884" y="402"/>
                  </a:lnTo>
                  <a:lnTo>
                    <a:pt x="884" y="402"/>
                  </a:lnTo>
                  <a:lnTo>
                    <a:pt x="884" y="404"/>
                  </a:lnTo>
                  <a:lnTo>
                    <a:pt x="884" y="406"/>
                  </a:lnTo>
                  <a:lnTo>
                    <a:pt x="884" y="409"/>
                  </a:lnTo>
                  <a:lnTo>
                    <a:pt x="881" y="409"/>
                  </a:lnTo>
                  <a:lnTo>
                    <a:pt x="884" y="409"/>
                  </a:lnTo>
                  <a:lnTo>
                    <a:pt x="886" y="409"/>
                  </a:lnTo>
                  <a:lnTo>
                    <a:pt x="886" y="409"/>
                  </a:lnTo>
                  <a:lnTo>
                    <a:pt x="888" y="406"/>
                  </a:lnTo>
                  <a:lnTo>
                    <a:pt x="891" y="406"/>
                  </a:lnTo>
                  <a:lnTo>
                    <a:pt x="896" y="406"/>
                  </a:lnTo>
                  <a:lnTo>
                    <a:pt x="898" y="404"/>
                  </a:lnTo>
                  <a:lnTo>
                    <a:pt x="900" y="406"/>
                  </a:lnTo>
                  <a:lnTo>
                    <a:pt x="900" y="404"/>
                  </a:lnTo>
                  <a:lnTo>
                    <a:pt x="903" y="404"/>
                  </a:lnTo>
                  <a:lnTo>
                    <a:pt x="903" y="402"/>
                  </a:lnTo>
                  <a:lnTo>
                    <a:pt x="905" y="402"/>
                  </a:lnTo>
                  <a:lnTo>
                    <a:pt x="905" y="402"/>
                  </a:lnTo>
                  <a:lnTo>
                    <a:pt x="907" y="399"/>
                  </a:lnTo>
                  <a:lnTo>
                    <a:pt x="907" y="399"/>
                  </a:lnTo>
                  <a:lnTo>
                    <a:pt x="910" y="399"/>
                  </a:lnTo>
                  <a:lnTo>
                    <a:pt x="912" y="397"/>
                  </a:lnTo>
                  <a:lnTo>
                    <a:pt x="912" y="397"/>
                  </a:lnTo>
                  <a:lnTo>
                    <a:pt x="912" y="397"/>
                  </a:lnTo>
                  <a:lnTo>
                    <a:pt x="914" y="397"/>
                  </a:lnTo>
                  <a:lnTo>
                    <a:pt x="912" y="397"/>
                  </a:lnTo>
                  <a:lnTo>
                    <a:pt x="912" y="399"/>
                  </a:lnTo>
                  <a:lnTo>
                    <a:pt x="914" y="399"/>
                  </a:lnTo>
                  <a:lnTo>
                    <a:pt x="914" y="399"/>
                  </a:lnTo>
                  <a:lnTo>
                    <a:pt x="914" y="402"/>
                  </a:lnTo>
                  <a:lnTo>
                    <a:pt x="917" y="402"/>
                  </a:lnTo>
                  <a:lnTo>
                    <a:pt x="917" y="402"/>
                  </a:lnTo>
                  <a:lnTo>
                    <a:pt x="917" y="404"/>
                  </a:lnTo>
                  <a:lnTo>
                    <a:pt x="917" y="404"/>
                  </a:lnTo>
                  <a:lnTo>
                    <a:pt x="919" y="402"/>
                  </a:lnTo>
                  <a:lnTo>
                    <a:pt x="919" y="402"/>
                  </a:lnTo>
                  <a:lnTo>
                    <a:pt x="919" y="402"/>
                  </a:lnTo>
                  <a:lnTo>
                    <a:pt x="919" y="399"/>
                  </a:lnTo>
                  <a:lnTo>
                    <a:pt x="919" y="399"/>
                  </a:lnTo>
                  <a:lnTo>
                    <a:pt x="922" y="399"/>
                  </a:lnTo>
                  <a:lnTo>
                    <a:pt x="922" y="399"/>
                  </a:lnTo>
                  <a:lnTo>
                    <a:pt x="924" y="399"/>
                  </a:lnTo>
                  <a:lnTo>
                    <a:pt x="924" y="397"/>
                  </a:lnTo>
                  <a:lnTo>
                    <a:pt x="926" y="399"/>
                  </a:lnTo>
                  <a:lnTo>
                    <a:pt x="926" y="397"/>
                  </a:lnTo>
                  <a:lnTo>
                    <a:pt x="926" y="399"/>
                  </a:lnTo>
                  <a:lnTo>
                    <a:pt x="926" y="399"/>
                  </a:lnTo>
                  <a:lnTo>
                    <a:pt x="929" y="402"/>
                  </a:lnTo>
                  <a:lnTo>
                    <a:pt x="929" y="402"/>
                  </a:lnTo>
                  <a:lnTo>
                    <a:pt x="931" y="399"/>
                  </a:lnTo>
                  <a:lnTo>
                    <a:pt x="931" y="399"/>
                  </a:lnTo>
                  <a:lnTo>
                    <a:pt x="931" y="399"/>
                  </a:lnTo>
                  <a:lnTo>
                    <a:pt x="931" y="395"/>
                  </a:lnTo>
                  <a:lnTo>
                    <a:pt x="931" y="395"/>
                  </a:lnTo>
                  <a:lnTo>
                    <a:pt x="933" y="392"/>
                  </a:lnTo>
                  <a:lnTo>
                    <a:pt x="933" y="392"/>
                  </a:lnTo>
                  <a:lnTo>
                    <a:pt x="936" y="395"/>
                  </a:lnTo>
                  <a:lnTo>
                    <a:pt x="936" y="395"/>
                  </a:lnTo>
                  <a:lnTo>
                    <a:pt x="936" y="397"/>
                  </a:lnTo>
                  <a:lnTo>
                    <a:pt x="938" y="397"/>
                  </a:lnTo>
                  <a:lnTo>
                    <a:pt x="938" y="395"/>
                  </a:lnTo>
                  <a:lnTo>
                    <a:pt x="938" y="395"/>
                  </a:lnTo>
                  <a:lnTo>
                    <a:pt x="936" y="395"/>
                  </a:lnTo>
                  <a:lnTo>
                    <a:pt x="936" y="392"/>
                  </a:lnTo>
                  <a:lnTo>
                    <a:pt x="936" y="392"/>
                  </a:lnTo>
                  <a:lnTo>
                    <a:pt x="936" y="390"/>
                  </a:lnTo>
                  <a:lnTo>
                    <a:pt x="938" y="390"/>
                  </a:lnTo>
                  <a:lnTo>
                    <a:pt x="938" y="390"/>
                  </a:lnTo>
                  <a:lnTo>
                    <a:pt x="938" y="388"/>
                  </a:lnTo>
                  <a:lnTo>
                    <a:pt x="938" y="388"/>
                  </a:lnTo>
                  <a:lnTo>
                    <a:pt x="938" y="388"/>
                  </a:lnTo>
                  <a:lnTo>
                    <a:pt x="936" y="383"/>
                  </a:lnTo>
                  <a:lnTo>
                    <a:pt x="936" y="383"/>
                  </a:lnTo>
                  <a:lnTo>
                    <a:pt x="936" y="383"/>
                  </a:lnTo>
                  <a:lnTo>
                    <a:pt x="933" y="383"/>
                  </a:lnTo>
                  <a:lnTo>
                    <a:pt x="931" y="383"/>
                  </a:lnTo>
                  <a:lnTo>
                    <a:pt x="929" y="385"/>
                  </a:lnTo>
                  <a:lnTo>
                    <a:pt x="926" y="385"/>
                  </a:lnTo>
                  <a:lnTo>
                    <a:pt x="926" y="385"/>
                  </a:lnTo>
                  <a:lnTo>
                    <a:pt x="924" y="383"/>
                  </a:lnTo>
                  <a:lnTo>
                    <a:pt x="926" y="380"/>
                  </a:lnTo>
                  <a:lnTo>
                    <a:pt x="929" y="380"/>
                  </a:lnTo>
                  <a:lnTo>
                    <a:pt x="929" y="378"/>
                  </a:lnTo>
                  <a:lnTo>
                    <a:pt x="931" y="378"/>
                  </a:lnTo>
                  <a:lnTo>
                    <a:pt x="931" y="378"/>
                  </a:lnTo>
                  <a:lnTo>
                    <a:pt x="933" y="378"/>
                  </a:lnTo>
                  <a:lnTo>
                    <a:pt x="933" y="376"/>
                  </a:lnTo>
                  <a:lnTo>
                    <a:pt x="933" y="376"/>
                  </a:lnTo>
                  <a:lnTo>
                    <a:pt x="936" y="376"/>
                  </a:lnTo>
                  <a:lnTo>
                    <a:pt x="938" y="376"/>
                  </a:lnTo>
                  <a:lnTo>
                    <a:pt x="938" y="376"/>
                  </a:lnTo>
                  <a:lnTo>
                    <a:pt x="940" y="373"/>
                  </a:lnTo>
                  <a:lnTo>
                    <a:pt x="940" y="373"/>
                  </a:lnTo>
                  <a:lnTo>
                    <a:pt x="940" y="373"/>
                  </a:lnTo>
                  <a:lnTo>
                    <a:pt x="938" y="373"/>
                  </a:lnTo>
                  <a:lnTo>
                    <a:pt x="938" y="371"/>
                  </a:lnTo>
                  <a:lnTo>
                    <a:pt x="936" y="371"/>
                  </a:lnTo>
                  <a:lnTo>
                    <a:pt x="936" y="369"/>
                  </a:lnTo>
                  <a:lnTo>
                    <a:pt x="936" y="369"/>
                  </a:lnTo>
                  <a:lnTo>
                    <a:pt x="936" y="369"/>
                  </a:lnTo>
                  <a:lnTo>
                    <a:pt x="936" y="366"/>
                  </a:lnTo>
                  <a:lnTo>
                    <a:pt x="936" y="366"/>
                  </a:lnTo>
                  <a:lnTo>
                    <a:pt x="938" y="364"/>
                  </a:lnTo>
                  <a:lnTo>
                    <a:pt x="940" y="366"/>
                  </a:lnTo>
                  <a:lnTo>
                    <a:pt x="943" y="364"/>
                  </a:lnTo>
                  <a:lnTo>
                    <a:pt x="945" y="364"/>
                  </a:lnTo>
                  <a:lnTo>
                    <a:pt x="945" y="366"/>
                  </a:lnTo>
                  <a:lnTo>
                    <a:pt x="945" y="369"/>
                  </a:lnTo>
                  <a:lnTo>
                    <a:pt x="945" y="369"/>
                  </a:lnTo>
                  <a:lnTo>
                    <a:pt x="943" y="369"/>
                  </a:lnTo>
                  <a:lnTo>
                    <a:pt x="945" y="369"/>
                  </a:lnTo>
                  <a:lnTo>
                    <a:pt x="943" y="371"/>
                  </a:lnTo>
                  <a:lnTo>
                    <a:pt x="943" y="371"/>
                  </a:lnTo>
                  <a:lnTo>
                    <a:pt x="940" y="373"/>
                  </a:lnTo>
                  <a:lnTo>
                    <a:pt x="943" y="373"/>
                  </a:lnTo>
                  <a:lnTo>
                    <a:pt x="945" y="373"/>
                  </a:lnTo>
                  <a:lnTo>
                    <a:pt x="945" y="373"/>
                  </a:lnTo>
                  <a:lnTo>
                    <a:pt x="950" y="373"/>
                  </a:lnTo>
                  <a:lnTo>
                    <a:pt x="952" y="371"/>
                  </a:lnTo>
                  <a:lnTo>
                    <a:pt x="955" y="371"/>
                  </a:lnTo>
                  <a:lnTo>
                    <a:pt x="955" y="369"/>
                  </a:lnTo>
                  <a:lnTo>
                    <a:pt x="955" y="369"/>
                  </a:lnTo>
                  <a:lnTo>
                    <a:pt x="955" y="369"/>
                  </a:lnTo>
                  <a:lnTo>
                    <a:pt x="955" y="369"/>
                  </a:lnTo>
                  <a:lnTo>
                    <a:pt x="957" y="369"/>
                  </a:lnTo>
                  <a:lnTo>
                    <a:pt x="957" y="371"/>
                  </a:lnTo>
                  <a:lnTo>
                    <a:pt x="955" y="373"/>
                  </a:lnTo>
                  <a:lnTo>
                    <a:pt x="955" y="373"/>
                  </a:lnTo>
                  <a:lnTo>
                    <a:pt x="955" y="373"/>
                  </a:lnTo>
                  <a:lnTo>
                    <a:pt x="955" y="376"/>
                  </a:lnTo>
                  <a:lnTo>
                    <a:pt x="959" y="373"/>
                  </a:lnTo>
                  <a:lnTo>
                    <a:pt x="959" y="373"/>
                  </a:lnTo>
                  <a:lnTo>
                    <a:pt x="959" y="373"/>
                  </a:lnTo>
                  <a:lnTo>
                    <a:pt x="962" y="373"/>
                  </a:lnTo>
                  <a:lnTo>
                    <a:pt x="964" y="371"/>
                  </a:lnTo>
                  <a:lnTo>
                    <a:pt x="966" y="371"/>
                  </a:lnTo>
                  <a:lnTo>
                    <a:pt x="969" y="369"/>
                  </a:lnTo>
                  <a:lnTo>
                    <a:pt x="966" y="366"/>
                  </a:lnTo>
                  <a:lnTo>
                    <a:pt x="969" y="366"/>
                  </a:lnTo>
                  <a:lnTo>
                    <a:pt x="971" y="369"/>
                  </a:lnTo>
                  <a:lnTo>
                    <a:pt x="971" y="369"/>
                  </a:lnTo>
                  <a:lnTo>
                    <a:pt x="973" y="369"/>
                  </a:lnTo>
                  <a:lnTo>
                    <a:pt x="973" y="371"/>
                  </a:lnTo>
                  <a:lnTo>
                    <a:pt x="976" y="371"/>
                  </a:lnTo>
                  <a:lnTo>
                    <a:pt x="976" y="371"/>
                  </a:lnTo>
                  <a:lnTo>
                    <a:pt x="976" y="371"/>
                  </a:lnTo>
                  <a:lnTo>
                    <a:pt x="976" y="373"/>
                  </a:lnTo>
                  <a:lnTo>
                    <a:pt x="978" y="373"/>
                  </a:lnTo>
                  <a:lnTo>
                    <a:pt x="978" y="373"/>
                  </a:lnTo>
                  <a:lnTo>
                    <a:pt x="981" y="373"/>
                  </a:lnTo>
                  <a:lnTo>
                    <a:pt x="983" y="373"/>
                  </a:lnTo>
                  <a:lnTo>
                    <a:pt x="983" y="371"/>
                  </a:lnTo>
                  <a:lnTo>
                    <a:pt x="985" y="371"/>
                  </a:lnTo>
                  <a:lnTo>
                    <a:pt x="985" y="371"/>
                  </a:lnTo>
                  <a:lnTo>
                    <a:pt x="990" y="369"/>
                  </a:lnTo>
                  <a:lnTo>
                    <a:pt x="992" y="371"/>
                  </a:lnTo>
                  <a:lnTo>
                    <a:pt x="995" y="369"/>
                  </a:lnTo>
                  <a:lnTo>
                    <a:pt x="995" y="369"/>
                  </a:lnTo>
                  <a:lnTo>
                    <a:pt x="995" y="369"/>
                  </a:lnTo>
                  <a:lnTo>
                    <a:pt x="995" y="366"/>
                  </a:lnTo>
                  <a:lnTo>
                    <a:pt x="995" y="366"/>
                  </a:lnTo>
                  <a:lnTo>
                    <a:pt x="999" y="364"/>
                  </a:lnTo>
                  <a:lnTo>
                    <a:pt x="999" y="364"/>
                  </a:lnTo>
                  <a:lnTo>
                    <a:pt x="1002" y="362"/>
                  </a:lnTo>
                  <a:lnTo>
                    <a:pt x="1002" y="362"/>
                  </a:lnTo>
                  <a:lnTo>
                    <a:pt x="1007" y="362"/>
                  </a:lnTo>
                  <a:lnTo>
                    <a:pt x="1009" y="359"/>
                  </a:lnTo>
                  <a:lnTo>
                    <a:pt x="1007" y="359"/>
                  </a:lnTo>
                  <a:lnTo>
                    <a:pt x="1007" y="359"/>
                  </a:lnTo>
                  <a:lnTo>
                    <a:pt x="1009" y="357"/>
                  </a:lnTo>
                  <a:lnTo>
                    <a:pt x="1009" y="354"/>
                  </a:lnTo>
                  <a:lnTo>
                    <a:pt x="1011" y="354"/>
                  </a:lnTo>
                  <a:lnTo>
                    <a:pt x="1011" y="354"/>
                  </a:lnTo>
                  <a:lnTo>
                    <a:pt x="1014" y="354"/>
                  </a:lnTo>
                  <a:lnTo>
                    <a:pt x="1014" y="354"/>
                  </a:lnTo>
                  <a:lnTo>
                    <a:pt x="1016" y="352"/>
                  </a:lnTo>
                  <a:lnTo>
                    <a:pt x="1016" y="352"/>
                  </a:lnTo>
                  <a:lnTo>
                    <a:pt x="1018" y="352"/>
                  </a:lnTo>
                  <a:lnTo>
                    <a:pt x="1021" y="352"/>
                  </a:lnTo>
                  <a:lnTo>
                    <a:pt x="1023" y="350"/>
                  </a:lnTo>
                  <a:lnTo>
                    <a:pt x="1025" y="350"/>
                  </a:lnTo>
                  <a:lnTo>
                    <a:pt x="1025" y="350"/>
                  </a:lnTo>
                  <a:lnTo>
                    <a:pt x="1028" y="350"/>
                  </a:lnTo>
                  <a:lnTo>
                    <a:pt x="1028" y="350"/>
                  </a:lnTo>
                  <a:lnTo>
                    <a:pt x="1030" y="350"/>
                  </a:lnTo>
                  <a:lnTo>
                    <a:pt x="1033" y="352"/>
                  </a:lnTo>
                  <a:lnTo>
                    <a:pt x="1033" y="350"/>
                  </a:lnTo>
                  <a:lnTo>
                    <a:pt x="1037" y="350"/>
                  </a:lnTo>
                  <a:lnTo>
                    <a:pt x="1040" y="350"/>
                  </a:lnTo>
                  <a:lnTo>
                    <a:pt x="1042" y="350"/>
                  </a:lnTo>
                  <a:lnTo>
                    <a:pt x="1042" y="345"/>
                  </a:lnTo>
                  <a:lnTo>
                    <a:pt x="1044" y="345"/>
                  </a:lnTo>
                  <a:lnTo>
                    <a:pt x="1044" y="345"/>
                  </a:lnTo>
                  <a:lnTo>
                    <a:pt x="1047" y="345"/>
                  </a:lnTo>
                  <a:lnTo>
                    <a:pt x="1047" y="345"/>
                  </a:lnTo>
                  <a:lnTo>
                    <a:pt x="1049" y="345"/>
                  </a:lnTo>
                  <a:lnTo>
                    <a:pt x="1049" y="345"/>
                  </a:lnTo>
                  <a:lnTo>
                    <a:pt x="1051" y="345"/>
                  </a:lnTo>
                  <a:lnTo>
                    <a:pt x="1051" y="343"/>
                  </a:lnTo>
                  <a:lnTo>
                    <a:pt x="1051" y="343"/>
                  </a:lnTo>
                  <a:lnTo>
                    <a:pt x="1056" y="343"/>
                  </a:lnTo>
                  <a:lnTo>
                    <a:pt x="1059" y="343"/>
                  </a:lnTo>
                  <a:lnTo>
                    <a:pt x="1059" y="343"/>
                  </a:lnTo>
                  <a:lnTo>
                    <a:pt x="1061" y="345"/>
                  </a:lnTo>
                  <a:lnTo>
                    <a:pt x="1063" y="347"/>
                  </a:lnTo>
                  <a:lnTo>
                    <a:pt x="1063" y="350"/>
                  </a:lnTo>
                  <a:lnTo>
                    <a:pt x="1063" y="352"/>
                  </a:lnTo>
                  <a:lnTo>
                    <a:pt x="1063" y="352"/>
                  </a:lnTo>
                  <a:lnTo>
                    <a:pt x="1063" y="354"/>
                  </a:lnTo>
                  <a:lnTo>
                    <a:pt x="1066" y="354"/>
                  </a:lnTo>
                  <a:lnTo>
                    <a:pt x="1066" y="354"/>
                  </a:lnTo>
                  <a:lnTo>
                    <a:pt x="1066" y="357"/>
                  </a:lnTo>
                  <a:lnTo>
                    <a:pt x="1066" y="357"/>
                  </a:lnTo>
                  <a:lnTo>
                    <a:pt x="1068" y="357"/>
                  </a:lnTo>
                  <a:lnTo>
                    <a:pt x="1068" y="357"/>
                  </a:lnTo>
                  <a:lnTo>
                    <a:pt x="1068" y="359"/>
                  </a:lnTo>
                  <a:lnTo>
                    <a:pt x="1070" y="359"/>
                  </a:lnTo>
                  <a:lnTo>
                    <a:pt x="1068" y="362"/>
                  </a:lnTo>
                  <a:lnTo>
                    <a:pt x="1068" y="362"/>
                  </a:lnTo>
                  <a:lnTo>
                    <a:pt x="1070" y="362"/>
                  </a:lnTo>
                  <a:lnTo>
                    <a:pt x="1073" y="362"/>
                  </a:lnTo>
                  <a:lnTo>
                    <a:pt x="1073" y="362"/>
                  </a:lnTo>
                  <a:lnTo>
                    <a:pt x="1075" y="362"/>
                  </a:lnTo>
                  <a:lnTo>
                    <a:pt x="1073" y="364"/>
                  </a:lnTo>
                  <a:lnTo>
                    <a:pt x="1073" y="366"/>
                  </a:lnTo>
                  <a:lnTo>
                    <a:pt x="1073" y="369"/>
                  </a:lnTo>
                  <a:lnTo>
                    <a:pt x="1075" y="369"/>
                  </a:lnTo>
                  <a:lnTo>
                    <a:pt x="1075" y="369"/>
                  </a:lnTo>
                  <a:lnTo>
                    <a:pt x="1075" y="369"/>
                  </a:lnTo>
                  <a:lnTo>
                    <a:pt x="1077" y="371"/>
                  </a:lnTo>
                  <a:lnTo>
                    <a:pt x="1077" y="369"/>
                  </a:lnTo>
                  <a:lnTo>
                    <a:pt x="1077" y="369"/>
                  </a:lnTo>
                  <a:lnTo>
                    <a:pt x="1080" y="369"/>
                  </a:lnTo>
                  <a:lnTo>
                    <a:pt x="1080" y="371"/>
                  </a:lnTo>
                  <a:lnTo>
                    <a:pt x="1080" y="371"/>
                  </a:lnTo>
                  <a:lnTo>
                    <a:pt x="1082" y="369"/>
                  </a:lnTo>
                  <a:lnTo>
                    <a:pt x="1085" y="369"/>
                  </a:lnTo>
                  <a:lnTo>
                    <a:pt x="1085" y="369"/>
                  </a:lnTo>
                  <a:lnTo>
                    <a:pt x="1087" y="371"/>
                  </a:lnTo>
                  <a:lnTo>
                    <a:pt x="1087" y="371"/>
                  </a:lnTo>
                  <a:lnTo>
                    <a:pt x="1089" y="371"/>
                  </a:lnTo>
                  <a:lnTo>
                    <a:pt x="1087" y="371"/>
                  </a:lnTo>
                  <a:lnTo>
                    <a:pt x="1087" y="373"/>
                  </a:lnTo>
                  <a:lnTo>
                    <a:pt x="1087" y="373"/>
                  </a:lnTo>
                  <a:lnTo>
                    <a:pt x="1087" y="371"/>
                  </a:lnTo>
                  <a:lnTo>
                    <a:pt x="1087" y="371"/>
                  </a:lnTo>
                  <a:lnTo>
                    <a:pt x="1089" y="371"/>
                  </a:lnTo>
                  <a:lnTo>
                    <a:pt x="1092" y="373"/>
                  </a:lnTo>
                  <a:lnTo>
                    <a:pt x="1092" y="373"/>
                  </a:lnTo>
                  <a:lnTo>
                    <a:pt x="1094" y="369"/>
                  </a:lnTo>
                  <a:lnTo>
                    <a:pt x="1094" y="369"/>
                  </a:lnTo>
                  <a:lnTo>
                    <a:pt x="1094" y="369"/>
                  </a:lnTo>
                  <a:lnTo>
                    <a:pt x="1094" y="369"/>
                  </a:lnTo>
                  <a:lnTo>
                    <a:pt x="1096" y="371"/>
                  </a:lnTo>
                  <a:lnTo>
                    <a:pt x="1096" y="369"/>
                  </a:lnTo>
                  <a:lnTo>
                    <a:pt x="1099" y="369"/>
                  </a:lnTo>
                  <a:lnTo>
                    <a:pt x="1099" y="369"/>
                  </a:lnTo>
                  <a:lnTo>
                    <a:pt x="1101" y="369"/>
                  </a:lnTo>
                  <a:lnTo>
                    <a:pt x="1103" y="369"/>
                  </a:lnTo>
                  <a:lnTo>
                    <a:pt x="1103" y="369"/>
                  </a:lnTo>
                  <a:lnTo>
                    <a:pt x="1103" y="369"/>
                  </a:lnTo>
                  <a:lnTo>
                    <a:pt x="1103" y="369"/>
                  </a:lnTo>
                  <a:lnTo>
                    <a:pt x="1103" y="366"/>
                  </a:lnTo>
                  <a:lnTo>
                    <a:pt x="1103" y="366"/>
                  </a:lnTo>
                  <a:lnTo>
                    <a:pt x="1106" y="364"/>
                  </a:lnTo>
                  <a:lnTo>
                    <a:pt x="1106" y="364"/>
                  </a:lnTo>
                  <a:lnTo>
                    <a:pt x="1106" y="364"/>
                  </a:lnTo>
                  <a:lnTo>
                    <a:pt x="1108" y="364"/>
                  </a:lnTo>
                  <a:lnTo>
                    <a:pt x="1108" y="364"/>
                  </a:lnTo>
                  <a:lnTo>
                    <a:pt x="1110" y="364"/>
                  </a:lnTo>
                  <a:lnTo>
                    <a:pt x="1108" y="366"/>
                  </a:lnTo>
                  <a:lnTo>
                    <a:pt x="1110" y="366"/>
                  </a:lnTo>
                  <a:lnTo>
                    <a:pt x="1110" y="369"/>
                  </a:lnTo>
                  <a:lnTo>
                    <a:pt x="1110" y="369"/>
                  </a:lnTo>
                  <a:lnTo>
                    <a:pt x="1110" y="369"/>
                  </a:lnTo>
                  <a:lnTo>
                    <a:pt x="1110" y="369"/>
                  </a:lnTo>
                  <a:lnTo>
                    <a:pt x="1110" y="366"/>
                  </a:lnTo>
                  <a:lnTo>
                    <a:pt x="1110" y="369"/>
                  </a:lnTo>
                  <a:lnTo>
                    <a:pt x="1110" y="366"/>
                  </a:lnTo>
                  <a:lnTo>
                    <a:pt x="1110" y="366"/>
                  </a:lnTo>
                  <a:lnTo>
                    <a:pt x="1113" y="366"/>
                  </a:lnTo>
                  <a:lnTo>
                    <a:pt x="1113" y="366"/>
                  </a:lnTo>
                  <a:lnTo>
                    <a:pt x="1115" y="369"/>
                  </a:lnTo>
                  <a:lnTo>
                    <a:pt x="1115" y="366"/>
                  </a:lnTo>
                  <a:lnTo>
                    <a:pt x="1115" y="369"/>
                  </a:lnTo>
                  <a:lnTo>
                    <a:pt x="1118" y="369"/>
                  </a:lnTo>
                  <a:lnTo>
                    <a:pt x="1118" y="369"/>
                  </a:lnTo>
                  <a:lnTo>
                    <a:pt x="1120" y="369"/>
                  </a:lnTo>
                  <a:lnTo>
                    <a:pt x="1120" y="369"/>
                  </a:lnTo>
                  <a:lnTo>
                    <a:pt x="1120" y="369"/>
                  </a:lnTo>
                  <a:lnTo>
                    <a:pt x="1122" y="369"/>
                  </a:lnTo>
                  <a:lnTo>
                    <a:pt x="1125" y="369"/>
                  </a:lnTo>
                  <a:lnTo>
                    <a:pt x="1125" y="369"/>
                  </a:lnTo>
                  <a:lnTo>
                    <a:pt x="1127" y="369"/>
                  </a:lnTo>
                  <a:lnTo>
                    <a:pt x="1127" y="371"/>
                  </a:lnTo>
                  <a:lnTo>
                    <a:pt x="1129" y="369"/>
                  </a:lnTo>
                  <a:lnTo>
                    <a:pt x="1129" y="369"/>
                  </a:lnTo>
                  <a:lnTo>
                    <a:pt x="1129" y="371"/>
                  </a:lnTo>
                  <a:lnTo>
                    <a:pt x="1129" y="371"/>
                  </a:lnTo>
                  <a:lnTo>
                    <a:pt x="1132" y="371"/>
                  </a:lnTo>
                  <a:lnTo>
                    <a:pt x="1132" y="373"/>
                  </a:lnTo>
                  <a:lnTo>
                    <a:pt x="1132" y="373"/>
                  </a:lnTo>
                  <a:lnTo>
                    <a:pt x="1132" y="376"/>
                  </a:lnTo>
                  <a:lnTo>
                    <a:pt x="1134" y="378"/>
                  </a:lnTo>
                  <a:lnTo>
                    <a:pt x="1134" y="378"/>
                  </a:lnTo>
                  <a:lnTo>
                    <a:pt x="1134" y="378"/>
                  </a:lnTo>
                  <a:lnTo>
                    <a:pt x="1134" y="380"/>
                  </a:lnTo>
                  <a:lnTo>
                    <a:pt x="1132" y="380"/>
                  </a:lnTo>
                  <a:lnTo>
                    <a:pt x="1132" y="380"/>
                  </a:lnTo>
                  <a:lnTo>
                    <a:pt x="1132" y="383"/>
                  </a:lnTo>
                  <a:lnTo>
                    <a:pt x="1129" y="383"/>
                  </a:lnTo>
                  <a:lnTo>
                    <a:pt x="1129" y="383"/>
                  </a:lnTo>
                  <a:lnTo>
                    <a:pt x="1129" y="383"/>
                  </a:lnTo>
                  <a:lnTo>
                    <a:pt x="1129" y="383"/>
                  </a:lnTo>
                  <a:lnTo>
                    <a:pt x="1129" y="385"/>
                  </a:lnTo>
                  <a:lnTo>
                    <a:pt x="1127" y="385"/>
                  </a:lnTo>
                  <a:lnTo>
                    <a:pt x="1125" y="388"/>
                  </a:lnTo>
                  <a:lnTo>
                    <a:pt x="1125" y="388"/>
                  </a:lnTo>
                  <a:lnTo>
                    <a:pt x="1122" y="388"/>
                  </a:lnTo>
                  <a:lnTo>
                    <a:pt x="1122" y="390"/>
                  </a:lnTo>
                  <a:lnTo>
                    <a:pt x="1122" y="390"/>
                  </a:lnTo>
                  <a:lnTo>
                    <a:pt x="1122" y="392"/>
                  </a:lnTo>
                  <a:lnTo>
                    <a:pt x="1122" y="392"/>
                  </a:lnTo>
                  <a:lnTo>
                    <a:pt x="1125" y="392"/>
                  </a:lnTo>
                  <a:lnTo>
                    <a:pt x="1125" y="392"/>
                  </a:lnTo>
                  <a:lnTo>
                    <a:pt x="1125" y="395"/>
                  </a:lnTo>
                  <a:lnTo>
                    <a:pt x="1122" y="395"/>
                  </a:lnTo>
                  <a:lnTo>
                    <a:pt x="1120" y="397"/>
                  </a:lnTo>
                  <a:lnTo>
                    <a:pt x="1120" y="399"/>
                  </a:lnTo>
                  <a:lnTo>
                    <a:pt x="1120" y="397"/>
                  </a:lnTo>
                  <a:lnTo>
                    <a:pt x="1118" y="397"/>
                  </a:lnTo>
                  <a:lnTo>
                    <a:pt x="1115" y="399"/>
                  </a:lnTo>
                  <a:lnTo>
                    <a:pt x="1115" y="399"/>
                  </a:lnTo>
                  <a:lnTo>
                    <a:pt x="1113" y="399"/>
                  </a:lnTo>
                  <a:lnTo>
                    <a:pt x="1115" y="399"/>
                  </a:lnTo>
                  <a:lnTo>
                    <a:pt x="1113" y="399"/>
                  </a:lnTo>
                  <a:lnTo>
                    <a:pt x="1108" y="402"/>
                  </a:lnTo>
                  <a:lnTo>
                    <a:pt x="1106" y="402"/>
                  </a:lnTo>
                  <a:lnTo>
                    <a:pt x="1106" y="402"/>
                  </a:lnTo>
                  <a:lnTo>
                    <a:pt x="1103" y="402"/>
                  </a:lnTo>
                  <a:lnTo>
                    <a:pt x="1103" y="399"/>
                  </a:lnTo>
                  <a:lnTo>
                    <a:pt x="1103" y="399"/>
                  </a:lnTo>
                  <a:lnTo>
                    <a:pt x="1101" y="399"/>
                  </a:lnTo>
                  <a:lnTo>
                    <a:pt x="1101" y="402"/>
                  </a:lnTo>
                  <a:lnTo>
                    <a:pt x="1101" y="402"/>
                  </a:lnTo>
                  <a:lnTo>
                    <a:pt x="1099" y="404"/>
                  </a:lnTo>
                  <a:lnTo>
                    <a:pt x="1099" y="404"/>
                  </a:lnTo>
                  <a:lnTo>
                    <a:pt x="1096" y="404"/>
                  </a:lnTo>
                  <a:lnTo>
                    <a:pt x="1096" y="404"/>
                  </a:lnTo>
                  <a:lnTo>
                    <a:pt x="1094" y="404"/>
                  </a:lnTo>
                  <a:lnTo>
                    <a:pt x="1094" y="402"/>
                  </a:lnTo>
                  <a:lnTo>
                    <a:pt x="1094" y="402"/>
                  </a:lnTo>
                  <a:lnTo>
                    <a:pt x="1094" y="402"/>
                  </a:lnTo>
                  <a:lnTo>
                    <a:pt x="1094" y="399"/>
                  </a:lnTo>
                  <a:lnTo>
                    <a:pt x="1092" y="399"/>
                  </a:lnTo>
                  <a:lnTo>
                    <a:pt x="1092" y="399"/>
                  </a:lnTo>
                  <a:lnTo>
                    <a:pt x="1089" y="402"/>
                  </a:lnTo>
                  <a:lnTo>
                    <a:pt x="1087" y="402"/>
                  </a:lnTo>
                  <a:lnTo>
                    <a:pt x="1087" y="404"/>
                  </a:lnTo>
                  <a:lnTo>
                    <a:pt x="1085" y="406"/>
                  </a:lnTo>
                  <a:lnTo>
                    <a:pt x="1082" y="404"/>
                  </a:lnTo>
                  <a:lnTo>
                    <a:pt x="1080" y="406"/>
                  </a:lnTo>
                  <a:lnTo>
                    <a:pt x="1077" y="406"/>
                  </a:lnTo>
                  <a:lnTo>
                    <a:pt x="1075" y="406"/>
                  </a:lnTo>
                  <a:lnTo>
                    <a:pt x="1075" y="409"/>
                  </a:lnTo>
                  <a:lnTo>
                    <a:pt x="1075" y="409"/>
                  </a:lnTo>
                  <a:lnTo>
                    <a:pt x="1070" y="411"/>
                  </a:lnTo>
                  <a:lnTo>
                    <a:pt x="1070" y="409"/>
                  </a:lnTo>
                  <a:lnTo>
                    <a:pt x="1068" y="411"/>
                  </a:lnTo>
                  <a:lnTo>
                    <a:pt x="1068" y="411"/>
                  </a:lnTo>
                  <a:lnTo>
                    <a:pt x="1066" y="411"/>
                  </a:lnTo>
                  <a:lnTo>
                    <a:pt x="1066" y="411"/>
                  </a:lnTo>
                  <a:lnTo>
                    <a:pt x="1066" y="411"/>
                  </a:lnTo>
                  <a:lnTo>
                    <a:pt x="1063" y="411"/>
                  </a:lnTo>
                  <a:lnTo>
                    <a:pt x="1061" y="413"/>
                  </a:lnTo>
                  <a:lnTo>
                    <a:pt x="1059" y="416"/>
                  </a:lnTo>
                  <a:lnTo>
                    <a:pt x="1061" y="416"/>
                  </a:lnTo>
                  <a:lnTo>
                    <a:pt x="1059" y="416"/>
                  </a:lnTo>
                  <a:lnTo>
                    <a:pt x="1059" y="418"/>
                  </a:lnTo>
                  <a:lnTo>
                    <a:pt x="1059" y="418"/>
                  </a:lnTo>
                  <a:lnTo>
                    <a:pt x="1059" y="418"/>
                  </a:lnTo>
                  <a:lnTo>
                    <a:pt x="1056" y="418"/>
                  </a:lnTo>
                  <a:lnTo>
                    <a:pt x="1056" y="418"/>
                  </a:lnTo>
                  <a:lnTo>
                    <a:pt x="1054" y="418"/>
                  </a:lnTo>
                  <a:lnTo>
                    <a:pt x="1054" y="418"/>
                  </a:lnTo>
                  <a:lnTo>
                    <a:pt x="1054" y="418"/>
                  </a:lnTo>
                  <a:lnTo>
                    <a:pt x="1054" y="421"/>
                  </a:lnTo>
                  <a:lnTo>
                    <a:pt x="1054" y="421"/>
                  </a:lnTo>
                  <a:lnTo>
                    <a:pt x="1054" y="423"/>
                  </a:lnTo>
                  <a:lnTo>
                    <a:pt x="1054" y="423"/>
                  </a:lnTo>
                  <a:lnTo>
                    <a:pt x="1054" y="423"/>
                  </a:lnTo>
                  <a:lnTo>
                    <a:pt x="1054" y="425"/>
                  </a:lnTo>
                  <a:lnTo>
                    <a:pt x="1054" y="425"/>
                  </a:lnTo>
                  <a:lnTo>
                    <a:pt x="1051" y="428"/>
                  </a:lnTo>
                  <a:lnTo>
                    <a:pt x="1051" y="428"/>
                  </a:lnTo>
                  <a:lnTo>
                    <a:pt x="1051" y="428"/>
                  </a:lnTo>
                  <a:lnTo>
                    <a:pt x="1051" y="430"/>
                  </a:lnTo>
                  <a:lnTo>
                    <a:pt x="1051" y="430"/>
                  </a:lnTo>
                  <a:lnTo>
                    <a:pt x="1051" y="432"/>
                  </a:lnTo>
                  <a:lnTo>
                    <a:pt x="1051" y="432"/>
                  </a:lnTo>
                  <a:lnTo>
                    <a:pt x="1051" y="432"/>
                  </a:lnTo>
                  <a:lnTo>
                    <a:pt x="1051" y="432"/>
                  </a:lnTo>
                  <a:lnTo>
                    <a:pt x="1051" y="432"/>
                  </a:lnTo>
                  <a:lnTo>
                    <a:pt x="1051" y="435"/>
                  </a:lnTo>
                  <a:lnTo>
                    <a:pt x="1051" y="435"/>
                  </a:lnTo>
                  <a:lnTo>
                    <a:pt x="1051" y="435"/>
                  </a:lnTo>
                  <a:lnTo>
                    <a:pt x="1051" y="437"/>
                  </a:lnTo>
                  <a:lnTo>
                    <a:pt x="1051" y="437"/>
                  </a:lnTo>
                  <a:lnTo>
                    <a:pt x="1051" y="437"/>
                  </a:lnTo>
                  <a:lnTo>
                    <a:pt x="1049" y="439"/>
                  </a:lnTo>
                  <a:lnTo>
                    <a:pt x="1051" y="442"/>
                  </a:lnTo>
                  <a:lnTo>
                    <a:pt x="1049" y="442"/>
                  </a:lnTo>
                  <a:lnTo>
                    <a:pt x="1049" y="442"/>
                  </a:lnTo>
                  <a:lnTo>
                    <a:pt x="1047" y="442"/>
                  </a:lnTo>
                  <a:lnTo>
                    <a:pt x="1047" y="442"/>
                  </a:lnTo>
                  <a:lnTo>
                    <a:pt x="1047" y="444"/>
                  </a:lnTo>
                  <a:lnTo>
                    <a:pt x="1047" y="444"/>
                  </a:lnTo>
                  <a:lnTo>
                    <a:pt x="1044" y="444"/>
                  </a:lnTo>
                  <a:lnTo>
                    <a:pt x="1044" y="444"/>
                  </a:lnTo>
                  <a:lnTo>
                    <a:pt x="1044" y="447"/>
                  </a:lnTo>
                  <a:lnTo>
                    <a:pt x="1042" y="447"/>
                  </a:lnTo>
                  <a:lnTo>
                    <a:pt x="1042" y="449"/>
                  </a:lnTo>
                  <a:lnTo>
                    <a:pt x="1042" y="449"/>
                  </a:lnTo>
                  <a:lnTo>
                    <a:pt x="1042" y="451"/>
                  </a:lnTo>
                  <a:lnTo>
                    <a:pt x="1044" y="451"/>
                  </a:lnTo>
                  <a:lnTo>
                    <a:pt x="1044" y="454"/>
                  </a:lnTo>
                  <a:lnTo>
                    <a:pt x="1047" y="454"/>
                  </a:lnTo>
                  <a:lnTo>
                    <a:pt x="1049" y="454"/>
                  </a:lnTo>
                  <a:lnTo>
                    <a:pt x="1049" y="454"/>
                  </a:lnTo>
                  <a:lnTo>
                    <a:pt x="1049" y="456"/>
                  </a:lnTo>
                  <a:lnTo>
                    <a:pt x="1049" y="456"/>
                  </a:lnTo>
                  <a:lnTo>
                    <a:pt x="1051" y="456"/>
                  </a:lnTo>
                  <a:lnTo>
                    <a:pt x="1049" y="458"/>
                  </a:lnTo>
                  <a:lnTo>
                    <a:pt x="1051" y="456"/>
                  </a:lnTo>
                  <a:lnTo>
                    <a:pt x="1051" y="458"/>
                  </a:lnTo>
                  <a:lnTo>
                    <a:pt x="1056" y="458"/>
                  </a:lnTo>
                  <a:lnTo>
                    <a:pt x="1056" y="461"/>
                  </a:lnTo>
                  <a:lnTo>
                    <a:pt x="1056" y="461"/>
                  </a:lnTo>
                  <a:lnTo>
                    <a:pt x="1056" y="463"/>
                  </a:lnTo>
                  <a:lnTo>
                    <a:pt x="1056" y="463"/>
                  </a:lnTo>
                  <a:lnTo>
                    <a:pt x="1056" y="463"/>
                  </a:lnTo>
                  <a:lnTo>
                    <a:pt x="1059" y="465"/>
                  </a:lnTo>
                  <a:lnTo>
                    <a:pt x="1061" y="465"/>
                  </a:lnTo>
                  <a:lnTo>
                    <a:pt x="1061" y="465"/>
                  </a:lnTo>
                  <a:lnTo>
                    <a:pt x="1061" y="468"/>
                  </a:lnTo>
                  <a:lnTo>
                    <a:pt x="1063" y="468"/>
                  </a:lnTo>
                  <a:lnTo>
                    <a:pt x="1061" y="468"/>
                  </a:lnTo>
                  <a:lnTo>
                    <a:pt x="1061" y="468"/>
                  </a:lnTo>
                  <a:lnTo>
                    <a:pt x="1056" y="470"/>
                  </a:lnTo>
                  <a:lnTo>
                    <a:pt x="1056" y="468"/>
                  </a:lnTo>
                  <a:lnTo>
                    <a:pt x="1054" y="468"/>
                  </a:lnTo>
                  <a:lnTo>
                    <a:pt x="1054" y="468"/>
                  </a:lnTo>
                  <a:lnTo>
                    <a:pt x="1054" y="470"/>
                  </a:lnTo>
                  <a:lnTo>
                    <a:pt x="1051" y="470"/>
                  </a:lnTo>
                  <a:lnTo>
                    <a:pt x="1051" y="470"/>
                  </a:lnTo>
                  <a:lnTo>
                    <a:pt x="1049" y="470"/>
                  </a:lnTo>
                  <a:lnTo>
                    <a:pt x="1049" y="470"/>
                  </a:lnTo>
                  <a:lnTo>
                    <a:pt x="1047" y="470"/>
                  </a:lnTo>
                  <a:lnTo>
                    <a:pt x="1049" y="470"/>
                  </a:lnTo>
                  <a:lnTo>
                    <a:pt x="1049" y="468"/>
                  </a:lnTo>
                  <a:lnTo>
                    <a:pt x="1047" y="468"/>
                  </a:lnTo>
                  <a:lnTo>
                    <a:pt x="1044" y="468"/>
                  </a:lnTo>
                  <a:lnTo>
                    <a:pt x="1042" y="470"/>
                  </a:lnTo>
                  <a:lnTo>
                    <a:pt x="1042" y="468"/>
                  </a:lnTo>
                  <a:lnTo>
                    <a:pt x="1042" y="465"/>
                  </a:lnTo>
                  <a:lnTo>
                    <a:pt x="1042" y="465"/>
                  </a:lnTo>
                  <a:lnTo>
                    <a:pt x="1042" y="463"/>
                  </a:lnTo>
                  <a:lnTo>
                    <a:pt x="1040" y="463"/>
                  </a:lnTo>
                  <a:lnTo>
                    <a:pt x="1040" y="465"/>
                  </a:lnTo>
                  <a:lnTo>
                    <a:pt x="1037" y="465"/>
                  </a:lnTo>
                  <a:lnTo>
                    <a:pt x="1035" y="465"/>
                  </a:lnTo>
                  <a:lnTo>
                    <a:pt x="1035" y="468"/>
                  </a:lnTo>
                  <a:lnTo>
                    <a:pt x="1035" y="470"/>
                  </a:lnTo>
                  <a:lnTo>
                    <a:pt x="1033" y="470"/>
                  </a:lnTo>
                  <a:lnTo>
                    <a:pt x="1033" y="470"/>
                  </a:lnTo>
                  <a:lnTo>
                    <a:pt x="1033" y="470"/>
                  </a:lnTo>
                  <a:lnTo>
                    <a:pt x="1033" y="473"/>
                  </a:lnTo>
                  <a:lnTo>
                    <a:pt x="1030" y="473"/>
                  </a:lnTo>
                  <a:lnTo>
                    <a:pt x="1030" y="473"/>
                  </a:lnTo>
                  <a:lnTo>
                    <a:pt x="1030" y="473"/>
                  </a:lnTo>
                  <a:lnTo>
                    <a:pt x="1028" y="473"/>
                  </a:lnTo>
                  <a:lnTo>
                    <a:pt x="1028" y="475"/>
                  </a:lnTo>
                  <a:lnTo>
                    <a:pt x="1023" y="475"/>
                  </a:lnTo>
                  <a:lnTo>
                    <a:pt x="1023" y="475"/>
                  </a:lnTo>
                  <a:lnTo>
                    <a:pt x="1023" y="475"/>
                  </a:lnTo>
                  <a:lnTo>
                    <a:pt x="1021" y="475"/>
                  </a:lnTo>
                  <a:lnTo>
                    <a:pt x="1021" y="475"/>
                  </a:lnTo>
                  <a:lnTo>
                    <a:pt x="1021" y="475"/>
                  </a:lnTo>
                  <a:lnTo>
                    <a:pt x="1021" y="475"/>
                  </a:lnTo>
                  <a:lnTo>
                    <a:pt x="1021" y="475"/>
                  </a:lnTo>
                  <a:lnTo>
                    <a:pt x="1021" y="477"/>
                  </a:lnTo>
                  <a:lnTo>
                    <a:pt x="1021" y="480"/>
                  </a:lnTo>
                  <a:lnTo>
                    <a:pt x="1021" y="480"/>
                  </a:lnTo>
                  <a:lnTo>
                    <a:pt x="1021" y="480"/>
                  </a:lnTo>
                  <a:lnTo>
                    <a:pt x="1023" y="480"/>
                  </a:lnTo>
                  <a:lnTo>
                    <a:pt x="1023" y="480"/>
                  </a:lnTo>
                  <a:lnTo>
                    <a:pt x="1023" y="480"/>
                  </a:lnTo>
                  <a:lnTo>
                    <a:pt x="1025" y="480"/>
                  </a:lnTo>
                  <a:lnTo>
                    <a:pt x="1023" y="480"/>
                  </a:lnTo>
                  <a:lnTo>
                    <a:pt x="1023" y="480"/>
                  </a:lnTo>
                  <a:lnTo>
                    <a:pt x="1021" y="482"/>
                  </a:lnTo>
                  <a:lnTo>
                    <a:pt x="1021" y="482"/>
                  </a:lnTo>
                  <a:lnTo>
                    <a:pt x="1021" y="482"/>
                  </a:lnTo>
                  <a:lnTo>
                    <a:pt x="1018" y="484"/>
                  </a:lnTo>
                  <a:lnTo>
                    <a:pt x="1018" y="484"/>
                  </a:lnTo>
                  <a:lnTo>
                    <a:pt x="1021" y="484"/>
                  </a:lnTo>
                  <a:lnTo>
                    <a:pt x="1018" y="487"/>
                  </a:lnTo>
                  <a:lnTo>
                    <a:pt x="1018" y="489"/>
                  </a:lnTo>
                  <a:lnTo>
                    <a:pt x="1018" y="487"/>
                  </a:lnTo>
                  <a:lnTo>
                    <a:pt x="1018" y="484"/>
                  </a:lnTo>
                  <a:lnTo>
                    <a:pt x="1016" y="484"/>
                  </a:lnTo>
                  <a:lnTo>
                    <a:pt x="1014" y="484"/>
                  </a:lnTo>
                  <a:lnTo>
                    <a:pt x="1016" y="484"/>
                  </a:lnTo>
                  <a:lnTo>
                    <a:pt x="1014" y="484"/>
                  </a:lnTo>
                  <a:lnTo>
                    <a:pt x="1014" y="484"/>
                  </a:lnTo>
                  <a:lnTo>
                    <a:pt x="1011" y="484"/>
                  </a:lnTo>
                  <a:lnTo>
                    <a:pt x="1014" y="487"/>
                  </a:lnTo>
                  <a:lnTo>
                    <a:pt x="1014" y="487"/>
                  </a:lnTo>
                  <a:lnTo>
                    <a:pt x="1014" y="487"/>
                  </a:lnTo>
                  <a:lnTo>
                    <a:pt x="1014" y="489"/>
                  </a:lnTo>
                  <a:lnTo>
                    <a:pt x="1014" y="489"/>
                  </a:lnTo>
                  <a:lnTo>
                    <a:pt x="1014" y="489"/>
                  </a:lnTo>
                  <a:lnTo>
                    <a:pt x="1014" y="489"/>
                  </a:lnTo>
                  <a:lnTo>
                    <a:pt x="1014" y="487"/>
                  </a:lnTo>
                  <a:lnTo>
                    <a:pt x="1011" y="487"/>
                  </a:lnTo>
                  <a:lnTo>
                    <a:pt x="1011" y="487"/>
                  </a:lnTo>
                  <a:lnTo>
                    <a:pt x="1011" y="484"/>
                  </a:lnTo>
                  <a:lnTo>
                    <a:pt x="1009" y="484"/>
                  </a:lnTo>
                  <a:lnTo>
                    <a:pt x="1009" y="484"/>
                  </a:lnTo>
                  <a:lnTo>
                    <a:pt x="1009" y="484"/>
                  </a:lnTo>
                  <a:lnTo>
                    <a:pt x="1007" y="484"/>
                  </a:lnTo>
                  <a:lnTo>
                    <a:pt x="1007" y="484"/>
                  </a:lnTo>
                  <a:lnTo>
                    <a:pt x="1007" y="484"/>
                  </a:lnTo>
                  <a:lnTo>
                    <a:pt x="1007" y="487"/>
                  </a:lnTo>
                  <a:lnTo>
                    <a:pt x="1009" y="487"/>
                  </a:lnTo>
                  <a:lnTo>
                    <a:pt x="1007" y="489"/>
                  </a:lnTo>
                  <a:lnTo>
                    <a:pt x="1009" y="489"/>
                  </a:lnTo>
                  <a:lnTo>
                    <a:pt x="1009" y="491"/>
                  </a:lnTo>
                  <a:lnTo>
                    <a:pt x="1007" y="491"/>
                  </a:lnTo>
                  <a:lnTo>
                    <a:pt x="1007" y="491"/>
                  </a:lnTo>
                  <a:lnTo>
                    <a:pt x="1004" y="491"/>
                  </a:lnTo>
                  <a:lnTo>
                    <a:pt x="1004" y="491"/>
                  </a:lnTo>
                  <a:lnTo>
                    <a:pt x="1004" y="489"/>
                  </a:lnTo>
                  <a:lnTo>
                    <a:pt x="1004" y="489"/>
                  </a:lnTo>
                  <a:lnTo>
                    <a:pt x="1004" y="489"/>
                  </a:lnTo>
                  <a:lnTo>
                    <a:pt x="1002" y="489"/>
                  </a:lnTo>
                  <a:lnTo>
                    <a:pt x="999" y="491"/>
                  </a:lnTo>
                  <a:lnTo>
                    <a:pt x="999" y="491"/>
                  </a:lnTo>
                  <a:lnTo>
                    <a:pt x="1002" y="491"/>
                  </a:lnTo>
                  <a:lnTo>
                    <a:pt x="1002" y="491"/>
                  </a:lnTo>
                  <a:lnTo>
                    <a:pt x="1002" y="491"/>
                  </a:lnTo>
                  <a:lnTo>
                    <a:pt x="1002" y="494"/>
                  </a:lnTo>
                  <a:lnTo>
                    <a:pt x="1002" y="494"/>
                  </a:lnTo>
                  <a:lnTo>
                    <a:pt x="1002" y="494"/>
                  </a:lnTo>
                  <a:lnTo>
                    <a:pt x="1002" y="494"/>
                  </a:lnTo>
                  <a:lnTo>
                    <a:pt x="1002" y="496"/>
                  </a:lnTo>
                  <a:lnTo>
                    <a:pt x="1002" y="496"/>
                  </a:lnTo>
                  <a:lnTo>
                    <a:pt x="997" y="496"/>
                  </a:lnTo>
                  <a:lnTo>
                    <a:pt x="997" y="499"/>
                  </a:lnTo>
                  <a:lnTo>
                    <a:pt x="995" y="499"/>
                  </a:lnTo>
                  <a:lnTo>
                    <a:pt x="997" y="499"/>
                  </a:lnTo>
                  <a:lnTo>
                    <a:pt x="995" y="496"/>
                  </a:lnTo>
                  <a:lnTo>
                    <a:pt x="995" y="499"/>
                  </a:lnTo>
                  <a:lnTo>
                    <a:pt x="995" y="496"/>
                  </a:lnTo>
                  <a:lnTo>
                    <a:pt x="992" y="496"/>
                  </a:lnTo>
                  <a:lnTo>
                    <a:pt x="992" y="496"/>
                  </a:lnTo>
                  <a:lnTo>
                    <a:pt x="992" y="496"/>
                  </a:lnTo>
                  <a:lnTo>
                    <a:pt x="992" y="494"/>
                  </a:lnTo>
                  <a:lnTo>
                    <a:pt x="992" y="494"/>
                  </a:lnTo>
                  <a:lnTo>
                    <a:pt x="990" y="494"/>
                  </a:lnTo>
                  <a:lnTo>
                    <a:pt x="988" y="496"/>
                  </a:lnTo>
                  <a:lnTo>
                    <a:pt x="985" y="499"/>
                  </a:lnTo>
                  <a:lnTo>
                    <a:pt x="983" y="501"/>
                  </a:lnTo>
                  <a:lnTo>
                    <a:pt x="983" y="501"/>
                  </a:lnTo>
                  <a:lnTo>
                    <a:pt x="981" y="503"/>
                  </a:lnTo>
                  <a:lnTo>
                    <a:pt x="981" y="501"/>
                  </a:lnTo>
                  <a:lnTo>
                    <a:pt x="978" y="503"/>
                  </a:lnTo>
                  <a:lnTo>
                    <a:pt x="978" y="503"/>
                  </a:lnTo>
                  <a:lnTo>
                    <a:pt x="978" y="501"/>
                  </a:lnTo>
                  <a:lnTo>
                    <a:pt x="976" y="501"/>
                  </a:lnTo>
                  <a:lnTo>
                    <a:pt x="976" y="503"/>
                  </a:lnTo>
                  <a:lnTo>
                    <a:pt x="973" y="506"/>
                  </a:lnTo>
                  <a:lnTo>
                    <a:pt x="973" y="510"/>
                  </a:lnTo>
                  <a:lnTo>
                    <a:pt x="973" y="513"/>
                  </a:lnTo>
                  <a:lnTo>
                    <a:pt x="976" y="515"/>
                  </a:lnTo>
                  <a:lnTo>
                    <a:pt x="976" y="515"/>
                  </a:lnTo>
                  <a:lnTo>
                    <a:pt x="978" y="515"/>
                  </a:lnTo>
                  <a:lnTo>
                    <a:pt x="978" y="517"/>
                  </a:lnTo>
                  <a:lnTo>
                    <a:pt x="976" y="517"/>
                  </a:lnTo>
                  <a:lnTo>
                    <a:pt x="978" y="522"/>
                  </a:lnTo>
                  <a:lnTo>
                    <a:pt x="978" y="525"/>
                  </a:lnTo>
                  <a:lnTo>
                    <a:pt x="978" y="527"/>
                  </a:lnTo>
                  <a:lnTo>
                    <a:pt x="976" y="525"/>
                  </a:lnTo>
                  <a:lnTo>
                    <a:pt x="976" y="527"/>
                  </a:lnTo>
                  <a:lnTo>
                    <a:pt x="976" y="527"/>
                  </a:lnTo>
                  <a:lnTo>
                    <a:pt x="976" y="527"/>
                  </a:lnTo>
                  <a:lnTo>
                    <a:pt x="973" y="529"/>
                  </a:lnTo>
                  <a:lnTo>
                    <a:pt x="973" y="527"/>
                  </a:lnTo>
                  <a:lnTo>
                    <a:pt x="971" y="529"/>
                  </a:lnTo>
                  <a:lnTo>
                    <a:pt x="971" y="527"/>
                  </a:lnTo>
                  <a:lnTo>
                    <a:pt x="969" y="527"/>
                  </a:lnTo>
                  <a:lnTo>
                    <a:pt x="966" y="529"/>
                  </a:lnTo>
                  <a:lnTo>
                    <a:pt x="966" y="529"/>
                  </a:lnTo>
                  <a:lnTo>
                    <a:pt x="966" y="529"/>
                  </a:lnTo>
                  <a:lnTo>
                    <a:pt x="964" y="529"/>
                  </a:lnTo>
                  <a:lnTo>
                    <a:pt x="964" y="529"/>
                  </a:lnTo>
                  <a:lnTo>
                    <a:pt x="964" y="529"/>
                  </a:lnTo>
                  <a:lnTo>
                    <a:pt x="964" y="529"/>
                  </a:lnTo>
                  <a:lnTo>
                    <a:pt x="959" y="529"/>
                  </a:lnTo>
                  <a:lnTo>
                    <a:pt x="959" y="527"/>
                  </a:lnTo>
                  <a:lnTo>
                    <a:pt x="959" y="527"/>
                  </a:lnTo>
                  <a:lnTo>
                    <a:pt x="957" y="527"/>
                  </a:lnTo>
                  <a:lnTo>
                    <a:pt x="957" y="525"/>
                  </a:lnTo>
                  <a:lnTo>
                    <a:pt x="957" y="525"/>
                  </a:lnTo>
                  <a:lnTo>
                    <a:pt x="955" y="525"/>
                  </a:lnTo>
                  <a:lnTo>
                    <a:pt x="952" y="525"/>
                  </a:lnTo>
                  <a:lnTo>
                    <a:pt x="950" y="525"/>
                  </a:lnTo>
                  <a:lnTo>
                    <a:pt x="950" y="525"/>
                  </a:lnTo>
                  <a:lnTo>
                    <a:pt x="947" y="525"/>
                  </a:lnTo>
                  <a:lnTo>
                    <a:pt x="950" y="522"/>
                  </a:lnTo>
                  <a:lnTo>
                    <a:pt x="947" y="522"/>
                  </a:lnTo>
                  <a:lnTo>
                    <a:pt x="947" y="522"/>
                  </a:lnTo>
                  <a:lnTo>
                    <a:pt x="947" y="522"/>
                  </a:lnTo>
                  <a:lnTo>
                    <a:pt x="945" y="522"/>
                  </a:lnTo>
                  <a:lnTo>
                    <a:pt x="945" y="522"/>
                  </a:lnTo>
                  <a:lnTo>
                    <a:pt x="945" y="522"/>
                  </a:lnTo>
                  <a:lnTo>
                    <a:pt x="943" y="522"/>
                  </a:lnTo>
                  <a:lnTo>
                    <a:pt x="940" y="522"/>
                  </a:lnTo>
                  <a:lnTo>
                    <a:pt x="940" y="522"/>
                  </a:lnTo>
                  <a:lnTo>
                    <a:pt x="940" y="520"/>
                  </a:lnTo>
                  <a:lnTo>
                    <a:pt x="938" y="520"/>
                  </a:lnTo>
                  <a:lnTo>
                    <a:pt x="938" y="520"/>
                  </a:lnTo>
                  <a:lnTo>
                    <a:pt x="938" y="520"/>
                  </a:lnTo>
                  <a:lnTo>
                    <a:pt x="936" y="520"/>
                  </a:lnTo>
                  <a:lnTo>
                    <a:pt x="931" y="520"/>
                  </a:lnTo>
                  <a:lnTo>
                    <a:pt x="931" y="520"/>
                  </a:lnTo>
                  <a:lnTo>
                    <a:pt x="931" y="520"/>
                  </a:lnTo>
                  <a:lnTo>
                    <a:pt x="926" y="520"/>
                  </a:lnTo>
                  <a:lnTo>
                    <a:pt x="926" y="520"/>
                  </a:lnTo>
                  <a:lnTo>
                    <a:pt x="926" y="520"/>
                  </a:lnTo>
                  <a:lnTo>
                    <a:pt x="922" y="520"/>
                  </a:lnTo>
                  <a:lnTo>
                    <a:pt x="914" y="520"/>
                  </a:lnTo>
                  <a:lnTo>
                    <a:pt x="905" y="522"/>
                  </a:lnTo>
                  <a:lnTo>
                    <a:pt x="903" y="525"/>
                  </a:lnTo>
                  <a:lnTo>
                    <a:pt x="903" y="525"/>
                  </a:lnTo>
                  <a:lnTo>
                    <a:pt x="900" y="525"/>
                  </a:lnTo>
                  <a:lnTo>
                    <a:pt x="898" y="527"/>
                  </a:lnTo>
                  <a:lnTo>
                    <a:pt x="896" y="527"/>
                  </a:lnTo>
                  <a:lnTo>
                    <a:pt x="896" y="527"/>
                  </a:lnTo>
                  <a:lnTo>
                    <a:pt x="896" y="529"/>
                  </a:lnTo>
                  <a:lnTo>
                    <a:pt x="896" y="529"/>
                  </a:lnTo>
                  <a:lnTo>
                    <a:pt x="896" y="527"/>
                  </a:lnTo>
                  <a:lnTo>
                    <a:pt x="896" y="527"/>
                  </a:lnTo>
                  <a:lnTo>
                    <a:pt x="893" y="527"/>
                  </a:lnTo>
                  <a:lnTo>
                    <a:pt x="891" y="527"/>
                  </a:lnTo>
                  <a:lnTo>
                    <a:pt x="886" y="529"/>
                  </a:lnTo>
                  <a:lnTo>
                    <a:pt x="884" y="529"/>
                  </a:lnTo>
                  <a:lnTo>
                    <a:pt x="884" y="532"/>
                  </a:lnTo>
                  <a:lnTo>
                    <a:pt x="884" y="532"/>
                  </a:lnTo>
                  <a:lnTo>
                    <a:pt x="884" y="534"/>
                  </a:lnTo>
                  <a:lnTo>
                    <a:pt x="886" y="532"/>
                  </a:lnTo>
                  <a:lnTo>
                    <a:pt x="884" y="534"/>
                  </a:lnTo>
                  <a:lnTo>
                    <a:pt x="884" y="534"/>
                  </a:lnTo>
                  <a:lnTo>
                    <a:pt x="884" y="536"/>
                  </a:lnTo>
                  <a:lnTo>
                    <a:pt x="881" y="536"/>
                  </a:lnTo>
                  <a:lnTo>
                    <a:pt x="881" y="539"/>
                  </a:lnTo>
                  <a:lnTo>
                    <a:pt x="884" y="539"/>
                  </a:lnTo>
                  <a:lnTo>
                    <a:pt x="881" y="539"/>
                  </a:lnTo>
                  <a:lnTo>
                    <a:pt x="881" y="539"/>
                  </a:lnTo>
                  <a:lnTo>
                    <a:pt x="879" y="541"/>
                  </a:lnTo>
                  <a:lnTo>
                    <a:pt x="879" y="543"/>
                  </a:lnTo>
                  <a:lnTo>
                    <a:pt x="879" y="543"/>
                  </a:lnTo>
                  <a:lnTo>
                    <a:pt x="881" y="543"/>
                  </a:lnTo>
                  <a:lnTo>
                    <a:pt x="881" y="543"/>
                  </a:lnTo>
                  <a:lnTo>
                    <a:pt x="881" y="543"/>
                  </a:lnTo>
                  <a:lnTo>
                    <a:pt x="881" y="543"/>
                  </a:lnTo>
                  <a:lnTo>
                    <a:pt x="879" y="546"/>
                  </a:lnTo>
                  <a:lnTo>
                    <a:pt x="877" y="546"/>
                  </a:lnTo>
                  <a:lnTo>
                    <a:pt x="877" y="548"/>
                  </a:lnTo>
                  <a:lnTo>
                    <a:pt x="877" y="548"/>
                  </a:lnTo>
                  <a:lnTo>
                    <a:pt x="879" y="548"/>
                  </a:lnTo>
                  <a:lnTo>
                    <a:pt x="877" y="548"/>
                  </a:lnTo>
                  <a:lnTo>
                    <a:pt x="877" y="550"/>
                  </a:lnTo>
                  <a:lnTo>
                    <a:pt x="877" y="550"/>
                  </a:lnTo>
                  <a:lnTo>
                    <a:pt x="874" y="550"/>
                  </a:lnTo>
                  <a:lnTo>
                    <a:pt x="877" y="548"/>
                  </a:lnTo>
                  <a:lnTo>
                    <a:pt x="874" y="548"/>
                  </a:lnTo>
                  <a:lnTo>
                    <a:pt x="870" y="548"/>
                  </a:lnTo>
                  <a:lnTo>
                    <a:pt x="867" y="550"/>
                  </a:lnTo>
                  <a:lnTo>
                    <a:pt x="867" y="553"/>
                  </a:lnTo>
                  <a:lnTo>
                    <a:pt x="867" y="553"/>
                  </a:lnTo>
                  <a:lnTo>
                    <a:pt x="867" y="553"/>
                  </a:lnTo>
                  <a:lnTo>
                    <a:pt x="867" y="553"/>
                  </a:lnTo>
                  <a:lnTo>
                    <a:pt x="865" y="553"/>
                  </a:lnTo>
                  <a:lnTo>
                    <a:pt x="865" y="555"/>
                  </a:lnTo>
                  <a:lnTo>
                    <a:pt x="865" y="558"/>
                  </a:lnTo>
                  <a:lnTo>
                    <a:pt x="865" y="555"/>
                  </a:lnTo>
                  <a:lnTo>
                    <a:pt x="865" y="555"/>
                  </a:lnTo>
                  <a:lnTo>
                    <a:pt x="865" y="553"/>
                  </a:lnTo>
                  <a:lnTo>
                    <a:pt x="865" y="553"/>
                  </a:lnTo>
                  <a:lnTo>
                    <a:pt x="862" y="553"/>
                  </a:lnTo>
                  <a:lnTo>
                    <a:pt x="862" y="555"/>
                  </a:lnTo>
                  <a:lnTo>
                    <a:pt x="862" y="553"/>
                  </a:lnTo>
                  <a:lnTo>
                    <a:pt x="862" y="553"/>
                  </a:lnTo>
                  <a:lnTo>
                    <a:pt x="860" y="553"/>
                  </a:lnTo>
                  <a:lnTo>
                    <a:pt x="860" y="550"/>
                  </a:lnTo>
                  <a:lnTo>
                    <a:pt x="862" y="550"/>
                  </a:lnTo>
                  <a:lnTo>
                    <a:pt x="862" y="548"/>
                  </a:lnTo>
                  <a:lnTo>
                    <a:pt x="860" y="548"/>
                  </a:lnTo>
                  <a:lnTo>
                    <a:pt x="858" y="546"/>
                  </a:lnTo>
                  <a:lnTo>
                    <a:pt x="855" y="546"/>
                  </a:lnTo>
                  <a:lnTo>
                    <a:pt x="855" y="546"/>
                  </a:lnTo>
                  <a:lnTo>
                    <a:pt x="855" y="548"/>
                  </a:lnTo>
                  <a:lnTo>
                    <a:pt x="855" y="548"/>
                  </a:lnTo>
                  <a:lnTo>
                    <a:pt x="853" y="546"/>
                  </a:lnTo>
                  <a:lnTo>
                    <a:pt x="853" y="546"/>
                  </a:lnTo>
                  <a:lnTo>
                    <a:pt x="853" y="548"/>
                  </a:lnTo>
                  <a:lnTo>
                    <a:pt x="853" y="548"/>
                  </a:lnTo>
                  <a:lnTo>
                    <a:pt x="853" y="548"/>
                  </a:lnTo>
                  <a:lnTo>
                    <a:pt x="853" y="550"/>
                  </a:lnTo>
                  <a:lnTo>
                    <a:pt x="853" y="550"/>
                  </a:lnTo>
                  <a:lnTo>
                    <a:pt x="853" y="550"/>
                  </a:lnTo>
                  <a:lnTo>
                    <a:pt x="853" y="553"/>
                  </a:lnTo>
                  <a:lnTo>
                    <a:pt x="853" y="553"/>
                  </a:lnTo>
                  <a:lnTo>
                    <a:pt x="853" y="553"/>
                  </a:lnTo>
                  <a:lnTo>
                    <a:pt x="853" y="553"/>
                  </a:lnTo>
                  <a:lnTo>
                    <a:pt x="851" y="555"/>
                  </a:lnTo>
                  <a:lnTo>
                    <a:pt x="851" y="555"/>
                  </a:lnTo>
                  <a:lnTo>
                    <a:pt x="851" y="553"/>
                  </a:lnTo>
                  <a:lnTo>
                    <a:pt x="848" y="553"/>
                  </a:lnTo>
                  <a:lnTo>
                    <a:pt x="844" y="553"/>
                  </a:lnTo>
                  <a:lnTo>
                    <a:pt x="839" y="555"/>
                  </a:lnTo>
                  <a:lnTo>
                    <a:pt x="825" y="562"/>
                  </a:lnTo>
                  <a:lnTo>
                    <a:pt x="810" y="569"/>
                  </a:lnTo>
                  <a:lnTo>
                    <a:pt x="801" y="574"/>
                  </a:lnTo>
                  <a:lnTo>
                    <a:pt x="799" y="576"/>
                  </a:lnTo>
                  <a:lnTo>
                    <a:pt x="796" y="576"/>
                  </a:lnTo>
                  <a:lnTo>
                    <a:pt x="789" y="584"/>
                  </a:lnTo>
                  <a:lnTo>
                    <a:pt x="782" y="586"/>
                  </a:lnTo>
                  <a:lnTo>
                    <a:pt x="775" y="593"/>
                  </a:lnTo>
                  <a:lnTo>
                    <a:pt x="775" y="595"/>
                  </a:lnTo>
                  <a:lnTo>
                    <a:pt x="775" y="598"/>
                  </a:lnTo>
                  <a:lnTo>
                    <a:pt x="773" y="598"/>
                  </a:lnTo>
                  <a:lnTo>
                    <a:pt x="773" y="600"/>
                  </a:lnTo>
                  <a:lnTo>
                    <a:pt x="773" y="600"/>
                  </a:lnTo>
                  <a:lnTo>
                    <a:pt x="773" y="602"/>
                  </a:lnTo>
                  <a:lnTo>
                    <a:pt x="773" y="602"/>
                  </a:lnTo>
                  <a:lnTo>
                    <a:pt x="775" y="602"/>
                  </a:lnTo>
                  <a:lnTo>
                    <a:pt x="773" y="602"/>
                  </a:lnTo>
                  <a:lnTo>
                    <a:pt x="775" y="605"/>
                  </a:lnTo>
                  <a:lnTo>
                    <a:pt x="773" y="605"/>
                  </a:lnTo>
                  <a:lnTo>
                    <a:pt x="773" y="605"/>
                  </a:lnTo>
                  <a:lnTo>
                    <a:pt x="773" y="605"/>
                  </a:lnTo>
                  <a:lnTo>
                    <a:pt x="773" y="605"/>
                  </a:lnTo>
                  <a:lnTo>
                    <a:pt x="773" y="607"/>
                  </a:lnTo>
                  <a:lnTo>
                    <a:pt x="770" y="607"/>
                  </a:lnTo>
                  <a:lnTo>
                    <a:pt x="768" y="607"/>
                  </a:lnTo>
                  <a:lnTo>
                    <a:pt x="766" y="610"/>
                  </a:lnTo>
                  <a:lnTo>
                    <a:pt x="763" y="610"/>
                  </a:lnTo>
                  <a:lnTo>
                    <a:pt x="756" y="614"/>
                  </a:lnTo>
                  <a:lnTo>
                    <a:pt x="751" y="619"/>
                  </a:lnTo>
                  <a:lnTo>
                    <a:pt x="751" y="619"/>
                  </a:lnTo>
                  <a:lnTo>
                    <a:pt x="751" y="621"/>
                  </a:lnTo>
                  <a:lnTo>
                    <a:pt x="749" y="621"/>
                  </a:lnTo>
                  <a:lnTo>
                    <a:pt x="747" y="624"/>
                  </a:lnTo>
                  <a:lnTo>
                    <a:pt x="747" y="626"/>
                  </a:lnTo>
                  <a:lnTo>
                    <a:pt x="742" y="626"/>
                  </a:lnTo>
                  <a:lnTo>
                    <a:pt x="725" y="638"/>
                  </a:lnTo>
                  <a:lnTo>
                    <a:pt x="723" y="638"/>
                  </a:lnTo>
                  <a:lnTo>
                    <a:pt x="723" y="638"/>
                  </a:lnTo>
                  <a:lnTo>
                    <a:pt x="718" y="640"/>
                  </a:lnTo>
                  <a:lnTo>
                    <a:pt x="718" y="643"/>
                  </a:lnTo>
                  <a:lnTo>
                    <a:pt x="711" y="645"/>
                  </a:lnTo>
                  <a:lnTo>
                    <a:pt x="707" y="647"/>
                  </a:lnTo>
                  <a:lnTo>
                    <a:pt x="697" y="654"/>
                  </a:lnTo>
                  <a:lnTo>
                    <a:pt x="692" y="657"/>
                  </a:lnTo>
                  <a:lnTo>
                    <a:pt x="676" y="669"/>
                  </a:lnTo>
                  <a:lnTo>
                    <a:pt x="669" y="678"/>
                  </a:lnTo>
                  <a:lnTo>
                    <a:pt x="664" y="683"/>
                  </a:lnTo>
                  <a:lnTo>
                    <a:pt x="662" y="685"/>
                  </a:lnTo>
                  <a:lnTo>
                    <a:pt x="662" y="690"/>
                  </a:lnTo>
                  <a:lnTo>
                    <a:pt x="659" y="690"/>
                  </a:lnTo>
                  <a:lnTo>
                    <a:pt x="659" y="690"/>
                  </a:lnTo>
                  <a:lnTo>
                    <a:pt x="659" y="692"/>
                  </a:lnTo>
                  <a:lnTo>
                    <a:pt x="662" y="692"/>
                  </a:lnTo>
                  <a:lnTo>
                    <a:pt x="662" y="695"/>
                  </a:lnTo>
                  <a:lnTo>
                    <a:pt x="662" y="695"/>
                  </a:lnTo>
                  <a:lnTo>
                    <a:pt x="659" y="697"/>
                  </a:lnTo>
                  <a:lnTo>
                    <a:pt x="659" y="702"/>
                  </a:lnTo>
                  <a:lnTo>
                    <a:pt x="659" y="702"/>
                  </a:lnTo>
                  <a:lnTo>
                    <a:pt x="659" y="702"/>
                  </a:lnTo>
                  <a:lnTo>
                    <a:pt x="659" y="702"/>
                  </a:lnTo>
                  <a:lnTo>
                    <a:pt x="659" y="704"/>
                  </a:lnTo>
                  <a:lnTo>
                    <a:pt x="659" y="702"/>
                  </a:lnTo>
                  <a:lnTo>
                    <a:pt x="659" y="702"/>
                  </a:lnTo>
                  <a:lnTo>
                    <a:pt x="657" y="702"/>
                  </a:lnTo>
                  <a:lnTo>
                    <a:pt x="655" y="704"/>
                  </a:lnTo>
                  <a:lnTo>
                    <a:pt x="652" y="709"/>
                  </a:lnTo>
                  <a:lnTo>
                    <a:pt x="645" y="713"/>
                  </a:lnTo>
                  <a:lnTo>
                    <a:pt x="636" y="723"/>
                  </a:lnTo>
                  <a:lnTo>
                    <a:pt x="636" y="723"/>
                  </a:lnTo>
                  <a:lnTo>
                    <a:pt x="636" y="721"/>
                  </a:lnTo>
                  <a:lnTo>
                    <a:pt x="636" y="718"/>
                  </a:lnTo>
                  <a:lnTo>
                    <a:pt x="645" y="711"/>
                  </a:lnTo>
                  <a:lnTo>
                    <a:pt x="643" y="711"/>
                  </a:lnTo>
                  <a:lnTo>
                    <a:pt x="645" y="711"/>
                  </a:lnTo>
                  <a:lnTo>
                    <a:pt x="643" y="711"/>
                  </a:lnTo>
                  <a:lnTo>
                    <a:pt x="643" y="711"/>
                  </a:lnTo>
                  <a:lnTo>
                    <a:pt x="643" y="711"/>
                  </a:lnTo>
                  <a:lnTo>
                    <a:pt x="640" y="711"/>
                  </a:lnTo>
                  <a:lnTo>
                    <a:pt x="640" y="711"/>
                  </a:lnTo>
                  <a:lnTo>
                    <a:pt x="640" y="711"/>
                  </a:lnTo>
                  <a:lnTo>
                    <a:pt x="640" y="713"/>
                  </a:lnTo>
                  <a:lnTo>
                    <a:pt x="638" y="713"/>
                  </a:lnTo>
                  <a:lnTo>
                    <a:pt x="638" y="713"/>
                  </a:lnTo>
                  <a:lnTo>
                    <a:pt x="636" y="713"/>
                  </a:lnTo>
                  <a:lnTo>
                    <a:pt x="636" y="713"/>
                  </a:lnTo>
                  <a:lnTo>
                    <a:pt x="633" y="713"/>
                  </a:lnTo>
                  <a:lnTo>
                    <a:pt x="629" y="711"/>
                  </a:lnTo>
                  <a:lnTo>
                    <a:pt x="629" y="711"/>
                  </a:lnTo>
                  <a:lnTo>
                    <a:pt x="626" y="709"/>
                  </a:lnTo>
                  <a:lnTo>
                    <a:pt x="626" y="709"/>
                  </a:lnTo>
                  <a:lnTo>
                    <a:pt x="624" y="709"/>
                  </a:lnTo>
                  <a:lnTo>
                    <a:pt x="624" y="706"/>
                  </a:lnTo>
                  <a:lnTo>
                    <a:pt x="626" y="704"/>
                  </a:lnTo>
                  <a:lnTo>
                    <a:pt x="626" y="704"/>
                  </a:lnTo>
                  <a:lnTo>
                    <a:pt x="626" y="702"/>
                  </a:lnTo>
                  <a:lnTo>
                    <a:pt x="626" y="702"/>
                  </a:lnTo>
                  <a:lnTo>
                    <a:pt x="629" y="702"/>
                  </a:lnTo>
                  <a:lnTo>
                    <a:pt x="626" y="699"/>
                  </a:lnTo>
                  <a:lnTo>
                    <a:pt x="624" y="699"/>
                  </a:lnTo>
                  <a:lnTo>
                    <a:pt x="624" y="699"/>
                  </a:lnTo>
                  <a:lnTo>
                    <a:pt x="624" y="697"/>
                  </a:lnTo>
                  <a:lnTo>
                    <a:pt x="624" y="695"/>
                  </a:lnTo>
                  <a:lnTo>
                    <a:pt x="621" y="692"/>
                  </a:lnTo>
                  <a:lnTo>
                    <a:pt x="621" y="692"/>
                  </a:lnTo>
                  <a:lnTo>
                    <a:pt x="619" y="692"/>
                  </a:lnTo>
                  <a:lnTo>
                    <a:pt x="621" y="690"/>
                  </a:lnTo>
                  <a:lnTo>
                    <a:pt x="619" y="688"/>
                  </a:lnTo>
                  <a:lnTo>
                    <a:pt x="621" y="685"/>
                  </a:lnTo>
                  <a:lnTo>
                    <a:pt x="621" y="685"/>
                  </a:lnTo>
                  <a:lnTo>
                    <a:pt x="619" y="685"/>
                  </a:lnTo>
                  <a:lnTo>
                    <a:pt x="619" y="685"/>
                  </a:lnTo>
                  <a:lnTo>
                    <a:pt x="619" y="683"/>
                  </a:lnTo>
                  <a:lnTo>
                    <a:pt x="619" y="683"/>
                  </a:lnTo>
                  <a:lnTo>
                    <a:pt x="619" y="683"/>
                  </a:lnTo>
                  <a:lnTo>
                    <a:pt x="619" y="683"/>
                  </a:lnTo>
                  <a:lnTo>
                    <a:pt x="617" y="680"/>
                  </a:lnTo>
                  <a:lnTo>
                    <a:pt x="617" y="680"/>
                  </a:lnTo>
                  <a:lnTo>
                    <a:pt x="617" y="678"/>
                  </a:lnTo>
                  <a:lnTo>
                    <a:pt x="614" y="678"/>
                  </a:lnTo>
                  <a:lnTo>
                    <a:pt x="614" y="680"/>
                  </a:lnTo>
                  <a:lnTo>
                    <a:pt x="614" y="680"/>
                  </a:lnTo>
                  <a:lnTo>
                    <a:pt x="614" y="680"/>
                  </a:lnTo>
                  <a:lnTo>
                    <a:pt x="614" y="680"/>
                  </a:lnTo>
                  <a:lnTo>
                    <a:pt x="614" y="683"/>
                  </a:lnTo>
                  <a:lnTo>
                    <a:pt x="614" y="683"/>
                  </a:lnTo>
                  <a:lnTo>
                    <a:pt x="612" y="683"/>
                  </a:lnTo>
                  <a:lnTo>
                    <a:pt x="612" y="685"/>
                  </a:lnTo>
                  <a:lnTo>
                    <a:pt x="612" y="685"/>
                  </a:lnTo>
                  <a:lnTo>
                    <a:pt x="612" y="685"/>
                  </a:lnTo>
                  <a:lnTo>
                    <a:pt x="610" y="685"/>
                  </a:lnTo>
                  <a:lnTo>
                    <a:pt x="610" y="685"/>
                  </a:lnTo>
                  <a:lnTo>
                    <a:pt x="610" y="685"/>
                  </a:lnTo>
                  <a:lnTo>
                    <a:pt x="607" y="688"/>
                  </a:lnTo>
                  <a:lnTo>
                    <a:pt x="607" y="690"/>
                  </a:lnTo>
                  <a:lnTo>
                    <a:pt x="605" y="690"/>
                  </a:lnTo>
                  <a:lnTo>
                    <a:pt x="605" y="690"/>
                  </a:lnTo>
                  <a:lnTo>
                    <a:pt x="607" y="690"/>
                  </a:lnTo>
                  <a:lnTo>
                    <a:pt x="607" y="685"/>
                  </a:lnTo>
                  <a:lnTo>
                    <a:pt x="605" y="685"/>
                  </a:lnTo>
                  <a:lnTo>
                    <a:pt x="605" y="688"/>
                  </a:lnTo>
                  <a:lnTo>
                    <a:pt x="605" y="685"/>
                  </a:lnTo>
                  <a:lnTo>
                    <a:pt x="603" y="685"/>
                  </a:lnTo>
                  <a:lnTo>
                    <a:pt x="603" y="685"/>
                  </a:lnTo>
                  <a:lnTo>
                    <a:pt x="603" y="685"/>
                  </a:lnTo>
                  <a:lnTo>
                    <a:pt x="600" y="683"/>
                  </a:lnTo>
                  <a:lnTo>
                    <a:pt x="600" y="683"/>
                  </a:lnTo>
                  <a:lnTo>
                    <a:pt x="600" y="680"/>
                  </a:lnTo>
                  <a:lnTo>
                    <a:pt x="598" y="680"/>
                  </a:lnTo>
                  <a:lnTo>
                    <a:pt x="596" y="678"/>
                  </a:lnTo>
                  <a:lnTo>
                    <a:pt x="596" y="680"/>
                  </a:lnTo>
                  <a:lnTo>
                    <a:pt x="593" y="680"/>
                  </a:lnTo>
                  <a:lnTo>
                    <a:pt x="588" y="683"/>
                  </a:lnTo>
                  <a:lnTo>
                    <a:pt x="586" y="688"/>
                  </a:lnTo>
                  <a:lnTo>
                    <a:pt x="586" y="690"/>
                  </a:lnTo>
                  <a:lnTo>
                    <a:pt x="586" y="690"/>
                  </a:lnTo>
                  <a:lnTo>
                    <a:pt x="584" y="690"/>
                  </a:lnTo>
                  <a:lnTo>
                    <a:pt x="581" y="692"/>
                  </a:lnTo>
                  <a:lnTo>
                    <a:pt x="581" y="692"/>
                  </a:lnTo>
                  <a:lnTo>
                    <a:pt x="581" y="695"/>
                  </a:lnTo>
                  <a:lnTo>
                    <a:pt x="579" y="695"/>
                  </a:lnTo>
                  <a:lnTo>
                    <a:pt x="579" y="692"/>
                  </a:lnTo>
                  <a:lnTo>
                    <a:pt x="577" y="692"/>
                  </a:lnTo>
                  <a:lnTo>
                    <a:pt x="577" y="692"/>
                  </a:lnTo>
                  <a:lnTo>
                    <a:pt x="577" y="690"/>
                  </a:lnTo>
                  <a:lnTo>
                    <a:pt x="577" y="690"/>
                  </a:lnTo>
                  <a:lnTo>
                    <a:pt x="577" y="688"/>
                  </a:lnTo>
                  <a:lnTo>
                    <a:pt x="574" y="688"/>
                  </a:lnTo>
                  <a:lnTo>
                    <a:pt x="574" y="685"/>
                  </a:lnTo>
                  <a:lnTo>
                    <a:pt x="572" y="685"/>
                  </a:lnTo>
                  <a:lnTo>
                    <a:pt x="572" y="685"/>
                  </a:lnTo>
                  <a:lnTo>
                    <a:pt x="572" y="685"/>
                  </a:lnTo>
                  <a:lnTo>
                    <a:pt x="572" y="683"/>
                  </a:lnTo>
                  <a:lnTo>
                    <a:pt x="572" y="683"/>
                  </a:lnTo>
                  <a:lnTo>
                    <a:pt x="572" y="683"/>
                  </a:lnTo>
                  <a:lnTo>
                    <a:pt x="572" y="680"/>
                  </a:lnTo>
                  <a:lnTo>
                    <a:pt x="572" y="680"/>
                  </a:lnTo>
                  <a:lnTo>
                    <a:pt x="572" y="680"/>
                  </a:lnTo>
                  <a:lnTo>
                    <a:pt x="574" y="678"/>
                  </a:lnTo>
                  <a:lnTo>
                    <a:pt x="577" y="678"/>
                  </a:lnTo>
                  <a:lnTo>
                    <a:pt x="577" y="676"/>
                  </a:lnTo>
                  <a:lnTo>
                    <a:pt x="577" y="676"/>
                  </a:lnTo>
                  <a:lnTo>
                    <a:pt x="577" y="676"/>
                  </a:lnTo>
                  <a:lnTo>
                    <a:pt x="577" y="673"/>
                  </a:lnTo>
                  <a:lnTo>
                    <a:pt x="577" y="673"/>
                  </a:lnTo>
                  <a:lnTo>
                    <a:pt x="577" y="673"/>
                  </a:lnTo>
                  <a:lnTo>
                    <a:pt x="577" y="671"/>
                  </a:lnTo>
                  <a:lnTo>
                    <a:pt x="577" y="671"/>
                  </a:lnTo>
                  <a:lnTo>
                    <a:pt x="577" y="669"/>
                  </a:lnTo>
                  <a:lnTo>
                    <a:pt x="577" y="669"/>
                  </a:lnTo>
                  <a:lnTo>
                    <a:pt x="577" y="669"/>
                  </a:lnTo>
                  <a:lnTo>
                    <a:pt x="577" y="669"/>
                  </a:lnTo>
                  <a:lnTo>
                    <a:pt x="577" y="666"/>
                  </a:lnTo>
                  <a:lnTo>
                    <a:pt x="577" y="666"/>
                  </a:lnTo>
                  <a:lnTo>
                    <a:pt x="577" y="666"/>
                  </a:lnTo>
                  <a:lnTo>
                    <a:pt x="579" y="666"/>
                  </a:lnTo>
                  <a:lnTo>
                    <a:pt x="579" y="664"/>
                  </a:lnTo>
                  <a:lnTo>
                    <a:pt x="579" y="664"/>
                  </a:lnTo>
                  <a:lnTo>
                    <a:pt x="577" y="664"/>
                  </a:lnTo>
                  <a:lnTo>
                    <a:pt x="577" y="664"/>
                  </a:lnTo>
                  <a:lnTo>
                    <a:pt x="577" y="662"/>
                  </a:lnTo>
                  <a:lnTo>
                    <a:pt x="577" y="659"/>
                  </a:lnTo>
                  <a:lnTo>
                    <a:pt x="577" y="659"/>
                  </a:lnTo>
                  <a:lnTo>
                    <a:pt x="577" y="657"/>
                  </a:lnTo>
                  <a:lnTo>
                    <a:pt x="577" y="657"/>
                  </a:lnTo>
                  <a:lnTo>
                    <a:pt x="579" y="654"/>
                  </a:lnTo>
                  <a:lnTo>
                    <a:pt x="581" y="654"/>
                  </a:lnTo>
                  <a:lnTo>
                    <a:pt x="581" y="652"/>
                  </a:lnTo>
                  <a:lnTo>
                    <a:pt x="581" y="650"/>
                  </a:lnTo>
                  <a:lnTo>
                    <a:pt x="584" y="650"/>
                  </a:lnTo>
                  <a:lnTo>
                    <a:pt x="584" y="650"/>
                  </a:lnTo>
                  <a:lnTo>
                    <a:pt x="584" y="647"/>
                  </a:lnTo>
                  <a:lnTo>
                    <a:pt x="584" y="647"/>
                  </a:lnTo>
                  <a:lnTo>
                    <a:pt x="584" y="647"/>
                  </a:lnTo>
                  <a:lnTo>
                    <a:pt x="584" y="647"/>
                  </a:lnTo>
                  <a:lnTo>
                    <a:pt x="581" y="647"/>
                  </a:lnTo>
                  <a:lnTo>
                    <a:pt x="581" y="647"/>
                  </a:lnTo>
                  <a:lnTo>
                    <a:pt x="581" y="647"/>
                  </a:lnTo>
                  <a:lnTo>
                    <a:pt x="579" y="645"/>
                  </a:lnTo>
                  <a:lnTo>
                    <a:pt x="579" y="645"/>
                  </a:lnTo>
                  <a:lnTo>
                    <a:pt x="579" y="645"/>
                  </a:lnTo>
                  <a:lnTo>
                    <a:pt x="579" y="645"/>
                  </a:lnTo>
                  <a:lnTo>
                    <a:pt x="579" y="645"/>
                  </a:lnTo>
                  <a:lnTo>
                    <a:pt x="577" y="645"/>
                  </a:lnTo>
                  <a:lnTo>
                    <a:pt x="577" y="643"/>
                  </a:lnTo>
                  <a:lnTo>
                    <a:pt x="577" y="640"/>
                  </a:lnTo>
                  <a:lnTo>
                    <a:pt x="574" y="640"/>
                  </a:lnTo>
                  <a:lnTo>
                    <a:pt x="574" y="638"/>
                  </a:lnTo>
                  <a:lnTo>
                    <a:pt x="572" y="640"/>
                  </a:lnTo>
                  <a:lnTo>
                    <a:pt x="572" y="638"/>
                  </a:lnTo>
                  <a:lnTo>
                    <a:pt x="572" y="638"/>
                  </a:lnTo>
                  <a:lnTo>
                    <a:pt x="570" y="638"/>
                  </a:lnTo>
                  <a:lnTo>
                    <a:pt x="570" y="638"/>
                  </a:lnTo>
                  <a:lnTo>
                    <a:pt x="567" y="640"/>
                  </a:lnTo>
                  <a:lnTo>
                    <a:pt x="565" y="640"/>
                  </a:lnTo>
                  <a:lnTo>
                    <a:pt x="565" y="640"/>
                  </a:lnTo>
                  <a:lnTo>
                    <a:pt x="565" y="640"/>
                  </a:lnTo>
                  <a:lnTo>
                    <a:pt x="562" y="643"/>
                  </a:lnTo>
                  <a:lnTo>
                    <a:pt x="562" y="643"/>
                  </a:lnTo>
                  <a:lnTo>
                    <a:pt x="562" y="643"/>
                  </a:lnTo>
                  <a:lnTo>
                    <a:pt x="562" y="640"/>
                  </a:lnTo>
                  <a:lnTo>
                    <a:pt x="562" y="640"/>
                  </a:lnTo>
                  <a:lnTo>
                    <a:pt x="562" y="640"/>
                  </a:lnTo>
                  <a:lnTo>
                    <a:pt x="562" y="640"/>
                  </a:lnTo>
                  <a:lnTo>
                    <a:pt x="562" y="638"/>
                  </a:lnTo>
                  <a:lnTo>
                    <a:pt x="560" y="638"/>
                  </a:lnTo>
                  <a:lnTo>
                    <a:pt x="560" y="638"/>
                  </a:lnTo>
                  <a:lnTo>
                    <a:pt x="560" y="640"/>
                  </a:lnTo>
                  <a:lnTo>
                    <a:pt x="560" y="640"/>
                  </a:lnTo>
                  <a:lnTo>
                    <a:pt x="560" y="640"/>
                  </a:lnTo>
                  <a:lnTo>
                    <a:pt x="558" y="640"/>
                  </a:lnTo>
                  <a:lnTo>
                    <a:pt x="555" y="640"/>
                  </a:lnTo>
                  <a:lnTo>
                    <a:pt x="553" y="640"/>
                  </a:lnTo>
                  <a:lnTo>
                    <a:pt x="553" y="640"/>
                  </a:lnTo>
                  <a:lnTo>
                    <a:pt x="553" y="640"/>
                  </a:lnTo>
                  <a:lnTo>
                    <a:pt x="551" y="640"/>
                  </a:lnTo>
                  <a:lnTo>
                    <a:pt x="551" y="640"/>
                  </a:lnTo>
                  <a:lnTo>
                    <a:pt x="548" y="643"/>
                  </a:lnTo>
                  <a:lnTo>
                    <a:pt x="548" y="640"/>
                  </a:lnTo>
                  <a:lnTo>
                    <a:pt x="546" y="638"/>
                  </a:lnTo>
                  <a:lnTo>
                    <a:pt x="544" y="638"/>
                  </a:lnTo>
                  <a:lnTo>
                    <a:pt x="544" y="638"/>
                  </a:lnTo>
                  <a:lnTo>
                    <a:pt x="544" y="636"/>
                  </a:lnTo>
                  <a:lnTo>
                    <a:pt x="541" y="638"/>
                  </a:lnTo>
                  <a:lnTo>
                    <a:pt x="539" y="636"/>
                  </a:lnTo>
                  <a:lnTo>
                    <a:pt x="539" y="638"/>
                  </a:lnTo>
                  <a:lnTo>
                    <a:pt x="541" y="638"/>
                  </a:lnTo>
                  <a:lnTo>
                    <a:pt x="539" y="638"/>
                  </a:lnTo>
                  <a:lnTo>
                    <a:pt x="536" y="638"/>
                  </a:lnTo>
                  <a:lnTo>
                    <a:pt x="534" y="638"/>
                  </a:lnTo>
                  <a:lnTo>
                    <a:pt x="532" y="638"/>
                  </a:lnTo>
                  <a:lnTo>
                    <a:pt x="532" y="640"/>
                  </a:lnTo>
                  <a:lnTo>
                    <a:pt x="532" y="640"/>
                  </a:lnTo>
                  <a:lnTo>
                    <a:pt x="532" y="638"/>
                  </a:lnTo>
                  <a:lnTo>
                    <a:pt x="529" y="638"/>
                  </a:lnTo>
                  <a:lnTo>
                    <a:pt x="527" y="638"/>
                  </a:lnTo>
                  <a:lnTo>
                    <a:pt x="527" y="640"/>
                  </a:lnTo>
                  <a:lnTo>
                    <a:pt x="525" y="638"/>
                  </a:lnTo>
                  <a:lnTo>
                    <a:pt x="525" y="638"/>
                  </a:lnTo>
                  <a:lnTo>
                    <a:pt x="525" y="638"/>
                  </a:lnTo>
                  <a:lnTo>
                    <a:pt x="522" y="638"/>
                  </a:lnTo>
                  <a:lnTo>
                    <a:pt x="522" y="636"/>
                  </a:lnTo>
                  <a:lnTo>
                    <a:pt x="522" y="636"/>
                  </a:lnTo>
                  <a:lnTo>
                    <a:pt x="520" y="638"/>
                  </a:lnTo>
                  <a:lnTo>
                    <a:pt x="520" y="636"/>
                  </a:lnTo>
                  <a:lnTo>
                    <a:pt x="522" y="636"/>
                  </a:lnTo>
                  <a:lnTo>
                    <a:pt x="522" y="633"/>
                  </a:lnTo>
                  <a:lnTo>
                    <a:pt x="520" y="633"/>
                  </a:lnTo>
                  <a:lnTo>
                    <a:pt x="518" y="636"/>
                  </a:lnTo>
                  <a:lnTo>
                    <a:pt x="518" y="633"/>
                  </a:lnTo>
                  <a:lnTo>
                    <a:pt x="515" y="633"/>
                  </a:lnTo>
                  <a:lnTo>
                    <a:pt x="515" y="636"/>
                  </a:lnTo>
                  <a:lnTo>
                    <a:pt x="515" y="636"/>
                  </a:lnTo>
                  <a:lnTo>
                    <a:pt x="518" y="636"/>
                  </a:lnTo>
                  <a:lnTo>
                    <a:pt x="515" y="636"/>
                  </a:lnTo>
                  <a:lnTo>
                    <a:pt x="515" y="636"/>
                  </a:lnTo>
                  <a:lnTo>
                    <a:pt x="515" y="638"/>
                  </a:lnTo>
                  <a:lnTo>
                    <a:pt x="515" y="638"/>
                  </a:lnTo>
                  <a:lnTo>
                    <a:pt x="515" y="640"/>
                  </a:lnTo>
                  <a:lnTo>
                    <a:pt x="513" y="640"/>
                  </a:lnTo>
                  <a:lnTo>
                    <a:pt x="513" y="640"/>
                  </a:lnTo>
                  <a:lnTo>
                    <a:pt x="513" y="640"/>
                  </a:lnTo>
                  <a:lnTo>
                    <a:pt x="510" y="638"/>
                  </a:lnTo>
                  <a:lnTo>
                    <a:pt x="510" y="638"/>
                  </a:lnTo>
                  <a:lnTo>
                    <a:pt x="510" y="640"/>
                  </a:lnTo>
                  <a:lnTo>
                    <a:pt x="508" y="640"/>
                  </a:lnTo>
                  <a:lnTo>
                    <a:pt x="508" y="638"/>
                  </a:lnTo>
                  <a:lnTo>
                    <a:pt x="508" y="638"/>
                  </a:lnTo>
                  <a:lnTo>
                    <a:pt x="506" y="640"/>
                  </a:lnTo>
                  <a:lnTo>
                    <a:pt x="506" y="640"/>
                  </a:lnTo>
                  <a:lnTo>
                    <a:pt x="503" y="638"/>
                  </a:lnTo>
                  <a:lnTo>
                    <a:pt x="501" y="638"/>
                  </a:lnTo>
                  <a:lnTo>
                    <a:pt x="499" y="638"/>
                  </a:lnTo>
                  <a:lnTo>
                    <a:pt x="499" y="638"/>
                  </a:lnTo>
                  <a:lnTo>
                    <a:pt x="496" y="638"/>
                  </a:lnTo>
                  <a:lnTo>
                    <a:pt x="496" y="640"/>
                  </a:lnTo>
                  <a:lnTo>
                    <a:pt x="496" y="640"/>
                  </a:lnTo>
                  <a:lnTo>
                    <a:pt x="494" y="640"/>
                  </a:lnTo>
                  <a:lnTo>
                    <a:pt x="494" y="643"/>
                  </a:lnTo>
                  <a:lnTo>
                    <a:pt x="492" y="643"/>
                  </a:lnTo>
                  <a:lnTo>
                    <a:pt x="489" y="643"/>
                  </a:lnTo>
                  <a:lnTo>
                    <a:pt x="489" y="640"/>
                  </a:lnTo>
                  <a:lnTo>
                    <a:pt x="487" y="640"/>
                  </a:lnTo>
                  <a:lnTo>
                    <a:pt x="487" y="640"/>
                  </a:lnTo>
                  <a:lnTo>
                    <a:pt x="484" y="638"/>
                  </a:lnTo>
                  <a:lnTo>
                    <a:pt x="482" y="638"/>
                  </a:lnTo>
                  <a:lnTo>
                    <a:pt x="482" y="638"/>
                  </a:lnTo>
                  <a:lnTo>
                    <a:pt x="482" y="638"/>
                  </a:lnTo>
                  <a:lnTo>
                    <a:pt x="482" y="636"/>
                  </a:lnTo>
                  <a:lnTo>
                    <a:pt x="482" y="636"/>
                  </a:lnTo>
                  <a:lnTo>
                    <a:pt x="482" y="636"/>
                  </a:lnTo>
                  <a:lnTo>
                    <a:pt x="482" y="636"/>
                  </a:lnTo>
                  <a:lnTo>
                    <a:pt x="480" y="636"/>
                  </a:lnTo>
                  <a:lnTo>
                    <a:pt x="482" y="631"/>
                  </a:lnTo>
                  <a:lnTo>
                    <a:pt x="480" y="631"/>
                  </a:lnTo>
                  <a:lnTo>
                    <a:pt x="480" y="631"/>
                  </a:lnTo>
                  <a:lnTo>
                    <a:pt x="482" y="628"/>
                  </a:lnTo>
                  <a:lnTo>
                    <a:pt x="482" y="628"/>
                  </a:lnTo>
                  <a:lnTo>
                    <a:pt x="480" y="628"/>
                  </a:lnTo>
                  <a:lnTo>
                    <a:pt x="482" y="628"/>
                  </a:lnTo>
                  <a:lnTo>
                    <a:pt x="482" y="626"/>
                  </a:lnTo>
                  <a:lnTo>
                    <a:pt x="480" y="626"/>
                  </a:lnTo>
                  <a:lnTo>
                    <a:pt x="480" y="624"/>
                  </a:lnTo>
                  <a:lnTo>
                    <a:pt x="480" y="624"/>
                  </a:lnTo>
                  <a:lnTo>
                    <a:pt x="482" y="624"/>
                  </a:lnTo>
                  <a:lnTo>
                    <a:pt x="482" y="621"/>
                  </a:lnTo>
                  <a:lnTo>
                    <a:pt x="484" y="624"/>
                  </a:lnTo>
                  <a:lnTo>
                    <a:pt x="484" y="621"/>
                  </a:lnTo>
                  <a:lnTo>
                    <a:pt x="484" y="621"/>
                  </a:lnTo>
                  <a:lnTo>
                    <a:pt x="484" y="619"/>
                  </a:lnTo>
                  <a:lnTo>
                    <a:pt x="484" y="619"/>
                  </a:lnTo>
                  <a:lnTo>
                    <a:pt x="484" y="617"/>
                  </a:lnTo>
                  <a:lnTo>
                    <a:pt x="484" y="617"/>
                  </a:lnTo>
                  <a:lnTo>
                    <a:pt x="487" y="617"/>
                  </a:lnTo>
                  <a:lnTo>
                    <a:pt x="487" y="614"/>
                  </a:lnTo>
                  <a:lnTo>
                    <a:pt x="487" y="612"/>
                  </a:lnTo>
                  <a:lnTo>
                    <a:pt x="489" y="612"/>
                  </a:lnTo>
                  <a:lnTo>
                    <a:pt x="489" y="612"/>
                  </a:lnTo>
                  <a:lnTo>
                    <a:pt x="489" y="612"/>
                  </a:lnTo>
                  <a:lnTo>
                    <a:pt x="489" y="610"/>
                  </a:lnTo>
                  <a:lnTo>
                    <a:pt x="489" y="610"/>
                  </a:lnTo>
                  <a:lnTo>
                    <a:pt x="489" y="610"/>
                  </a:lnTo>
                  <a:lnTo>
                    <a:pt x="489" y="607"/>
                  </a:lnTo>
                  <a:lnTo>
                    <a:pt x="489" y="607"/>
                  </a:lnTo>
                  <a:lnTo>
                    <a:pt x="492" y="605"/>
                  </a:lnTo>
                  <a:lnTo>
                    <a:pt x="492" y="602"/>
                  </a:lnTo>
                  <a:lnTo>
                    <a:pt x="489" y="602"/>
                  </a:lnTo>
                  <a:lnTo>
                    <a:pt x="489" y="605"/>
                  </a:lnTo>
                  <a:lnTo>
                    <a:pt x="489" y="605"/>
                  </a:lnTo>
                  <a:lnTo>
                    <a:pt x="489" y="602"/>
                  </a:lnTo>
                  <a:lnTo>
                    <a:pt x="489" y="600"/>
                  </a:lnTo>
                  <a:lnTo>
                    <a:pt x="492" y="598"/>
                  </a:lnTo>
                  <a:lnTo>
                    <a:pt x="494" y="598"/>
                  </a:lnTo>
                  <a:lnTo>
                    <a:pt x="496" y="595"/>
                  </a:lnTo>
                  <a:lnTo>
                    <a:pt x="494" y="595"/>
                  </a:lnTo>
                  <a:lnTo>
                    <a:pt x="494" y="595"/>
                  </a:lnTo>
                  <a:lnTo>
                    <a:pt x="492" y="593"/>
                  </a:lnTo>
                  <a:lnTo>
                    <a:pt x="489" y="593"/>
                  </a:lnTo>
                  <a:lnTo>
                    <a:pt x="489" y="593"/>
                  </a:lnTo>
                  <a:lnTo>
                    <a:pt x="489" y="593"/>
                  </a:lnTo>
                  <a:lnTo>
                    <a:pt x="487" y="591"/>
                  </a:lnTo>
                  <a:lnTo>
                    <a:pt x="487" y="591"/>
                  </a:lnTo>
                  <a:lnTo>
                    <a:pt x="484" y="591"/>
                  </a:lnTo>
                  <a:lnTo>
                    <a:pt x="484" y="591"/>
                  </a:lnTo>
                  <a:lnTo>
                    <a:pt x="484" y="591"/>
                  </a:lnTo>
                  <a:lnTo>
                    <a:pt x="484" y="588"/>
                  </a:lnTo>
                  <a:lnTo>
                    <a:pt x="484" y="588"/>
                  </a:lnTo>
                  <a:lnTo>
                    <a:pt x="482" y="586"/>
                  </a:lnTo>
                  <a:lnTo>
                    <a:pt x="484" y="586"/>
                  </a:lnTo>
                  <a:lnTo>
                    <a:pt x="482" y="584"/>
                  </a:lnTo>
                  <a:lnTo>
                    <a:pt x="482" y="584"/>
                  </a:lnTo>
                  <a:lnTo>
                    <a:pt x="482" y="584"/>
                  </a:lnTo>
                  <a:lnTo>
                    <a:pt x="482" y="584"/>
                  </a:lnTo>
                  <a:lnTo>
                    <a:pt x="480" y="584"/>
                  </a:lnTo>
                  <a:lnTo>
                    <a:pt x="480" y="581"/>
                  </a:lnTo>
                  <a:lnTo>
                    <a:pt x="477" y="579"/>
                  </a:lnTo>
                  <a:lnTo>
                    <a:pt x="475" y="579"/>
                  </a:lnTo>
                  <a:lnTo>
                    <a:pt x="477" y="576"/>
                  </a:lnTo>
                  <a:lnTo>
                    <a:pt x="477" y="576"/>
                  </a:lnTo>
                  <a:lnTo>
                    <a:pt x="477" y="574"/>
                  </a:lnTo>
                  <a:lnTo>
                    <a:pt x="477" y="572"/>
                  </a:lnTo>
                  <a:lnTo>
                    <a:pt x="480" y="572"/>
                  </a:lnTo>
                  <a:lnTo>
                    <a:pt x="477" y="569"/>
                  </a:lnTo>
                  <a:lnTo>
                    <a:pt x="477" y="569"/>
                  </a:lnTo>
                  <a:lnTo>
                    <a:pt x="477" y="569"/>
                  </a:lnTo>
                  <a:lnTo>
                    <a:pt x="475" y="567"/>
                  </a:lnTo>
                  <a:lnTo>
                    <a:pt x="475" y="567"/>
                  </a:lnTo>
                  <a:lnTo>
                    <a:pt x="473" y="565"/>
                  </a:lnTo>
                  <a:lnTo>
                    <a:pt x="473" y="567"/>
                  </a:lnTo>
                  <a:lnTo>
                    <a:pt x="473" y="565"/>
                  </a:lnTo>
                  <a:lnTo>
                    <a:pt x="470" y="567"/>
                  </a:lnTo>
                  <a:lnTo>
                    <a:pt x="470" y="565"/>
                  </a:lnTo>
                  <a:lnTo>
                    <a:pt x="468" y="565"/>
                  </a:lnTo>
                  <a:lnTo>
                    <a:pt x="470" y="565"/>
                  </a:lnTo>
                  <a:lnTo>
                    <a:pt x="468" y="565"/>
                  </a:lnTo>
                  <a:lnTo>
                    <a:pt x="470" y="562"/>
                  </a:lnTo>
                  <a:lnTo>
                    <a:pt x="468" y="562"/>
                  </a:lnTo>
                  <a:lnTo>
                    <a:pt x="466" y="562"/>
                  </a:lnTo>
                  <a:lnTo>
                    <a:pt x="466" y="562"/>
                  </a:lnTo>
                  <a:lnTo>
                    <a:pt x="466" y="560"/>
                  </a:lnTo>
                  <a:lnTo>
                    <a:pt x="466" y="560"/>
                  </a:lnTo>
                  <a:lnTo>
                    <a:pt x="466" y="560"/>
                  </a:lnTo>
                  <a:lnTo>
                    <a:pt x="466" y="558"/>
                  </a:lnTo>
                  <a:lnTo>
                    <a:pt x="463" y="558"/>
                  </a:lnTo>
                  <a:lnTo>
                    <a:pt x="463" y="558"/>
                  </a:lnTo>
                  <a:lnTo>
                    <a:pt x="461" y="555"/>
                  </a:lnTo>
                  <a:lnTo>
                    <a:pt x="461" y="555"/>
                  </a:lnTo>
                  <a:lnTo>
                    <a:pt x="461" y="555"/>
                  </a:lnTo>
                  <a:lnTo>
                    <a:pt x="461" y="553"/>
                  </a:lnTo>
                  <a:lnTo>
                    <a:pt x="461" y="553"/>
                  </a:lnTo>
                  <a:lnTo>
                    <a:pt x="459" y="553"/>
                  </a:lnTo>
                  <a:lnTo>
                    <a:pt x="459" y="553"/>
                  </a:lnTo>
                  <a:lnTo>
                    <a:pt x="459" y="553"/>
                  </a:lnTo>
                  <a:lnTo>
                    <a:pt x="459" y="553"/>
                  </a:lnTo>
                  <a:lnTo>
                    <a:pt x="459" y="553"/>
                  </a:lnTo>
                  <a:lnTo>
                    <a:pt x="461" y="553"/>
                  </a:lnTo>
                  <a:lnTo>
                    <a:pt x="459" y="553"/>
                  </a:lnTo>
                  <a:lnTo>
                    <a:pt x="459" y="550"/>
                  </a:lnTo>
                  <a:lnTo>
                    <a:pt x="459" y="550"/>
                  </a:lnTo>
                  <a:lnTo>
                    <a:pt x="459" y="550"/>
                  </a:lnTo>
                  <a:lnTo>
                    <a:pt x="459" y="548"/>
                  </a:lnTo>
                  <a:lnTo>
                    <a:pt x="459" y="548"/>
                  </a:lnTo>
                  <a:lnTo>
                    <a:pt x="459" y="548"/>
                  </a:lnTo>
                  <a:lnTo>
                    <a:pt x="456" y="546"/>
                  </a:lnTo>
                  <a:lnTo>
                    <a:pt x="456" y="546"/>
                  </a:lnTo>
                  <a:lnTo>
                    <a:pt x="456" y="546"/>
                  </a:lnTo>
                  <a:lnTo>
                    <a:pt x="459" y="546"/>
                  </a:lnTo>
                  <a:lnTo>
                    <a:pt x="459" y="546"/>
                  </a:lnTo>
                  <a:lnTo>
                    <a:pt x="456" y="546"/>
                  </a:lnTo>
                  <a:lnTo>
                    <a:pt x="456" y="543"/>
                  </a:lnTo>
                  <a:lnTo>
                    <a:pt x="456" y="543"/>
                  </a:lnTo>
                  <a:lnTo>
                    <a:pt x="454" y="543"/>
                  </a:lnTo>
                  <a:lnTo>
                    <a:pt x="454" y="543"/>
                  </a:lnTo>
                  <a:lnTo>
                    <a:pt x="456" y="543"/>
                  </a:lnTo>
                  <a:lnTo>
                    <a:pt x="456" y="543"/>
                  </a:lnTo>
                  <a:lnTo>
                    <a:pt x="456" y="541"/>
                  </a:lnTo>
                  <a:lnTo>
                    <a:pt x="456" y="541"/>
                  </a:lnTo>
                  <a:lnTo>
                    <a:pt x="454" y="541"/>
                  </a:lnTo>
                  <a:lnTo>
                    <a:pt x="454" y="539"/>
                  </a:lnTo>
                  <a:lnTo>
                    <a:pt x="454" y="541"/>
                  </a:lnTo>
                  <a:lnTo>
                    <a:pt x="454" y="541"/>
                  </a:lnTo>
                  <a:lnTo>
                    <a:pt x="451" y="541"/>
                  </a:lnTo>
                  <a:lnTo>
                    <a:pt x="451" y="541"/>
                  </a:lnTo>
                  <a:lnTo>
                    <a:pt x="451" y="539"/>
                  </a:lnTo>
                  <a:lnTo>
                    <a:pt x="449" y="539"/>
                  </a:lnTo>
                  <a:lnTo>
                    <a:pt x="449" y="539"/>
                  </a:lnTo>
                  <a:lnTo>
                    <a:pt x="449" y="536"/>
                  </a:lnTo>
                  <a:lnTo>
                    <a:pt x="449" y="534"/>
                  </a:lnTo>
                  <a:lnTo>
                    <a:pt x="447" y="536"/>
                  </a:lnTo>
                  <a:lnTo>
                    <a:pt x="444" y="534"/>
                  </a:lnTo>
                  <a:lnTo>
                    <a:pt x="444" y="534"/>
                  </a:lnTo>
                  <a:lnTo>
                    <a:pt x="444" y="532"/>
                  </a:lnTo>
                  <a:lnTo>
                    <a:pt x="444" y="532"/>
                  </a:lnTo>
                  <a:lnTo>
                    <a:pt x="444" y="532"/>
                  </a:lnTo>
                  <a:lnTo>
                    <a:pt x="444" y="529"/>
                  </a:lnTo>
                  <a:lnTo>
                    <a:pt x="444" y="529"/>
                  </a:lnTo>
                  <a:lnTo>
                    <a:pt x="444" y="529"/>
                  </a:lnTo>
                  <a:lnTo>
                    <a:pt x="447" y="529"/>
                  </a:lnTo>
                  <a:lnTo>
                    <a:pt x="444" y="529"/>
                  </a:lnTo>
                  <a:lnTo>
                    <a:pt x="444" y="529"/>
                  </a:lnTo>
                  <a:lnTo>
                    <a:pt x="447" y="529"/>
                  </a:lnTo>
                  <a:lnTo>
                    <a:pt x="449" y="527"/>
                  </a:lnTo>
                  <a:lnTo>
                    <a:pt x="449" y="527"/>
                  </a:lnTo>
                  <a:lnTo>
                    <a:pt x="449" y="527"/>
                  </a:lnTo>
                  <a:lnTo>
                    <a:pt x="449" y="525"/>
                  </a:lnTo>
                  <a:lnTo>
                    <a:pt x="449" y="525"/>
                  </a:lnTo>
                  <a:lnTo>
                    <a:pt x="449" y="522"/>
                  </a:lnTo>
                  <a:lnTo>
                    <a:pt x="449" y="520"/>
                  </a:lnTo>
                  <a:lnTo>
                    <a:pt x="449" y="520"/>
                  </a:lnTo>
                  <a:lnTo>
                    <a:pt x="449" y="520"/>
                  </a:lnTo>
                  <a:lnTo>
                    <a:pt x="449" y="517"/>
                  </a:lnTo>
                  <a:lnTo>
                    <a:pt x="449" y="517"/>
                  </a:lnTo>
                  <a:lnTo>
                    <a:pt x="449" y="517"/>
                  </a:lnTo>
                  <a:lnTo>
                    <a:pt x="449" y="515"/>
                  </a:lnTo>
                  <a:lnTo>
                    <a:pt x="451" y="517"/>
                  </a:lnTo>
                  <a:lnTo>
                    <a:pt x="451" y="517"/>
                  </a:lnTo>
                  <a:lnTo>
                    <a:pt x="451" y="515"/>
                  </a:lnTo>
                  <a:lnTo>
                    <a:pt x="451" y="513"/>
                  </a:lnTo>
                  <a:lnTo>
                    <a:pt x="451" y="513"/>
                  </a:lnTo>
                  <a:lnTo>
                    <a:pt x="451" y="510"/>
                  </a:lnTo>
                  <a:lnTo>
                    <a:pt x="451" y="510"/>
                  </a:lnTo>
                  <a:lnTo>
                    <a:pt x="449" y="510"/>
                  </a:lnTo>
                  <a:lnTo>
                    <a:pt x="449" y="510"/>
                  </a:lnTo>
                  <a:lnTo>
                    <a:pt x="449" y="510"/>
                  </a:lnTo>
                  <a:lnTo>
                    <a:pt x="449" y="508"/>
                  </a:lnTo>
                  <a:lnTo>
                    <a:pt x="447" y="508"/>
                  </a:lnTo>
                  <a:lnTo>
                    <a:pt x="447" y="508"/>
                  </a:lnTo>
                  <a:lnTo>
                    <a:pt x="447" y="508"/>
                  </a:lnTo>
                  <a:lnTo>
                    <a:pt x="447" y="508"/>
                  </a:lnTo>
                  <a:lnTo>
                    <a:pt x="447" y="506"/>
                  </a:lnTo>
                  <a:lnTo>
                    <a:pt x="444" y="506"/>
                  </a:lnTo>
                  <a:lnTo>
                    <a:pt x="444" y="503"/>
                  </a:lnTo>
                  <a:lnTo>
                    <a:pt x="442" y="503"/>
                  </a:lnTo>
                  <a:lnTo>
                    <a:pt x="444" y="503"/>
                  </a:lnTo>
                  <a:lnTo>
                    <a:pt x="444" y="501"/>
                  </a:lnTo>
                  <a:lnTo>
                    <a:pt x="442" y="501"/>
                  </a:lnTo>
                  <a:lnTo>
                    <a:pt x="442" y="501"/>
                  </a:lnTo>
                  <a:lnTo>
                    <a:pt x="442" y="501"/>
                  </a:lnTo>
                  <a:lnTo>
                    <a:pt x="442" y="499"/>
                  </a:lnTo>
                  <a:lnTo>
                    <a:pt x="442" y="499"/>
                  </a:lnTo>
                  <a:lnTo>
                    <a:pt x="444" y="496"/>
                  </a:lnTo>
                  <a:lnTo>
                    <a:pt x="444" y="494"/>
                  </a:lnTo>
                  <a:lnTo>
                    <a:pt x="444" y="494"/>
                  </a:lnTo>
                  <a:lnTo>
                    <a:pt x="444" y="491"/>
                  </a:lnTo>
                  <a:lnTo>
                    <a:pt x="444" y="491"/>
                  </a:lnTo>
                  <a:lnTo>
                    <a:pt x="444" y="489"/>
                  </a:lnTo>
                  <a:lnTo>
                    <a:pt x="442" y="489"/>
                  </a:lnTo>
                  <a:lnTo>
                    <a:pt x="442" y="487"/>
                  </a:lnTo>
                  <a:lnTo>
                    <a:pt x="442" y="487"/>
                  </a:lnTo>
                  <a:lnTo>
                    <a:pt x="442" y="487"/>
                  </a:lnTo>
                  <a:lnTo>
                    <a:pt x="442" y="484"/>
                  </a:lnTo>
                  <a:lnTo>
                    <a:pt x="442" y="484"/>
                  </a:lnTo>
                  <a:lnTo>
                    <a:pt x="442" y="482"/>
                  </a:lnTo>
                  <a:lnTo>
                    <a:pt x="444" y="482"/>
                  </a:lnTo>
                  <a:lnTo>
                    <a:pt x="444" y="482"/>
                  </a:lnTo>
                  <a:lnTo>
                    <a:pt x="444" y="482"/>
                  </a:lnTo>
                  <a:lnTo>
                    <a:pt x="444" y="480"/>
                  </a:lnTo>
                  <a:lnTo>
                    <a:pt x="444" y="480"/>
                  </a:lnTo>
                  <a:lnTo>
                    <a:pt x="444" y="477"/>
                  </a:lnTo>
                  <a:lnTo>
                    <a:pt x="447" y="477"/>
                  </a:lnTo>
                  <a:lnTo>
                    <a:pt x="447" y="477"/>
                  </a:lnTo>
                  <a:lnTo>
                    <a:pt x="449" y="477"/>
                  </a:lnTo>
                  <a:lnTo>
                    <a:pt x="449" y="477"/>
                  </a:lnTo>
                  <a:lnTo>
                    <a:pt x="449" y="477"/>
                  </a:lnTo>
                  <a:lnTo>
                    <a:pt x="449" y="475"/>
                  </a:lnTo>
                  <a:lnTo>
                    <a:pt x="447" y="475"/>
                  </a:lnTo>
                  <a:lnTo>
                    <a:pt x="447" y="475"/>
                  </a:lnTo>
                  <a:lnTo>
                    <a:pt x="447" y="475"/>
                  </a:lnTo>
                  <a:lnTo>
                    <a:pt x="444" y="473"/>
                  </a:lnTo>
                  <a:lnTo>
                    <a:pt x="444" y="473"/>
                  </a:lnTo>
                  <a:lnTo>
                    <a:pt x="444" y="473"/>
                  </a:lnTo>
                  <a:lnTo>
                    <a:pt x="444" y="473"/>
                  </a:lnTo>
                  <a:lnTo>
                    <a:pt x="444" y="473"/>
                  </a:lnTo>
                  <a:lnTo>
                    <a:pt x="442" y="473"/>
                  </a:lnTo>
                  <a:lnTo>
                    <a:pt x="442" y="473"/>
                  </a:lnTo>
                  <a:lnTo>
                    <a:pt x="442" y="470"/>
                  </a:lnTo>
                  <a:lnTo>
                    <a:pt x="444" y="470"/>
                  </a:lnTo>
                  <a:lnTo>
                    <a:pt x="444" y="470"/>
                  </a:lnTo>
                  <a:lnTo>
                    <a:pt x="447" y="470"/>
                  </a:lnTo>
                  <a:lnTo>
                    <a:pt x="444" y="470"/>
                  </a:lnTo>
                  <a:lnTo>
                    <a:pt x="444" y="468"/>
                  </a:lnTo>
                  <a:lnTo>
                    <a:pt x="442" y="465"/>
                  </a:lnTo>
                  <a:lnTo>
                    <a:pt x="440" y="465"/>
                  </a:lnTo>
                  <a:lnTo>
                    <a:pt x="440" y="465"/>
                  </a:lnTo>
                  <a:lnTo>
                    <a:pt x="440" y="463"/>
                  </a:lnTo>
                  <a:lnTo>
                    <a:pt x="442" y="465"/>
                  </a:lnTo>
                  <a:lnTo>
                    <a:pt x="442" y="463"/>
                  </a:lnTo>
                  <a:lnTo>
                    <a:pt x="442" y="461"/>
                  </a:lnTo>
                  <a:lnTo>
                    <a:pt x="442" y="461"/>
                  </a:lnTo>
                  <a:lnTo>
                    <a:pt x="442" y="456"/>
                  </a:lnTo>
                  <a:lnTo>
                    <a:pt x="440" y="454"/>
                  </a:lnTo>
                  <a:lnTo>
                    <a:pt x="440" y="454"/>
                  </a:lnTo>
                  <a:lnTo>
                    <a:pt x="440" y="451"/>
                  </a:lnTo>
                  <a:lnTo>
                    <a:pt x="440" y="451"/>
                  </a:lnTo>
                  <a:lnTo>
                    <a:pt x="437" y="451"/>
                  </a:lnTo>
                  <a:lnTo>
                    <a:pt x="437" y="449"/>
                  </a:lnTo>
                  <a:lnTo>
                    <a:pt x="437" y="447"/>
                  </a:lnTo>
                  <a:lnTo>
                    <a:pt x="435" y="444"/>
                  </a:lnTo>
                  <a:lnTo>
                    <a:pt x="435" y="442"/>
                  </a:lnTo>
                  <a:lnTo>
                    <a:pt x="435" y="442"/>
                  </a:lnTo>
                  <a:lnTo>
                    <a:pt x="433" y="442"/>
                  </a:lnTo>
                  <a:lnTo>
                    <a:pt x="433" y="442"/>
                  </a:lnTo>
                  <a:lnTo>
                    <a:pt x="433" y="439"/>
                  </a:lnTo>
                  <a:lnTo>
                    <a:pt x="430" y="442"/>
                  </a:lnTo>
                  <a:lnTo>
                    <a:pt x="430" y="439"/>
                  </a:lnTo>
                  <a:lnTo>
                    <a:pt x="428" y="437"/>
                  </a:lnTo>
                  <a:lnTo>
                    <a:pt x="428" y="437"/>
                  </a:lnTo>
                  <a:lnTo>
                    <a:pt x="430" y="435"/>
                  </a:lnTo>
                  <a:lnTo>
                    <a:pt x="428" y="435"/>
                  </a:lnTo>
                  <a:lnTo>
                    <a:pt x="428" y="432"/>
                  </a:lnTo>
                  <a:lnTo>
                    <a:pt x="425" y="432"/>
                  </a:lnTo>
                  <a:lnTo>
                    <a:pt x="423" y="435"/>
                  </a:lnTo>
                  <a:lnTo>
                    <a:pt x="423" y="432"/>
                  </a:lnTo>
                  <a:lnTo>
                    <a:pt x="421" y="432"/>
                  </a:lnTo>
                  <a:lnTo>
                    <a:pt x="421" y="432"/>
                  </a:lnTo>
                  <a:lnTo>
                    <a:pt x="418" y="432"/>
                  </a:lnTo>
                  <a:lnTo>
                    <a:pt x="418" y="432"/>
                  </a:lnTo>
                  <a:lnTo>
                    <a:pt x="418" y="430"/>
                  </a:lnTo>
                  <a:lnTo>
                    <a:pt x="416" y="430"/>
                  </a:lnTo>
                  <a:lnTo>
                    <a:pt x="416" y="430"/>
                  </a:lnTo>
                  <a:lnTo>
                    <a:pt x="416" y="428"/>
                  </a:lnTo>
                  <a:lnTo>
                    <a:pt x="414" y="430"/>
                  </a:lnTo>
                  <a:lnTo>
                    <a:pt x="411" y="430"/>
                  </a:lnTo>
                  <a:lnTo>
                    <a:pt x="411" y="428"/>
                  </a:lnTo>
                  <a:lnTo>
                    <a:pt x="409" y="428"/>
                  </a:lnTo>
                  <a:lnTo>
                    <a:pt x="409" y="428"/>
                  </a:lnTo>
                  <a:lnTo>
                    <a:pt x="407" y="428"/>
                  </a:lnTo>
                  <a:lnTo>
                    <a:pt x="404" y="428"/>
                  </a:lnTo>
                  <a:lnTo>
                    <a:pt x="404" y="425"/>
                  </a:lnTo>
                  <a:lnTo>
                    <a:pt x="404" y="423"/>
                  </a:lnTo>
                  <a:lnTo>
                    <a:pt x="407" y="421"/>
                  </a:lnTo>
                  <a:lnTo>
                    <a:pt x="407" y="421"/>
                  </a:lnTo>
                  <a:lnTo>
                    <a:pt x="407" y="421"/>
                  </a:lnTo>
                  <a:lnTo>
                    <a:pt x="407" y="421"/>
                  </a:lnTo>
                  <a:lnTo>
                    <a:pt x="404" y="418"/>
                  </a:lnTo>
                  <a:lnTo>
                    <a:pt x="402" y="418"/>
                  </a:lnTo>
                  <a:lnTo>
                    <a:pt x="399" y="418"/>
                  </a:lnTo>
                  <a:lnTo>
                    <a:pt x="397" y="416"/>
                  </a:lnTo>
                  <a:lnTo>
                    <a:pt x="397" y="413"/>
                  </a:lnTo>
                  <a:lnTo>
                    <a:pt x="397" y="413"/>
                  </a:lnTo>
                  <a:lnTo>
                    <a:pt x="399" y="411"/>
                  </a:lnTo>
                  <a:lnTo>
                    <a:pt x="397" y="409"/>
                  </a:lnTo>
                  <a:lnTo>
                    <a:pt x="397" y="409"/>
                  </a:lnTo>
                  <a:lnTo>
                    <a:pt x="395" y="406"/>
                  </a:lnTo>
                  <a:lnTo>
                    <a:pt x="395" y="406"/>
                  </a:lnTo>
                  <a:lnTo>
                    <a:pt x="395" y="409"/>
                  </a:lnTo>
                  <a:lnTo>
                    <a:pt x="395" y="409"/>
                  </a:lnTo>
                  <a:lnTo>
                    <a:pt x="395" y="411"/>
                  </a:lnTo>
                  <a:lnTo>
                    <a:pt x="395" y="411"/>
                  </a:lnTo>
                  <a:lnTo>
                    <a:pt x="392" y="411"/>
                  </a:lnTo>
                  <a:lnTo>
                    <a:pt x="392" y="409"/>
                  </a:lnTo>
                  <a:lnTo>
                    <a:pt x="390" y="409"/>
                  </a:lnTo>
                  <a:lnTo>
                    <a:pt x="388" y="406"/>
                  </a:lnTo>
                  <a:lnTo>
                    <a:pt x="388" y="409"/>
                  </a:lnTo>
                  <a:lnTo>
                    <a:pt x="385" y="411"/>
                  </a:lnTo>
                  <a:lnTo>
                    <a:pt x="383" y="409"/>
                  </a:lnTo>
                  <a:lnTo>
                    <a:pt x="381" y="409"/>
                  </a:lnTo>
                  <a:lnTo>
                    <a:pt x="381" y="411"/>
                  </a:lnTo>
                  <a:lnTo>
                    <a:pt x="378" y="411"/>
                  </a:lnTo>
                  <a:lnTo>
                    <a:pt x="378" y="411"/>
                  </a:lnTo>
                  <a:lnTo>
                    <a:pt x="376" y="411"/>
                  </a:lnTo>
                  <a:lnTo>
                    <a:pt x="373" y="413"/>
                  </a:lnTo>
                  <a:lnTo>
                    <a:pt x="371" y="413"/>
                  </a:lnTo>
                  <a:lnTo>
                    <a:pt x="369" y="413"/>
                  </a:lnTo>
                  <a:lnTo>
                    <a:pt x="366" y="413"/>
                  </a:lnTo>
                  <a:lnTo>
                    <a:pt x="364" y="413"/>
                  </a:lnTo>
                  <a:lnTo>
                    <a:pt x="364" y="413"/>
                  </a:lnTo>
                  <a:lnTo>
                    <a:pt x="364" y="413"/>
                  </a:lnTo>
                  <a:lnTo>
                    <a:pt x="362" y="411"/>
                  </a:lnTo>
                  <a:lnTo>
                    <a:pt x="359" y="411"/>
                  </a:lnTo>
                  <a:lnTo>
                    <a:pt x="357" y="411"/>
                  </a:lnTo>
                  <a:lnTo>
                    <a:pt x="357" y="411"/>
                  </a:lnTo>
                  <a:lnTo>
                    <a:pt x="355" y="413"/>
                  </a:lnTo>
                  <a:lnTo>
                    <a:pt x="352" y="413"/>
                  </a:lnTo>
                  <a:lnTo>
                    <a:pt x="350" y="413"/>
                  </a:lnTo>
                  <a:lnTo>
                    <a:pt x="350" y="411"/>
                  </a:lnTo>
                  <a:lnTo>
                    <a:pt x="347" y="409"/>
                  </a:lnTo>
                  <a:lnTo>
                    <a:pt x="347" y="409"/>
                  </a:lnTo>
                  <a:lnTo>
                    <a:pt x="345" y="406"/>
                  </a:lnTo>
                  <a:lnTo>
                    <a:pt x="343" y="409"/>
                  </a:lnTo>
                  <a:lnTo>
                    <a:pt x="343" y="409"/>
                  </a:lnTo>
                  <a:lnTo>
                    <a:pt x="340" y="409"/>
                  </a:lnTo>
                  <a:lnTo>
                    <a:pt x="340" y="411"/>
                  </a:lnTo>
                  <a:lnTo>
                    <a:pt x="340" y="411"/>
                  </a:lnTo>
                  <a:lnTo>
                    <a:pt x="340" y="413"/>
                  </a:lnTo>
                  <a:lnTo>
                    <a:pt x="338" y="411"/>
                  </a:lnTo>
                  <a:lnTo>
                    <a:pt x="336" y="413"/>
                  </a:lnTo>
                  <a:lnTo>
                    <a:pt x="333" y="411"/>
                  </a:lnTo>
                  <a:lnTo>
                    <a:pt x="331" y="411"/>
                  </a:lnTo>
                  <a:lnTo>
                    <a:pt x="331" y="413"/>
                  </a:lnTo>
                  <a:lnTo>
                    <a:pt x="329" y="411"/>
                  </a:lnTo>
                  <a:lnTo>
                    <a:pt x="329" y="411"/>
                  </a:lnTo>
                  <a:lnTo>
                    <a:pt x="326" y="409"/>
                  </a:lnTo>
                  <a:lnTo>
                    <a:pt x="326" y="409"/>
                  </a:lnTo>
                  <a:lnTo>
                    <a:pt x="324" y="409"/>
                  </a:lnTo>
                  <a:lnTo>
                    <a:pt x="321" y="406"/>
                  </a:lnTo>
                  <a:lnTo>
                    <a:pt x="319" y="409"/>
                  </a:lnTo>
                  <a:lnTo>
                    <a:pt x="317" y="409"/>
                  </a:lnTo>
                  <a:lnTo>
                    <a:pt x="314" y="409"/>
                  </a:lnTo>
                  <a:lnTo>
                    <a:pt x="312" y="409"/>
                  </a:lnTo>
                  <a:lnTo>
                    <a:pt x="312" y="406"/>
                  </a:lnTo>
                  <a:lnTo>
                    <a:pt x="310" y="406"/>
                  </a:lnTo>
                  <a:lnTo>
                    <a:pt x="310" y="406"/>
                  </a:lnTo>
                  <a:lnTo>
                    <a:pt x="307" y="406"/>
                  </a:lnTo>
                  <a:lnTo>
                    <a:pt x="307" y="409"/>
                  </a:lnTo>
                  <a:lnTo>
                    <a:pt x="305" y="413"/>
                  </a:lnTo>
                  <a:lnTo>
                    <a:pt x="303" y="416"/>
                  </a:lnTo>
                  <a:lnTo>
                    <a:pt x="300" y="416"/>
                  </a:lnTo>
                  <a:lnTo>
                    <a:pt x="300" y="416"/>
                  </a:lnTo>
                  <a:lnTo>
                    <a:pt x="298" y="413"/>
                  </a:lnTo>
                  <a:lnTo>
                    <a:pt x="298" y="413"/>
                  </a:lnTo>
                  <a:lnTo>
                    <a:pt x="296" y="413"/>
                  </a:lnTo>
                  <a:lnTo>
                    <a:pt x="293" y="413"/>
                  </a:lnTo>
                  <a:lnTo>
                    <a:pt x="293" y="411"/>
                  </a:lnTo>
                  <a:lnTo>
                    <a:pt x="293" y="406"/>
                  </a:lnTo>
                  <a:lnTo>
                    <a:pt x="293" y="406"/>
                  </a:lnTo>
                  <a:lnTo>
                    <a:pt x="293" y="406"/>
                  </a:lnTo>
                  <a:lnTo>
                    <a:pt x="291" y="404"/>
                  </a:lnTo>
                  <a:lnTo>
                    <a:pt x="288" y="402"/>
                  </a:lnTo>
                  <a:lnTo>
                    <a:pt x="288" y="402"/>
                  </a:lnTo>
                  <a:lnTo>
                    <a:pt x="286" y="397"/>
                  </a:lnTo>
                  <a:lnTo>
                    <a:pt x="281" y="395"/>
                  </a:lnTo>
                  <a:lnTo>
                    <a:pt x="281" y="392"/>
                  </a:lnTo>
                  <a:lnTo>
                    <a:pt x="277" y="392"/>
                  </a:lnTo>
                  <a:lnTo>
                    <a:pt x="277" y="392"/>
                  </a:lnTo>
                  <a:lnTo>
                    <a:pt x="274" y="395"/>
                  </a:lnTo>
                  <a:lnTo>
                    <a:pt x="274" y="395"/>
                  </a:lnTo>
                  <a:lnTo>
                    <a:pt x="272" y="392"/>
                  </a:lnTo>
                  <a:lnTo>
                    <a:pt x="270" y="392"/>
                  </a:lnTo>
                  <a:lnTo>
                    <a:pt x="267" y="392"/>
                  </a:lnTo>
                  <a:lnTo>
                    <a:pt x="267" y="392"/>
                  </a:lnTo>
                  <a:lnTo>
                    <a:pt x="260" y="390"/>
                  </a:lnTo>
                  <a:lnTo>
                    <a:pt x="253" y="390"/>
                  </a:lnTo>
                  <a:lnTo>
                    <a:pt x="248" y="388"/>
                  </a:lnTo>
                  <a:lnTo>
                    <a:pt x="246" y="385"/>
                  </a:lnTo>
                  <a:lnTo>
                    <a:pt x="244" y="385"/>
                  </a:lnTo>
                  <a:lnTo>
                    <a:pt x="241" y="383"/>
                  </a:lnTo>
                  <a:lnTo>
                    <a:pt x="239" y="383"/>
                  </a:lnTo>
                  <a:lnTo>
                    <a:pt x="236" y="383"/>
                  </a:lnTo>
                  <a:lnTo>
                    <a:pt x="236" y="378"/>
                  </a:lnTo>
                  <a:lnTo>
                    <a:pt x="236" y="378"/>
                  </a:lnTo>
                  <a:lnTo>
                    <a:pt x="234" y="378"/>
                  </a:lnTo>
                  <a:lnTo>
                    <a:pt x="232" y="376"/>
                  </a:lnTo>
                  <a:lnTo>
                    <a:pt x="229" y="378"/>
                  </a:lnTo>
                  <a:lnTo>
                    <a:pt x="229" y="378"/>
                  </a:lnTo>
                  <a:lnTo>
                    <a:pt x="225" y="376"/>
                  </a:lnTo>
                  <a:lnTo>
                    <a:pt x="222" y="376"/>
                  </a:lnTo>
                  <a:lnTo>
                    <a:pt x="220" y="376"/>
                  </a:lnTo>
                  <a:lnTo>
                    <a:pt x="218" y="376"/>
                  </a:lnTo>
                  <a:lnTo>
                    <a:pt x="215" y="376"/>
                  </a:lnTo>
                  <a:lnTo>
                    <a:pt x="213" y="373"/>
                  </a:lnTo>
                  <a:lnTo>
                    <a:pt x="210" y="373"/>
                  </a:lnTo>
                  <a:lnTo>
                    <a:pt x="208" y="378"/>
                  </a:lnTo>
                  <a:lnTo>
                    <a:pt x="206" y="378"/>
                  </a:lnTo>
                  <a:lnTo>
                    <a:pt x="203" y="380"/>
                  </a:lnTo>
                  <a:lnTo>
                    <a:pt x="201" y="380"/>
                  </a:lnTo>
                  <a:lnTo>
                    <a:pt x="201" y="378"/>
                  </a:lnTo>
                  <a:lnTo>
                    <a:pt x="196" y="380"/>
                  </a:lnTo>
                  <a:lnTo>
                    <a:pt x="196" y="380"/>
                  </a:lnTo>
                  <a:lnTo>
                    <a:pt x="194" y="380"/>
                  </a:lnTo>
                  <a:lnTo>
                    <a:pt x="192" y="378"/>
                  </a:lnTo>
                  <a:lnTo>
                    <a:pt x="189" y="376"/>
                  </a:lnTo>
                  <a:lnTo>
                    <a:pt x="187" y="376"/>
                  </a:lnTo>
                  <a:lnTo>
                    <a:pt x="182" y="376"/>
                  </a:lnTo>
                  <a:lnTo>
                    <a:pt x="182" y="376"/>
                  </a:lnTo>
                  <a:lnTo>
                    <a:pt x="177" y="378"/>
                  </a:lnTo>
                  <a:lnTo>
                    <a:pt x="175" y="378"/>
                  </a:lnTo>
                  <a:lnTo>
                    <a:pt x="175" y="376"/>
                  </a:lnTo>
                  <a:lnTo>
                    <a:pt x="175" y="371"/>
                  </a:lnTo>
                  <a:lnTo>
                    <a:pt x="175" y="371"/>
                  </a:lnTo>
                  <a:lnTo>
                    <a:pt x="173" y="371"/>
                  </a:lnTo>
                  <a:lnTo>
                    <a:pt x="173" y="371"/>
                  </a:lnTo>
                  <a:lnTo>
                    <a:pt x="170" y="371"/>
                  </a:lnTo>
                  <a:lnTo>
                    <a:pt x="168" y="369"/>
                  </a:lnTo>
                  <a:lnTo>
                    <a:pt x="158" y="371"/>
                  </a:lnTo>
                  <a:lnTo>
                    <a:pt x="158" y="371"/>
                  </a:lnTo>
                  <a:lnTo>
                    <a:pt x="156" y="371"/>
                  </a:lnTo>
                  <a:lnTo>
                    <a:pt x="154" y="369"/>
                  </a:lnTo>
                  <a:lnTo>
                    <a:pt x="154" y="369"/>
                  </a:lnTo>
                  <a:lnTo>
                    <a:pt x="154" y="369"/>
                  </a:lnTo>
                  <a:lnTo>
                    <a:pt x="147" y="364"/>
                  </a:lnTo>
                  <a:lnTo>
                    <a:pt x="144" y="364"/>
                  </a:lnTo>
                  <a:lnTo>
                    <a:pt x="140" y="362"/>
                  </a:lnTo>
                  <a:lnTo>
                    <a:pt x="137" y="359"/>
                  </a:lnTo>
                  <a:lnTo>
                    <a:pt x="137" y="359"/>
                  </a:lnTo>
                  <a:lnTo>
                    <a:pt x="133" y="359"/>
                  </a:lnTo>
                  <a:lnTo>
                    <a:pt x="128" y="357"/>
                  </a:lnTo>
                  <a:lnTo>
                    <a:pt x="128" y="357"/>
                  </a:lnTo>
                  <a:lnTo>
                    <a:pt x="125" y="357"/>
                  </a:lnTo>
                  <a:lnTo>
                    <a:pt x="123" y="357"/>
                  </a:lnTo>
                  <a:lnTo>
                    <a:pt x="123" y="359"/>
                  </a:lnTo>
                  <a:lnTo>
                    <a:pt x="121" y="362"/>
                  </a:lnTo>
                  <a:lnTo>
                    <a:pt x="121" y="364"/>
                  </a:lnTo>
                  <a:lnTo>
                    <a:pt x="121" y="364"/>
                  </a:lnTo>
                  <a:lnTo>
                    <a:pt x="121" y="369"/>
                  </a:lnTo>
                  <a:lnTo>
                    <a:pt x="121" y="369"/>
                  </a:lnTo>
                  <a:lnTo>
                    <a:pt x="121" y="373"/>
                  </a:lnTo>
                  <a:lnTo>
                    <a:pt x="118" y="373"/>
                  </a:lnTo>
                  <a:lnTo>
                    <a:pt x="116" y="376"/>
                  </a:lnTo>
                  <a:lnTo>
                    <a:pt x="111" y="378"/>
                  </a:lnTo>
                  <a:lnTo>
                    <a:pt x="111" y="378"/>
                  </a:lnTo>
                  <a:lnTo>
                    <a:pt x="111" y="376"/>
                  </a:lnTo>
                  <a:lnTo>
                    <a:pt x="111" y="373"/>
                  </a:lnTo>
                  <a:lnTo>
                    <a:pt x="109" y="371"/>
                  </a:lnTo>
                  <a:lnTo>
                    <a:pt x="109" y="369"/>
                  </a:lnTo>
                  <a:lnTo>
                    <a:pt x="104" y="371"/>
                  </a:lnTo>
                  <a:lnTo>
                    <a:pt x="104" y="371"/>
                  </a:lnTo>
                  <a:lnTo>
                    <a:pt x="102" y="373"/>
                  </a:lnTo>
                  <a:lnTo>
                    <a:pt x="99" y="371"/>
                  </a:lnTo>
                  <a:lnTo>
                    <a:pt x="92" y="371"/>
                  </a:lnTo>
                  <a:lnTo>
                    <a:pt x="90" y="371"/>
                  </a:lnTo>
                  <a:lnTo>
                    <a:pt x="88" y="369"/>
                  </a:lnTo>
                  <a:lnTo>
                    <a:pt x="85" y="369"/>
                  </a:lnTo>
                  <a:lnTo>
                    <a:pt x="85" y="369"/>
                  </a:lnTo>
                  <a:lnTo>
                    <a:pt x="83" y="369"/>
                  </a:lnTo>
                  <a:lnTo>
                    <a:pt x="83" y="369"/>
                  </a:lnTo>
                  <a:lnTo>
                    <a:pt x="83" y="369"/>
                  </a:lnTo>
                  <a:lnTo>
                    <a:pt x="78" y="371"/>
                  </a:lnTo>
                  <a:lnTo>
                    <a:pt x="76" y="371"/>
                  </a:lnTo>
                  <a:lnTo>
                    <a:pt x="73" y="371"/>
                  </a:lnTo>
                  <a:lnTo>
                    <a:pt x="73" y="369"/>
                  </a:lnTo>
                  <a:lnTo>
                    <a:pt x="71" y="369"/>
                  </a:lnTo>
                  <a:lnTo>
                    <a:pt x="69" y="366"/>
                  </a:lnTo>
                  <a:lnTo>
                    <a:pt x="66" y="364"/>
                  </a:lnTo>
                  <a:lnTo>
                    <a:pt x="66" y="364"/>
                  </a:lnTo>
                  <a:lnTo>
                    <a:pt x="64" y="364"/>
                  </a:lnTo>
                  <a:lnTo>
                    <a:pt x="57" y="369"/>
                  </a:lnTo>
                  <a:lnTo>
                    <a:pt x="50" y="371"/>
                  </a:lnTo>
                  <a:lnTo>
                    <a:pt x="47" y="371"/>
                  </a:lnTo>
                  <a:lnTo>
                    <a:pt x="45" y="369"/>
                  </a:lnTo>
                  <a:lnTo>
                    <a:pt x="40" y="369"/>
                  </a:lnTo>
                  <a:lnTo>
                    <a:pt x="40" y="369"/>
                  </a:lnTo>
                  <a:lnTo>
                    <a:pt x="40" y="369"/>
                  </a:lnTo>
                  <a:lnTo>
                    <a:pt x="38" y="369"/>
                  </a:lnTo>
                  <a:lnTo>
                    <a:pt x="33" y="369"/>
                  </a:lnTo>
                  <a:lnTo>
                    <a:pt x="31" y="369"/>
                  </a:lnTo>
                  <a:lnTo>
                    <a:pt x="26" y="364"/>
                  </a:lnTo>
                  <a:lnTo>
                    <a:pt x="21" y="364"/>
                  </a:lnTo>
                  <a:lnTo>
                    <a:pt x="17" y="364"/>
                  </a:lnTo>
                  <a:lnTo>
                    <a:pt x="17" y="364"/>
                  </a:lnTo>
                  <a:lnTo>
                    <a:pt x="14" y="366"/>
                  </a:lnTo>
                  <a:lnTo>
                    <a:pt x="12" y="366"/>
                  </a:lnTo>
                  <a:lnTo>
                    <a:pt x="12" y="369"/>
                  </a:lnTo>
                  <a:lnTo>
                    <a:pt x="10" y="369"/>
                  </a:lnTo>
                  <a:lnTo>
                    <a:pt x="10" y="371"/>
                  </a:lnTo>
                  <a:lnTo>
                    <a:pt x="7" y="371"/>
                  </a:lnTo>
                  <a:lnTo>
                    <a:pt x="3" y="373"/>
                  </a:lnTo>
                  <a:lnTo>
                    <a:pt x="3" y="376"/>
                  </a:lnTo>
                  <a:lnTo>
                    <a:pt x="0" y="373"/>
                  </a:lnTo>
                  <a:lnTo>
                    <a:pt x="0" y="371"/>
                  </a:lnTo>
                  <a:close/>
                  <a:moveTo>
                    <a:pt x="1047" y="473"/>
                  </a:moveTo>
                  <a:lnTo>
                    <a:pt x="1047" y="473"/>
                  </a:lnTo>
                  <a:lnTo>
                    <a:pt x="1047" y="473"/>
                  </a:lnTo>
                  <a:lnTo>
                    <a:pt x="1047" y="473"/>
                  </a:lnTo>
                  <a:lnTo>
                    <a:pt x="1047" y="473"/>
                  </a:lnTo>
                  <a:lnTo>
                    <a:pt x="1047" y="473"/>
                  </a:lnTo>
                  <a:lnTo>
                    <a:pt x="1047" y="473"/>
                  </a:lnTo>
                  <a:close/>
                  <a:moveTo>
                    <a:pt x="1025" y="517"/>
                  </a:moveTo>
                  <a:lnTo>
                    <a:pt x="1025" y="517"/>
                  </a:lnTo>
                  <a:lnTo>
                    <a:pt x="1025" y="517"/>
                  </a:lnTo>
                  <a:lnTo>
                    <a:pt x="1025" y="517"/>
                  </a:lnTo>
                  <a:lnTo>
                    <a:pt x="1028" y="517"/>
                  </a:lnTo>
                  <a:lnTo>
                    <a:pt x="1025" y="517"/>
                  </a:lnTo>
                  <a:lnTo>
                    <a:pt x="1028" y="517"/>
                  </a:lnTo>
                  <a:lnTo>
                    <a:pt x="1028" y="520"/>
                  </a:lnTo>
                  <a:lnTo>
                    <a:pt x="1025" y="520"/>
                  </a:lnTo>
                  <a:lnTo>
                    <a:pt x="1025" y="520"/>
                  </a:lnTo>
                  <a:lnTo>
                    <a:pt x="1025" y="517"/>
                  </a:lnTo>
                  <a:lnTo>
                    <a:pt x="1025" y="517"/>
                  </a:lnTo>
                  <a:close/>
                  <a:moveTo>
                    <a:pt x="898" y="529"/>
                  </a:moveTo>
                  <a:lnTo>
                    <a:pt x="898" y="527"/>
                  </a:lnTo>
                  <a:lnTo>
                    <a:pt x="898" y="529"/>
                  </a:lnTo>
                  <a:close/>
                  <a:moveTo>
                    <a:pt x="1002" y="489"/>
                  </a:moveTo>
                  <a:lnTo>
                    <a:pt x="1002" y="489"/>
                  </a:lnTo>
                  <a:lnTo>
                    <a:pt x="1002" y="489"/>
                  </a:lnTo>
                  <a:close/>
                  <a:moveTo>
                    <a:pt x="1023" y="489"/>
                  </a:moveTo>
                  <a:lnTo>
                    <a:pt x="1023" y="489"/>
                  </a:lnTo>
                  <a:lnTo>
                    <a:pt x="1023" y="487"/>
                  </a:lnTo>
                  <a:lnTo>
                    <a:pt x="1023" y="489"/>
                  </a:lnTo>
                  <a:lnTo>
                    <a:pt x="1023" y="489"/>
                  </a:lnTo>
                  <a:lnTo>
                    <a:pt x="1023" y="489"/>
                  </a:lnTo>
                  <a:close/>
                  <a:moveTo>
                    <a:pt x="1040" y="465"/>
                  </a:moveTo>
                  <a:lnTo>
                    <a:pt x="1040" y="465"/>
                  </a:lnTo>
                  <a:lnTo>
                    <a:pt x="1040" y="465"/>
                  </a:lnTo>
                  <a:close/>
                  <a:moveTo>
                    <a:pt x="988" y="496"/>
                  </a:moveTo>
                  <a:lnTo>
                    <a:pt x="988" y="496"/>
                  </a:lnTo>
                  <a:lnTo>
                    <a:pt x="988" y="496"/>
                  </a:lnTo>
                  <a:close/>
                  <a:moveTo>
                    <a:pt x="990" y="541"/>
                  </a:moveTo>
                  <a:lnTo>
                    <a:pt x="990" y="539"/>
                  </a:lnTo>
                  <a:lnTo>
                    <a:pt x="990" y="541"/>
                  </a:lnTo>
                  <a:close/>
                  <a:moveTo>
                    <a:pt x="1040" y="475"/>
                  </a:moveTo>
                  <a:lnTo>
                    <a:pt x="1040" y="475"/>
                  </a:lnTo>
                  <a:lnTo>
                    <a:pt x="1040" y="475"/>
                  </a:lnTo>
                  <a:lnTo>
                    <a:pt x="1040" y="475"/>
                  </a:lnTo>
                  <a:lnTo>
                    <a:pt x="1040" y="475"/>
                  </a:lnTo>
                  <a:close/>
                  <a:moveTo>
                    <a:pt x="988" y="541"/>
                  </a:moveTo>
                  <a:lnTo>
                    <a:pt x="988" y="539"/>
                  </a:lnTo>
                  <a:lnTo>
                    <a:pt x="988" y="541"/>
                  </a:lnTo>
                  <a:close/>
                  <a:moveTo>
                    <a:pt x="992" y="532"/>
                  </a:moveTo>
                  <a:lnTo>
                    <a:pt x="992" y="532"/>
                  </a:lnTo>
                  <a:lnTo>
                    <a:pt x="992" y="534"/>
                  </a:lnTo>
                  <a:lnTo>
                    <a:pt x="992" y="534"/>
                  </a:lnTo>
                  <a:lnTo>
                    <a:pt x="992" y="534"/>
                  </a:lnTo>
                  <a:lnTo>
                    <a:pt x="995" y="534"/>
                  </a:lnTo>
                  <a:lnTo>
                    <a:pt x="992" y="536"/>
                  </a:lnTo>
                  <a:lnTo>
                    <a:pt x="995" y="536"/>
                  </a:lnTo>
                  <a:lnTo>
                    <a:pt x="995" y="536"/>
                  </a:lnTo>
                  <a:lnTo>
                    <a:pt x="997" y="539"/>
                  </a:lnTo>
                  <a:lnTo>
                    <a:pt x="997" y="536"/>
                  </a:lnTo>
                  <a:lnTo>
                    <a:pt x="997" y="536"/>
                  </a:lnTo>
                  <a:lnTo>
                    <a:pt x="999" y="536"/>
                  </a:lnTo>
                  <a:lnTo>
                    <a:pt x="999" y="539"/>
                  </a:lnTo>
                  <a:lnTo>
                    <a:pt x="999" y="539"/>
                  </a:lnTo>
                  <a:lnTo>
                    <a:pt x="997" y="539"/>
                  </a:lnTo>
                  <a:lnTo>
                    <a:pt x="997" y="539"/>
                  </a:lnTo>
                  <a:lnTo>
                    <a:pt x="997" y="541"/>
                  </a:lnTo>
                  <a:lnTo>
                    <a:pt x="997" y="541"/>
                  </a:lnTo>
                  <a:lnTo>
                    <a:pt x="997" y="543"/>
                  </a:lnTo>
                  <a:lnTo>
                    <a:pt x="997" y="543"/>
                  </a:lnTo>
                  <a:lnTo>
                    <a:pt x="999" y="543"/>
                  </a:lnTo>
                  <a:lnTo>
                    <a:pt x="997" y="543"/>
                  </a:lnTo>
                  <a:lnTo>
                    <a:pt x="997" y="546"/>
                  </a:lnTo>
                  <a:lnTo>
                    <a:pt x="997" y="546"/>
                  </a:lnTo>
                  <a:lnTo>
                    <a:pt x="995" y="546"/>
                  </a:lnTo>
                  <a:lnTo>
                    <a:pt x="992" y="543"/>
                  </a:lnTo>
                  <a:lnTo>
                    <a:pt x="992" y="541"/>
                  </a:lnTo>
                  <a:lnTo>
                    <a:pt x="992" y="539"/>
                  </a:lnTo>
                  <a:lnTo>
                    <a:pt x="990" y="539"/>
                  </a:lnTo>
                  <a:lnTo>
                    <a:pt x="990" y="539"/>
                  </a:lnTo>
                  <a:lnTo>
                    <a:pt x="988" y="539"/>
                  </a:lnTo>
                  <a:lnTo>
                    <a:pt x="988" y="539"/>
                  </a:lnTo>
                  <a:lnTo>
                    <a:pt x="988" y="539"/>
                  </a:lnTo>
                  <a:lnTo>
                    <a:pt x="985" y="539"/>
                  </a:lnTo>
                  <a:lnTo>
                    <a:pt x="985" y="539"/>
                  </a:lnTo>
                  <a:lnTo>
                    <a:pt x="985" y="541"/>
                  </a:lnTo>
                  <a:lnTo>
                    <a:pt x="983" y="539"/>
                  </a:lnTo>
                  <a:lnTo>
                    <a:pt x="983" y="541"/>
                  </a:lnTo>
                  <a:lnTo>
                    <a:pt x="978" y="543"/>
                  </a:lnTo>
                  <a:lnTo>
                    <a:pt x="976" y="543"/>
                  </a:lnTo>
                  <a:lnTo>
                    <a:pt x="973" y="543"/>
                  </a:lnTo>
                  <a:lnTo>
                    <a:pt x="971" y="543"/>
                  </a:lnTo>
                  <a:lnTo>
                    <a:pt x="969" y="539"/>
                  </a:lnTo>
                  <a:lnTo>
                    <a:pt x="969" y="536"/>
                  </a:lnTo>
                  <a:lnTo>
                    <a:pt x="969" y="536"/>
                  </a:lnTo>
                  <a:lnTo>
                    <a:pt x="971" y="536"/>
                  </a:lnTo>
                  <a:lnTo>
                    <a:pt x="973" y="534"/>
                  </a:lnTo>
                  <a:lnTo>
                    <a:pt x="973" y="534"/>
                  </a:lnTo>
                  <a:lnTo>
                    <a:pt x="973" y="534"/>
                  </a:lnTo>
                  <a:lnTo>
                    <a:pt x="976" y="532"/>
                  </a:lnTo>
                  <a:lnTo>
                    <a:pt x="976" y="532"/>
                  </a:lnTo>
                  <a:lnTo>
                    <a:pt x="976" y="532"/>
                  </a:lnTo>
                  <a:lnTo>
                    <a:pt x="976" y="532"/>
                  </a:lnTo>
                  <a:lnTo>
                    <a:pt x="981" y="527"/>
                  </a:lnTo>
                  <a:lnTo>
                    <a:pt x="983" y="527"/>
                  </a:lnTo>
                  <a:lnTo>
                    <a:pt x="983" y="522"/>
                  </a:lnTo>
                  <a:lnTo>
                    <a:pt x="983" y="522"/>
                  </a:lnTo>
                  <a:lnTo>
                    <a:pt x="983" y="522"/>
                  </a:lnTo>
                  <a:lnTo>
                    <a:pt x="983" y="520"/>
                  </a:lnTo>
                  <a:lnTo>
                    <a:pt x="983" y="520"/>
                  </a:lnTo>
                  <a:lnTo>
                    <a:pt x="983" y="520"/>
                  </a:lnTo>
                  <a:lnTo>
                    <a:pt x="985" y="517"/>
                  </a:lnTo>
                  <a:lnTo>
                    <a:pt x="985" y="515"/>
                  </a:lnTo>
                  <a:lnTo>
                    <a:pt x="985" y="513"/>
                  </a:lnTo>
                  <a:lnTo>
                    <a:pt x="988" y="515"/>
                  </a:lnTo>
                  <a:lnTo>
                    <a:pt x="988" y="515"/>
                  </a:lnTo>
                  <a:lnTo>
                    <a:pt x="992" y="515"/>
                  </a:lnTo>
                  <a:lnTo>
                    <a:pt x="992" y="517"/>
                  </a:lnTo>
                  <a:lnTo>
                    <a:pt x="992" y="517"/>
                  </a:lnTo>
                  <a:lnTo>
                    <a:pt x="995" y="517"/>
                  </a:lnTo>
                  <a:lnTo>
                    <a:pt x="995" y="517"/>
                  </a:lnTo>
                  <a:lnTo>
                    <a:pt x="995" y="517"/>
                  </a:lnTo>
                  <a:lnTo>
                    <a:pt x="995" y="520"/>
                  </a:lnTo>
                  <a:lnTo>
                    <a:pt x="997" y="520"/>
                  </a:lnTo>
                  <a:lnTo>
                    <a:pt x="997" y="520"/>
                  </a:lnTo>
                  <a:lnTo>
                    <a:pt x="997" y="522"/>
                  </a:lnTo>
                  <a:lnTo>
                    <a:pt x="999" y="522"/>
                  </a:lnTo>
                  <a:lnTo>
                    <a:pt x="997" y="522"/>
                  </a:lnTo>
                  <a:lnTo>
                    <a:pt x="997" y="525"/>
                  </a:lnTo>
                  <a:lnTo>
                    <a:pt x="997" y="527"/>
                  </a:lnTo>
                  <a:lnTo>
                    <a:pt x="997" y="527"/>
                  </a:lnTo>
                  <a:lnTo>
                    <a:pt x="997" y="527"/>
                  </a:lnTo>
                  <a:lnTo>
                    <a:pt x="997" y="527"/>
                  </a:lnTo>
                  <a:lnTo>
                    <a:pt x="997" y="529"/>
                  </a:lnTo>
                  <a:lnTo>
                    <a:pt x="997" y="529"/>
                  </a:lnTo>
                  <a:lnTo>
                    <a:pt x="997" y="529"/>
                  </a:lnTo>
                  <a:lnTo>
                    <a:pt x="997" y="529"/>
                  </a:lnTo>
                  <a:lnTo>
                    <a:pt x="999" y="529"/>
                  </a:lnTo>
                  <a:lnTo>
                    <a:pt x="997" y="529"/>
                  </a:lnTo>
                  <a:lnTo>
                    <a:pt x="995" y="529"/>
                  </a:lnTo>
                  <a:lnTo>
                    <a:pt x="995" y="529"/>
                  </a:lnTo>
                  <a:lnTo>
                    <a:pt x="992" y="532"/>
                  </a:lnTo>
                  <a:lnTo>
                    <a:pt x="992" y="532"/>
                  </a:lnTo>
                  <a:lnTo>
                    <a:pt x="992" y="532"/>
                  </a:lnTo>
                  <a:close/>
                  <a:moveTo>
                    <a:pt x="1023" y="491"/>
                  </a:moveTo>
                  <a:lnTo>
                    <a:pt x="1025" y="491"/>
                  </a:lnTo>
                  <a:lnTo>
                    <a:pt x="1023" y="491"/>
                  </a:lnTo>
                  <a:close/>
                  <a:moveTo>
                    <a:pt x="999" y="527"/>
                  </a:moveTo>
                  <a:lnTo>
                    <a:pt x="999" y="527"/>
                  </a:lnTo>
                  <a:lnTo>
                    <a:pt x="999" y="527"/>
                  </a:lnTo>
                  <a:lnTo>
                    <a:pt x="999" y="527"/>
                  </a:lnTo>
                  <a:close/>
                  <a:moveTo>
                    <a:pt x="777" y="600"/>
                  </a:moveTo>
                  <a:lnTo>
                    <a:pt x="777" y="600"/>
                  </a:lnTo>
                  <a:lnTo>
                    <a:pt x="777" y="600"/>
                  </a:lnTo>
                  <a:close/>
                  <a:moveTo>
                    <a:pt x="1040" y="470"/>
                  </a:moveTo>
                  <a:lnTo>
                    <a:pt x="1042" y="470"/>
                  </a:lnTo>
                  <a:lnTo>
                    <a:pt x="1040" y="470"/>
                  </a:lnTo>
                  <a:lnTo>
                    <a:pt x="1040" y="470"/>
                  </a:lnTo>
                  <a:lnTo>
                    <a:pt x="1040" y="470"/>
                  </a:lnTo>
                  <a:lnTo>
                    <a:pt x="1040" y="470"/>
                  </a:lnTo>
                  <a:close/>
                  <a:moveTo>
                    <a:pt x="1035" y="470"/>
                  </a:moveTo>
                  <a:lnTo>
                    <a:pt x="1035" y="470"/>
                  </a:lnTo>
                  <a:lnTo>
                    <a:pt x="1035" y="470"/>
                  </a:lnTo>
                  <a:lnTo>
                    <a:pt x="1035" y="470"/>
                  </a:lnTo>
                  <a:lnTo>
                    <a:pt x="1035" y="470"/>
                  </a:lnTo>
                  <a:close/>
                  <a:moveTo>
                    <a:pt x="938" y="525"/>
                  </a:moveTo>
                  <a:lnTo>
                    <a:pt x="938" y="525"/>
                  </a:lnTo>
                  <a:lnTo>
                    <a:pt x="938" y="525"/>
                  </a:lnTo>
                  <a:close/>
                  <a:moveTo>
                    <a:pt x="962" y="532"/>
                  </a:moveTo>
                  <a:lnTo>
                    <a:pt x="962" y="532"/>
                  </a:lnTo>
                  <a:lnTo>
                    <a:pt x="962" y="532"/>
                  </a:lnTo>
                  <a:lnTo>
                    <a:pt x="962" y="529"/>
                  </a:lnTo>
                  <a:lnTo>
                    <a:pt x="962" y="532"/>
                  </a:lnTo>
                  <a:lnTo>
                    <a:pt x="962" y="532"/>
                  </a:lnTo>
                  <a:lnTo>
                    <a:pt x="962" y="532"/>
                  </a:lnTo>
                  <a:close/>
                  <a:moveTo>
                    <a:pt x="784" y="600"/>
                  </a:moveTo>
                  <a:lnTo>
                    <a:pt x="787" y="600"/>
                  </a:lnTo>
                  <a:lnTo>
                    <a:pt x="787" y="600"/>
                  </a:lnTo>
                  <a:lnTo>
                    <a:pt x="784" y="600"/>
                  </a:lnTo>
                  <a:lnTo>
                    <a:pt x="784" y="600"/>
                  </a:lnTo>
                  <a:close/>
                  <a:moveTo>
                    <a:pt x="787" y="602"/>
                  </a:moveTo>
                  <a:lnTo>
                    <a:pt x="787" y="602"/>
                  </a:lnTo>
                  <a:lnTo>
                    <a:pt x="787" y="602"/>
                  </a:lnTo>
                  <a:lnTo>
                    <a:pt x="787" y="602"/>
                  </a:lnTo>
                  <a:lnTo>
                    <a:pt x="787" y="602"/>
                  </a:lnTo>
                  <a:close/>
                  <a:moveTo>
                    <a:pt x="1047" y="475"/>
                  </a:moveTo>
                  <a:lnTo>
                    <a:pt x="1047" y="475"/>
                  </a:lnTo>
                  <a:lnTo>
                    <a:pt x="1047" y="475"/>
                  </a:lnTo>
                  <a:lnTo>
                    <a:pt x="1047" y="475"/>
                  </a:lnTo>
                  <a:lnTo>
                    <a:pt x="1047" y="475"/>
                  </a:lnTo>
                  <a:lnTo>
                    <a:pt x="1047" y="475"/>
                  </a:lnTo>
                  <a:lnTo>
                    <a:pt x="1047" y="475"/>
                  </a:lnTo>
                  <a:lnTo>
                    <a:pt x="1047" y="475"/>
                  </a:lnTo>
                  <a:close/>
                  <a:moveTo>
                    <a:pt x="936" y="525"/>
                  </a:moveTo>
                  <a:lnTo>
                    <a:pt x="936" y="525"/>
                  </a:lnTo>
                  <a:lnTo>
                    <a:pt x="938" y="525"/>
                  </a:lnTo>
                  <a:lnTo>
                    <a:pt x="938" y="525"/>
                  </a:lnTo>
                  <a:lnTo>
                    <a:pt x="936" y="525"/>
                  </a:lnTo>
                  <a:close/>
                  <a:moveTo>
                    <a:pt x="990" y="499"/>
                  </a:moveTo>
                  <a:lnTo>
                    <a:pt x="992" y="499"/>
                  </a:lnTo>
                  <a:lnTo>
                    <a:pt x="992" y="499"/>
                  </a:lnTo>
                  <a:lnTo>
                    <a:pt x="992" y="499"/>
                  </a:lnTo>
                  <a:lnTo>
                    <a:pt x="990" y="499"/>
                  </a:lnTo>
                  <a:close/>
                  <a:moveTo>
                    <a:pt x="929" y="534"/>
                  </a:moveTo>
                  <a:lnTo>
                    <a:pt x="929" y="532"/>
                  </a:lnTo>
                  <a:lnTo>
                    <a:pt x="929" y="532"/>
                  </a:lnTo>
                  <a:lnTo>
                    <a:pt x="931" y="532"/>
                  </a:lnTo>
                  <a:lnTo>
                    <a:pt x="929" y="534"/>
                  </a:lnTo>
                  <a:lnTo>
                    <a:pt x="929" y="534"/>
                  </a:lnTo>
                  <a:lnTo>
                    <a:pt x="929" y="534"/>
                  </a:lnTo>
                  <a:lnTo>
                    <a:pt x="929" y="534"/>
                  </a:lnTo>
                  <a:close/>
                  <a:moveTo>
                    <a:pt x="1009" y="494"/>
                  </a:moveTo>
                  <a:lnTo>
                    <a:pt x="1009" y="494"/>
                  </a:lnTo>
                  <a:lnTo>
                    <a:pt x="1009" y="494"/>
                  </a:lnTo>
                  <a:lnTo>
                    <a:pt x="1009" y="494"/>
                  </a:lnTo>
                  <a:lnTo>
                    <a:pt x="1009" y="494"/>
                  </a:lnTo>
                  <a:lnTo>
                    <a:pt x="1009" y="494"/>
                  </a:lnTo>
                  <a:lnTo>
                    <a:pt x="1009" y="494"/>
                  </a:lnTo>
                  <a:close/>
                  <a:moveTo>
                    <a:pt x="1009" y="525"/>
                  </a:moveTo>
                  <a:lnTo>
                    <a:pt x="1009" y="525"/>
                  </a:lnTo>
                  <a:lnTo>
                    <a:pt x="1011" y="525"/>
                  </a:lnTo>
                  <a:lnTo>
                    <a:pt x="1011" y="525"/>
                  </a:lnTo>
                  <a:lnTo>
                    <a:pt x="1014" y="527"/>
                  </a:lnTo>
                  <a:lnTo>
                    <a:pt x="1014" y="527"/>
                  </a:lnTo>
                  <a:lnTo>
                    <a:pt x="1011" y="527"/>
                  </a:lnTo>
                  <a:lnTo>
                    <a:pt x="1009" y="527"/>
                  </a:lnTo>
                  <a:lnTo>
                    <a:pt x="1009" y="527"/>
                  </a:lnTo>
                  <a:lnTo>
                    <a:pt x="1009" y="525"/>
                  </a:lnTo>
                  <a:close/>
                  <a:moveTo>
                    <a:pt x="1021" y="489"/>
                  </a:moveTo>
                  <a:lnTo>
                    <a:pt x="1021" y="489"/>
                  </a:lnTo>
                  <a:lnTo>
                    <a:pt x="1023" y="489"/>
                  </a:lnTo>
                  <a:lnTo>
                    <a:pt x="1023" y="491"/>
                  </a:lnTo>
                  <a:lnTo>
                    <a:pt x="1021" y="491"/>
                  </a:lnTo>
                  <a:lnTo>
                    <a:pt x="1018" y="494"/>
                  </a:lnTo>
                  <a:lnTo>
                    <a:pt x="1018" y="491"/>
                  </a:lnTo>
                  <a:lnTo>
                    <a:pt x="1018" y="491"/>
                  </a:lnTo>
                  <a:lnTo>
                    <a:pt x="1018" y="491"/>
                  </a:lnTo>
                  <a:lnTo>
                    <a:pt x="1018" y="489"/>
                  </a:lnTo>
                  <a:lnTo>
                    <a:pt x="1018" y="489"/>
                  </a:lnTo>
                  <a:lnTo>
                    <a:pt x="1018" y="489"/>
                  </a:lnTo>
                  <a:lnTo>
                    <a:pt x="1018" y="491"/>
                  </a:lnTo>
                  <a:lnTo>
                    <a:pt x="1021" y="491"/>
                  </a:lnTo>
                  <a:lnTo>
                    <a:pt x="1021" y="489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 cap="flat">
              <a:solidFill>
                <a:schemeClr val="bg2">
                  <a:lumMod val="7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>
                <a:solidFill>
                  <a:srgbClr val="000000"/>
                </a:solidFill>
              </a:endParaRPr>
            </a:p>
          </p:txBody>
        </p:sp>
        <p:sp>
          <p:nvSpPr>
            <p:cNvPr id="84" name="Freeform 18"/>
            <p:cNvSpPr>
              <a:spLocks noEditPoints="1"/>
            </p:cNvSpPr>
            <p:nvPr/>
          </p:nvSpPr>
          <p:spPr bwMode="gray">
            <a:xfrm>
              <a:off x="3485852" y="4883366"/>
              <a:ext cx="224636" cy="391295"/>
            </a:xfrm>
            <a:custGeom>
              <a:avLst/>
              <a:gdLst/>
              <a:ahLst/>
              <a:cxnLst>
                <a:cxn ang="0">
                  <a:pos x="2" y="366"/>
                </a:cxn>
                <a:cxn ang="0">
                  <a:pos x="2" y="357"/>
                </a:cxn>
                <a:cxn ang="0">
                  <a:pos x="9" y="340"/>
                </a:cxn>
                <a:cxn ang="0">
                  <a:pos x="4" y="319"/>
                </a:cxn>
                <a:cxn ang="0">
                  <a:pos x="14" y="302"/>
                </a:cxn>
                <a:cxn ang="0">
                  <a:pos x="66" y="291"/>
                </a:cxn>
                <a:cxn ang="0">
                  <a:pos x="71" y="272"/>
                </a:cxn>
                <a:cxn ang="0">
                  <a:pos x="89" y="255"/>
                </a:cxn>
                <a:cxn ang="0">
                  <a:pos x="89" y="239"/>
                </a:cxn>
                <a:cxn ang="0">
                  <a:pos x="99" y="224"/>
                </a:cxn>
                <a:cxn ang="0">
                  <a:pos x="108" y="210"/>
                </a:cxn>
                <a:cxn ang="0">
                  <a:pos x="120" y="194"/>
                </a:cxn>
                <a:cxn ang="0">
                  <a:pos x="120" y="184"/>
                </a:cxn>
                <a:cxn ang="0">
                  <a:pos x="120" y="170"/>
                </a:cxn>
                <a:cxn ang="0">
                  <a:pos x="113" y="161"/>
                </a:cxn>
                <a:cxn ang="0">
                  <a:pos x="104" y="151"/>
                </a:cxn>
                <a:cxn ang="0">
                  <a:pos x="104" y="142"/>
                </a:cxn>
                <a:cxn ang="0">
                  <a:pos x="92" y="130"/>
                </a:cxn>
                <a:cxn ang="0">
                  <a:pos x="80" y="125"/>
                </a:cxn>
                <a:cxn ang="0">
                  <a:pos x="99" y="123"/>
                </a:cxn>
                <a:cxn ang="0">
                  <a:pos x="120" y="116"/>
                </a:cxn>
                <a:cxn ang="0">
                  <a:pos x="104" y="99"/>
                </a:cxn>
                <a:cxn ang="0">
                  <a:pos x="108" y="73"/>
                </a:cxn>
                <a:cxn ang="0">
                  <a:pos x="92" y="62"/>
                </a:cxn>
                <a:cxn ang="0">
                  <a:pos x="99" y="40"/>
                </a:cxn>
                <a:cxn ang="0">
                  <a:pos x="113" y="33"/>
                </a:cxn>
                <a:cxn ang="0">
                  <a:pos x="123" y="28"/>
                </a:cxn>
                <a:cxn ang="0">
                  <a:pos x="139" y="28"/>
                </a:cxn>
                <a:cxn ang="0">
                  <a:pos x="137" y="10"/>
                </a:cxn>
                <a:cxn ang="0">
                  <a:pos x="146" y="14"/>
                </a:cxn>
                <a:cxn ang="0">
                  <a:pos x="160" y="7"/>
                </a:cxn>
                <a:cxn ang="0">
                  <a:pos x="184" y="5"/>
                </a:cxn>
                <a:cxn ang="0">
                  <a:pos x="203" y="10"/>
                </a:cxn>
                <a:cxn ang="0">
                  <a:pos x="274" y="76"/>
                </a:cxn>
                <a:cxn ang="0">
                  <a:pos x="276" y="184"/>
                </a:cxn>
                <a:cxn ang="0">
                  <a:pos x="231" y="250"/>
                </a:cxn>
                <a:cxn ang="0">
                  <a:pos x="222" y="272"/>
                </a:cxn>
                <a:cxn ang="0">
                  <a:pos x="212" y="302"/>
                </a:cxn>
                <a:cxn ang="0">
                  <a:pos x="200" y="314"/>
                </a:cxn>
                <a:cxn ang="0">
                  <a:pos x="203" y="319"/>
                </a:cxn>
                <a:cxn ang="0">
                  <a:pos x="191" y="343"/>
                </a:cxn>
                <a:cxn ang="0">
                  <a:pos x="179" y="359"/>
                </a:cxn>
                <a:cxn ang="0">
                  <a:pos x="174" y="364"/>
                </a:cxn>
                <a:cxn ang="0">
                  <a:pos x="170" y="373"/>
                </a:cxn>
                <a:cxn ang="0">
                  <a:pos x="158" y="383"/>
                </a:cxn>
                <a:cxn ang="0">
                  <a:pos x="151" y="383"/>
                </a:cxn>
                <a:cxn ang="0">
                  <a:pos x="146" y="385"/>
                </a:cxn>
                <a:cxn ang="0">
                  <a:pos x="134" y="406"/>
                </a:cxn>
                <a:cxn ang="0">
                  <a:pos x="115" y="447"/>
                </a:cxn>
                <a:cxn ang="0">
                  <a:pos x="106" y="439"/>
                </a:cxn>
                <a:cxn ang="0">
                  <a:pos x="87" y="437"/>
                </a:cxn>
                <a:cxn ang="0">
                  <a:pos x="82" y="435"/>
                </a:cxn>
                <a:cxn ang="0">
                  <a:pos x="68" y="435"/>
                </a:cxn>
                <a:cxn ang="0">
                  <a:pos x="56" y="435"/>
                </a:cxn>
                <a:cxn ang="0">
                  <a:pos x="40" y="430"/>
                </a:cxn>
                <a:cxn ang="0">
                  <a:pos x="26" y="423"/>
                </a:cxn>
                <a:cxn ang="0">
                  <a:pos x="19" y="416"/>
                </a:cxn>
                <a:cxn ang="0">
                  <a:pos x="19" y="406"/>
                </a:cxn>
                <a:cxn ang="0">
                  <a:pos x="21" y="390"/>
                </a:cxn>
                <a:cxn ang="0">
                  <a:pos x="9" y="380"/>
                </a:cxn>
                <a:cxn ang="0">
                  <a:pos x="191" y="345"/>
                </a:cxn>
                <a:cxn ang="0">
                  <a:pos x="167" y="364"/>
                </a:cxn>
                <a:cxn ang="0">
                  <a:pos x="200" y="326"/>
                </a:cxn>
              </a:cxnLst>
              <a:rect l="0" t="0" r="r" b="b"/>
              <a:pathLst>
                <a:path w="278" h="447">
                  <a:moveTo>
                    <a:pt x="0" y="376"/>
                  </a:moveTo>
                  <a:lnTo>
                    <a:pt x="0" y="376"/>
                  </a:lnTo>
                  <a:lnTo>
                    <a:pt x="0" y="373"/>
                  </a:lnTo>
                  <a:lnTo>
                    <a:pt x="0" y="373"/>
                  </a:lnTo>
                  <a:lnTo>
                    <a:pt x="2" y="373"/>
                  </a:lnTo>
                  <a:lnTo>
                    <a:pt x="2" y="373"/>
                  </a:lnTo>
                  <a:lnTo>
                    <a:pt x="2" y="373"/>
                  </a:lnTo>
                  <a:lnTo>
                    <a:pt x="2" y="371"/>
                  </a:lnTo>
                  <a:lnTo>
                    <a:pt x="0" y="371"/>
                  </a:lnTo>
                  <a:lnTo>
                    <a:pt x="2" y="371"/>
                  </a:lnTo>
                  <a:lnTo>
                    <a:pt x="2" y="369"/>
                  </a:lnTo>
                  <a:lnTo>
                    <a:pt x="2" y="369"/>
                  </a:lnTo>
                  <a:lnTo>
                    <a:pt x="2" y="369"/>
                  </a:lnTo>
                  <a:lnTo>
                    <a:pt x="2" y="366"/>
                  </a:lnTo>
                  <a:lnTo>
                    <a:pt x="2" y="366"/>
                  </a:lnTo>
                  <a:lnTo>
                    <a:pt x="4" y="364"/>
                  </a:lnTo>
                  <a:lnTo>
                    <a:pt x="4" y="364"/>
                  </a:lnTo>
                  <a:lnTo>
                    <a:pt x="7" y="361"/>
                  </a:lnTo>
                  <a:lnTo>
                    <a:pt x="7" y="361"/>
                  </a:lnTo>
                  <a:lnTo>
                    <a:pt x="7" y="361"/>
                  </a:lnTo>
                  <a:lnTo>
                    <a:pt x="7" y="361"/>
                  </a:lnTo>
                  <a:lnTo>
                    <a:pt x="9" y="359"/>
                  </a:lnTo>
                  <a:lnTo>
                    <a:pt x="7" y="359"/>
                  </a:lnTo>
                  <a:lnTo>
                    <a:pt x="7" y="359"/>
                  </a:lnTo>
                  <a:lnTo>
                    <a:pt x="7" y="359"/>
                  </a:lnTo>
                  <a:lnTo>
                    <a:pt x="7" y="357"/>
                  </a:lnTo>
                  <a:lnTo>
                    <a:pt x="7" y="357"/>
                  </a:lnTo>
                  <a:lnTo>
                    <a:pt x="2" y="357"/>
                  </a:lnTo>
                  <a:lnTo>
                    <a:pt x="2" y="357"/>
                  </a:lnTo>
                  <a:lnTo>
                    <a:pt x="2" y="354"/>
                  </a:lnTo>
                  <a:lnTo>
                    <a:pt x="2" y="354"/>
                  </a:lnTo>
                  <a:lnTo>
                    <a:pt x="4" y="354"/>
                  </a:lnTo>
                  <a:lnTo>
                    <a:pt x="4" y="352"/>
                  </a:lnTo>
                  <a:lnTo>
                    <a:pt x="7" y="350"/>
                  </a:lnTo>
                  <a:lnTo>
                    <a:pt x="7" y="350"/>
                  </a:lnTo>
                  <a:lnTo>
                    <a:pt x="7" y="347"/>
                  </a:lnTo>
                  <a:lnTo>
                    <a:pt x="9" y="347"/>
                  </a:lnTo>
                  <a:lnTo>
                    <a:pt x="9" y="347"/>
                  </a:lnTo>
                  <a:lnTo>
                    <a:pt x="9" y="345"/>
                  </a:lnTo>
                  <a:lnTo>
                    <a:pt x="7" y="343"/>
                  </a:lnTo>
                  <a:lnTo>
                    <a:pt x="9" y="343"/>
                  </a:lnTo>
                  <a:lnTo>
                    <a:pt x="9" y="340"/>
                  </a:lnTo>
                  <a:lnTo>
                    <a:pt x="9" y="338"/>
                  </a:lnTo>
                  <a:lnTo>
                    <a:pt x="9" y="333"/>
                  </a:lnTo>
                  <a:lnTo>
                    <a:pt x="9" y="333"/>
                  </a:lnTo>
                  <a:lnTo>
                    <a:pt x="9" y="331"/>
                  </a:lnTo>
                  <a:lnTo>
                    <a:pt x="4" y="328"/>
                  </a:lnTo>
                  <a:lnTo>
                    <a:pt x="2" y="326"/>
                  </a:lnTo>
                  <a:lnTo>
                    <a:pt x="2" y="324"/>
                  </a:lnTo>
                  <a:lnTo>
                    <a:pt x="2" y="324"/>
                  </a:lnTo>
                  <a:lnTo>
                    <a:pt x="2" y="321"/>
                  </a:lnTo>
                  <a:lnTo>
                    <a:pt x="2" y="321"/>
                  </a:lnTo>
                  <a:lnTo>
                    <a:pt x="4" y="319"/>
                  </a:lnTo>
                  <a:lnTo>
                    <a:pt x="2" y="319"/>
                  </a:lnTo>
                  <a:lnTo>
                    <a:pt x="4" y="319"/>
                  </a:lnTo>
                  <a:lnTo>
                    <a:pt x="4" y="319"/>
                  </a:lnTo>
                  <a:lnTo>
                    <a:pt x="7" y="317"/>
                  </a:lnTo>
                  <a:lnTo>
                    <a:pt x="7" y="317"/>
                  </a:lnTo>
                  <a:lnTo>
                    <a:pt x="9" y="317"/>
                  </a:lnTo>
                  <a:lnTo>
                    <a:pt x="9" y="314"/>
                  </a:lnTo>
                  <a:lnTo>
                    <a:pt x="9" y="314"/>
                  </a:lnTo>
                  <a:lnTo>
                    <a:pt x="11" y="314"/>
                  </a:lnTo>
                  <a:lnTo>
                    <a:pt x="11" y="314"/>
                  </a:lnTo>
                  <a:lnTo>
                    <a:pt x="11" y="312"/>
                  </a:lnTo>
                  <a:lnTo>
                    <a:pt x="11" y="310"/>
                  </a:lnTo>
                  <a:lnTo>
                    <a:pt x="14" y="310"/>
                  </a:lnTo>
                  <a:lnTo>
                    <a:pt x="14" y="305"/>
                  </a:lnTo>
                  <a:lnTo>
                    <a:pt x="14" y="305"/>
                  </a:lnTo>
                  <a:lnTo>
                    <a:pt x="14" y="305"/>
                  </a:lnTo>
                  <a:lnTo>
                    <a:pt x="14" y="302"/>
                  </a:lnTo>
                  <a:lnTo>
                    <a:pt x="26" y="302"/>
                  </a:lnTo>
                  <a:lnTo>
                    <a:pt x="54" y="302"/>
                  </a:lnTo>
                  <a:lnTo>
                    <a:pt x="59" y="302"/>
                  </a:lnTo>
                  <a:lnTo>
                    <a:pt x="59" y="302"/>
                  </a:lnTo>
                  <a:lnTo>
                    <a:pt x="59" y="300"/>
                  </a:lnTo>
                  <a:lnTo>
                    <a:pt x="59" y="302"/>
                  </a:lnTo>
                  <a:lnTo>
                    <a:pt x="63" y="300"/>
                  </a:lnTo>
                  <a:lnTo>
                    <a:pt x="63" y="298"/>
                  </a:lnTo>
                  <a:lnTo>
                    <a:pt x="63" y="298"/>
                  </a:lnTo>
                  <a:lnTo>
                    <a:pt x="63" y="295"/>
                  </a:lnTo>
                  <a:lnTo>
                    <a:pt x="66" y="295"/>
                  </a:lnTo>
                  <a:lnTo>
                    <a:pt x="66" y="293"/>
                  </a:lnTo>
                  <a:lnTo>
                    <a:pt x="66" y="293"/>
                  </a:lnTo>
                  <a:lnTo>
                    <a:pt x="66" y="291"/>
                  </a:lnTo>
                  <a:lnTo>
                    <a:pt x="66" y="291"/>
                  </a:lnTo>
                  <a:lnTo>
                    <a:pt x="66" y="288"/>
                  </a:lnTo>
                  <a:lnTo>
                    <a:pt x="66" y="288"/>
                  </a:lnTo>
                  <a:lnTo>
                    <a:pt x="68" y="286"/>
                  </a:lnTo>
                  <a:lnTo>
                    <a:pt x="68" y="284"/>
                  </a:lnTo>
                  <a:lnTo>
                    <a:pt x="68" y="284"/>
                  </a:lnTo>
                  <a:lnTo>
                    <a:pt x="68" y="281"/>
                  </a:lnTo>
                  <a:lnTo>
                    <a:pt x="71" y="281"/>
                  </a:lnTo>
                  <a:lnTo>
                    <a:pt x="71" y="279"/>
                  </a:lnTo>
                  <a:lnTo>
                    <a:pt x="73" y="276"/>
                  </a:lnTo>
                  <a:lnTo>
                    <a:pt x="71" y="276"/>
                  </a:lnTo>
                  <a:lnTo>
                    <a:pt x="71" y="274"/>
                  </a:lnTo>
                  <a:lnTo>
                    <a:pt x="71" y="272"/>
                  </a:lnTo>
                  <a:lnTo>
                    <a:pt x="71" y="272"/>
                  </a:lnTo>
                  <a:lnTo>
                    <a:pt x="73" y="269"/>
                  </a:lnTo>
                  <a:lnTo>
                    <a:pt x="73" y="267"/>
                  </a:lnTo>
                  <a:lnTo>
                    <a:pt x="75" y="267"/>
                  </a:lnTo>
                  <a:lnTo>
                    <a:pt x="78" y="267"/>
                  </a:lnTo>
                  <a:lnTo>
                    <a:pt x="78" y="267"/>
                  </a:lnTo>
                  <a:lnTo>
                    <a:pt x="80" y="267"/>
                  </a:lnTo>
                  <a:lnTo>
                    <a:pt x="82" y="265"/>
                  </a:lnTo>
                  <a:lnTo>
                    <a:pt x="82" y="262"/>
                  </a:lnTo>
                  <a:lnTo>
                    <a:pt x="85" y="262"/>
                  </a:lnTo>
                  <a:lnTo>
                    <a:pt x="85" y="262"/>
                  </a:lnTo>
                  <a:lnTo>
                    <a:pt x="87" y="262"/>
                  </a:lnTo>
                  <a:lnTo>
                    <a:pt x="87" y="260"/>
                  </a:lnTo>
                  <a:lnTo>
                    <a:pt x="87" y="255"/>
                  </a:lnTo>
                  <a:lnTo>
                    <a:pt x="89" y="255"/>
                  </a:lnTo>
                  <a:lnTo>
                    <a:pt x="89" y="255"/>
                  </a:lnTo>
                  <a:lnTo>
                    <a:pt x="87" y="253"/>
                  </a:lnTo>
                  <a:lnTo>
                    <a:pt x="89" y="253"/>
                  </a:lnTo>
                  <a:lnTo>
                    <a:pt x="89" y="250"/>
                  </a:lnTo>
                  <a:lnTo>
                    <a:pt x="89" y="248"/>
                  </a:lnTo>
                  <a:lnTo>
                    <a:pt x="89" y="248"/>
                  </a:lnTo>
                  <a:lnTo>
                    <a:pt x="89" y="248"/>
                  </a:lnTo>
                  <a:lnTo>
                    <a:pt x="89" y="248"/>
                  </a:lnTo>
                  <a:lnTo>
                    <a:pt x="89" y="246"/>
                  </a:lnTo>
                  <a:lnTo>
                    <a:pt x="87" y="243"/>
                  </a:lnTo>
                  <a:lnTo>
                    <a:pt x="87" y="243"/>
                  </a:lnTo>
                  <a:lnTo>
                    <a:pt x="89" y="241"/>
                  </a:lnTo>
                  <a:lnTo>
                    <a:pt x="87" y="241"/>
                  </a:lnTo>
                  <a:lnTo>
                    <a:pt x="89" y="239"/>
                  </a:lnTo>
                  <a:lnTo>
                    <a:pt x="89" y="239"/>
                  </a:lnTo>
                  <a:lnTo>
                    <a:pt x="89" y="236"/>
                  </a:lnTo>
                  <a:lnTo>
                    <a:pt x="89" y="236"/>
                  </a:lnTo>
                  <a:lnTo>
                    <a:pt x="89" y="234"/>
                  </a:lnTo>
                  <a:lnTo>
                    <a:pt x="89" y="232"/>
                  </a:lnTo>
                  <a:lnTo>
                    <a:pt x="89" y="232"/>
                  </a:lnTo>
                  <a:lnTo>
                    <a:pt x="92" y="232"/>
                  </a:lnTo>
                  <a:lnTo>
                    <a:pt x="94" y="232"/>
                  </a:lnTo>
                  <a:lnTo>
                    <a:pt x="94" y="229"/>
                  </a:lnTo>
                  <a:lnTo>
                    <a:pt x="94" y="229"/>
                  </a:lnTo>
                  <a:lnTo>
                    <a:pt x="97" y="229"/>
                  </a:lnTo>
                  <a:lnTo>
                    <a:pt x="97" y="227"/>
                  </a:lnTo>
                  <a:lnTo>
                    <a:pt x="99" y="224"/>
                  </a:lnTo>
                  <a:lnTo>
                    <a:pt x="99" y="224"/>
                  </a:lnTo>
                  <a:lnTo>
                    <a:pt x="99" y="222"/>
                  </a:lnTo>
                  <a:lnTo>
                    <a:pt x="101" y="222"/>
                  </a:lnTo>
                  <a:lnTo>
                    <a:pt x="101" y="222"/>
                  </a:lnTo>
                  <a:lnTo>
                    <a:pt x="101" y="222"/>
                  </a:lnTo>
                  <a:lnTo>
                    <a:pt x="104" y="222"/>
                  </a:lnTo>
                  <a:lnTo>
                    <a:pt x="104" y="220"/>
                  </a:lnTo>
                  <a:lnTo>
                    <a:pt x="106" y="220"/>
                  </a:lnTo>
                  <a:lnTo>
                    <a:pt x="106" y="217"/>
                  </a:lnTo>
                  <a:lnTo>
                    <a:pt x="106" y="217"/>
                  </a:lnTo>
                  <a:lnTo>
                    <a:pt x="104" y="215"/>
                  </a:lnTo>
                  <a:lnTo>
                    <a:pt x="106" y="213"/>
                  </a:lnTo>
                  <a:lnTo>
                    <a:pt x="104" y="210"/>
                  </a:lnTo>
                  <a:lnTo>
                    <a:pt x="104" y="208"/>
                  </a:lnTo>
                  <a:lnTo>
                    <a:pt x="108" y="210"/>
                  </a:lnTo>
                  <a:lnTo>
                    <a:pt x="111" y="210"/>
                  </a:lnTo>
                  <a:lnTo>
                    <a:pt x="113" y="210"/>
                  </a:lnTo>
                  <a:lnTo>
                    <a:pt x="113" y="210"/>
                  </a:lnTo>
                  <a:lnTo>
                    <a:pt x="118" y="206"/>
                  </a:lnTo>
                  <a:lnTo>
                    <a:pt x="118" y="206"/>
                  </a:lnTo>
                  <a:lnTo>
                    <a:pt x="118" y="206"/>
                  </a:lnTo>
                  <a:lnTo>
                    <a:pt x="115" y="203"/>
                  </a:lnTo>
                  <a:lnTo>
                    <a:pt x="115" y="203"/>
                  </a:lnTo>
                  <a:lnTo>
                    <a:pt x="115" y="201"/>
                  </a:lnTo>
                  <a:lnTo>
                    <a:pt x="115" y="201"/>
                  </a:lnTo>
                  <a:lnTo>
                    <a:pt x="115" y="199"/>
                  </a:lnTo>
                  <a:lnTo>
                    <a:pt x="115" y="199"/>
                  </a:lnTo>
                  <a:lnTo>
                    <a:pt x="115" y="196"/>
                  </a:lnTo>
                  <a:lnTo>
                    <a:pt x="120" y="194"/>
                  </a:lnTo>
                  <a:lnTo>
                    <a:pt x="120" y="194"/>
                  </a:lnTo>
                  <a:lnTo>
                    <a:pt x="120" y="194"/>
                  </a:lnTo>
                  <a:lnTo>
                    <a:pt x="118" y="191"/>
                  </a:lnTo>
                  <a:lnTo>
                    <a:pt x="118" y="189"/>
                  </a:lnTo>
                  <a:lnTo>
                    <a:pt x="120" y="187"/>
                  </a:lnTo>
                  <a:lnTo>
                    <a:pt x="120" y="187"/>
                  </a:lnTo>
                  <a:lnTo>
                    <a:pt x="120" y="187"/>
                  </a:lnTo>
                  <a:lnTo>
                    <a:pt x="123" y="187"/>
                  </a:lnTo>
                  <a:lnTo>
                    <a:pt x="123" y="184"/>
                  </a:lnTo>
                  <a:lnTo>
                    <a:pt x="123" y="184"/>
                  </a:lnTo>
                  <a:lnTo>
                    <a:pt x="120" y="184"/>
                  </a:lnTo>
                  <a:lnTo>
                    <a:pt x="120" y="184"/>
                  </a:lnTo>
                  <a:lnTo>
                    <a:pt x="120" y="184"/>
                  </a:lnTo>
                  <a:lnTo>
                    <a:pt x="120" y="184"/>
                  </a:lnTo>
                  <a:lnTo>
                    <a:pt x="120" y="182"/>
                  </a:lnTo>
                  <a:lnTo>
                    <a:pt x="118" y="182"/>
                  </a:lnTo>
                  <a:lnTo>
                    <a:pt x="118" y="182"/>
                  </a:lnTo>
                  <a:lnTo>
                    <a:pt x="120" y="180"/>
                  </a:lnTo>
                  <a:lnTo>
                    <a:pt x="120" y="180"/>
                  </a:lnTo>
                  <a:lnTo>
                    <a:pt x="120" y="177"/>
                  </a:lnTo>
                  <a:lnTo>
                    <a:pt x="120" y="177"/>
                  </a:lnTo>
                  <a:lnTo>
                    <a:pt x="118" y="177"/>
                  </a:lnTo>
                  <a:lnTo>
                    <a:pt x="120" y="177"/>
                  </a:lnTo>
                  <a:lnTo>
                    <a:pt x="118" y="175"/>
                  </a:lnTo>
                  <a:lnTo>
                    <a:pt x="118" y="175"/>
                  </a:lnTo>
                  <a:lnTo>
                    <a:pt x="120" y="175"/>
                  </a:lnTo>
                  <a:lnTo>
                    <a:pt x="120" y="173"/>
                  </a:lnTo>
                  <a:lnTo>
                    <a:pt x="120" y="170"/>
                  </a:lnTo>
                  <a:lnTo>
                    <a:pt x="120" y="170"/>
                  </a:lnTo>
                  <a:lnTo>
                    <a:pt x="120" y="170"/>
                  </a:lnTo>
                  <a:lnTo>
                    <a:pt x="120" y="170"/>
                  </a:lnTo>
                  <a:lnTo>
                    <a:pt x="120" y="168"/>
                  </a:lnTo>
                  <a:lnTo>
                    <a:pt x="118" y="168"/>
                  </a:lnTo>
                  <a:lnTo>
                    <a:pt x="118" y="168"/>
                  </a:lnTo>
                  <a:lnTo>
                    <a:pt x="118" y="165"/>
                  </a:lnTo>
                  <a:lnTo>
                    <a:pt x="118" y="165"/>
                  </a:lnTo>
                  <a:lnTo>
                    <a:pt x="118" y="163"/>
                  </a:lnTo>
                  <a:lnTo>
                    <a:pt x="115" y="163"/>
                  </a:lnTo>
                  <a:lnTo>
                    <a:pt x="115" y="161"/>
                  </a:lnTo>
                  <a:lnTo>
                    <a:pt x="115" y="161"/>
                  </a:lnTo>
                  <a:lnTo>
                    <a:pt x="113" y="161"/>
                  </a:lnTo>
                  <a:lnTo>
                    <a:pt x="113" y="161"/>
                  </a:lnTo>
                  <a:lnTo>
                    <a:pt x="113" y="158"/>
                  </a:lnTo>
                  <a:lnTo>
                    <a:pt x="113" y="158"/>
                  </a:lnTo>
                  <a:lnTo>
                    <a:pt x="111" y="158"/>
                  </a:lnTo>
                  <a:lnTo>
                    <a:pt x="111" y="158"/>
                  </a:lnTo>
                  <a:lnTo>
                    <a:pt x="111" y="158"/>
                  </a:lnTo>
                  <a:lnTo>
                    <a:pt x="111" y="156"/>
                  </a:lnTo>
                  <a:lnTo>
                    <a:pt x="108" y="156"/>
                  </a:lnTo>
                  <a:lnTo>
                    <a:pt x="108" y="154"/>
                  </a:lnTo>
                  <a:lnTo>
                    <a:pt x="108" y="154"/>
                  </a:lnTo>
                  <a:lnTo>
                    <a:pt x="108" y="156"/>
                  </a:lnTo>
                  <a:lnTo>
                    <a:pt x="106" y="154"/>
                  </a:lnTo>
                  <a:lnTo>
                    <a:pt x="104" y="154"/>
                  </a:lnTo>
                  <a:lnTo>
                    <a:pt x="104" y="151"/>
                  </a:lnTo>
                  <a:lnTo>
                    <a:pt x="104" y="151"/>
                  </a:lnTo>
                  <a:lnTo>
                    <a:pt x="101" y="151"/>
                  </a:lnTo>
                  <a:lnTo>
                    <a:pt x="104" y="149"/>
                  </a:lnTo>
                  <a:lnTo>
                    <a:pt x="101" y="149"/>
                  </a:lnTo>
                  <a:lnTo>
                    <a:pt x="101" y="147"/>
                  </a:lnTo>
                  <a:lnTo>
                    <a:pt x="101" y="144"/>
                  </a:lnTo>
                  <a:lnTo>
                    <a:pt x="104" y="144"/>
                  </a:lnTo>
                  <a:lnTo>
                    <a:pt x="108" y="142"/>
                  </a:lnTo>
                  <a:lnTo>
                    <a:pt x="108" y="142"/>
                  </a:lnTo>
                  <a:lnTo>
                    <a:pt x="108" y="142"/>
                  </a:lnTo>
                  <a:lnTo>
                    <a:pt x="108" y="142"/>
                  </a:lnTo>
                  <a:lnTo>
                    <a:pt x="108" y="142"/>
                  </a:lnTo>
                  <a:lnTo>
                    <a:pt x="106" y="142"/>
                  </a:lnTo>
                  <a:lnTo>
                    <a:pt x="106" y="142"/>
                  </a:lnTo>
                  <a:lnTo>
                    <a:pt x="104" y="142"/>
                  </a:lnTo>
                  <a:lnTo>
                    <a:pt x="104" y="142"/>
                  </a:lnTo>
                  <a:lnTo>
                    <a:pt x="104" y="139"/>
                  </a:lnTo>
                  <a:lnTo>
                    <a:pt x="104" y="139"/>
                  </a:lnTo>
                  <a:lnTo>
                    <a:pt x="101" y="139"/>
                  </a:lnTo>
                  <a:lnTo>
                    <a:pt x="101" y="137"/>
                  </a:lnTo>
                  <a:lnTo>
                    <a:pt x="101" y="137"/>
                  </a:lnTo>
                  <a:lnTo>
                    <a:pt x="101" y="137"/>
                  </a:lnTo>
                  <a:lnTo>
                    <a:pt x="99" y="135"/>
                  </a:lnTo>
                  <a:lnTo>
                    <a:pt x="97" y="135"/>
                  </a:lnTo>
                  <a:lnTo>
                    <a:pt x="97" y="135"/>
                  </a:lnTo>
                  <a:lnTo>
                    <a:pt x="97" y="132"/>
                  </a:lnTo>
                  <a:lnTo>
                    <a:pt x="94" y="132"/>
                  </a:lnTo>
                  <a:lnTo>
                    <a:pt x="94" y="130"/>
                  </a:lnTo>
                  <a:lnTo>
                    <a:pt x="92" y="130"/>
                  </a:lnTo>
                  <a:lnTo>
                    <a:pt x="92" y="130"/>
                  </a:lnTo>
                  <a:lnTo>
                    <a:pt x="92" y="130"/>
                  </a:lnTo>
                  <a:lnTo>
                    <a:pt x="92" y="130"/>
                  </a:lnTo>
                  <a:lnTo>
                    <a:pt x="89" y="128"/>
                  </a:lnTo>
                  <a:lnTo>
                    <a:pt x="89" y="125"/>
                  </a:lnTo>
                  <a:lnTo>
                    <a:pt x="87" y="128"/>
                  </a:lnTo>
                  <a:lnTo>
                    <a:pt x="85" y="128"/>
                  </a:lnTo>
                  <a:lnTo>
                    <a:pt x="85" y="125"/>
                  </a:lnTo>
                  <a:lnTo>
                    <a:pt x="85" y="128"/>
                  </a:lnTo>
                  <a:lnTo>
                    <a:pt x="85" y="128"/>
                  </a:lnTo>
                  <a:lnTo>
                    <a:pt x="82" y="130"/>
                  </a:lnTo>
                  <a:lnTo>
                    <a:pt x="82" y="125"/>
                  </a:lnTo>
                  <a:lnTo>
                    <a:pt x="80" y="125"/>
                  </a:lnTo>
                  <a:lnTo>
                    <a:pt x="80" y="125"/>
                  </a:lnTo>
                  <a:lnTo>
                    <a:pt x="80" y="125"/>
                  </a:lnTo>
                  <a:lnTo>
                    <a:pt x="80" y="125"/>
                  </a:lnTo>
                  <a:lnTo>
                    <a:pt x="80" y="123"/>
                  </a:lnTo>
                  <a:lnTo>
                    <a:pt x="80" y="121"/>
                  </a:lnTo>
                  <a:lnTo>
                    <a:pt x="82" y="118"/>
                  </a:lnTo>
                  <a:lnTo>
                    <a:pt x="89" y="118"/>
                  </a:lnTo>
                  <a:lnTo>
                    <a:pt x="89" y="118"/>
                  </a:lnTo>
                  <a:lnTo>
                    <a:pt x="92" y="118"/>
                  </a:lnTo>
                  <a:lnTo>
                    <a:pt x="94" y="118"/>
                  </a:lnTo>
                  <a:lnTo>
                    <a:pt x="94" y="121"/>
                  </a:lnTo>
                  <a:lnTo>
                    <a:pt x="94" y="121"/>
                  </a:lnTo>
                  <a:lnTo>
                    <a:pt x="94" y="121"/>
                  </a:lnTo>
                  <a:lnTo>
                    <a:pt x="97" y="123"/>
                  </a:lnTo>
                  <a:lnTo>
                    <a:pt x="99" y="123"/>
                  </a:lnTo>
                  <a:lnTo>
                    <a:pt x="101" y="123"/>
                  </a:lnTo>
                  <a:lnTo>
                    <a:pt x="104" y="123"/>
                  </a:lnTo>
                  <a:lnTo>
                    <a:pt x="108" y="123"/>
                  </a:lnTo>
                  <a:lnTo>
                    <a:pt x="115" y="123"/>
                  </a:lnTo>
                  <a:lnTo>
                    <a:pt x="118" y="123"/>
                  </a:lnTo>
                  <a:lnTo>
                    <a:pt x="118" y="123"/>
                  </a:lnTo>
                  <a:lnTo>
                    <a:pt x="118" y="123"/>
                  </a:lnTo>
                  <a:lnTo>
                    <a:pt x="120" y="123"/>
                  </a:lnTo>
                  <a:lnTo>
                    <a:pt x="120" y="121"/>
                  </a:lnTo>
                  <a:lnTo>
                    <a:pt x="120" y="121"/>
                  </a:lnTo>
                  <a:lnTo>
                    <a:pt x="120" y="121"/>
                  </a:lnTo>
                  <a:lnTo>
                    <a:pt x="120" y="118"/>
                  </a:lnTo>
                  <a:lnTo>
                    <a:pt x="120" y="118"/>
                  </a:lnTo>
                  <a:lnTo>
                    <a:pt x="120" y="116"/>
                  </a:lnTo>
                  <a:lnTo>
                    <a:pt x="118" y="116"/>
                  </a:lnTo>
                  <a:lnTo>
                    <a:pt x="118" y="111"/>
                  </a:lnTo>
                  <a:lnTo>
                    <a:pt x="118" y="109"/>
                  </a:lnTo>
                  <a:lnTo>
                    <a:pt x="118" y="104"/>
                  </a:lnTo>
                  <a:lnTo>
                    <a:pt x="118" y="104"/>
                  </a:lnTo>
                  <a:lnTo>
                    <a:pt x="113" y="102"/>
                  </a:lnTo>
                  <a:lnTo>
                    <a:pt x="111" y="102"/>
                  </a:lnTo>
                  <a:lnTo>
                    <a:pt x="111" y="102"/>
                  </a:lnTo>
                  <a:lnTo>
                    <a:pt x="108" y="99"/>
                  </a:lnTo>
                  <a:lnTo>
                    <a:pt x="106" y="99"/>
                  </a:lnTo>
                  <a:lnTo>
                    <a:pt x="108" y="99"/>
                  </a:lnTo>
                  <a:lnTo>
                    <a:pt x="106" y="99"/>
                  </a:lnTo>
                  <a:lnTo>
                    <a:pt x="106" y="97"/>
                  </a:lnTo>
                  <a:lnTo>
                    <a:pt x="104" y="99"/>
                  </a:lnTo>
                  <a:lnTo>
                    <a:pt x="106" y="97"/>
                  </a:lnTo>
                  <a:lnTo>
                    <a:pt x="104" y="97"/>
                  </a:lnTo>
                  <a:lnTo>
                    <a:pt x="104" y="97"/>
                  </a:lnTo>
                  <a:lnTo>
                    <a:pt x="104" y="97"/>
                  </a:lnTo>
                  <a:lnTo>
                    <a:pt x="106" y="95"/>
                  </a:lnTo>
                  <a:lnTo>
                    <a:pt x="106" y="95"/>
                  </a:lnTo>
                  <a:lnTo>
                    <a:pt x="106" y="95"/>
                  </a:lnTo>
                  <a:lnTo>
                    <a:pt x="106" y="92"/>
                  </a:lnTo>
                  <a:lnTo>
                    <a:pt x="106" y="85"/>
                  </a:lnTo>
                  <a:lnTo>
                    <a:pt x="108" y="85"/>
                  </a:lnTo>
                  <a:lnTo>
                    <a:pt x="108" y="83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8" y="73"/>
                  </a:lnTo>
                  <a:lnTo>
                    <a:pt x="108" y="73"/>
                  </a:lnTo>
                  <a:lnTo>
                    <a:pt x="104" y="73"/>
                  </a:lnTo>
                  <a:lnTo>
                    <a:pt x="99" y="73"/>
                  </a:lnTo>
                  <a:lnTo>
                    <a:pt x="89" y="71"/>
                  </a:lnTo>
                  <a:lnTo>
                    <a:pt x="87" y="71"/>
                  </a:lnTo>
                  <a:lnTo>
                    <a:pt x="89" y="69"/>
                  </a:lnTo>
                  <a:lnTo>
                    <a:pt x="92" y="69"/>
                  </a:lnTo>
                  <a:lnTo>
                    <a:pt x="92" y="66"/>
                  </a:lnTo>
                  <a:lnTo>
                    <a:pt x="89" y="66"/>
                  </a:lnTo>
                  <a:lnTo>
                    <a:pt x="89" y="66"/>
                  </a:lnTo>
                  <a:lnTo>
                    <a:pt x="89" y="64"/>
                  </a:lnTo>
                  <a:lnTo>
                    <a:pt x="92" y="64"/>
                  </a:lnTo>
                  <a:lnTo>
                    <a:pt x="92" y="62"/>
                  </a:lnTo>
                  <a:lnTo>
                    <a:pt x="92" y="62"/>
                  </a:lnTo>
                  <a:lnTo>
                    <a:pt x="92" y="59"/>
                  </a:lnTo>
                  <a:lnTo>
                    <a:pt x="92" y="57"/>
                  </a:lnTo>
                  <a:lnTo>
                    <a:pt x="92" y="54"/>
                  </a:lnTo>
                  <a:lnTo>
                    <a:pt x="92" y="52"/>
                  </a:lnTo>
                  <a:lnTo>
                    <a:pt x="94" y="50"/>
                  </a:lnTo>
                  <a:lnTo>
                    <a:pt x="99" y="47"/>
                  </a:lnTo>
                  <a:lnTo>
                    <a:pt x="99" y="47"/>
                  </a:lnTo>
                  <a:lnTo>
                    <a:pt x="99" y="45"/>
                  </a:lnTo>
                  <a:lnTo>
                    <a:pt x="99" y="45"/>
                  </a:lnTo>
                  <a:lnTo>
                    <a:pt x="99" y="45"/>
                  </a:lnTo>
                  <a:lnTo>
                    <a:pt x="99" y="43"/>
                  </a:lnTo>
                  <a:lnTo>
                    <a:pt x="99" y="43"/>
                  </a:lnTo>
                  <a:lnTo>
                    <a:pt x="99" y="43"/>
                  </a:lnTo>
                  <a:lnTo>
                    <a:pt x="99" y="40"/>
                  </a:lnTo>
                  <a:lnTo>
                    <a:pt x="99" y="40"/>
                  </a:lnTo>
                  <a:lnTo>
                    <a:pt x="101" y="38"/>
                  </a:lnTo>
                  <a:lnTo>
                    <a:pt x="104" y="38"/>
                  </a:lnTo>
                  <a:lnTo>
                    <a:pt x="104" y="38"/>
                  </a:lnTo>
                  <a:lnTo>
                    <a:pt x="104" y="36"/>
                  </a:lnTo>
                  <a:lnTo>
                    <a:pt x="106" y="36"/>
                  </a:lnTo>
                  <a:lnTo>
                    <a:pt x="106" y="38"/>
                  </a:lnTo>
                  <a:lnTo>
                    <a:pt x="106" y="38"/>
                  </a:lnTo>
                  <a:lnTo>
                    <a:pt x="108" y="33"/>
                  </a:lnTo>
                  <a:lnTo>
                    <a:pt x="108" y="33"/>
                  </a:lnTo>
                  <a:lnTo>
                    <a:pt x="108" y="36"/>
                  </a:lnTo>
                  <a:lnTo>
                    <a:pt x="111" y="36"/>
                  </a:lnTo>
                  <a:lnTo>
                    <a:pt x="113" y="33"/>
                  </a:lnTo>
                  <a:lnTo>
                    <a:pt x="113" y="33"/>
                  </a:lnTo>
                  <a:lnTo>
                    <a:pt x="115" y="33"/>
                  </a:lnTo>
                  <a:lnTo>
                    <a:pt x="115" y="33"/>
                  </a:lnTo>
                  <a:lnTo>
                    <a:pt x="118" y="33"/>
                  </a:lnTo>
                  <a:lnTo>
                    <a:pt x="118" y="33"/>
                  </a:lnTo>
                  <a:lnTo>
                    <a:pt x="118" y="33"/>
                  </a:lnTo>
                  <a:lnTo>
                    <a:pt x="118" y="31"/>
                  </a:lnTo>
                  <a:lnTo>
                    <a:pt x="118" y="31"/>
                  </a:lnTo>
                  <a:lnTo>
                    <a:pt x="118" y="31"/>
                  </a:lnTo>
                  <a:lnTo>
                    <a:pt x="120" y="31"/>
                  </a:lnTo>
                  <a:lnTo>
                    <a:pt x="120" y="31"/>
                  </a:lnTo>
                  <a:lnTo>
                    <a:pt x="123" y="28"/>
                  </a:lnTo>
                  <a:lnTo>
                    <a:pt x="123" y="28"/>
                  </a:lnTo>
                  <a:lnTo>
                    <a:pt x="123" y="28"/>
                  </a:lnTo>
                  <a:lnTo>
                    <a:pt x="123" y="28"/>
                  </a:lnTo>
                  <a:lnTo>
                    <a:pt x="125" y="28"/>
                  </a:lnTo>
                  <a:lnTo>
                    <a:pt x="125" y="31"/>
                  </a:lnTo>
                  <a:lnTo>
                    <a:pt x="127" y="31"/>
                  </a:lnTo>
                  <a:lnTo>
                    <a:pt x="127" y="31"/>
                  </a:lnTo>
                  <a:lnTo>
                    <a:pt x="127" y="33"/>
                  </a:lnTo>
                  <a:lnTo>
                    <a:pt x="130" y="33"/>
                  </a:lnTo>
                  <a:lnTo>
                    <a:pt x="130" y="33"/>
                  </a:lnTo>
                  <a:lnTo>
                    <a:pt x="130" y="33"/>
                  </a:lnTo>
                  <a:lnTo>
                    <a:pt x="132" y="33"/>
                  </a:lnTo>
                  <a:lnTo>
                    <a:pt x="132" y="33"/>
                  </a:lnTo>
                  <a:lnTo>
                    <a:pt x="137" y="33"/>
                  </a:lnTo>
                  <a:lnTo>
                    <a:pt x="137" y="36"/>
                  </a:lnTo>
                  <a:lnTo>
                    <a:pt x="139" y="33"/>
                  </a:lnTo>
                  <a:lnTo>
                    <a:pt x="139" y="28"/>
                  </a:lnTo>
                  <a:lnTo>
                    <a:pt x="123" y="12"/>
                  </a:lnTo>
                  <a:lnTo>
                    <a:pt x="123" y="12"/>
                  </a:lnTo>
                  <a:lnTo>
                    <a:pt x="125" y="12"/>
                  </a:lnTo>
                  <a:lnTo>
                    <a:pt x="125" y="10"/>
                  </a:lnTo>
                  <a:lnTo>
                    <a:pt x="127" y="12"/>
                  </a:lnTo>
                  <a:lnTo>
                    <a:pt x="127" y="12"/>
                  </a:lnTo>
                  <a:lnTo>
                    <a:pt x="127" y="12"/>
                  </a:lnTo>
                  <a:lnTo>
                    <a:pt x="130" y="12"/>
                  </a:lnTo>
                  <a:lnTo>
                    <a:pt x="132" y="10"/>
                  </a:lnTo>
                  <a:lnTo>
                    <a:pt x="132" y="10"/>
                  </a:lnTo>
                  <a:lnTo>
                    <a:pt x="132" y="10"/>
                  </a:lnTo>
                  <a:lnTo>
                    <a:pt x="134" y="10"/>
                  </a:lnTo>
                  <a:lnTo>
                    <a:pt x="134" y="7"/>
                  </a:lnTo>
                  <a:lnTo>
                    <a:pt x="137" y="10"/>
                  </a:lnTo>
                  <a:lnTo>
                    <a:pt x="137" y="10"/>
                  </a:lnTo>
                  <a:lnTo>
                    <a:pt x="137" y="10"/>
                  </a:lnTo>
                  <a:lnTo>
                    <a:pt x="137" y="12"/>
                  </a:lnTo>
                  <a:lnTo>
                    <a:pt x="139" y="12"/>
                  </a:lnTo>
                  <a:lnTo>
                    <a:pt x="139" y="12"/>
                  </a:lnTo>
                  <a:lnTo>
                    <a:pt x="139" y="12"/>
                  </a:lnTo>
                  <a:lnTo>
                    <a:pt x="139" y="12"/>
                  </a:lnTo>
                  <a:lnTo>
                    <a:pt x="139" y="14"/>
                  </a:lnTo>
                  <a:lnTo>
                    <a:pt x="139" y="14"/>
                  </a:lnTo>
                  <a:lnTo>
                    <a:pt x="141" y="14"/>
                  </a:lnTo>
                  <a:lnTo>
                    <a:pt x="141" y="14"/>
                  </a:lnTo>
                  <a:lnTo>
                    <a:pt x="144" y="14"/>
                  </a:lnTo>
                  <a:lnTo>
                    <a:pt x="146" y="14"/>
                  </a:lnTo>
                  <a:lnTo>
                    <a:pt x="146" y="14"/>
                  </a:lnTo>
                  <a:lnTo>
                    <a:pt x="146" y="17"/>
                  </a:lnTo>
                  <a:lnTo>
                    <a:pt x="148" y="17"/>
                  </a:lnTo>
                  <a:lnTo>
                    <a:pt x="151" y="14"/>
                  </a:lnTo>
                  <a:lnTo>
                    <a:pt x="151" y="17"/>
                  </a:lnTo>
                  <a:lnTo>
                    <a:pt x="151" y="14"/>
                  </a:lnTo>
                  <a:lnTo>
                    <a:pt x="153" y="17"/>
                  </a:lnTo>
                  <a:lnTo>
                    <a:pt x="156" y="14"/>
                  </a:lnTo>
                  <a:lnTo>
                    <a:pt x="156" y="14"/>
                  </a:lnTo>
                  <a:lnTo>
                    <a:pt x="158" y="12"/>
                  </a:lnTo>
                  <a:lnTo>
                    <a:pt x="158" y="12"/>
                  </a:lnTo>
                  <a:lnTo>
                    <a:pt x="160" y="10"/>
                  </a:lnTo>
                  <a:lnTo>
                    <a:pt x="158" y="10"/>
                  </a:lnTo>
                  <a:lnTo>
                    <a:pt x="160" y="7"/>
                  </a:lnTo>
                  <a:lnTo>
                    <a:pt x="160" y="7"/>
                  </a:lnTo>
                  <a:lnTo>
                    <a:pt x="160" y="5"/>
                  </a:lnTo>
                  <a:lnTo>
                    <a:pt x="160" y="5"/>
                  </a:lnTo>
                  <a:lnTo>
                    <a:pt x="163" y="5"/>
                  </a:lnTo>
                  <a:lnTo>
                    <a:pt x="163" y="2"/>
                  </a:lnTo>
                  <a:lnTo>
                    <a:pt x="165" y="2"/>
                  </a:lnTo>
                  <a:lnTo>
                    <a:pt x="167" y="2"/>
                  </a:lnTo>
                  <a:lnTo>
                    <a:pt x="172" y="0"/>
                  </a:lnTo>
                  <a:lnTo>
                    <a:pt x="172" y="0"/>
                  </a:lnTo>
                  <a:lnTo>
                    <a:pt x="174" y="2"/>
                  </a:lnTo>
                  <a:lnTo>
                    <a:pt x="177" y="2"/>
                  </a:lnTo>
                  <a:lnTo>
                    <a:pt x="179" y="5"/>
                  </a:lnTo>
                  <a:lnTo>
                    <a:pt x="179" y="2"/>
                  </a:lnTo>
                  <a:lnTo>
                    <a:pt x="184" y="5"/>
                  </a:lnTo>
                  <a:lnTo>
                    <a:pt x="184" y="5"/>
                  </a:lnTo>
                  <a:lnTo>
                    <a:pt x="189" y="5"/>
                  </a:lnTo>
                  <a:lnTo>
                    <a:pt x="189" y="5"/>
                  </a:lnTo>
                  <a:lnTo>
                    <a:pt x="191" y="5"/>
                  </a:lnTo>
                  <a:lnTo>
                    <a:pt x="191" y="5"/>
                  </a:lnTo>
                  <a:lnTo>
                    <a:pt x="193" y="5"/>
                  </a:lnTo>
                  <a:lnTo>
                    <a:pt x="193" y="5"/>
                  </a:lnTo>
                  <a:lnTo>
                    <a:pt x="196" y="5"/>
                  </a:lnTo>
                  <a:lnTo>
                    <a:pt x="196" y="5"/>
                  </a:lnTo>
                  <a:lnTo>
                    <a:pt x="198" y="5"/>
                  </a:lnTo>
                  <a:lnTo>
                    <a:pt x="198" y="7"/>
                  </a:lnTo>
                  <a:lnTo>
                    <a:pt x="200" y="7"/>
                  </a:lnTo>
                  <a:lnTo>
                    <a:pt x="200" y="7"/>
                  </a:lnTo>
                  <a:lnTo>
                    <a:pt x="203" y="10"/>
                  </a:lnTo>
                  <a:lnTo>
                    <a:pt x="203" y="10"/>
                  </a:lnTo>
                  <a:lnTo>
                    <a:pt x="205" y="10"/>
                  </a:lnTo>
                  <a:lnTo>
                    <a:pt x="210" y="12"/>
                  </a:lnTo>
                  <a:lnTo>
                    <a:pt x="229" y="24"/>
                  </a:lnTo>
                  <a:lnTo>
                    <a:pt x="243" y="33"/>
                  </a:lnTo>
                  <a:lnTo>
                    <a:pt x="248" y="38"/>
                  </a:lnTo>
                  <a:lnTo>
                    <a:pt x="248" y="38"/>
                  </a:lnTo>
                  <a:lnTo>
                    <a:pt x="276" y="57"/>
                  </a:lnTo>
                  <a:lnTo>
                    <a:pt x="278" y="57"/>
                  </a:lnTo>
                  <a:lnTo>
                    <a:pt x="278" y="57"/>
                  </a:lnTo>
                  <a:lnTo>
                    <a:pt x="278" y="59"/>
                  </a:lnTo>
                  <a:lnTo>
                    <a:pt x="278" y="59"/>
                  </a:lnTo>
                  <a:lnTo>
                    <a:pt x="276" y="69"/>
                  </a:lnTo>
                  <a:lnTo>
                    <a:pt x="276" y="69"/>
                  </a:lnTo>
                  <a:lnTo>
                    <a:pt x="274" y="76"/>
                  </a:lnTo>
                  <a:lnTo>
                    <a:pt x="271" y="80"/>
                  </a:lnTo>
                  <a:lnTo>
                    <a:pt x="271" y="85"/>
                  </a:lnTo>
                  <a:lnTo>
                    <a:pt x="271" y="87"/>
                  </a:lnTo>
                  <a:lnTo>
                    <a:pt x="271" y="92"/>
                  </a:lnTo>
                  <a:lnTo>
                    <a:pt x="274" y="92"/>
                  </a:lnTo>
                  <a:lnTo>
                    <a:pt x="271" y="97"/>
                  </a:lnTo>
                  <a:lnTo>
                    <a:pt x="269" y="106"/>
                  </a:lnTo>
                  <a:lnTo>
                    <a:pt x="269" y="116"/>
                  </a:lnTo>
                  <a:lnTo>
                    <a:pt x="269" y="123"/>
                  </a:lnTo>
                  <a:lnTo>
                    <a:pt x="271" y="139"/>
                  </a:lnTo>
                  <a:lnTo>
                    <a:pt x="274" y="158"/>
                  </a:lnTo>
                  <a:lnTo>
                    <a:pt x="274" y="168"/>
                  </a:lnTo>
                  <a:lnTo>
                    <a:pt x="276" y="177"/>
                  </a:lnTo>
                  <a:lnTo>
                    <a:pt x="276" y="184"/>
                  </a:lnTo>
                  <a:lnTo>
                    <a:pt x="276" y="194"/>
                  </a:lnTo>
                  <a:lnTo>
                    <a:pt x="271" y="206"/>
                  </a:lnTo>
                  <a:lnTo>
                    <a:pt x="267" y="217"/>
                  </a:lnTo>
                  <a:lnTo>
                    <a:pt x="262" y="227"/>
                  </a:lnTo>
                  <a:lnTo>
                    <a:pt x="262" y="229"/>
                  </a:lnTo>
                  <a:lnTo>
                    <a:pt x="260" y="232"/>
                  </a:lnTo>
                  <a:lnTo>
                    <a:pt x="260" y="232"/>
                  </a:lnTo>
                  <a:lnTo>
                    <a:pt x="257" y="232"/>
                  </a:lnTo>
                  <a:lnTo>
                    <a:pt x="252" y="232"/>
                  </a:lnTo>
                  <a:lnTo>
                    <a:pt x="248" y="234"/>
                  </a:lnTo>
                  <a:lnTo>
                    <a:pt x="245" y="236"/>
                  </a:lnTo>
                  <a:lnTo>
                    <a:pt x="241" y="241"/>
                  </a:lnTo>
                  <a:lnTo>
                    <a:pt x="234" y="248"/>
                  </a:lnTo>
                  <a:lnTo>
                    <a:pt x="231" y="250"/>
                  </a:lnTo>
                  <a:lnTo>
                    <a:pt x="231" y="253"/>
                  </a:lnTo>
                  <a:lnTo>
                    <a:pt x="231" y="253"/>
                  </a:lnTo>
                  <a:lnTo>
                    <a:pt x="229" y="258"/>
                  </a:lnTo>
                  <a:lnTo>
                    <a:pt x="229" y="260"/>
                  </a:lnTo>
                  <a:lnTo>
                    <a:pt x="226" y="260"/>
                  </a:lnTo>
                  <a:lnTo>
                    <a:pt x="226" y="262"/>
                  </a:lnTo>
                  <a:lnTo>
                    <a:pt x="226" y="262"/>
                  </a:lnTo>
                  <a:lnTo>
                    <a:pt x="224" y="262"/>
                  </a:lnTo>
                  <a:lnTo>
                    <a:pt x="224" y="265"/>
                  </a:lnTo>
                  <a:lnTo>
                    <a:pt x="222" y="267"/>
                  </a:lnTo>
                  <a:lnTo>
                    <a:pt x="222" y="267"/>
                  </a:lnTo>
                  <a:lnTo>
                    <a:pt x="219" y="269"/>
                  </a:lnTo>
                  <a:lnTo>
                    <a:pt x="219" y="269"/>
                  </a:lnTo>
                  <a:lnTo>
                    <a:pt x="222" y="272"/>
                  </a:lnTo>
                  <a:lnTo>
                    <a:pt x="219" y="272"/>
                  </a:lnTo>
                  <a:lnTo>
                    <a:pt x="219" y="274"/>
                  </a:lnTo>
                  <a:lnTo>
                    <a:pt x="219" y="274"/>
                  </a:lnTo>
                  <a:lnTo>
                    <a:pt x="219" y="276"/>
                  </a:lnTo>
                  <a:lnTo>
                    <a:pt x="219" y="276"/>
                  </a:lnTo>
                  <a:lnTo>
                    <a:pt x="217" y="281"/>
                  </a:lnTo>
                  <a:lnTo>
                    <a:pt x="215" y="281"/>
                  </a:lnTo>
                  <a:lnTo>
                    <a:pt x="212" y="284"/>
                  </a:lnTo>
                  <a:lnTo>
                    <a:pt x="215" y="286"/>
                  </a:lnTo>
                  <a:lnTo>
                    <a:pt x="215" y="291"/>
                  </a:lnTo>
                  <a:lnTo>
                    <a:pt x="215" y="295"/>
                  </a:lnTo>
                  <a:lnTo>
                    <a:pt x="215" y="298"/>
                  </a:lnTo>
                  <a:lnTo>
                    <a:pt x="212" y="300"/>
                  </a:lnTo>
                  <a:lnTo>
                    <a:pt x="212" y="302"/>
                  </a:lnTo>
                  <a:lnTo>
                    <a:pt x="212" y="305"/>
                  </a:lnTo>
                  <a:lnTo>
                    <a:pt x="210" y="307"/>
                  </a:lnTo>
                  <a:lnTo>
                    <a:pt x="208" y="310"/>
                  </a:lnTo>
                  <a:lnTo>
                    <a:pt x="208" y="312"/>
                  </a:lnTo>
                  <a:lnTo>
                    <a:pt x="208" y="314"/>
                  </a:lnTo>
                  <a:lnTo>
                    <a:pt x="205" y="314"/>
                  </a:lnTo>
                  <a:lnTo>
                    <a:pt x="205" y="314"/>
                  </a:lnTo>
                  <a:lnTo>
                    <a:pt x="205" y="312"/>
                  </a:lnTo>
                  <a:lnTo>
                    <a:pt x="205" y="310"/>
                  </a:lnTo>
                  <a:lnTo>
                    <a:pt x="203" y="310"/>
                  </a:lnTo>
                  <a:lnTo>
                    <a:pt x="200" y="312"/>
                  </a:lnTo>
                  <a:lnTo>
                    <a:pt x="200" y="314"/>
                  </a:lnTo>
                  <a:lnTo>
                    <a:pt x="200" y="314"/>
                  </a:lnTo>
                  <a:lnTo>
                    <a:pt x="200" y="314"/>
                  </a:lnTo>
                  <a:lnTo>
                    <a:pt x="203" y="314"/>
                  </a:lnTo>
                  <a:lnTo>
                    <a:pt x="203" y="317"/>
                  </a:lnTo>
                  <a:lnTo>
                    <a:pt x="200" y="317"/>
                  </a:lnTo>
                  <a:lnTo>
                    <a:pt x="200" y="317"/>
                  </a:lnTo>
                  <a:lnTo>
                    <a:pt x="203" y="317"/>
                  </a:lnTo>
                  <a:lnTo>
                    <a:pt x="203" y="317"/>
                  </a:lnTo>
                  <a:lnTo>
                    <a:pt x="200" y="317"/>
                  </a:lnTo>
                  <a:lnTo>
                    <a:pt x="200" y="317"/>
                  </a:lnTo>
                  <a:lnTo>
                    <a:pt x="200" y="319"/>
                  </a:lnTo>
                  <a:lnTo>
                    <a:pt x="203" y="317"/>
                  </a:lnTo>
                  <a:lnTo>
                    <a:pt x="203" y="317"/>
                  </a:lnTo>
                  <a:lnTo>
                    <a:pt x="203" y="317"/>
                  </a:lnTo>
                  <a:lnTo>
                    <a:pt x="203" y="319"/>
                  </a:lnTo>
                  <a:lnTo>
                    <a:pt x="203" y="319"/>
                  </a:lnTo>
                  <a:lnTo>
                    <a:pt x="203" y="319"/>
                  </a:lnTo>
                  <a:lnTo>
                    <a:pt x="203" y="319"/>
                  </a:lnTo>
                  <a:lnTo>
                    <a:pt x="203" y="319"/>
                  </a:lnTo>
                  <a:lnTo>
                    <a:pt x="203" y="319"/>
                  </a:lnTo>
                  <a:lnTo>
                    <a:pt x="203" y="319"/>
                  </a:lnTo>
                  <a:lnTo>
                    <a:pt x="200" y="321"/>
                  </a:lnTo>
                  <a:lnTo>
                    <a:pt x="200" y="324"/>
                  </a:lnTo>
                  <a:lnTo>
                    <a:pt x="198" y="326"/>
                  </a:lnTo>
                  <a:lnTo>
                    <a:pt x="196" y="331"/>
                  </a:lnTo>
                  <a:lnTo>
                    <a:pt x="196" y="331"/>
                  </a:lnTo>
                  <a:lnTo>
                    <a:pt x="193" y="338"/>
                  </a:lnTo>
                  <a:lnTo>
                    <a:pt x="191" y="343"/>
                  </a:lnTo>
                  <a:lnTo>
                    <a:pt x="191" y="343"/>
                  </a:lnTo>
                  <a:lnTo>
                    <a:pt x="191" y="343"/>
                  </a:lnTo>
                  <a:lnTo>
                    <a:pt x="191" y="345"/>
                  </a:lnTo>
                  <a:lnTo>
                    <a:pt x="186" y="352"/>
                  </a:lnTo>
                  <a:lnTo>
                    <a:pt x="186" y="354"/>
                  </a:lnTo>
                  <a:lnTo>
                    <a:pt x="184" y="357"/>
                  </a:lnTo>
                  <a:lnTo>
                    <a:pt x="184" y="359"/>
                  </a:lnTo>
                  <a:lnTo>
                    <a:pt x="184" y="359"/>
                  </a:lnTo>
                  <a:lnTo>
                    <a:pt x="184" y="359"/>
                  </a:lnTo>
                  <a:lnTo>
                    <a:pt x="182" y="359"/>
                  </a:lnTo>
                  <a:lnTo>
                    <a:pt x="182" y="359"/>
                  </a:lnTo>
                  <a:lnTo>
                    <a:pt x="182" y="359"/>
                  </a:lnTo>
                  <a:lnTo>
                    <a:pt x="182" y="359"/>
                  </a:lnTo>
                  <a:lnTo>
                    <a:pt x="182" y="359"/>
                  </a:lnTo>
                  <a:lnTo>
                    <a:pt x="179" y="357"/>
                  </a:lnTo>
                  <a:lnTo>
                    <a:pt x="179" y="359"/>
                  </a:lnTo>
                  <a:lnTo>
                    <a:pt x="177" y="359"/>
                  </a:lnTo>
                  <a:lnTo>
                    <a:pt x="179" y="359"/>
                  </a:lnTo>
                  <a:lnTo>
                    <a:pt x="177" y="359"/>
                  </a:lnTo>
                  <a:lnTo>
                    <a:pt x="177" y="361"/>
                  </a:lnTo>
                  <a:lnTo>
                    <a:pt x="177" y="361"/>
                  </a:lnTo>
                  <a:lnTo>
                    <a:pt x="179" y="361"/>
                  </a:lnTo>
                  <a:lnTo>
                    <a:pt x="177" y="361"/>
                  </a:lnTo>
                  <a:lnTo>
                    <a:pt x="177" y="361"/>
                  </a:lnTo>
                  <a:lnTo>
                    <a:pt x="177" y="361"/>
                  </a:lnTo>
                  <a:lnTo>
                    <a:pt x="177" y="361"/>
                  </a:lnTo>
                  <a:lnTo>
                    <a:pt x="174" y="361"/>
                  </a:lnTo>
                  <a:lnTo>
                    <a:pt x="174" y="361"/>
                  </a:lnTo>
                  <a:lnTo>
                    <a:pt x="174" y="361"/>
                  </a:lnTo>
                  <a:lnTo>
                    <a:pt x="174" y="364"/>
                  </a:lnTo>
                  <a:lnTo>
                    <a:pt x="174" y="361"/>
                  </a:lnTo>
                  <a:lnTo>
                    <a:pt x="174" y="364"/>
                  </a:lnTo>
                  <a:lnTo>
                    <a:pt x="174" y="364"/>
                  </a:lnTo>
                  <a:lnTo>
                    <a:pt x="174" y="364"/>
                  </a:lnTo>
                  <a:lnTo>
                    <a:pt x="174" y="364"/>
                  </a:lnTo>
                  <a:lnTo>
                    <a:pt x="174" y="364"/>
                  </a:lnTo>
                  <a:lnTo>
                    <a:pt x="172" y="366"/>
                  </a:lnTo>
                  <a:lnTo>
                    <a:pt x="172" y="371"/>
                  </a:lnTo>
                  <a:lnTo>
                    <a:pt x="172" y="371"/>
                  </a:lnTo>
                  <a:lnTo>
                    <a:pt x="172" y="371"/>
                  </a:lnTo>
                  <a:lnTo>
                    <a:pt x="172" y="371"/>
                  </a:lnTo>
                  <a:lnTo>
                    <a:pt x="170" y="371"/>
                  </a:lnTo>
                  <a:lnTo>
                    <a:pt x="170" y="373"/>
                  </a:lnTo>
                  <a:lnTo>
                    <a:pt x="170" y="373"/>
                  </a:lnTo>
                  <a:lnTo>
                    <a:pt x="167" y="373"/>
                  </a:lnTo>
                  <a:lnTo>
                    <a:pt x="165" y="376"/>
                  </a:lnTo>
                  <a:lnTo>
                    <a:pt x="165" y="378"/>
                  </a:lnTo>
                  <a:lnTo>
                    <a:pt x="165" y="378"/>
                  </a:lnTo>
                  <a:lnTo>
                    <a:pt x="163" y="380"/>
                  </a:lnTo>
                  <a:lnTo>
                    <a:pt x="165" y="380"/>
                  </a:lnTo>
                  <a:lnTo>
                    <a:pt x="163" y="380"/>
                  </a:lnTo>
                  <a:lnTo>
                    <a:pt x="163" y="380"/>
                  </a:lnTo>
                  <a:lnTo>
                    <a:pt x="160" y="380"/>
                  </a:lnTo>
                  <a:lnTo>
                    <a:pt x="158" y="385"/>
                  </a:lnTo>
                  <a:lnTo>
                    <a:pt x="158" y="385"/>
                  </a:lnTo>
                  <a:lnTo>
                    <a:pt x="158" y="385"/>
                  </a:lnTo>
                  <a:lnTo>
                    <a:pt x="158" y="385"/>
                  </a:lnTo>
                  <a:lnTo>
                    <a:pt x="158" y="383"/>
                  </a:lnTo>
                  <a:lnTo>
                    <a:pt x="158" y="383"/>
                  </a:lnTo>
                  <a:lnTo>
                    <a:pt x="158" y="383"/>
                  </a:lnTo>
                  <a:lnTo>
                    <a:pt x="156" y="380"/>
                  </a:lnTo>
                  <a:lnTo>
                    <a:pt x="156" y="378"/>
                  </a:lnTo>
                  <a:lnTo>
                    <a:pt x="156" y="378"/>
                  </a:lnTo>
                  <a:lnTo>
                    <a:pt x="156" y="378"/>
                  </a:lnTo>
                  <a:lnTo>
                    <a:pt x="156" y="378"/>
                  </a:lnTo>
                  <a:lnTo>
                    <a:pt x="156" y="380"/>
                  </a:lnTo>
                  <a:lnTo>
                    <a:pt x="153" y="380"/>
                  </a:lnTo>
                  <a:lnTo>
                    <a:pt x="156" y="380"/>
                  </a:lnTo>
                  <a:lnTo>
                    <a:pt x="153" y="383"/>
                  </a:lnTo>
                  <a:lnTo>
                    <a:pt x="151" y="383"/>
                  </a:lnTo>
                  <a:lnTo>
                    <a:pt x="151" y="383"/>
                  </a:lnTo>
                  <a:lnTo>
                    <a:pt x="151" y="383"/>
                  </a:lnTo>
                  <a:lnTo>
                    <a:pt x="151" y="383"/>
                  </a:lnTo>
                  <a:lnTo>
                    <a:pt x="151" y="383"/>
                  </a:lnTo>
                  <a:lnTo>
                    <a:pt x="148" y="385"/>
                  </a:lnTo>
                  <a:lnTo>
                    <a:pt x="148" y="385"/>
                  </a:lnTo>
                  <a:lnTo>
                    <a:pt x="146" y="385"/>
                  </a:lnTo>
                  <a:lnTo>
                    <a:pt x="146" y="385"/>
                  </a:lnTo>
                  <a:lnTo>
                    <a:pt x="146" y="385"/>
                  </a:lnTo>
                  <a:lnTo>
                    <a:pt x="146" y="385"/>
                  </a:lnTo>
                  <a:lnTo>
                    <a:pt x="146" y="385"/>
                  </a:lnTo>
                  <a:lnTo>
                    <a:pt x="146" y="385"/>
                  </a:lnTo>
                  <a:lnTo>
                    <a:pt x="146" y="385"/>
                  </a:lnTo>
                  <a:lnTo>
                    <a:pt x="146" y="387"/>
                  </a:lnTo>
                  <a:lnTo>
                    <a:pt x="146" y="387"/>
                  </a:lnTo>
                  <a:lnTo>
                    <a:pt x="146" y="385"/>
                  </a:lnTo>
                  <a:lnTo>
                    <a:pt x="146" y="385"/>
                  </a:lnTo>
                  <a:lnTo>
                    <a:pt x="144" y="387"/>
                  </a:lnTo>
                  <a:lnTo>
                    <a:pt x="141" y="387"/>
                  </a:lnTo>
                  <a:lnTo>
                    <a:pt x="141" y="390"/>
                  </a:lnTo>
                  <a:lnTo>
                    <a:pt x="141" y="390"/>
                  </a:lnTo>
                  <a:lnTo>
                    <a:pt x="141" y="390"/>
                  </a:lnTo>
                  <a:lnTo>
                    <a:pt x="141" y="392"/>
                  </a:lnTo>
                  <a:lnTo>
                    <a:pt x="139" y="392"/>
                  </a:lnTo>
                  <a:lnTo>
                    <a:pt x="139" y="395"/>
                  </a:lnTo>
                  <a:lnTo>
                    <a:pt x="137" y="397"/>
                  </a:lnTo>
                  <a:lnTo>
                    <a:pt x="137" y="399"/>
                  </a:lnTo>
                  <a:lnTo>
                    <a:pt x="137" y="399"/>
                  </a:lnTo>
                  <a:lnTo>
                    <a:pt x="134" y="402"/>
                  </a:lnTo>
                  <a:lnTo>
                    <a:pt x="134" y="406"/>
                  </a:lnTo>
                  <a:lnTo>
                    <a:pt x="137" y="406"/>
                  </a:lnTo>
                  <a:lnTo>
                    <a:pt x="134" y="406"/>
                  </a:lnTo>
                  <a:lnTo>
                    <a:pt x="134" y="409"/>
                  </a:lnTo>
                  <a:lnTo>
                    <a:pt x="134" y="411"/>
                  </a:lnTo>
                  <a:lnTo>
                    <a:pt x="132" y="411"/>
                  </a:lnTo>
                  <a:lnTo>
                    <a:pt x="130" y="423"/>
                  </a:lnTo>
                  <a:lnTo>
                    <a:pt x="125" y="425"/>
                  </a:lnTo>
                  <a:lnTo>
                    <a:pt x="125" y="428"/>
                  </a:lnTo>
                  <a:lnTo>
                    <a:pt x="123" y="428"/>
                  </a:lnTo>
                  <a:lnTo>
                    <a:pt x="120" y="432"/>
                  </a:lnTo>
                  <a:lnTo>
                    <a:pt x="118" y="437"/>
                  </a:lnTo>
                  <a:lnTo>
                    <a:pt x="115" y="439"/>
                  </a:lnTo>
                  <a:lnTo>
                    <a:pt x="115" y="444"/>
                  </a:lnTo>
                  <a:lnTo>
                    <a:pt x="115" y="447"/>
                  </a:lnTo>
                  <a:lnTo>
                    <a:pt x="115" y="447"/>
                  </a:lnTo>
                  <a:lnTo>
                    <a:pt x="115" y="444"/>
                  </a:lnTo>
                  <a:lnTo>
                    <a:pt x="113" y="444"/>
                  </a:lnTo>
                  <a:lnTo>
                    <a:pt x="113" y="444"/>
                  </a:lnTo>
                  <a:lnTo>
                    <a:pt x="113" y="444"/>
                  </a:lnTo>
                  <a:lnTo>
                    <a:pt x="113" y="444"/>
                  </a:lnTo>
                  <a:lnTo>
                    <a:pt x="113" y="444"/>
                  </a:lnTo>
                  <a:lnTo>
                    <a:pt x="111" y="444"/>
                  </a:lnTo>
                  <a:lnTo>
                    <a:pt x="111" y="444"/>
                  </a:lnTo>
                  <a:lnTo>
                    <a:pt x="111" y="442"/>
                  </a:lnTo>
                  <a:lnTo>
                    <a:pt x="111" y="439"/>
                  </a:lnTo>
                  <a:lnTo>
                    <a:pt x="108" y="439"/>
                  </a:lnTo>
                  <a:lnTo>
                    <a:pt x="108" y="439"/>
                  </a:lnTo>
                  <a:lnTo>
                    <a:pt x="106" y="439"/>
                  </a:lnTo>
                  <a:lnTo>
                    <a:pt x="104" y="437"/>
                  </a:lnTo>
                  <a:lnTo>
                    <a:pt x="101" y="437"/>
                  </a:lnTo>
                  <a:lnTo>
                    <a:pt x="101" y="437"/>
                  </a:lnTo>
                  <a:lnTo>
                    <a:pt x="101" y="435"/>
                  </a:lnTo>
                  <a:lnTo>
                    <a:pt x="99" y="435"/>
                  </a:lnTo>
                  <a:lnTo>
                    <a:pt x="99" y="435"/>
                  </a:lnTo>
                  <a:lnTo>
                    <a:pt x="99" y="435"/>
                  </a:lnTo>
                  <a:lnTo>
                    <a:pt x="94" y="437"/>
                  </a:lnTo>
                  <a:lnTo>
                    <a:pt x="94" y="437"/>
                  </a:lnTo>
                  <a:lnTo>
                    <a:pt x="92" y="437"/>
                  </a:lnTo>
                  <a:lnTo>
                    <a:pt x="92" y="437"/>
                  </a:lnTo>
                  <a:lnTo>
                    <a:pt x="89" y="437"/>
                  </a:lnTo>
                  <a:lnTo>
                    <a:pt x="89" y="437"/>
                  </a:lnTo>
                  <a:lnTo>
                    <a:pt x="87" y="437"/>
                  </a:lnTo>
                  <a:lnTo>
                    <a:pt x="89" y="437"/>
                  </a:lnTo>
                  <a:lnTo>
                    <a:pt x="87" y="437"/>
                  </a:lnTo>
                  <a:lnTo>
                    <a:pt x="87" y="437"/>
                  </a:lnTo>
                  <a:lnTo>
                    <a:pt x="87" y="437"/>
                  </a:lnTo>
                  <a:lnTo>
                    <a:pt x="87" y="437"/>
                  </a:lnTo>
                  <a:lnTo>
                    <a:pt x="87" y="439"/>
                  </a:lnTo>
                  <a:lnTo>
                    <a:pt x="87" y="437"/>
                  </a:lnTo>
                  <a:lnTo>
                    <a:pt x="85" y="437"/>
                  </a:lnTo>
                  <a:lnTo>
                    <a:pt x="85" y="437"/>
                  </a:lnTo>
                  <a:lnTo>
                    <a:pt x="85" y="437"/>
                  </a:lnTo>
                  <a:lnTo>
                    <a:pt x="82" y="437"/>
                  </a:lnTo>
                  <a:lnTo>
                    <a:pt x="82" y="437"/>
                  </a:lnTo>
                  <a:lnTo>
                    <a:pt x="82" y="437"/>
                  </a:lnTo>
                  <a:lnTo>
                    <a:pt x="82" y="435"/>
                  </a:lnTo>
                  <a:lnTo>
                    <a:pt x="80" y="435"/>
                  </a:lnTo>
                  <a:lnTo>
                    <a:pt x="80" y="435"/>
                  </a:lnTo>
                  <a:lnTo>
                    <a:pt x="78" y="435"/>
                  </a:lnTo>
                  <a:lnTo>
                    <a:pt x="78" y="437"/>
                  </a:lnTo>
                  <a:lnTo>
                    <a:pt x="75" y="437"/>
                  </a:lnTo>
                  <a:lnTo>
                    <a:pt x="75" y="437"/>
                  </a:lnTo>
                  <a:lnTo>
                    <a:pt x="75" y="437"/>
                  </a:lnTo>
                  <a:lnTo>
                    <a:pt x="75" y="437"/>
                  </a:lnTo>
                  <a:lnTo>
                    <a:pt x="73" y="437"/>
                  </a:lnTo>
                  <a:lnTo>
                    <a:pt x="73" y="437"/>
                  </a:lnTo>
                  <a:lnTo>
                    <a:pt x="71" y="435"/>
                  </a:lnTo>
                  <a:lnTo>
                    <a:pt x="71" y="435"/>
                  </a:lnTo>
                  <a:lnTo>
                    <a:pt x="71" y="435"/>
                  </a:lnTo>
                  <a:lnTo>
                    <a:pt x="68" y="435"/>
                  </a:lnTo>
                  <a:lnTo>
                    <a:pt x="68" y="435"/>
                  </a:lnTo>
                  <a:lnTo>
                    <a:pt x="68" y="435"/>
                  </a:lnTo>
                  <a:lnTo>
                    <a:pt x="63" y="432"/>
                  </a:lnTo>
                  <a:lnTo>
                    <a:pt x="63" y="432"/>
                  </a:lnTo>
                  <a:lnTo>
                    <a:pt x="63" y="432"/>
                  </a:lnTo>
                  <a:lnTo>
                    <a:pt x="63" y="432"/>
                  </a:lnTo>
                  <a:lnTo>
                    <a:pt x="61" y="432"/>
                  </a:lnTo>
                  <a:lnTo>
                    <a:pt x="61" y="432"/>
                  </a:lnTo>
                  <a:lnTo>
                    <a:pt x="59" y="432"/>
                  </a:lnTo>
                  <a:lnTo>
                    <a:pt x="59" y="432"/>
                  </a:lnTo>
                  <a:lnTo>
                    <a:pt x="59" y="432"/>
                  </a:lnTo>
                  <a:lnTo>
                    <a:pt x="59" y="432"/>
                  </a:lnTo>
                  <a:lnTo>
                    <a:pt x="56" y="432"/>
                  </a:lnTo>
                  <a:lnTo>
                    <a:pt x="56" y="435"/>
                  </a:lnTo>
                  <a:lnTo>
                    <a:pt x="54" y="435"/>
                  </a:lnTo>
                  <a:lnTo>
                    <a:pt x="54" y="435"/>
                  </a:lnTo>
                  <a:lnTo>
                    <a:pt x="52" y="432"/>
                  </a:lnTo>
                  <a:lnTo>
                    <a:pt x="49" y="432"/>
                  </a:lnTo>
                  <a:lnTo>
                    <a:pt x="49" y="430"/>
                  </a:lnTo>
                  <a:lnTo>
                    <a:pt x="49" y="430"/>
                  </a:lnTo>
                  <a:lnTo>
                    <a:pt x="47" y="430"/>
                  </a:lnTo>
                  <a:lnTo>
                    <a:pt x="47" y="430"/>
                  </a:lnTo>
                  <a:lnTo>
                    <a:pt x="45" y="430"/>
                  </a:lnTo>
                  <a:lnTo>
                    <a:pt x="45" y="432"/>
                  </a:lnTo>
                  <a:lnTo>
                    <a:pt x="45" y="430"/>
                  </a:lnTo>
                  <a:lnTo>
                    <a:pt x="40" y="430"/>
                  </a:lnTo>
                  <a:lnTo>
                    <a:pt x="40" y="428"/>
                  </a:lnTo>
                  <a:lnTo>
                    <a:pt x="40" y="430"/>
                  </a:lnTo>
                  <a:lnTo>
                    <a:pt x="37" y="430"/>
                  </a:lnTo>
                  <a:lnTo>
                    <a:pt x="37" y="428"/>
                  </a:lnTo>
                  <a:lnTo>
                    <a:pt x="37" y="428"/>
                  </a:lnTo>
                  <a:lnTo>
                    <a:pt x="35" y="425"/>
                  </a:lnTo>
                  <a:lnTo>
                    <a:pt x="33" y="428"/>
                  </a:lnTo>
                  <a:lnTo>
                    <a:pt x="30" y="425"/>
                  </a:lnTo>
                  <a:lnTo>
                    <a:pt x="30" y="425"/>
                  </a:lnTo>
                  <a:lnTo>
                    <a:pt x="28" y="425"/>
                  </a:lnTo>
                  <a:lnTo>
                    <a:pt x="28" y="425"/>
                  </a:lnTo>
                  <a:lnTo>
                    <a:pt x="28" y="425"/>
                  </a:lnTo>
                  <a:lnTo>
                    <a:pt x="26" y="423"/>
                  </a:lnTo>
                  <a:lnTo>
                    <a:pt x="26" y="423"/>
                  </a:lnTo>
                  <a:lnTo>
                    <a:pt x="26" y="423"/>
                  </a:lnTo>
                  <a:lnTo>
                    <a:pt x="26" y="423"/>
                  </a:lnTo>
                  <a:lnTo>
                    <a:pt x="26" y="423"/>
                  </a:lnTo>
                  <a:lnTo>
                    <a:pt x="23" y="423"/>
                  </a:lnTo>
                  <a:lnTo>
                    <a:pt x="23" y="423"/>
                  </a:lnTo>
                  <a:lnTo>
                    <a:pt x="21" y="423"/>
                  </a:lnTo>
                  <a:lnTo>
                    <a:pt x="21" y="423"/>
                  </a:lnTo>
                  <a:lnTo>
                    <a:pt x="19" y="423"/>
                  </a:lnTo>
                  <a:lnTo>
                    <a:pt x="19" y="423"/>
                  </a:lnTo>
                  <a:lnTo>
                    <a:pt x="21" y="421"/>
                  </a:lnTo>
                  <a:lnTo>
                    <a:pt x="21" y="421"/>
                  </a:lnTo>
                  <a:lnTo>
                    <a:pt x="19" y="421"/>
                  </a:lnTo>
                  <a:lnTo>
                    <a:pt x="19" y="421"/>
                  </a:lnTo>
                  <a:lnTo>
                    <a:pt x="19" y="421"/>
                  </a:lnTo>
                  <a:lnTo>
                    <a:pt x="19" y="418"/>
                  </a:lnTo>
                  <a:lnTo>
                    <a:pt x="19" y="416"/>
                  </a:lnTo>
                  <a:lnTo>
                    <a:pt x="19" y="416"/>
                  </a:lnTo>
                  <a:lnTo>
                    <a:pt x="19" y="416"/>
                  </a:lnTo>
                  <a:lnTo>
                    <a:pt x="19" y="416"/>
                  </a:lnTo>
                  <a:lnTo>
                    <a:pt x="19" y="413"/>
                  </a:lnTo>
                  <a:lnTo>
                    <a:pt x="19" y="413"/>
                  </a:lnTo>
                  <a:lnTo>
                    <a:pt x="19" y="413"/>
                  </a:lnTo>
                  <a:lnTo>
                    <a:pt x="19" y="413"/>
                  </a:lnTo>
                  <a:lnTo>
                    <a:pt x="19" y="411"/>
                  </a:lnTo>
                  <a:lnTo>
                    <a:pt x="19" y="411"/>
                  </a:lnTo>
                  <a:lnTo>
                    <a:pt x="19" y="409"/>
                  </a:lnTo>
                  <a:lnTo>
                    <a:pt x="19" y="409"/>
                  </a:lnTo>
                  <a:lnTo>
                    <a:pt x="21" y="409"/>
                  </a:lnTo>
                  <a:lnTo>
                    <a:pt x="19" y="409"/>
                  </a:lnTo>
                  <a:lnTo>
                    <a:pt x="19" y="406"/>
                  </a:lnTo>
                  <a:lnTo>
                    <a:pt x="19" y="406"/>
                  </a:lnTo>
                  <a:lnTo>
                    <a:pt x="21" y="406"/>
                  </a:lnTo>
                  <a:lnTo>
                    <a:pt x="21" y="404"/>
                  </a:lnTo>
                  <a:lnTo>
                    <a:pt x="19" y="404"/>
                  </a:lnTo>
                  <a:lnTo>
                    <a:pt x="19" y="399"/>
                  </a:lnTo>
                  <a:lnTo>
                    <a:pt x="19" y="399"/>
                  </a:lnTo>
                  <a:lnTo>
                    <a:pt x="16" y="397"/>
                  </a:lnTo>
                  <a:lnTo>
                    <a:pt x="19" y="397"/>
                  </a:lnTo>
                  <a:lnTo>
                    <a:pt x="19" y="397"/>
                  </a:lnTo>
                  <a:lnTo>
                    <a:pt x="19" y="392"/>
                  </a:lnTo>
                  <a:lnTo>
                    <a:pt x="19" y="392"/>
                  </a:lnTo>
                  <a:lnTo>
                    <a:pt x="19" y="392"/>
                  </a:lnTo>
                  <a:lnTo>
                    <a:pt x="19" y="390"/>
                  </a:lnTo>
                  <a:lnTo>
                    <a:pt x="21" y="390"/>
                  </a:lnTo>
                  <a:lnTo>
                    <a:pt x="19" y="390"/>
                  </a:lnTo>
                  <a:lnTo>
                    <a:pt x="16" y="390"/>
                  </a:lnTo>
                  <a:lnTo>
                    <a:pt x="16" y="390"/>
                  </a:lnTo>
                  <a:lnTo>
                    <a:pt x="16" y="387"/>
                  </a:lnTo>
                  <a:lnTo>
                    <a:pt x="16" y="385"/>
                  </a:lnTo>
                  <a:lnTo>
                    <a:pt x="16" y="383"/>
                  </a:lnTo>
                  <a:lnTo>
                    <a:pt x="16" y="383"/>
                  </a:lnTo>
                  <a:lnTo>
                    <a:pt x="16" y="383"/>
                  </a:lnTo>
                  <a:lnTo>
                    <a:pt x="16" y="383"/>
                  </a:lnTo>
                  <a:lnTo>
                    <a:pt x="16" y="380"/>
                  </a:lnTo>
                  <a:lnTo>
                    <a:pt x="14" y="380"/>
                  </a:lnTo>
                  <a:lnTo>
                    <a:pt x="14" y="380"/>
                  </a:lnTo>
                  <a:lnTo>
                    <a:pt x="11" y="380"/>
                  </a:lnTo>
                  <a:lnTo>
                    <a:pt x="9" y="380"/>
                  </a:lnTo>
                  <a:lnTo>
                    <a:pt x="9" y="380"/>
                  </a:lnTo>
                  <a:lnTo>
                    <a:pt x="7" y="380"/>
                  </a:lnTo>
                  <a:lnTo>
                    <a:pt x="9" y="380"/>
                  </a:lnTo>
                  <a:lnTo>
                    <a:pt x="7" y="380"/>
                  </a:lnTo>
                  <a:lnTo>
                    <a:pt x="7" y="380"/>
                  </a:lnTo>
                  <a:lnTo>
                    <a:pt x="7" y="378"/>
                  </a:lnTo>
                  <a:lnTo>
                    <a:pt x="4" y="378"/>
                  </a:lnTo>
                  <a:lnTo>
                    <a:pt x="2" y="378"/>
                  </a:lnTo>
                  <a:lnTo>
                    <a:pt x="2" y="376"/>
                  </a:lnTo>
                  <a:lnTo>
                    <a:pt x="0" y="376"/>
                  </a:lnTo>
                  <a:lnTo>
                    <a:pt x="0" y="376"/>
                  </a:lnTo>
                  <a:close/>
                  <a:moveTo>
                    <a:pt x="191" y="345"/>
                  </a:moveTo>
                  <a:lnTo>
                    <a:pt x="193" y="345"/>
                  </a:lnTo>
                  <a:lnTo>
                    <a:pt x="191" y="345"/>
                  </a:lnTo>
                  <a:close/>
                  <a:moveTo>
                    <a:pt x="191" y="357"/>
                  </a:moveTo>
                  <a:lnTo>
                    <a:pt x="191" y="354"/>
                  </a:lnTo>
                  <a:lnTo>
                    <a:pt x="191" y="357"/>
                  </a:lnTo>
                  <a:close/>
                  <a:moveTo>
                    <a:pt x="189" y="354"/>
                  </a:moveTo>
                  <a:lnTo>
                    <a:pt x="186" y="354"/>
                  </a:lnTo>
                  <a:lnTo>
                    <a:pt x="189" y="354"/>
                  </a:lnTo>
                  <a:close/>
                  <a:moveTo>
                    <a:pt x="174" y="361"/>
                  </a:moveTo>
                  <a:lnTo>
                    <a:pt x="172" y="361"/>
                  </a:lnTo>
                  <a:lnTo>
                    <a:pt x="172" y="361"/>
                  </a:lnTo>
                  <a:lnTo>
                    <a:pt x="172" y="361"/>
                  </a:lnTo>
                  <a:lnTo>
                    <a:pt x="170" y="364"/>
                  </a:lnTo>
                  <a:lnTo>
                    <a:pt x="170" y="364"/>
                  </a:lnTo>
                  <a:lnTo>
                    <a:pt x="167" y="364"/>
                  </a:lnTo>
                  <a:lnTo>
                    <a:pt x="167" y="364"/>
                  </a:lnTo>
                  <a:lnTo>
                    <a:pt x="170" y="364"/>
                  </a:lnTo>
                  <a:lnTo>
                    <a:pt x="170" y="364"/>
                  </a:lnTo>
                  <a:lnTo>
                    <a:pt x="170" y="364"/>
                  </a:lnTo>
                  <a:lnTo>
                    <a:pt x="172" y="366"/>
                  </a:lnTo>
                  <a:lnTo>
                    <a:pt x="172" y="364"/>
                  </a:lnTo>
                  <a:lnTo>
                    <a:pt x="170" y="364"/>
                  </a:lnTo>
                  <a:lnTo>
                    <a:pt x="172" y="364"/>
                  </a:lnTo>
                  <a:lnTo>
                    <a:pt x="172" y="361"/>
                  </a:lnTo>
                  <a:lnTo>
                    <a:pt x="174" y="364"/>
                  </a:lnTo>
                  <a:lnTo>
                    <a:pt x="174" y="361"/>
                  </a:lnTo>
                  <a:close/>
                  <a:moveTo>
                    <a:pt x="189" y="357"/>
                  </a:moveTo>
                  <a:lnTo>
                    <a:pt x="189" y="354"/>
                  </a:lnTo>
                  <a:lnTo>
                    <a:pt x="189" y="357"/>
                  </a:lnTo>
                  <a:close/>
                  <a:moveTo>
                    <a:pt x="200" y="326"/>
                  </a:moveTo>
                  <a:lnTo>
                    <a:pt x="200" y="326"/>
                  </a:lnTo>
                  <a:lnTo>
                    <a:pt x="200" y="326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 cap="flat">
              <a:solidFill>
                <a:schemeClr val="bg2">
                  <a:lumMod val="7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>
                <a:solidFill>
                  <a:srgbClr val="000000"/>
                </a:solidFill>
              </a:endParaRPr>
            </a:p>
          </p:txBody>
        </p:sp>
        <p:sp>
          <p:nvSpPr>
            <p:cNvPr id="85" name="Freeform 23"/>
            <p:cNvSpPr>
              <a:spLocks/>
            </p:cNvSpPr>
            <p:nvPr/>
          </p:nvSpPr>
          <p:spPr bwMode="gray">
            <a:xfrm>
              <a:off x="2538272" y="4470785"/>
              <a:ext cx="1147423" cy="994433"/>
            </a:xfrm>
            <a:custGeom>
              <a:avLst/>
              <a:gdLst/>
              <a:ahLst/>
              <a:cxnLst>
                <a:cxn ang="0">
                  <a:pos x="71" y="623"/>
                </a:cxn>
                <a:cxn ang="0">
                  <a:pos x="189" y="564"/>
                </a:cxn>
                <a:cxn ang="0">
                  <a:pos x="262" y="541"/>
                </a:cxn>
                <a:cxn ang="0">
                  <a:pos x="354" y="536"/>
                </a:cxn>
                <a:cxn ang="0">
                  <a:pos x="413" y="548"/>
                </a:cxn>
                <a:cxn ang="0">
                  <a:pos x="451" y="517"/>
                </a:cxn>
                <a:cxn ang="0">
                  <a:pos x="470" y="479"/>
                </a:cxn>
                <a:cxn ang="0">
                  <a:pos x="451" y="429"/>
                </a:cxn>
                <a:cxn ang="0">
                  <a:pos x="465" y="394"/>
                </a:cxn>
                <a:cxn ang="0">
                  <a:pos x="491" y="370"/>
                </a:cxn>
                <a:cxn ang="0">
                  <a:pos x="489" y="337"/>
                </a:cxn>
                <a:cxn ang="0">
                  <a:pos x="465" y="309"/>
                </a:cxn>
                <a:cxn ang="0">
                  <a:pos x="470" y="248"/>
                </a:cxn>
                <a:cxn ang="0">
                  <a:pos x="494" y="224"/>
                </a:cxn>
                <a:cxn ang="0">
                  <a:pos x="522" y="129"/>
                </a:cxn>
                <a:cxn ang="0">
                  <a:pos x="576" y="66"/>
                </a:cxn>
                <a:cxn ang="0">
                  <a:pos x="645" y="96"/>
                </a:cxn>
                <a:cxn ang="0">
                  <a:pos x="669" y="115"/>
                </a:cxn>
                <a:cxn ang="0">
                  <a:pos x="721" y="87"/>
                </a:cxn>
                <a:cxn ang="0">
                  <a:pos x="780" y="52"/>
                </a:cxn>
                <a:cxn ang="0">
                  <a:pos x="810" y="23"/>
                </a:cxn>
                <a:cxn ang="0">
                  <a:pos x="865" y="4"/>
                </a:cxn>
                <a:cxn ang="0">
                  <a:pos x="905" y="9"/>
                </a:cxn>
                <a:cxn ang="0">
                  <a:pos x="924" y="61"/>
                </a:cxn>
                <a:cxn ang="0">
                  <a:pos x="992" y="56"/>
                </a:cxn>
                <a:cxn ang="0">
                  <a:pos x="1058" y="87"/>
                </a:cxn>
                <a:cxn ang="0">
                  <a:pos x="1148" y="122"/>
                </a:cxn>
                <a:cxn ang="0">
                  <a:pos x="1297" y="189"/>
                </a:cxn>
                <a:cxn ang="0">
                  <a:pos x="1358" y="207"/>
                </a:cxn>
                <a:cxn ang="0">
                  <a:pos x="1396" y="226"/>
                </a:cxn>
                <a:cxn ang="0">
                  <a:pos x="1403" y="271"/>
                </a:cxn>
                <a:cxn ang="0">
                  <a:pos x="1365" y="335"/>
                </a:cxn>
                <a:cxn ang="0">
                  <a:pos x="1330" y="401"/>
                </a:cxn>
                <a:cxn ang="0">
                  <a:pos x="1375" y="460"/>
                </a:cxn>
                <a:cxn ang="0">
                  <a:pos x="1311" y="493"/>
                </a:cxn>
                <a:cxn ang="0">
                  <a:pos x="1271" y="517"/>
                </a:cxn>
                <a:cxn ang="0">
                  <a:pos x="1283" y="595"/>
                </a:cxn>
                <a:cxn ang="0">
                  <a:pos x="1273" y="621"/>
                </a:cxn>
                <a:cxn ang="0">
                  <a:pos x="1283" y="670"/>
                </a:cxn>
                <a:cxn ang="0">
                  <a:pos x="1252" y="741"/>
                </a:cxn>
                <a:cxn ang="0">
                  <a:pos x="1169" y="807"/>
                </a:cxn>
                <a:cxn ang="0">
                  <a:pos x="1155" y="869"/>
                </a:cxn>
                <a:cxn ang="0">
                  <a:pos x="1125" y="916"/>
                </a:cxn>
                <a:cxn ang="0">
                  <a:pos x="1113" y="973"/>
                </a:cxn>
                <a:cxn ang="0">
                  <a:pos x="1002" y="1020"/>
                </a:cxn>
                <a:cxn ang="0">
                  <a:pos x="933" y="1025"/>
                </a:cxn>
                <a:cxn ang="0">
                  <a:pos x="872" y="1048"/>
                </a:cxn>
                <a:cxn ang="0">
                  <a:pos x="803" y="1063"/>
                </a:cxn>
                <a:cxn ang="0">
                  <a:pos x="716" y="1100"/>
                </a:cxn>
                <a:cxn ang="0">
                  <a:pos x="671" y="1105"/>
                </a:cxn>
                <a:cxn ang="0">
                  <a:pos x="652" y="1124"/>
                </a:cxn>
                <a:cxn ang="0">
                  <a:pos x="593" y="1115"/>
                </a:cxn>
                <a:cxn ang="0">
                  <a:pos x="562" y="1072"/>
                </a:cxn>
                <a:cxn ang="0">
                  <a:pos x="555" y="1025"/>
                </a:cxn>
                <a:cxn ang="0">
                  <a:pos x="574" y="966"/>
                </a:cxn>
                <a:cxn ang="0">
                  <a:pos x="536" y="933"/>
                </a:cxn>
                <a:cxn ang="0">
                  <a:pos x="501" y="904"/>
                </a:cxn>
                <a:cxn ang="0">
                  <a:pos x="491" y="822"/>
                </a:cxn>
                <a:cxn ang="0">
                  <a:pos x="456" y="748"/>
                </a:cxn>
                <a:cxn ang="0">
                  <a:pos x="366" y="767"/>
                </a:cxn>
                <a:cxn ang="0">
                  <a:pos x="276" y="812"/>
                </a:cxn>
                <a:cxn ang="0">
                  <a:pos x="154" y="748"/>
                </a:cxn>
                <a:cxn ang="0">
                  <a:pos x="12" y="760"/>
                </a:cxn>
              </a:cxnLst>
              <a:rect l="0" t="0" r="r" b="b"/>
              <a:pathLst>
                <a:path w="1420" h="1136">
                  <a:moveTo>
                    <a:pt x="2" y="727"/>
                  </a:moveTo>
                  <a:lnTo>
                    <a:pt x="2" y="725"/>
                  </a:lnTo>
                  <a:lnTo>
                    <a:pt x="5" y="722"/>
                  </a:lnTo>
                  <a:lnTo>
                    <a:pt x="0" y="720"/>
                  </a:lnTo>
                  <a:lnTo>
                    <a:pt x="0" y="720"/>
                  </a:lnTo>
                  <a:lnTo>
                    <a:pt x="2" y="718"/>
                  </a:lnTo>
                  <a:lnTo>
                    <a:pt x="2" y="713"/>
                  </a:lnTo>
                  <a:lnTo>
                    <a:pt x="5" y="711"/>
                  </a:lnTo>
                  <a:lnTo>
                    <a:pt x="5" y="711"/>
                  </a:lnTo>
                  <a:lnTo>
                    <a:pt x="7" y="703"/>
                  </a:lnTo>
                  <a:lnTo>
                    <a:pt x="10" y="701"/>
                  </a:lnTo>
                  <a:lnTo>
                    <a:pt x="10" y="701"/>
                  </a:lnTo>
                  <a:lnTo>
                    <a:pt x="12" y="701"/>
                  </a:lnTo>
                  <a:lnTo>
                    <a:pt x="14" y="701"/>
                  </a:lnTo>
                  <a:lnTo>
                    <a:pt x="14" y="701"/>
                  </a:lnTo>
                  <a:lnTo>
                    <a:pt x="17" y="701"/>
                  </a:lnTo>
                  <a:lnTo>
                    <a:pt x="17" y="699"/>
                  </a:lnTo>
                  <a:lnTo>
                    <a:pt x="17" y="696"/>
                  </a:lnTo>
                  <a:lnTo>
                    <a:pt x="17" y="694"/>
                  </a:lnTo>
                  <a:lnTo>
                    <a:pt x="12" y="689"/>
                  </a:lnTo>
                  <a:lnTo>
                    <a:pt x="12" y="687"/>
                  </a:lnTo>
                  <a:lnTo>
                    <a:pt x="14" y="685"/>
                  </a:lnTo>
                  <a:lnTo>
                    <a:pt x="14" y="685"/>
                  </a:lnTo>
                  <a:lnTo>
                    <a:pt x="19" y="687"/>
                  </a:lnTo>
                  <a:lnTo>
                    <a:pt x="26" y="689"/>
                  </a:lnTo>
                  <a:lnTo>
                    <a:pt x="28" y="689"/>
                  </a:lnTo>
                  <a:lnTo>
                    <a:pt x="28" y="687"/>
                  </a:lnTo>
                  <a:lnTo>
                    <a:pt x="28" y="687"/>
                  </a:lnTo>
                  <a:lnTo>
                    <a:pt x="28" y="685"/>
                  </a:lnTo>
                  <a:lnTo>
                    <a:pt x="24" y="680"/>
                  </a:lnTo>
                  <a:lnTo>
                    <a:pt x="24" y="680"/>
                  </a:lnTo>
                  <a:lnTo>
                    <a:pt x="24" y="678"/>
                  </a:lnTo>
                  <a:lnTo>
                    <a:pt x="24" y="678"/>
                  </a:lnTo>
                  <a:lnTo>
                    <a:pt x="26" y="675"/>
                  </a:lnTo>
                  <a:lnTo>
                    <a:pt x="26" y="673"/>
                  </a:lnTo>
                  <a:lnTo>
                    <a:pt x="28" y="668"/>
                  </a:lnTo>
                  <a:lnTo>
                    <a:pt x="28" y="666"/>
                  </a:lnTo>
                  <a:lnTo>
                    <a:pt x="28" y="666"/>
                  </a:lnTo>
                  <a:lnTo>
                    <a:pt x="28" y="663"/>
                  </a:lnTo>
                  <a:lnTo>
                    <a:pt x="31" y="661"/>
                  </a:lnTo>
                  <a:lnTo>
                    <a:pt x="33" y="659"/>
                  </a:lnTo>
                  <a:lnTo>
                    <a:pt x="36" y="659"/>
                  </a:lnTo>
                  <a:lnTo>
                    <a:pt x="38" y="654"/>
                  </a:lnTo>
                  <a:lnTo>
                    <a:pt x="40" y="654"/>
                  </a:lnTo>
                  <a:lnTo>
                    <a:pt x="40" y="652"/>
                  </a:lnTo>
                  <a:lnTo>
                    <a:pt x="40" y="649"/>
                  </a:lnTo>
                  <a:lnTo>
                    <a:pt x="40" y="649"/>
                  </a:lnTo>
                  <a:lnTo>
                    <a:pt x="47" y="647"/>
                  </a:lnTo>
                  <a:lnTo>
                    <a:pt x="47" y="644"/>
                  </a:lnTo>
                  <a:lnTo>
                    <a:pt x="47" y="642"/>
                  </a:lnTo>
                  <a:lnTo>
                    <a:pt x="47" y="642"/>
                  </a:lnTo>
                  <a:lnTo>
                    <a:pt x="50" y="642"/>
                  </a:lnTo>
                  <a:lnTo>
                    <a:pt x="52" y="642"/>
                  </a:lnTo>
                  <a:lnTo>
                    <a:pt x="59" y="642"/>
                  </a:lnTo>
                  <a:lnTo>
                    <a:pt x="61" y="640"/>
                  </a:lnTo>
                  <a:lnTo>
                    <a:pt x="64" y="637"/>
                  </a:lnTo>
                  <a:lnTo>
                    <a:pt x="64" y="637"/>
                  </a:lnTo>
                  <a:lnTo>
                    <a:pt x="66" y="637"/>
                  </a:lnTo>
                  <a:lnTo>
                    <a:pt x="69" y="633"/>
                  </a:lnTo>
                  <a:lnTo>
                    <a:pt x="71" y="628"/>
                  </a:lnTo>
                  <a:lnTo>
                    <a:pt x="71" y="626"/>
                  </a:lnTo>
                  <a:lnTo>
                    <a:pt x="71" y="623"/>
                  </a:lnTo>
                  <a:lnTo>
                    <a:pt x="71" y="621"/>
                  </a:lnTo>
                  <a:lnTo>
                    <a:pt x="69" y="618"/>
                  </a:lnTo>
                  <a:lnTo>
                    <a:pt x="69" y="616"/>
                  </a:lnTo>
                  <a:lnTo>
                    <a:pt x="71" y="614"/>
                  </a:lnTo>
                  <a:lnTo>
                    <a:pt x="73" y="614"/>
                  </a:lnTo>
                  <a:lnTo>
                    <a:pt x="76" y="614"/>
                  </a:lnTo>
                  <a:lnTo>
                    <a:pt x="78" y="609"/>
                  </a:lnTo>
                  <a:lnTo>
                    <a:pt x="80" y="602"/>
                  </a:lnTo>
                  <a:lnTo>
                    <a:pt x="80" y="602"/>
                  </a:lnTo>
                  <a:lnTo>
                    <a:pt x="80" y="602"/>
                  </a:lnTo>
                  <a:lnTo>
                    <a:pt x="83" y="600"/>
                  </a:lnTo>
                  <a:lnTo>
                    <a:pt x="85" y="600"/>
                  </a:lnTo>
                  <a:lnTo>
                    <a:pt x="87" y="600"/>
                  </a:lnTo>
                  <a:lnTo>
                    <a:pt x="90" y="592"/>
                  </a:lnTo>
                  <a:lnTo>
                    <a:pt x="92" y="585"/>
                  </a:lnTo>
                  <a:lnTo>
                    <a:pt x="95" y="585"/>
                  </a:lnTo>
                  <a:lnTo>
                    <a:pt x="97" y="583"/>
                  </a:lnTo>
                  <a:lnTo>
                    <a:pt x="97" y="583"/>
                  </a:lnTo>
                  <a:lnTo>
                    <a:pt x="99" y="583"/>
                  </a:lnTo>
                  <a:lnTo>
                    <a:pt x="102" y="581"/>
                  </a:lnTo>
                  <a:lnTo>
                    <a:pt x="106" y="583"/>
                  </a:lnTo>
                  <a:lnTo>
                    <a:pt x="109" y="583"/>
                  </a:lnTo>
                  <a:lnTo>
                    <a:pt x="113" y="581"/>
                  </a:lnTo>
                  <a:lnTo>
                    <a:pt x="123" y="581"/>
                  </a:lnTo>
                  <a:lnTo>
                    <a:pt x="125" y="578"/>
                  </a:lnTo>
                  <a:lnTo>
                    <a:pt x="128" y="576"/>
                  </a:lnTo>
                  <a:lnTo>
                    <a:pt x="130" y="574"/>
                  </a:lnTo>
                  <a:lnTo>
                    <a:pt x="130" y="571"/>
                  </a:lnTo>
                  <a:lnTo>
                    <a:pt x="132" y="571"/>
                  </a:lnTo>
                  <a:lnTo>
                    <a:pt x="137" y="571"/>
                  </a:lnTo>
                  <a:lnTo>
                    <a:pt x="137" y="574"/>
                  </a:lnTo>
                  <a:lnTo>
                    <a:pt x="142" y="574"/>
                  </a:lnTo>
                  <a:lnTo>
                    <a:pt x="147" y="574"/>
                  </a:lnTo>
                  <a:lnTo>
                    <a:pt x="149" y="574"/>
                  </a:lnTo>
                  <a:lnTo>
                    <a:pt x="149" y="574"/>
                  </a:lnTo>
                  <a:lnTo>
                    <a:pt x="151" y="574"/>
                  </a:lnTo>
                  <a:lnTo>
                    <a:pt x="151" y="574"/>
                  </a:lnTo>
                  <a:lnTo>
                    <a:pt x="154" y="574"/>
                  </a:lnTo>
                  <a:lnTo>
                    <a:pt x="154" y="576"/>
                  </a:lnTo>
                  <a:lnTo>
                    <a:pt x="156" y="576"/>
                  </a:lnTo>
                  <a:lnTo>
                    <a:pt x="161" y="576"/>
                  </a:lnTo>
                  <a:lnTo>
                    <a:pt x="161" y="576"/>
                  </a:lnTo>
                  <a:lnTo>
                    <a:pt x="161" y="576"/>
                  </a:lnTo>
                  <a:lnTo>
                    <a:pt x="163" y="576"/>
                  </a:lnTo>
                  <a:lnTo>
                    <a:pt x="163" y="574"/>
                  </a:lnTo>
                  <a:lnTo>
                    <a:pt x="165" y="574"/>
                  </a:lnTo>
                  <a:lnTo>
                    <a:pt x="165" y="574"/>
                  </a:lnTo>
                  <a:lnTo>
                    <a:pt x="168" y="574"/>
                  </a:lnTo>
                  <a:lnTo>
                    <a:pt x="170" y="574"/>
                  </a:lnTo>
                  <a:lnTo>
                    <a:pt x="173" y="571"/>
                  </a:lnTo>
                  <a:lnTo>
                    <a:pt x="173" y="571"/>
                  </a:lnTo>
                  <a:lnTo>
                    <a:pt x="175" y="571"/>
                  </a:lnTo>
                  <a:lnTo>
                    <a:pt x="175" y="571"/>
                  </a:lnTo>
                  <a:lnTo>
                    <a:pt x="180" y="571"/>
                  </a:lnTo>
                  <a:lnTo>
                    <a:pt x="180" y="571"/>
                  </a:lnTo>
                  <a:lnTo>
                    <a:pt x="180" y="571"/>
                  </a:lnTo>
                  <a:lnTo>
                    <a:pt x="177" y="566"/>
                  </a:lnTo>
                  <a:lnTo>
                    <a:pt x="180" y="566"/>
                  </a:lnTo>
                  <a:lnTo>
                    <a:pt x="180" y="566"/>
                  </a:lnTo>
                  <a:lnTo>
                    <a:pt x="182" y="564"/>
                  </a:lnTo>
                  <a:lnTo>
                    <a:pt x="189" y="564"/>
                  </a:lnTo>
                  <a:lnTo>
                    <a:pt x="189" y="564"/>
                  </a:lnTo>
                  <a:lnTo>
                    <a:pt x="191" y="564"/>
                  </a:lnTo>
                  <a:lnTo>
                    <a:pt x="191" y="564"/>
                  </a:lnTo>
                  <a:lnTo>
                    <a:pt x="191" y="564"/>
                  </a:lnTo>
                  <a:lnTo>
                    <a:pt x="191" y="562"/>
                  </a:lnTo>
                  <a:lnTo>
                    <a:pt x="191" y="559"/>
                  </a:lnTo>
                  <a:lnTo>
                    <a:pt x="191" y="557"/>
                  </a:lnTo>
                  <a:lnTo>
                    <a:pt x="194" y="557"/>
                  </a:lnTo>
                  <a:lnTo>
                    <a:pt x="194" y="557"/>
                  </a:lnTo>
                  <a:lnTo>
                    <a:pt x="199" y="557"/>
                  </a:lnTo>
                  <a:lnTo>
                    <a:pt x="199" y="557"/>
                  </a:lnTo>
                  <a:lnTo>
                    <a:pt x="199" y="559"/>
                  </a:lnTo>
                  <a:lnTo>
                    <a:pt x="199" y="559"/>
                  </a:lnTo>
                  <a:lnTo>
                    <a:pt x="199" y="562"/>
                  </a:lnTo>
                  <a:lnTo>
                    <a:pt x="199" y="564"/>
                  </a:lnTo>
                  <a:lnTo>
                    <a:pt x="201" y="566"/>
                  </a:lnTo>
                  <a:lnTo>
                    <a:pt x="206" y="574"/>
                  </a:lnTo>
                  <a:lnTo>
                    <a:pt x="208" y="576"/>
                  </a:lnTo>
                  <a:lnTo>
                    <a:pt x="208" y="576"/>
                  </a:lnTo>
                  <a:lnTo>
                    <a:pt x="210" y="578"/>
                  </a:lnTo>
                  <a:lnTo>
                    <a:pt x="213" y="576"/>
                  </a:lnTo>
                  <a:lnTo>
                    <a:pt x="213" y="576"/>
                  </a:lnTo>
                  <a:lnTo>
                    <a:pt x="215" y="574"/>
                  </a:lnTo>
                  <a:lnTo>
                    <a:pt x="217" y="571"/>
                  </a:lnTo>
                  <a:lnTo>
                    <a:pt x="220" y="566"/>
                  </a:lnTo>
                  <a:lnTo>
                    <a:pt x="220" y="566"/>
                  </a:lnTo>
                  <a:lnTo>
                    <a:pt x="222" y="566"/>
                  </a:lnTo>
                  <a:lnTo>
                    <a:pt x="224" y="566"/>
                  </a:lnTo>
                  <a:lnTo>
                    <a:pt x="224" y="564"/>
                  </a:lnTo>
                  <a:lnTo>
                    <a:pt x="224" y="564"/>
                  </a:lnTo>
                  <a:lnTo>
                    <a:pt x="227" y="562"/>
                  </a:lnTo>
                  <a:lnTo>
                    <a:pt x="227" y="562"/>
                  </a:lnTo>
                  <a:lnTo>
                    <a:pt x="229" y="562"/>
                  </a:lnTo>
                  <a:lnTo>
                    <a:pt x="229" y="559"/>
                  </a:lnTo>
                  <a:lnTo>
                    <a:pt x="232" y="555"/>
                  </a:lnTo>
                  <a:lnTo>
                    <a:pt x="234" y="555"/>
                  </a:lnTo>
                  <a:lnTo>
                    <a:pt x="236" y="552"/>
                  </a:lnTo>
                  <a:lnTo>
                    <a:pt x="236" y="552"/>
                  </a:lnTo>
                  <a:lnTo>
                    <a:pt x="236" y="550"/>
                  </a:lnTo>
                  <a:lnTo>
                    <a:pt x="236" y="550"/>
                  </a:lnTo>
                  <a:lnTo>
                    <a:pt x="234" y="548"/>
                  </a:lnTo>
                  <a:lnTo>
                    <a:pt x="234" y="548"/>
                  </a:lnTo>
                  <a:lnTo>
                    <a:pt x="234" y="548"/>
                  </a:lnTo>
                  <a:lnTo>
                    <a:pt x="236" y="548"/>
                  </a:lnTo>
                  <a:lnTo>
                    <a:pt x="241" y="548"/>
                  </a:lnTo>
                  <a:lnTo>
                    <a:pt x="241" y="545"/>
                  </a:lnTo>
                  <a:lnTo>
                    <a:pt x="246" y="543"/>
                  </a:lnTo>
                  <a:lnTo>
                    <a:pt x="248" y="543"/>
                  </a:lnTo>
                  <a:lnTo>
                    <a:pt x="248" y="545"/>
                  </a:lnTo>
                  <a:lnTo>
                    <a:pt x="246" y="545"/>
                  </a:lnTo>
                  <a:lnTo>
                    <a:pt x="246" y="545"/>
                  </a:lnTo>
                  <a:lnTo>
                    <a:pt x="248" y="545"/>
                  </a:lnTo>
                  <a:lnTo>
                    <a:pt x="248" y="548"/>
                  </a:lnTo>
                  <a:lnTo>
                    <a:pt x="250" y="548"/>
                  </a:lnTo>
                  <a:lnTo>
                    <a:pt x="250" y="548"/>
                  </a:lnTo>
                  <a:lnTo>
                    <a:pt x="255" y="545"/>
                  </a:lnTo>
                  <a:lnTo>
                    <a:pt x="255" y="545"/>
                  </a:lnTo>
                  <a:lnTo>
                    <a:pt x="255" y="543"/>
                  </a:lnTo>
                  <a:lnTo>
                    <a:pt x="258" y="541"/>
                  </a:lnTo>
                  <a:lnTo>
                    <a:pt x="260" y="541"/>
                  </a:lnTo>
                  <a:lnTo>
                    <a:pt x="262" y="541"/>
                  </a:lnTo>
                  <a:lnTo>
                    <a:pt x="262" y="541"/>
                  </a:lnTo>
                  <a:lnTo>
                    <a:pt x="262" y="541"/>
                  </a:lnTo>
                  <a:lnTo>
                    <a:pt x="262" y="538"/>
                  </a:lnTo>
                  <a:lnTo>
                    <a:pt x="265" y="538"/>
                  </a:lnTo>
                  <a:lnTo>
                    <a:pt x="265" y="536"/>
                  </a:lnTo>
                  <a:lnTo>
                    <a:pt x="267" y="536"/>
                  </a:lnTo>
                  <a:lnTo>
                    <a:pt x="269" y="533"/>
                  </a:lnTo>
                  <a:lnTo>
                    <a:pt x="272" y="533"/>
                  </a:lnTo>
                  <a:lnTo>
                    <a:pt x="272" y="536"/>
                  </a:lnTo>
                  <a:lnTo>
                    <a:pt x="276" y="536"/>
                  </a:lnTo>
                  <a:lnTo>
                    <a:pt x="276" y="536"/>
                  </a:lnTo>
                  <a:lnTo>
                    <a:pt x="281" y="538"/>
                  </a:lnTo>
                  <a:lnTo>
                    <a:pt x="281" y="538"/>
                  </a:lnTo>
                  <a:lnTo>
                    <a:pt x="284" y="543"/>
                  </a:lnTo>
                  <a:lnTo>
                    <a:pt x="284" y="543"/>
                  </a:lnTo>
                  <a:lnTo>
                    <a:pt x="286" y="541"/>
                  </a:lnTo>
                  <a:lnTo>
                    <a:pt x="288" y="538"/>
                  </a:lnTo>
                  <a:lnTo>
                    <a:pt x="291" y="541"/>
                  </a:lnTo>
                  <a:lnTo>
                    <a:pt x="293" y="538"/>
                  </a:lnTo>
                  <a:lnTo>
                    <a:pt x="295" y="538"/>
                  </a:lnTo>
                  <a:lnTo>
                    <a:pt x="298" y="538"/>
                  </a:lnTo>
                  <a:lnTo>
                    <a:pt x="300" y="538"/>
                  </a:lnTo>
                  <a:lnTo>
                    <a:pt x="300" y="538"/>
                  </a:lnTo>
                  <a:lnTo>
                    <a:pt x="302" y="538"/>
                  </a:lnTo>
                  <a:lnTo>
                    <a:pt x="305" y="538"/>
                  </a:lnTo>
                  <a:lnTo>
                    <a:pt x="305" y="538"/>
                  </a:lnTo>
                  <a:lnTo>
                    <a:pt x="305" y="538"/>
                  </a:lnTo>
                  <a:lnTo>
                    <a:pt x="305" y="536"/>
                  </a:lnTo>
                  <a:lnTo>
                    <a:pt x="307" y="536"/>
                  </a:lnTo>
                  <a:lnTo>
                    <a:pt x="312" y="536"/>
                  </a:lnTo>
                  <a:lnTo>
                    <a:pt x="312" y="536"/>
                  </a:lnTo>
                  <a:lnTo>
                    <a:pt x="314" y="536"/>
                  </a:lnTo>
                  <a:lnTo>
                    <a:pt x="317" y="536"/>
                  </a:lnTo>
                  <a:lnTo>
                    <a:pt x="317" y="536"/>
                  </a:lnTo>
                  <a:lnTo>
                    <a:pt x="317" y="538"/>
                  </a:lnTo>
                  <a:lnTo>
                    <a:pt x="319" y="538"/>
                  </a:lnTo>
                  <a:lnTo>
                    <a:pt x="321" y="538"/>
                  </a:lnTo>
                  <a:lnTo>
                    <a:pt x="321" y="541"/>
                  </a:lnTo>
                  <a:lnTo>
                    <a:pt x="326" y="538"/>
                  </a:lnTo>
                  <a:lnTo>
                    <a:pt x="326" y="538"/>
                  </a:lnTo>
                  <a:lnTo>
                    <a:pt x="326" y="541"/>
                  </a:lnTo>
                  <a:lnTo>
                    <a:pt x="326" y="541"/>
                  </a:lnTo>
                  <a:lnTo>
                    <a:pt x="326" y="543"/>
                  </a:lnTo>
                  <a:lnTo>
                    <a:pt x="331" y="541"/>
                  </a:lnTo>
                  <a:lnTo>
                    <a:pt x="333" y="541"/>
                  </a:lnTo>
                  <a:lnTo>
                    <a:pt x="336" y="541"/>
                  </a:lnTo>
                  <a:lnTo>
                    <a:pt x="336" y="541"/>
                  </a:lnTo>
                  <a:lnTo>
                    <a:pt x="336" y="541"/>
                  </a:lnTo>
                  <a:lnTo>
                    <a:pt x="336" y="541"/>
                  </a:lnTo>
                  <a:lnTo>
                    <a:pt x="338" y="541"/>
                  </a:lnTo>
                  <a:lnTo>
                    <a:pt x="340" y="541"/>
                  </a:lnTo>
                  <a:lnTo>
                    <a:pt x="343" y="541"/>
                  </a:lnTo>
                  <a:lnTo>
                    <a:pt x="345" y="541"/>
                  </a:lnTo>
                  <a:lnTo>
                    <a:pt x="345" y="541"/>
                  </a:lnTo>
                  <a:lnTo>
                    <a:pt x="345" y="541"/>
                  </a:lnTo>
                  <a:lnTo>
                    <a:pt x="347" y="543"/>
                  </a:lnTo>
                  <a:lnTo>
                    <a:pt x="347" y="543"/>
                  </a:lnTo>
                  <a:lnTo>
                    <a:pt x="350" y="543"/>
                  </a:lnTo>
                  <a:lnTo>
                    <a:pt x="350" y="543"/>
                  </a:lnTo>
                  <a:lnTo>
                    <a:pt x="347" y="541"/>
                  </a:lnTo>
                  <a:lnTo>
                    <a:pt x="347" y="541"/>
                  </a:lnTo>
                  <a:lnTo>
                    <a:pt x="350" y="538"/>
                  </a:lnTo>
                  <a:lnTo>
                    <a:pt x="352" y="536"/>
                  </a:lnTo>
                  <a:lnTo>
                    <a:pt x="354" y="536"/>
                  </a:lnTo>
                  <a:lnTo>
                    <a:pt x="354" y="536"/>
                  </a:lnTo>
                  <a:lnTo>
                    <a:pt x="354" y="538"/>
                  </a:lnTo>
                  <a:lnTo>
                    <a:pt x="359" y="538"/>
                  </a:lnTo>
                  <a:lnTo>
                    <a:pt x="359" y="541"/>
                  </a:lnTo>
                  <a:lnTo>
                    <a:pt x="359" y="541"/>
                  </a:lnTo>
                  <a:lnTo>
                    <a:pt x="364" y="541"/>
                  </a:lnTo>
                  <a:lnTo>
                    <a:pt x="366" y="541"/>
                  </a:lnTo>
                  <a:lnTo>
                    <a:pt x="366" y="541"/>
                  </a:lnTo>
                  <a:lnTo>
                    <a:pt x="366" y="543"/>
                  </a:lnTo>
                  <a:lnTo>
                    <a:pt x="369" y="545"/>
                  </a:lnTo>
                  <a:lnTo>
                    <a:pt x="369" y="548"/>
                  </a:lnTo>
                  <a:lnTo>
                    <a:pt x="371" y="548"/>
                  </a:lnTo>
                  <a:lnTo>
                    <a:pt x="373" y="548"/>
                  </a:lnTo>
                  <a:lnTo>
                    <a:pt x="376" y="550"/>
                  </a:lnTo>
                  <a:lnTo>
                    <a:pt x="376" y="550"/>
                  </a:lnTo>
                  <a:lnTo>
                    <a:pt x="378" y="550"/>
                  </a:lnTo>
                  <a:lnTo>
                    <a:pt x="378" y="548"/>
                  </a:lnTo>
                  <a:lnTo>
                    <a:pt x="380" y="548"/>
                  </a:lnTo>
                  <a:lnTo>
                    <a:pt x="380" y="548"/>
                  </a:lnTo>
                  <a:lnTo>
                    <a:pt x="383" y="548"/>
                  </a:lnTo>
                  <a:lnTo>
                    <a:pt x="383" y="550"/>
                  </a:lnTo>
                  <a:lnTo>
                    <a:pt x="385" y="550"/>
                  </a:lnTo>
                  <a:lnTo>
                    <a:pt x="385" y="550"/>
                  </a:lnTo>
                  <a:lnTo>
                    <a:pt x="385" y="552"/>
                  </a:lnTo>
                  <a:lnTo>
                    <a:pt x="387" y="552"/>
                  </a:lnTo>
                  <a:lnTo>
                    <a:pt x="387" y="552"/>
                  </a:lnTo>
                  <a:lnTo>
                    <a:pt x="390" y="550"/>
                  </a:lnTo>
                  <a:lnTo>
                    <a:pt x="390" y="552"/>
                  </a:lnTo>
                  <a:lnTo>
                    <a:pt x="390" y="555"/>
                  </a:lnTo>
                  <a:lnTo>
                    <a:pt x="390" y="555"/>
                  </a:lnTo>
                  <a:lnTo>
                    <a:pt x="392" y="555"/>
                  </a:lnTo>
                  <a:lnTo>
                    <a:pt x="392" y="555"/>
                  </a:lnTo>
                  <a:lnTo>
                    <a:pt x="392" y="557"/>
                  </a:lnTo>
                  <a:lnTo>
                    <a:pt x="392" y="559"/>
                  </a:lnTo>
                  <a:lnTo>
                    <a:pt x="395" y="557"/>
                  </a:lnTo>
                  <a:lnTo>
                    <a:pt x="395" y="557"/>
                  </a:lnTo>
                  <a:lnTo>
                    <a:pt x="397" y="557"/>
                  </a:lnTo>
                  <a:lnTo>
                    <a:pt x="397" y="555"/>
                  </a:lnTo>
                  <a:lnTo>
                    <a:pt x="399" y="555"/>
                  </a:lnTo>
                  <a:lnTo>
                    <a:pt x="402" y="555"/>
                  </a:lnTo>
                  <a:lnTo>
                    <a:pt x="402" y="555"/>
                  </a:lnTo>
                  <a:lnTo>
                    <a:pt x="404" y="555"/>
                  </a:lnTo>
                  <a:lnTo>
                    <a:pt x="404" y="555"/>
                  </a:lnTo>
                  <a:lnTo>
                    <a:pt x="404" y="555"/>
                  </a:lnTo>
                  <a:lnTo>
                    <a:pt x="404" y="555"/>
                  </a:lnTo>
                  <a:lnTo>
                    <a:pt x="404" y="552"/>
                  </a:lnTo>
                  <a:lnTo>
                    <a:pt x="404" y="552"/>
                  </a:lnTo>
                  <a:lnTo>
                    <a:pt x="404" y="550"/>
                  </a:lnTo>
                  <a:lnTo>
                    <a:pt x="406" y="550"/>
                  </a:lnTo>
                  <a:lnTo>
                    <a:pt x="406" y="550"/>
                  </a:lnTo>
                  <a:lnTo>
                    <a:pt x="409" y="552"/>
                  </a:lnTo>
                  <a:lnTo>
                    <a:pt x="409" y="552"/>
                  </a:lnTo>
                  <a:lnTo>
                    <a:pt x="409" y="550"/>
                  </a:lnTo>
                  <a:lnTo>
                    <a:pt x="409" y="550"/>
                  </a:lnTo>
                  <a:lnTo>
                    <a:pt x="409" y="548"/>
                  </a:lnTo>
                  <a:lnTo>
                    <a:pt x="409" y="548"/>
                  </a:lnTo>
                  <a:lnTo>
                    <a:pt x="411" y="545"/>
                  </a:lnTo>
                  <a:lnTo>
                    <a:pt x="411" y="545"/>
                  </a:lnTo>
                  <a:lnTo>
                    <a:pt x="413" y="545"/>
                  </a:lnTo>
                  <a:lnTo>
                    <a:pt x="413" y="545"/>
                  </a:lnTo>
                  <a:lnTo>
                    <a:pt x="413" y="548"/>
                  </a:lnTo>
                  <a:lnTo>
                    <a:pt x="413" y="548"/>
                  </a:lnTo>
                  <a:lnTo>
                    <a:pt x="413" y="548"/>
                  </a:lnTo>
                  <a:lnTo>
                    <a:pt x="416" y="548"/>
                  </a:lnTo>
                  <a:lnTo>
                    <a:pt x="418" y="548"/>
                  </a:lnTo>
                  <a:lnTo>
                    <a:pt x="418" y="548"/>
                  </a:lnTo>
                  <a:lnTo>
                    <a:pt x="421" y="548"/>
                  </a:lnTo>
                  <a:lnTo>
                    <a:pt x="421" y="545"/>
                  </a:lnTo>
                  <a:lnTo>
                    <a:pt x="418" y="545"/>
                  </a:lnTo>
                  <a:lnTo>
                    <a:pt x="421" y="543"/>
                  </a:lnTo>
                  <a:lnTo>
                    <a:pt x="421" y="543"/>
                  </a:lnTo>
                  <a:lnTo>
                    <a:pt x="421" y="543"/>
                  </a:lnTo>
                  <a:lnTo>
                    <a:pt x="421" y="541"/>
                  </a:lnTo>
                  <a:lnTo>
                    <a:pt x="423" y="541"/>
                  </a:lnTo>
                  <a:lnTo>
                    <a:pt x="423" y="543"/>
                  </a:lnTo>
                  <a:lnTo>
                    <a:pt x="425" y="543"/>
                  </a:lnTo>
                  <a:lnTo>
                    <a:pt x="425" y="543"/>
                  </a:lnTo>
                  <a:lnTo>
                    <a:pt x="428" y="541"/>
                  </a:lnTo>
                  <a:lnTo>
                    <a:pt x="428" y="541"/>
                  </a:lnTo>
                  <a:lnTo>
                    <a:pt x="428" y="541"/>
                  </a:lnTo>
                  <a:lnTo>
                    <a:pt x="430" y="541"/>
                  </a:lnTo>
                  <a:lnTo>
                    <a:pt x="430" y="536"/>
                  </a:lnTo>
                  <a:lnTo>
                    <a:pt x="432" y="536"/>
                  </a:lnTo>
                  <a:lnTo>
                    <a:pt x="432" y="536"/>
                  </a:lnTo>
                  <a:lnTo>
                    <a:pt x="432" y="538"/>
                  </a:lnTo>
                  <a:lnTo>
                    <a:pt x="435" y="536"/>
                  </a:lnTo>
                  <a:lnTo>
                    <a:pt x="435" y="536"/>
                  </a:lnTo>
                  <a:lnTo>
                    <a:pt x="435" y="536"/>
                  </a:lnTo>
                  <a:lnTo>
                    <a:pt x="437" y="533"/>
                  </a:lnTo>
                  <a:lnTo>
                    <a:pt x="435" y="533"/>
                  </a:lnTo>
                  <a:lnTo>
                    <a:pt x="435" y="531"/>
                  </a:lnTo>
                  <a:lnTo>
                    <a:pt x="432" y="531"/>
                  </a:lnTo>
                  <a:lnTo>
                    <a:pt x="435" y="529"/>
                  </a:lnTo>
                  <a:lnTo>
                    <a:pt x="437" y="529"/>
                  </a:lnTo>
                  <a:lnTo>
                    <a:pt x="435" y="526"/>
                  </a:lnTo>
                  <a:lnTo>
                    <a:pt x="437" y="526"/>
                  </a:lnTo>
                  <a:lnTo>
                    <a:pt x="437" y="526"/>
                  </a:lnTo>
                  <a:lnTo>
                    <a:pt x="437" y="529"/>
                  </a:lnTo>
                  <a:lnTo>
                    <a:pt x="437" y="526"/>
                  </a:lnTo>
                  <a:lnTo>
                    <a:pt x="437" y="526"/>
                  </a:lnTo>
                  <a:lnTo>
                    <a:pt x="437" y="526"/>
                  </a:lnTo>
                  <a:lnTo>
                    <a:pt x="439" y="524"/>
                  </a:lnTo>
                  <a:lnTo>
                    <a:pt x="439" y="524"/>
                  </a:lnTo>
                  <a:lnTo>
                    <a:pt x="442" y="524"/>
                  </a:lnTo>
                  <a:lnTo>
                    <a:pt x="439" y="522"/>
                  </a:lnTo>
                  <a:lnTo>
                    <a:pt x="442" y="522"/>
                  </a:lnTo>
                  <a:lnTo>
                    <a:pt x="442" y="522"/>
                  </a:lnTo>
                  <a:lnTo>
                    <a:pt x="442" y="519"/>
                  </a:lnTo>
                  <a:lnTo>
                    <a:pt x="444" y="519"/>
                  </a:lnTo>
                  <a:lnTo>
                    <a:pt x="447" y="519"/>
                  </a:lnTo>
                  <a:lnTo>
                    <a:pt x="447" y="519"/>
                  </a:lnTo>
                  <a:lnTo>
                    <a:pt x="447" y="519"/>
                  </a:lnTo>
                  <a:lnTo>
                    <a:pt x="447" y="522"/>
                  </a:lnTo>
                  <a:lnTo>
                    <a:pt x="447" y="522"/>
                  </a:lnTo>
                  <a:lnTo>
                    <a:pt x="447" y="524"/>
                  </a:lnTo>
                  <a:lnTo>
                    <a:pt x="447" y="522"/>
                  </a:lnTo>
                  <a:lnTo>
                    <a:pt x="447" y="522"/>
                  </a:lnTo>
                  <a:lnTo>
                    <a:pt x="449" y="522"/>
                  </a:lnTo>
                  <a:lnTo>
                    <a:pt x="449" y="519"/>
                  </a:lnTo>
                  <a:lnTo>
                    <a:pt x="451" y="519"/>
                  </a:lnTo>
                  <a:lnTo>
                    <a:pt x="451" y="519"/>
                  </a:lnTo>
                  <a:lnTo>
                    <a:pt x="451" y="519"/>
                  </a:lnTo>
                  <a:lnTo>
                    <a:pt x="454" y="519"/>
                  </a:lnTo>
                  <a:lnTo>
                    <a:pt x="451" y="517"/>
                  </a:lnTo>
                  <a:lnTo>
                    <a:pt x="454" y="517"/>
                  </a:lnTo>
                  <a:lnTo>
                    <a:pt x="454" y="517"/>
                  </a:lnTo>
                  <a:lnTo>
                    <a:pt x="456" y="517"/>
                  </a:lnTo>
                  <a:lnTo>
                    <a:pt x="456" y="517"/>
                  </a:lnTo>
                  <a:lnTo>
                    <a:pt x="456" y="517"/>
                  </a:lnTo>
                  <a:lnTo>
                    <a:pt x="458" y="515"/>
                  </a:lnTo>
                  <a:lnTo>
                    <a:pt x="458" y="515"/>
                  </a:lnTo>
                  <a:lnTo>
                    <a:pt x="458" y="515"/>
                  </a:lnTo>
                  <a:lnTo>
                    <a:pt x="461" y="515"/>
                  </a:lnTo>
                  <a:lnTo>
                    <a:pt x="461" y="515"/>
                  </a:lnTo>
                  <a:lnTo>
                    <a:pt x="458" y="512"/>
                  </a:lnTo>
                  <a:lnTo>
                    <a:pt x="461" y="512"/>
                  </a:lnTo>
                  <a:lnTo>
                    <a:pt x="461" y="512"/>
                  </a:lnTo>
                  <a:lnTo>
                    <a:pt x="461" y="512"/>
                  </a:lnTo>
                  <a:lnTo>
                    <a:pt x="463" y="512"/>
                  </a:lnTo>
                  <a:lnTo>
                    <a:pt x="465" y="512"/>
                  </a:lnTo>
                  <a:lnTo>
                    <a:pt x="465" y="510"/>
                  </a:lnTo>
                  <a:lnTo>
                    <a:pt x="463" y="510"/>
                  </a:lnTo>
                  <a:lnTo>
                    <a:pt x="465" y="510"/>
                  </a:lnTo>
                  <a:lnTo>
                    <a:pt x="465" y="507"/>
                  </a:lnTo>
                  <a:lnTo>
                    <a:pt x="465" y="510"/>
                  </a:lnTo>
                  <a:lnTo>
                    <a:pt x="465" y="507"/>
                  </a:lnTo>
                  <a:lnTo>
                    <a:pt x="468" y="507"/>
                  </a:lnTo>
                  <a:lnTo>
                    <a:pt x="468" y="507"/>
                  </a:lnTo>
                  <a:lnTo>
                    <a:pt x="470" y="507"/>
                  </a:lnTo>
                  <a:lnTo>
                    <a:pt x="470" y="505"/>
                  </a:lnTo>
                  <a:lnTo>
                    <a:pt x="468" y="505"/>
                  </a:lnTo>
                  <a:lnTo>
                    <a:pt x="468" y="503"/>
                  </a:lnTo>
                  <a:lnTo>
                    <a:pt x="470" y="505"/>
                  </a:lnTo>
                  <a:lnTo>
                    <a:pt x="470" y="503"/>
                  </a:lnTo>
                  <a:lnTo>
                    <a:pt x="475" y="503"/>
                  </a:lnTo>
                  <a:lnTo>
                    <a:pt x="475" y="503"/>
                  </a:lnTo>
                  <a:lnTo>
                    <a:pt x="477" y="503"/>
                  </a:lnTo>
                  <a:lnTo>
                    <a:pt x="475" y="500"/>
                  </a:lnTo>
                  <a:lnTo>
                    <a:pt x="477" y="500"/>
                  </a:lnTo>
                  <a:lnTo>
                    <a:pt x="477" y="500"/>
                  </a:lnTo>
                  <a:lnTo>
                    <a:pt x="477" y="500"/>
                  </a:lnTo>
                  <a:lnTo>
                    <a:pt x="477" y="498"/>
                  </a:lnTo>
                  <a:lnTo>
                    <a:pt x="477" y="498"/>
                  </a:lnTo>
                  <a:lnTo>
                    <a:pt x="477" y="498"/>
                  </a:lnTo>
                  <a:lnTo>
                    <a:pt x="477" y="498"/>
                  </a:lnTo>
                  <a:lnTo>
                    <a:pt x="477" y="496"/>
                  </a:lnTo>
                  <a:lnTo>
                    <a:pt x="477" y="496"/>
                  </a:lnTo>
                  <a:lnTo>
                    <a:pt x="477" y="493"/>
                  </a:lnTo>
                  <a:lnTo>
                    <a:pt x="475" y="493"/>
                  </a:lnTo>
                  <a:lnTo>
                    <a:pt x="475" y="493"/>
                  </a:lnTo>
                  <a:lnTo>
                    <a:pt x="475" y="493"/>
                  </a:lnTo>
                  <a:lnTo>
                    <a:pt x="475" y="491"/>
                  </a:lnTo>
                  <a:lnTo>
                    <a:pt x="475" y="491"/>
                  </a:lnTo>
                  <a:lnTo>
                    <a:pt x="475" y="491"/>
                  </a:lnTo>
                  <a:lnTo>
                    <a:pt x="475" y="489"/>
                  </a:lnTo>
                  <a:lnTo>
                    <a:pt x="473" y="486"/>
                  </a:lnTo>
                  <a:lnTo>
                    <a:pt x="473" y="484"/>
                  </a:lnTo>
                  <a:lnTo>
                    <a:pt x="470" y="484"/>
                  </a:lnTo>
                  <a:lnTo>
                    <a:pt x="470" y="484"/>
                  </a:lnTo>
                  <a:lnTo>
                    <a:pt x="470" y="484"/>
                  </a:lnTo>
                  <a:lnTo>
                    <a:pt x="470" y="484"/>
                  </a:lnTo>
                  <a:lnTo>
                    <a:pt x="470" y="481"/>
                  </a:lnTo>
                  <a:lnTo>
                    <a:pt x="470" y="481"/>
                  </a:lnTo>
                  <a:lnTo>
                    <a:pt x="470" y="481"/>
                  </a:lnTo>
                  <a:lnTo>
                    <a:pt x="470" y="481"/>
                  </a:lnTo>
                  <a:lnTo>
                    <a:pt x="470" y="479"/>
                  </a:lnTo>
                  <a:lnTo>
                    <a:pt x="470" y="479"/>
                  </a:lnTo>
                  <a:lnTo>
                    <a:pt x="468" y="479"/>
                  </a:lnTo>
                  <a:lnTo>
                    <a:pt x="470" y="479"/>
                  </a:lnTo>
                  <a:lnTo>
                    <a:pt x="468" y="479"/>
                  </a:lnTo>
                  <a:lnTo>
                    <a:pt x="470" y="477"/>
                  </a:lnTo>
                  <a:lnTo>
                    <a:pt x="468" y="474"/>
                  </a:lnTo>
                  <a:lnTo>
                    <a:pt x="468" y="474"/>
                  </a:lnTo>
                  <a:lnTo>
                    <a:pt x="468" y="474"/>
                  </a:lnTo>
                  <a:lnTo>
                    <a:pt x="468" y="472"/>
                  </a:lnTo>
                  <a:lnTo>
                    <a:pt x="468" y="472"/>
                  </a:lnTo>
                  <a:lnTo>
                    <a:pt x="468" y="470"/>
                  </a:lnTo>
                  <a:lnTo>
                    <a:pt x="468" y="470"/>
                  </a:lnTo>
                  <a:lnTo>
                    <a:pt x="470" y="467"/>
                  </a:lnTo>
                  <a:lnTo>
                    <a:pt x="470" y="467"/>
                  </a:lnTo>
                  <a:lnTo>
                    <a:pt x="468" y="467"/>
                  </a:lnTo>
                  <a:lnTo>
                    <a:pt x="470" y="467"/>
                  </a:lnTo>
                  <a:lnTo>
                    <a:pt x="470" y="467"/>
                  </a:lnTo>
                  <a:lnTo>
                    <a:pt x="470" y="465"/>
                  </a:lnTo>
                  <a:lnTo>
                    <a:pt x="470" y="465"/>
                  </a:lnTo>
                  <a:lnTo>
                    <a:pt x="470" y="465"/>
                  </a:lnTo>
                  <a:lnTo>
                    <a:pt x="470" y="463"/>
                  </a:lnTo>
                  <a:lnTo>
                    <a:pt x="473" y="463"/>
                  </a:lnTo>
                  <a:lnTo>
                    <a:pt x="473" y="463"/>
                  </a:lnTo>
                  <a:lnTo>
                    <a:pt x="470" y="460"/>
                  </a:lnTo>
                  <a:lnTo>
                    <a:pt x="470" y="460"/>
                  </a:lnTo>
                  <a:lnTo>
                    <a:pt x="473" y="458"/>
                  </a:lnTo>
                  <a:lnTo>
                    <a:pt x="475" y="458"/>
                  </a:lnTo>
                  <a:lnTo>
                    <a:pt x="475" y="455"/>
                  </a:lnTo>
                  <a:lnTo>
                    <a:pt x="475" y="453"/>
                  </a:lnTo>
                  <a:lnTo>
                    <a:pt x="475" y="453"/>
                  </a:lnTo>
                  <a:lnTo>
                    <a:pt x="477" y="453"/>
                  </a:lnTo>
                  <a:lnTo>
                    <a:pt x="477" y="453"/>
                  </a:lnTo>
                  <a:lnTo>
                    <a:pt x="477" y="453"/>
                  </a:lnTo>
                  <a:lnTo>
                    <a:pt x="480" y="451"/>
                  </a:lnTo>
                  <a:lnTo>
                    <a:pt x="480" y="448"/>
                  </a:lnTo>
                  <a:lnTo>
                    <a:pt x="480" y="448"/>
                  </a:lnTo>
                  <a:lnTo>
                    <a:pt x="480" y="448"/>
                  </a:lnTo>
                  <a:lnTo>
                    <a:pt x="480" y="448"/>
                  </a:lnTo>
                  <a:lnTo>
                    <a:pt x="480" y="446"/>
                  </a:lnTo>
                  <a:lnTo>
                    <a:pt x="480" y="446"/>
                  </a:lnTo>
                  <a:lnTo>
                    <a:pt x="480" y="444"/>
                  </a:lnTo>
                  <a:lnTo>
                    <a:pt x="480" y="441"/>
                  </a:lnTo>
                  <a:lnTo>
                    <a:pt x="480" y="439"/>
                  </a:lnTo>
                  <a:lnTo>
                    <a:pt x="477" y="437"/>
                  </a:lnTo>
                  <a:lnTo>
                    <a:pt x="475" y="434"/>
                  </a:lnTo>
                  <a:lnTo>
                    <a:pt x="475" y="434"/>
                  </a:lnTo>
                  <a:lnTo>
                    <a:pt x="475" y="432"/>
                  </a:lnTo>
                  <a:lnTo>
                    <a:pt x="473" y="429"/>
                  </a:lnTo>
                  <a:lnTo>
                    <a:pt x="470" y="432"/>
                  </a:lnTo>
                  <a:lnTo>
                    <a:pt x="468" y="429"/>
                  </a:lnTo>
                  <a:lnTo>
                    <a:pt x="465" y="429"/>
                  </a:lnTo>
                  <a:lnTo>
                    <a:pt x="463" y="429"/>
                  </a:lnTo>
                  <a:lnTo>
                    <a:pt x="461" y="429"/>
                  </a:lnTo>
                  <a:lnTo>
                    <a:pt x="458" y="432"/>
                  </a:lnTo>
                  <a:lnTo>
                    <a:pt x="456" y="432"/>
                  </a:lnTo>
                  <a:lnTo>
                    <a:pt x="456" y="432"/>
                  </a:lnTo>
                  <a:lnTo>
                    <a:pt x="456" y="432"/>
                  </a:lnTo>
                  <a:lnTo>
                    <a:pt x="454" y="429"/>
                  </a:lnTo>
                  <a:lnTo>
                    <a:pt x="451" y="432"/>
                  </a:lnTo>
                  <a:lnTo>
                    <a:pt x="451" y="429"/>
                  </a:lnTo>
                  <a:lnTo>
                    <a:pt x="451" y="429"/>
                  </a:lnTo>
                  <a:lnTo>
                    <a:pt x="451" y="429"/>
                  </a:lnTo>
                  <a:lnTo>
                    <a:pt x="451" y="427"/>
                  </a:lnTo>
                  <a:lnTo>
                    <a:pt x="451" y="425"/>
                  </a:lnTo>
                  <a:lnTo>
                    <a:pt x="449" y="425"/>
                  </a:lnTo>
                  <a:lnTo>
                    <a:pt x="449" y="422"/>
                  </a:lnTo>
                  <a:lnTo>
                    <a:pt x="447" y="422"/>
                  </a:lnTo>
                  <a:lnTo>
                    <a:pt x="447" y="422"/>
                  </a:lnTo>
                  <a:lnTo>
                    <a:pt x="447" y="420"/>
                  </a:lnTo>
                  <a:lnTo>
                    <a:pt x="449" y="420"/>
                  </a:lnTo>
                  <a:lnTo>
                    <a:pt x="449" y="418"/>
                  </a:lnTo>
                  <a:lnTo>
                    <a:pt x="449" y="418"/>
                  </a:lnTo>
                  <a:lnTo>
                    <a:pt x="447" y="418"/>
                  </a:lnTo>
                  <a:lnTo>
                    <a:pt x="447" y="418"/>
                  </a:lnTo>
                  <a:lnTo>
                    <a:pt x="447" y="415"/>
                  </a:lnTo>
                  <a:lnTo>
                    <a:pt x="449" y="415"/>
                  </a:lnTo>
                  <a:lnTo>
                    <a:pt x="449" y="415"/>
                  </a:lnTo>
                  <a:lnTo>
                    <a:pt x="447" y="415"/>
                  </a:lnTo>
                  <a:lnTo>
                    <a:pt x="447" y="415"/>
                  </a:lnTo>
                  <a:lnTo>
                    <a:pt x="447" y="413"/>
                  </a:lnTo>
                  <a:lnTo>
                    <a:pt x="447" y="413"/>
                  </a:lnTo>
                  <a:lnTo>
                    <a:pt x="447" y="413"/>
                  </a:lnTo>
                  <a:lnTo>
                    <a:pt x="447" y="411"/>
                  </a:lnTo>
                  <a:lnTo>
                    <a:pt x="449" y="413"/>
                  </a:lnTo>
                  <a:lnTo>
                    <a:pt x="449" y="411"/>
                  </a:lnTo>
                  <a:lnTo>
                    <a:pt x="449" y="408"/>
                  </a:lnTo>
                  <a:lnTo>
                    <a:pt x="449" y="408"/>
                  </a:lnTo>
                  <a:lnTo>
                    <a:pt x="451" y="406"/>
                  </a:lnTo>
                  <a:lnTo>
                    <a:pt x="449" y="406"/>
                  </a:lnTo>
                  <a:lnTo>
                    <a:pt x="449" y="406"/>
                  </a:lnTo>
                  <a:lnTo>
                    <a:pt x="449" y="406"/>
                  </a:lnTo>
                  <a:lnTo>
                    <a:pt x="451" y="406"/>
                  </a:lnTo>
                  <a:lnTo>
                    <a:pt x="451" y="408"/>
                  </a:lnTo>
                  <a:lnTo>
                    <a:pt x="451" y="408"/>
                  </a:lnTo>
                  <a:lnTo>
                    <a:pt x="451" y="408"/>
                  </a:lnTo>
                  <a:lnTo>
                    <a:pt x="456" y="408"/>
                  </a:lnTo>
                  <a:lnTo>
                    <a:pt x="456" y="408"/>
                  </a:lnTo>
                  <a:lnTo>
                    <a:pt x="456" y="408"/>
                  </a:lnTo>
                  <a:lnTo>
                    <a:pt x="456" y="408"/>
                  </a:lnTo>
                  <a:lnTo>
                    <a:pt x="458" y="408"/>
                  </a:lnTo>
                  <a:lnTo>
                    <a:pt x="458" y="408"/>
                  </a:lnTo>
                  <a:lnTo>
                    <a:pt x="458" y="408"/>
                  </a:lnTo>
                  <a:lnTo>
                    <a:pt x="456" y="406"/>
                  </a:lnTo>
                  <a:lnTo>
                    <a:pt x="458" y="406"/>
                  </a:lnTo>
                  <a:lnTo>
                    <a:pt x="458" y="406"/>
                  </a:lnTo>
                  <a:lnTo>
                    <a:pt x="458" y="406"/>
                  </a:lnTo>
                  <a:lnTo>
                    <a:pt x="458" y="403"/>
                  </a:lnTo>
                  <a:lnTo>
                    <a:pt x="461" y="406"/>
                  </a:lnTo>
                  <a:lnTo>
                    <a:pt x="461" y="403"/>
                  </a:lnTo>
                  <a:lnTo>
                    <a:pt x="461" y="401"/>
                  </a:lnTo>
                  <a:lnTo>
                    <a:pt x="461" y="401"/>
                  </a:lnTo>
                  <a:lnTo>
                    <a:pt x="461" y="401"/>
                  </a:lnTo>
                  <a:lnTo>
                    <a:pt x="461" y="399"/>
                  </a:lnTo>
                  <a:lnTo>
                    <a:pt x="458" y="399"/>
                  </a:lnTo>
                  <a:lnTo>
                    <a:pt x="458" y="399"/>
                  </a:lnTo>
                  <a:lnTo>
                    <a:pt x="461" y="399"/>
                  </a:lnTo>
                  <a:lnTo>
                    <a:pt x="461" y="396"/>
                  </a:lnTo>
                  <a:lnTo>
                    <a:pt x="461" y="396"/>
                  </a:lnTo>
                  <a:lnTo>
                    <a:pt x="463" y="396"/>
                  </a:lnTo>
                  <a:lnTo>
                    <a:pt x="463" y="396"/>
                  </a:lnTo>
                  <a:lnTo>
                    <a:pt x="463" y="394"/>
                  </a:lnTo>
                  <a:lnTo>
                    <a:pt x="465" y="394"/>
                  </a:lnTo>
                  <a:lnTo>
                    <a:pt x="465" y="396"/>
                  </a:lnTo>
                  <a:lnTo>
                    <a:pt x="465" y="394"/>
                  </a:lnTo>
                  <a:lnTo>
                    <a:pt x="465" y="394"/>
                  </a:lnTo>
                  <a:lnTo>
                    <a:pt x="465" y="394"/>
                  </a:lnTo>
                  <a:lnTo>
                    <a:pt x="465" y="392"/>
                  </a:lnTo>
                  <a:lnTo>
                    <a:pt x="465" y="392"/>
                  </a:lnTo>
                  <a:lnTo>
                    <a:pt x="468" y="392"/>
                  </a:lnTo>
                  <a:lnTo>
                    <a:pt x="468" y="392"/>
                  </a:lnTo>
                  <a:lnTo>
                    <a:pt x="468" y="389"/>
                  </a:lnTo>
                  <a:lnTo>
                    <a:pt x="468" y="389"/>
                  </a:lnTo>
                  <a:lnTo>
                    <a:pt x="470" y="389"/>
                  </a:lnTo>
                  <a:lnTo>
                    <a:pt x="470" y="389"/>
                  </a:lnTo>
                  <a:lnTo>
                    <a:pt x="470" y="389"/>
                  </a:lnTo>
                  <a:lnTo>
                    <a:pt x="470" y="389"/>
                  </a:lnTo>
                  <a:lnTo>
                    <a:pt x="470" y="387"/>
                  </a:lnTo>
                  <a:lnTo>
                    <a:pt x="468" y="387"/>
                  </a:lnTo>
                  <a:lnTo>
                    <a:pt x="470" y="387"/>
                  </a:lnTo>
                  <a:lnTo>
                    <a:pt x="470" y="387"/>
                  </a:lnTo>
                  <a:lnTo>
                    <a:pt x="470" y="387"/>
                  </a:lnTo>
                  <a:lnTo>
                    <a:pt x="470" y="385"/>
                  </a:lnTo>
                  <a:lnTo>
                    <a:pt x="470" y="385"/>
                  </a:lnTo>
                  <a:lnTo>
                    <a:pt x="470" y="385"/>
                  </a:lnTo>
                  <a:lnTo>
                    <a:pt x="473" y="385"/>
                  </a:lnTo>
                  <a:lnTo>
                    <a:pt x="473" y="382"/>
                  </a:lnTo>
                  <a:lnTo>
                    <a:pt x="473" y="382"/>
                  </a:lnTo>
                  <a:lnTo>
                    <a:pt x="473" y="382"/>
                  </a:lnTo>
                  <a:lnTo>
                    <a:pt x="473" y="382"/>
                  </a:lnTo>
                  <a:lnTo>
                    <a:pt x="475" y="382"/>
                  </a:lnTo>
                  <a:lnTo>
                    <a:pt x="475" y="382"/>
                  </a:lnTo>
                  <a:lnTo>
                    <a:pt x="477" y="382"/>
                  </a:lnTo>
                  <a:lnTo>
                    <a:pt x="475" y="382"/>
                  </a:lnTo>
                  <a:lnTo>
                    <a:pt x="477" y="380"/>
                  </a:lnTo>
                  <a:lnTo>
                    <a:pt x="480" y="382"/>
                  </a:lnTo>
                  <a:lnTo>
                    <a:pt x="477" y="380"/>
                  </a:lnTo>
                  <a:lnTo>
                    <a:pt x="480" y="380"/>
                  </a:lnTo>
                  <a:lnTo>
                    <a:pt x="480" y="378"/>
                  </a:lnTo>
                  <a:lnTo>
                    <a:pt x="480" y="378"/>
                  </a:lnTo>
                  <a:lnTo>
                    <a:pt x="480" y="378"/>
                  </a:lnTo>
                  <a:lnTo>
                    <a:pt x="480" y="375"/>
                  </a:lnTo>
                  <a:lnTo>
                    <a:pt x="480" y="378"/>
                  </a:lnTo>
                  <a:lnTo>
                    <a:pt x="480" y="375"/>
                  </a:lnTo>
                  <a:lnTo>
                    <a:pt x="482" y="375"/>
                  </a:lnTo>
                  <a:lnTo>
                    <a:pt x="482" y="375"/>
                  </a:lnTo>
                  <a:lnTo>
                    <a:pt x="482" y="375"/>
                  </a:lnTo>
                  <a:lnTo>
                    <a:pt x="484" y="375"/>
                  </a:lnTo>
                  <a:lnTo>
                    <a:pt x="484" y="373"/>
                  </a:lnTo>
                  <a:lnTo>
                    <a:pt x="484" y="373"/>
                  </a:lnTo>
                  <a:lnTo>
                    <a:pt x="484" y="373"/>
                  </a:lnTo>
                  <a:lnTo>
                    <a:pt x="484" y="373"/>
                  </a:lnTo>
                  <a:lnTo>
                    <a:pt x="487" y="373"/>
                  </a:lnTo>
                  <a:lnTo>
                    <a:pt x="484" y="373"/>
                  </a:lnTo>
                  <a:lnTo>
                    <a:pt x="484" y="373"/>
                  </a:lnTo>
                  <a:lnTo>
                    <a:pt x="487" y="373"/>
                  </a:lnTo>
                  <a:lnTo>
                    <a:pt x="487" y="373"/>
                  </a:lnTo>
                  <a:lnTo>
                    <a:pt x="489" y="373"/>
                  </a:lnTo>
                  <a:lnTo>
                    <a:pt x="487" y="373"/>
                  </a:lnTo>
                  <a:lnTo>
                    <a:pt x="489" y="370"/>
                  </a:lnTo>
                  <a:lnTo>
                    <a:pt x="489" y="373"/>
                  </a:lnTo>
                  <a:lnTo>
                    <a:pt x="491" y="370"/>
                  </a:lnTo>
                  <a:lnTo>
                    <a:pt x="489" y="370"/>
                  </a:lnTo>
                  <a:lnTo>
                    <a:pt x="489" y="370"/>
                  </a:lnTo>
                  <a:lnTo>
                    <a:pt x="491" y="370"/>
                  </a:lnTo>
                  <a:lnTo>
                    <a:pt x="491" y="370"/>
                  </a:lnTo>
                  <a:lnTo>
                    <a:pt x="491" y="370"/>
                  </a:lnTo>
                  <a:lnTo>
                    <a:pt x="491" y="370"/>
                  </a:lnTo>
                  <a:lnTo>
                    <a:pt x="491" y="370"/>
                  </a:lnTo>
                  <a:lnTo>
                    <a:pt x="491" y="366"/>
                  </a:lnTo>
                  <a:lnTo>
                    <a:pt x="491" y="366"/>
                  </a:lnTo>
                  <a:lnTo>
                    <a:pt x="491" y="368"/>
                  </a:lnTo>
                  <a:lnTo>
                    <a:pt x="494" y="368"/>
                  </a:lnTo>
                  <a:lnTo>
                    <a:pt x="494" y="368"/>
                  </a:lnTo>
                  <a:lnTo>
                    <a:pt x="494" y="368"/>
                  </a:lnTo>
                  <a:lnTo>
                    <a:pt x="494" y="366"/>
                  </a:lnTo>
                  <a:lnTo>
                    <a:pt x="494" y="366"/>
                  </a:lnTo>
                  <a:lnTo>
                    <a:pt x="494" y="366"/>
                  </a:lnTo>
                  <a:lnTo>
                    <a:pt x="494" y="366"/>
                  </a:lnTo>
                  <a:lnTo>
                    <a:pt x="496" y="366"/>
                  </a:lnTo>
                  <a:lnTo>
                    <a:pt x="496" y="366"/>
                  </a:lnTo>
                  <a:lnTo>
                    <a:pt x="496" y="366"/>
                  </a:lnTo>
                  <a:lnTo>
                    <a:pt x="496" y="366"/>
                  </a:lnTo>
                  <a:lnTo>
                    <a:pt x="496" y="366"/>
                  </a:lnTo>
                  <a:lnTo>
                    <a:pt x="496" y="366"/>
                  </a:lnTo>
                  <a:lnTo>
                    <a:pt x="496" y="363"/>
                  </a:lnTo>
                  <a:lnTo>
                    <a:pt x="499" y="363"/>
                  </a:lnTo>
                  <a:lnTo>
                    <a:pt x="499" y="363"/>
                  </a:lnTo>
                  <a:lnTo>
                    <a:pt x="496" y="363"/>
                  </a:lnTo>
                  <a:lnTo>
                    <a:pt x="496" y="363"/>
                  </a:lnTo>
                  <a:lnTo>
                    <a:pt x="496" y="363"/>
                  </a:lnTo>
                  <a:lnTo>
                    <a:pt x="496" y="361"/>
                  </a:lnTo>
                  <a:lnTo>
                    <a:pt x="496" y="361"/>
                  </a:lnTo>
                  <a:lnTo>
                    <a:pt x="499" y="361"/>
                  </a:lnTo>
                  <a:lnTo>
                    <a:pt x="499" y="361"/>
                  </a:lnTo>
                  <a:lnTo>
                    <a:pt x="499" y="359"/>
                  </a:lnTo>
                  <a:lnTo>
                    <a:pt x="496" y="359"/>
                  </a:lnTo>
                  <a:lnTo>
                    <a:pt x="496" y="356"/>
                  </a:lnTo>
                  <a:lnTo>
                    <a:pt x="496" y="359"/>
                  </a:lnTo>
                  <a:lnTo>
                    <a:pt x="494" y="356"/>
                  </a:lnTo>
                  <a:lnTo>
                    <a:pt x="496" y="356"/>
                  </a:lnTo>
                  <a:lnTo>
                    <a:pt x="494" y="356"/>
                  </a:lnTo>
                  <a:lnTo>
                    <a:pt x="494" y="354"/>
                  </a:lnTo>
                  <a:lnTo>
                    <a:pt x="494" y="354"/>
                  </a:lnTo>
                  <a:lnTo>
                    <a:pt x="494" y="354"/>
                  </a:lnTo>
                  <a:lnTo>
                    <a:pt x="494" y="354"/>
                  </a:lnTo>
                  <a:lnTo>
                    <a:pt x="491" y="354"/>
                  </a:lnTo>
                  <a:lnTo>
                    <a:pt x="494" y="352"/>
                  </a:lnTo>
                  <a:lnTo>
                    <a:pt x="494" y="352"/>
                  </a:lnTo>
                  <a:lnTo>
                    <a:pt x="494" y="352"/>
                  </a:lnTo>
                  <a:lnTo>
                    <a:pt x="491" y="349"/>
                  </a:lnTo>
                  <a:lnTo>
                    <a:pt x="491" y="349"/>
                  </a:lnTo>
                  <a:lnTo>
                    <a:pt x="489" y="352"/>
                  </a:lnTo>
                  <a:lnTo>
                    <a:pt x="491" y="349"/>
                  </a:lnTo>
                  <a:lnTo>
                    <a:pt x="489" y="349"/>
                  </a:lnTo>
                  <a:lnTo>
                    <a:pt x="489" y="347"/>
                  </a:lnTo>
                  <a:lnTo>
                    <a:pt x="489" y="347"/>
                  </a:lnTo>
                  <a:lnTo>
                    <a:pt x="491" y="347"/>
                  </a:lnTo>
                  <a:lnTo>
                    <a:pt x="489" y="347"/>
                  </a:lnTo>
                  <a:lnTo>
                    <a:pt x="489" y="347"/>
                  </a:lnTo>
                  <a:lnTo>
                    <a:pt x="489" y="347"/>
                  </a:lnTo>
                  <a:lnTo>
                    <a:pt x="487" y="344"/>
                  </a:lnTo>
                  <a:lnTo>
                    <a:pt x="489" y="344"/>
                  </a:lnTo>
                  <a:lnTo>
                    <a:pt x="489" y="344"/>
                  </a:lnTo>
                  <a:lnTo>
                    <a:pt x="489" y="342"/>
                  </a:lnTo>
                  <a:lnTo>
                    <a:pt x="491" y="340"/>
                  </a:lnTo>
                  <a:lnTo>
                    <a:pt x="487" y="340"/>
                  </a:lnTo>
                  <a:lnTo>
                    <a:pt x="487" y="340"/>
                  </a:lnTo>
                  <a:lnTo>
                    <a:pt x="489" y="337"/>
                  </a:lnTo>
                  <a:lnTo>
                    <a:pt x="487" y="337"/>
                  </a:lnTo>
                  <a:lnTo>
                    <a:pt x="487" y="337"/>
                  </a:lnTo>
                  <a:lnTo>
                    <a:pt x="487" y="335"/>
                  </a:lnTo>
                  <a:lnTo>
                    <a:pt x="487" y="335"/>
                  </a:lnTo>
                  <a:lnTo>
                    <a:pt x="487" y="335"/>
                  </a:lnTo>
                  <a:lnTo>
                    <a:pt x="487" y="333"/>
                  </a:lnTo>
                  <a:lnTo>
                    <a:pt x="484" y="333"/>
                  </a:lnTo>
                  <a:lnTo>
                    <a:pt x="484" y="333"/>
                  </a:lnTo>
                  <a:lnTo>
                    <a:pt x="487" y="333"/>
                  </a:lnTo>
                  <a:lnTo>
                    <a:pt x="484" y="333"/>
                  </a:lnTo>
                  <a:lnTo>
                    <a:pt x="484" y="330"/>
                  </a:lnTo>
                  <a:lnTo>
                    <a:pt x="484" y="328"/>
                  </a:lnTo>
                  <a:lnTo>
                    <a:pt x="487" y="328"/>
                  </a:lnTo>
                  <a:lnTo>
                    <a:pt x="484" y="328"/>
                  </a:lnTo>
                  <a:lnTo>
                    <a:pt x="487" y="328"/>
                  </a:lnTo>
                  <a:lnTo>
                    <a:pt x="487" y="326"/>
                  </a:lnTo>
                  <a:lnTo>
                    <a:pt x="487" y="326"/>
                  </a:lnTo>
                  <a:lnTo>
                    <a:pt x="484" y="323"/>
                  </a:lnTo>
                  <a:lnTo>
                    <a:pt x="484" y="323"/>
                  </a:lnTo>
                  <a:lnTo>
                    <a:pt x="482" y="323"/>
                  </a:lnTo>
                  <a:lnTo>
                    <a:pt x="484" y="323"/>
                  </a:lnTo>
                  <a:lnTo>
                    <a:pt x="484" y="321"/>
                  </a:lnTo>
                  <a:lnTo>
                    <a:pt x="482" y="321"/>
                  </a:lnTo>
                  <a:lnTo>
                    <a:pt x="482" y="321"/>
                  </a:lnTo>
                  <a:lnTo>
                    <a:pt x="484" y="318"/>
                  </a:lnTo>
                  <a:lnTo>
                    <a:pt x="482" y="318"/>
                  </a:lnTo>
                  <a:lnTo>
                    <a:pt x="482" y="318"/>
                  </a:lnTo>
                  <a:lnTo>
                    <a:pt x="482" y="318"/>
                  </a:lnTo>
                  <a:lnTo>
                    <a:pt x="482" y="316"/>
                  </a:lnTo>
                  <a:lnTo>
                    <a:pt x="480" y="318"/>
                  </a:lnTo>
                  <a:lnTo>
                    <a:pt x="480" y="318"/>
                  </a:lnTo>
                  <a:lnTo>
                    <a:pt x="480" y="318"/>
                  </a:lnTo>
                  <a:lnTo>
                    <a:pt x="480" y="316"/>
                  </a:lnTo>
                  <a:lnTo>
                    <a:pt x="477" y="316"/>
                  </a:lnTo>
                  <a:lnTo>
                    <a:pt x="477" y="316"/>
                  </a:lnTo>
                  <a:lnTo>
                    <a:pt x="477" y="314"/>
                  </a:lnTo>
                  <a:lnTo>
                    <a:pt x="477" y="316"/>
                  </a:lnTo>
                  <a:lnTo>
                    <a:pt x="477" y="314"/>
                  </a:lnTo>
                  <a:lnTo>
                    <a:pt x="477" y="314"/>
                  </a:lnTo>
                  <a:lnTo>
                    <a:pt x="475" y="314"/>
                  </a:lnTo>
                  <a:lnTo>
                    <a:pt x="475" y="314"/>
                  </a:lnTo>
                  <a:lnTo>
                    <a:pt x="475" y="311"/>
                  </a:lnTo>
                  <a:lnTo>
                    <a:pt x="475" y="314"/>
                  </a:lnTo>
                  <a:lnTo>
                    <a:pt x="475" y="311"/>
                  </a:lnTo>
                  <a:lnTo>
                    <a:pt x="475" y="309"/>
                  </a:lnTo>
                  <a:lnTo>
                    <a:pt x="475" y="311"/>
                  </a:lnTo>
                  <a:lnTo>
                    <a:pt x="473" y="314"/>
                  </a:lnTo>
                  <a:lnTo>
                    <a:pt x="470" y="311"/>
                  </a:lnTo>
                  <a:lnTo>
                    <a:pt x="473" y="311"/>
                  </a:lnTo>
                  <a:lnTo>
                    <a:pt x="470" y="309"/>
                  </a:lnTo>
                  <a:lnTo>
                    <a:pt x="473" y="309"/>
                  </a:lnTo>
                  <a:lnTo>
                    <a:pt x="470" y="309"/>
                  </a:lnTo>
                  <a:lnTo>
                    <a:pt x="470" y="309"/>
                  </a:lnTo>
                  <a:lnTo>
                    <a:pt x="470" y="309"/>
                  </a:lnTo>
                  <a:lnTo>
                    <a:pt x="470" y="309"/>
                  </a:lnTo>
                  <a:lnTo>
                    <a:pt x="468" y="309"/>
                  </a:lnTo>
                  <a:lnTo>
                    <a:pt x="468" y="309"/>
                  </a:lnTo>
                  <a:lnTo>
                    <a:pt x="468" y="309"/>
                  </a:lnTo>
                  <a:lnTo>
                    <a:pt x="468" y="309"/>
                  </a:lnTo>
                  <a:lnTo>
                    <a:pt x="468" y="307"/>
                  </a:lnTo>
                  <a:lnTo>
                    <a:pt x="465" y="307"/>
                  </a:lnTo>
                  <a:lnTo>
                    <a:pt x="465" y="309"/>
                  </a:lnTo>
                  <a:lnTo>
                    <a:pt x="465" y="307"/>
                  </a:lnTo>
                  <a:lnTo>
                    <a:pt x="465" y="307"/>
                  </a:lnTo>
                  <a:lnTo>
                    <a:pt x="463" y="307"/>
                  </a:lnTo>
                  <a:lnTo>
                    <a:pt x="461" y="307"/>
                  </a:lnTo>
                  <a:lnTo>
                    <a:pt x="463" y="307"/>
                  </a:lnTo>
                  <a:lnTo>
                    <a:pt x="461" y="307"/>
                  </a:lnTo>
                  <a:lnTo>
                    <a:pt x="463" y="304"/>
                  </a:lnTo>
                  <a:lnTo>
                    <a:pt x="461" y="304"/>
                  </a:lnTo>
                  <a:lnTo>
                    <a:pt x="463" y="304"/>
                  </a:lnTo>
                  <a:lnTo>
                    <a:pt x="461" y="302"/>
                  </a:lnTo>
                  <a:lnTo>
                    <a:pt x="461" y="304"/>
                  </a:lnTo>
                  <a:lnTo>
                    <a:pt x="461" y="302"/>
                  </a:lnTo>
                  <a:lnTo>
                    <a:pt x="461" y="304"/>
                  </a:lnTo>
                  <a:lnTo>
                    <a:pt x="458" y="302"/>
                  </a:lnTo>
                  <a:lnTo>
                    <a:pt x="461" y="302"/>
                  </a:lnTo>
                  <a:lnTo>
                    <a:pt x="458" y="302"/>
                  </a:lnTo>
                  <a:lnTo>
                    <a:pt x="458" y="300"/>
                  </a:lnTo>
                  <a:lnTo>
                    <a:pt x="458" y="300"/>
                  </a:lnTo>
                  <a:lnTo>
                    <a:pt x="456" y="297"/>
                  </a:lnTo>
                  <a:lnTo>
                    <a:pt x="456" y="297"/>
                  </a:lnTo>
                  <a:lnTo>
                    <a:pt x="456" y="295"/>
                  </a:lnTo>
                  <a:lnTo>
                    <a:pt x="456" y="292"/>
                  </a:lnTo>
                  <a:lnTo>
                    <a:pt x="458" y="292"/>
                  </a:lnTo>
                  <a:lnTo>
                    <a:pt x="458" y="290"/>
                  </a:lnTo>
                  <a:lnTo>
                    <a:pt x="461" y="290"/>
                  </a:lnTo>
                  <a:lnTo>
                    <a:pt x="461" y="288"/>
                  </a:lnTo>
                  <a:lnTo>
                    <a:pt x="461" y="283"/>
                  </a:lnTo>
                  <a:lnTo>
                    <a:pt x="461" y="283"/>
                  </a:lnTo>
                  <a:lnTo>
                    <a:pt x="461" y="281"/>
                  </a:lnTo>
                  <a:lnTo>
                    <a:pt x="463" y="281"/>
                  </a:lnTo>
                  <a:lnTo>
                    <a:pt x="465" y="276"/>
                  </a:lnTo>
                  <a:lnTo>
                    <a:pt x="468" y="274"/>
                  </a:lnTo>
                  <a:lnTo>
                    <a:pt x="468" y="274"/>
                  </a:lnTo>
                  <a:lnTo>
                    <a:pt x="468" y="271"/>
                  </a:lnTo>
                  <a:lnTo>
                    <a:pt x="470" y="271"/>
                  </a:lnTo>
                  <a:lnTo>
                    <a:pt x="470" y="269"/>
                  </a:lnTo>
                  <a:lnTo>
                    <a:pt x="470" y="269"/>
                  </a:lnTo>
                  <a:lnTo>
                    <a:pt x="470" y="269"/>
                  </a:lnTo>
                  <a:lnTo>
                    <a:pt x="470" y="266"/>
                  </a:lnTo>
                  <a:lnTo>
                    <a:pt x="473" y="264"/>
                  </a:lnTo>
                  <a:lnTo>
                    <a:pt x="473" y="264"/>
                  </a:lnTo>
                  <a:lnTo>
                    <a:pt x="473" y="264"/>
                  </a:lnTo>
                  <a:lnTo>
                    <a:pt x="475" y="262"/>
                  </a:lnTo>
                  <a:lnTo>
                    <a:pt x="473" y="259"/>
                  </a:lnTo>
                  <a:lnTo>
                    <a:pt x="475" y="259"/>
                  </a:lnTo>
                  <a:lnTo>
                    <a:pt x="473" y="259"/>
                  </a:lnTo>
                  <a:lnTo>
                    <a:pt x="473" y="257"/>
                  </a:lnTo>
                  <a:lnTo>
                    <a:pt x="473" y="257"/>
                  </a:lnTo>
                  <a:lnTo>
                    <a:pt x="473" y="255"/>
                  </a:lnTo>
                  <a:lnTo>
                    <a:pt x="470" y="255"/>
                  </a:lnTo>
                  <a:lnTo>
                    <a:pt x="473" y="255"/>
                  </a:lnTo>
                  <a:lnTo>
                    <a:pt x="473" y="255"/>
                  </a:lnTo>
                  <a:lnTo>
                    <a:pt x="470" y="252"/>
                  </a:lnTo>
                  <a:lnTo>
                    <a:pt x="470" y="252"/>
                  </a:lnTo>
                  <a:lnTo>
                    <a:pt x="470" y="252"/>
                  </a:lnTo>
                  <a:lnTo>
                    <a:pt x="470" y="252"/>
                  </a:lnTo>
                  <a:lnTo>
                    <a:pt x="470" y="250"/>
                  </a:lnTo>
                  <a:lnTo>
                    <a:pt x="470" y="250"/>
                  </a:lnTo>
                  <a:lnTo>
                    <a:pt x="470" y="250"/>
                  </a:lnTo>
                  <a:lnTo>
                    <a:pt x="470" y="250"/>
                  </a:lnTo>
                  <a:lnTo>
                    <a:pt x="470" y="248"/>
                  </a:lnTo>
                  <a:lnTo>
                    <a:pt x="470" y="248"/>
                  </a:lnTo>
                  <a:lnTo>
                    <a:pt x="473" y="248"/>
                  </a:lnTo>
                  <a:lnTo>
                    <a:pt x="470" y="245"/>
                  </a:lnTo>
                  <a:lnTo>
                    <a:pt x="473" y="245"/>
                  </a:lnTo>
                  <a:lnTo>
                    <a:pt x="473" y="245"/>
                  </a:lnTo>
                  <a:lnTo>
                    <a:pt x="473" y="243"/>
                  </a:lnTo>
                  <a:lnTo>
                    <a:pt x="473" y="243"/>
                  </a:lnTo>
                  <a:lnTo>
                    <a:pt x="473" y="243"/>
                  </a:lnTo>
                  <a:lnTo>
                    <a:pt x="473" y="243"/>
                  </a:lnTo>
                  <a:lnTo>
                    <a:pt x="475" y="243"/>
                  </a:lnTo>
                  <a:lnTo>
                    <a:pt x="475" y="243"/>
                  </a:lnTo>
                  <a:lnTo>
                    <a:pt x="475" y="243"/>
                  </a:lnTo>
                  <a:lnTo>
                    <a:pt x="475" y="243"/>
                  </a:lnTo>
                  <a:lnTo>
                    <a:pt x="475" y="243"/>
                  </a:lnTo>
                  <a:lnTo>
                    <a:pt x="475" y="241"/>
                  </a:lnTo>
                  <a:lnTo>
                    <a:pt x="475" y="241"/>
                  </a:lnTo>
                  <a:lnTo>
                    <a:pt x="475" y="241"/>
                  </a:lnTo>
                  <a:lnTo>
                    <a:pt x="475" y="238"/>
                  </a:lnTo>
                  <a:lnTo>
                    <a:pt x="475" y="238"/>
                  </a:lnTo>
                  <a:lnTo>
                    <a:pt x="475" y="236"/>
                  </a:lnTo>
                  <a:lnTo>
                    <a:pt x="475" y="236"/>
                  </a:lnTo>
                  <a:lnTo>
                    <a:pt x="475" y="236"/>
                  </a:lnTo>
                  <a:lnTo>
                    <a:pt x="475" y="236"/>
                  </a:lnTo>
                  <a:lnTo>
                    <a:pt x="477" y="236"/>
                  </a:lnTo>
                  <a:lnTo>
                    <a:pt x="477" y="233"/>
                  </a:lnTo>
                  <a:lnTo>
                    <a:pt x="477" y="233"/>
                  </a:lnTo>
                  <a:lnTo>
                    <a:pt x="477" y="233"/>
                  </a:lnTo>
                  <a:lnTo>
                    <a:pt x="477" y="233"/>
                  </a:lnTo>
                  <a:lnTo>
                    <a:pt x="477" y="233"/>
                  </a:lnTo>
                  <a:lnTo>
                    <a:pt x="477" y="233"/>
                  </a:lnTo>
                  <a:lnTo>
                    <a:pt x="480" y="233"/>
                  </a:lnTo>
                  <a:lnTo>
                    <a:pt x="480" y="233"/>
                  </a:lnTo>
                  <a:lnTo>
                    <a:pt x="480" y="233"/>
                  </a:lnTo>
                  <a:lnTo>
                    <a:pt x="482" y="233"/>
                  </a:lnTo>
                  <a:lnTo>
                    <a:pt x="482" y="233"/>
                  </a:lnTo>
                  <a:lnTo>
                    <a:pt x="484" y="233"/>
                  </a:lnTo>
                  <a:lnTo>
                    <a:pt x="484" y="233"/>
                  </a:lnTo>
                  <a:lnTo>
                    <a:pt x="487" y="233"/>
                  </a:lnTo>
                  <a:lnTo>
                    <a:pt x="487" y="233"/>
                  </a:lnTo>
                  <a:lnTo>
                    <a:pt x="487" y="233"/>
                  </a:lnTo>
                  <a:lnTo>
                    <a:pt x="487" y="231"/>
                  </a:lnTo>
                  <a:lnTo>
                    <a:pt x="489" y="231"/>
                  </a:lnTo>
                  <a:lnTo>
                    <a:pt x="489" y="231"/>
                  </a:lnTo>
                  <a:lnTo>
                    <a:pt x="489" y="231"/>
                  </a:lnTo>
                  <a:lnTo>
                    <a:pt x="489" y="229"/>
                  </a:lnTo>
                  <a:lnTo>
                    <a:pt x="491" y="229"/>
                  </a:lnTo>
                  <a:lnTo>
                    <a:pt x="491" y="229"/>
                  </a:lnTo>
                  <a:lnTo>
                    <a:pt x="491" y="229"/>
                  </a:lnTo>
                  <a:lnTo>
                    <a:pt x="491" y="226"/>
                  </a:lnTo>
                  <a:lnTo>
                    <a:pt x="491" y="229"/>
                  </a:lnTo>
                  <a:lnTo>
                    <a:pt x="494" y="229"/>
                  </a:lnTo>
                  <a:lnTo>
                    <a:pt x="494" y="226"/>
                  </a:lnTo>
                  <a:lnTo>
                    <a:pt x="494" y="226"/>
                  </a:lnTo>
                  <a:lnTo>
                    <a:pt x="494" y="226"/>
                  </a:lnTo>
                  <a:lnTo>
                    <a:pt x="494" y="226"/>
                  </a:lnTo>
                  <a:lnTo>
                    <a:pt x="494" y="226"/>
                  </a:lnTo>
                  <a:lnTo>
                    <a:pt x="494" y="226"/>
                  </a:lnTo>
                  <a:lnTo>
                    <a:pt x="494" y="226"/>
                  </a:lnTo>
                  <a:lnTo>
                    <a:pt x="494" y="226"/>
                  </a:lnTo>
                  <a:lnTo>
                    <a:pt x="494" y="226"/>
                  </a:lnTo>
                  <a:lnTo>
                    <a:pt x="494" y="224"/>
                  </a:lnTo>
                  <a:lnTo>
                    <a:pt x="494" y="224"/>
                  </a:lnTo>
                  <a:lnTo>
                    <a:pt x="494" y="224"/>
                  </a:lnTo>
                  <a:lnTo>
                    <a:pt x="496" y="224"/>
                  </a:lnTo>
                  <a:lnTo>
                    <a:pt x="496" y="224"/>
                  </a:lnTo>
                  <a:lnTo>
                    <a:pt x="496" y="224"/>
                  </a:lnTo>
                  <a:lnTo>
                    <a:pt x="496" y="222"/>
                  </a:lnTo>
                  <a:lnTo>
                    <a:pt x="496" y="222"/>
                  </a:lnTo>
                  <a:lnTo>
                    <a:pt x="496" y="222"/>
                  </a:lnTo>
                  <a:lnTo>
                    <a:pt x="499" y="224"/>
                  </a:lnTo>
                  <a:lnTo>
                    <a:pt x="496" y="224"/>
                  </a:lnTo>
                  <a:lnTo>
                    <a:pt x="499" y="224"/>
                  </a:lnTo>
                  <a:lnTo>
                    <a:pt x="501" y="226"/>
                  </a:lnTo>
                  <a:lnTo>
                    <a:pt x="501" y="226"/>
                  </a:lnTo>
                  <a:lnTo>
                    <a:pt x="503" y="226"/>
                  </a:lnTo>
                  <a:lnTo>
                    <a:pt x="503" y="226"/>
                  </a:lnTo>
                  <a:lnTo>
                    <a:pt x="503" y="226"/>
                  </a:lnTo>
                  <a:lnTo>
                    <a:pt x="508" y="224"/>
                  </a:lnTo>
                  <a:lnTo>
                    <a:pt x="520" y="222"/>
                  </a:lnTo>
                  <a:lnTo>
                    <a:pt x="536" y="217"/>
                  </a:lnTo>
                  <a:lnTo>
                    <a:pt x="539" y="217"/>
                  </a:lnTo>
                  <a:lnTo>
                    <a:pt x="539" y="215"/>
                  </a:lnTo>
                  <a:lnTo>
                    <a:pt x="539" y="215"/>
                  </a:lnTo>
                  <a:lnTo>
                    <a:pt x="539" y="212"/>
                  </a:lnTo>
                  <a:lnTo>
                    <a:pt x="536" y="207"/>
                  </a:lnTo>
                  <a:lnTo>
                    <a:pt x="539" y="207"/>
                  </a:lnTo>
                  <a:lnTo>
                    <a:pt x="536" y="207"/>
                  </a:lnTo>
                  <a:lnTo>
                    <a:pt x="539" y="203"/>
                  </a:lnTo>
                  <a:lnTo>
                    <a:pt x="536" y="198"/>
                  </a:lnTo>
                  <a:lnTo>
                    <a:pt x="536" y="196"/>
                  </a:lnTo>
                  <a:lnTo>
                    <a:pt x="534" y="193"/>
                  </a:lnTo>
                  <a:lnTo>
                    <a:pt x="532" y="191"/>
                  </a:lnTo>
                  <a:lnTo>
                    <a:pt x="534" y="186"/>
                  </a:lnTo>
                  <a:lnTo>
                    <a:pt x="532" y="184"/>
                  </a:lnTo>
                  <a:lnTo>
                    <a:pt x="534" y="181"/>
                  </a:lnTo>
                  <a:lnTo>
                    <a:pt x="534" y="181"/>
                  </a:lnTo>
                  <a:lnTo>
                    <a:pt x="529" y="181"/>
                  </a:lnTo>
                  <a:lnTo>
                    <a:pt x="529" y="179"/>
                  </a:lnTo>
                  <a:lnTo>
                    <a:pt x="529" y="179"/>
                  </a:lnTo>
                  <a:lnTo>
                    <a:pt x="527" y="179"/>
                  </a:lnTo>
                  <a:lnTo>
                    <a:pt x="524" y="177"/>
                  </a:lnTo>
                  <a:lnTo>
                    <a:pt x="522" y="174"/>
                  </a:lnTo>
                  <a:lnTo>
                    <a:pt x="522" y="172"/>
                  </a:lnTo>
                  <a:lnTo>
                    <a:pt x="522" y="170"/>
                  </a:lnTo>
                  <a:lnTo>
                    <a:pt x="522" y="163"/>
                  </a:lnTo>
                  <a:lnTo>
                    <a:pt x="522" y="158"/>
                  </a:lnTo>
                  <a:lnTo>
                    <a:pt x="524" y="155"/>
                  </a:lnTo>
                  <a:lnTo>
                    <a:pt x="527" y="153"/>
                  </a:lnTo>
                  <a:lnTo>
                    <a:pt x="529" y="153"/>
                  </a:lnTo>
                  <a:lnTo>
                    <a:pt x="532" y="151"/>
                  </a:lnTo>
                  <a:lnTo>
                    <a:pt x="534" y="151"/>
                  </a:lnTo>
                  <a:lnTo>
                    <a:pt x="534" y="148"/>
                  </a:lnTo>
                  <a:lnTo>
                    <a:pt x="532" y="148"/>
                  </a:lnTo>
                  <a:lnTo>
                    <a:pt x="532" y="146"/>
                  </a:lnTo>
                  <a:lnTo>
                    <a:pt x="534" y="146"/>
                  </a:lnTo>
                  <a:lnTo>
                    <a:pt x="534" y="144"/>
                  </a:lnTo>
                  <a:lnTo>
                    <a:pt x="532" y="139"/>
                  </a:lnTo>
                  <a:lnTo>
                    <a:pt x="529" y="139"/>
                  </a:lnTo>
                  <a:lnTo>
                    <a:pt x="529" y="132"/>
                  </a:lnTo>
                  <a:lnTo>
                    <a:pt x="527" y="132"/>
                  </a:lnTo>
                  <a:lnTo>
                    <a:pt x="527" y="132"/>
                  </a:lnTo>
                  <a:lnTo>
                    <a:pt x="524" y="132"/>
                  </a:lnTo>
                  <a:lnTo>
                    <a:pt x="524" y="134"/>
                  </a:lnTo>
                  <a:lnTo>
                    <a:pt x="522" y="132"/>
                  </a:lnTo>
                  <a:lnTo>
                    <a:pt x="522" y="129"/>
                  </a:lnTo>
                  <a:lnTo>
                    <a:pt x="522" y="127"/>
                  </a:lnTo>
                  <a:lnTo>
                    <a:pt x="524" y="125"/>
                  </a:lnTo>
                  <a:lnTo>
                    <a:pt x="524" y="122"/>
                  </a:lnTo>
                  <a:lnTo>
                    <a:pt x="527" y="118"/>
                  </a:lnTo>
                  <a:lnTo>
                    <a:pt x="529" y="115"/>
                  </a:lnTo>
                  <a:lnTo>
                    <a:pt x="529" y="115"/>
                  </a:lnTo>
                  <a:lnTo>
                    <a:pt x="527" y="115"/>
                  </a:lnTo>
                  <a:lnTo>
                    <a:pt x="527" y="113"/>
                  </a:lnTo>
                  <a:lnTo>
                    <a:pt x="524" y="113"/>
                  </a:lnTo>
                  <a:lnTo>
                    <a:pt x="524" y="111"/>
                  </a:lnTo>
                  <a:lnTo>
                    <a:pt x="524" y="108"/>
                  </a:lnTo>
                  <a:lnTo>
                    <a:pt x="524" y="108"/>
                  </a:lnTo>
                  <a:lnTo>
                    <a:pt x="532" y="104"/>
                  </a:lnTo>
                  <a:lnTo>
                    <a:pt x="532" y="101"/>
                  </a:lnTo>
                  <a:lnTo>
                    <a:pt x="536" y="104"/>
                  </a:lnTo>
                  <a:lnTo>
                    <a:pt x="541" y="104"/>
                  </a:lnTo>
                  <a:lnTo>
                    <a:pt x="546" y="106"/>
                  </a:lnTo>
                  <a:lnTo>
                    <a:pt x="548" y="106"/>
                  </a:lnTo>
                  <a:lnTo>
                    <a:pt x="553" y="108"/>
                  </a:lnTo>
                  <a:lnTo>
                    <a:pt x="555" y="108"/>
                  </a:lnTo>
                  <a:lnTo>
                    <a:pt x="558" y="111"/>
                  </a:lnTo>
                  <a:lnTo>
                    <a:pt x="560" y="113"/>
                  </a:lnTo>
                  <a:lnTo>
                    <a:pt x="562" y="113"/>
                  </a:lnTo>
                  <a:lnTo>
                    <a:pt x="565" y="113"/>
                  </a:lnTo>
                  <a:lnTo>
                    <a:pt x="565" y="113"/>
                  </a:lnTo>
                  <a:lnTo>
                    <a:pt x="567" y="111"/>
                  </a:lnTo>
                  <a:lnTo>
                    <a:pt x="569" y="113"/>
                  </a:lnTo>
                  <a:lnTo>
                    <a:pt x="569" y="111"/>
                  </a:lnTo>
                  <a:lnTo>
                    <a:pt x="572" y="108"/>
                  </a:lnTo>
                  <a:lnTo>
                    <a:pt x="572" y="108"/>
                  </a:lnTo>
                  <a:lnTo>
                    <a:pt x="574" y="108"/>
                  </a:lnTo>
                  <a:lnTo>
                    <a:pt x="574" y="108"/>
                  </a:lnTo>
                  <a:lnTo>
                    <a:pt x="576" y="108"/>
                  </a:lnTo>
                  <a:lnTo>
                    <a:pt x="576" y="108"/>
                  </a:lnTo>
                  <a:lnTo>
                    <a:pt x="576" y="104"/>
                  </a:lnTo>
                  <a:lnTo>
                    <a:pt x="576" y="104"/>
                  </a:lnTo>
                  <a:lnTo>
                    <a:pt x="576" y="104"/>
                  </a:lnTo>
                  <a:lnTo>
                    <a:pt x="574" y="101"/>
                  </a:lnTo>
                  <a:lnTo>
                    <a:pt x="574" y="99"/>
                  </a:lnTo>
                  <a:lnTo>
                    <a:pt x="576" y="99"/>
                  </a:lnTo>
                  <a:lnTo>
                    <a:pt x="576" y="96"/>
                  </a:lnTo>
                  <a:lnTo>
                    <a:pt x="576" y="96"/>
                  </a:lnTo>
                  <a:lnTo>
                    <a:pt x="574" y="96"/>
                  </a:lnTo>
                  <a:lnTo>
                    <a:pt x="574" y="94"/>
                  </a:lnTo>
                  <a:lnTo>
                    <a:pt x="574" y="94"/>
                  </a:lnTo>
                  <a:lnTo>
                    <a:pt x="572" y="92"/>
                  </a:lnTo>
                  <a:lnTo>
                    <a:pt x="574" y="87"/>
                  </a:lnTo>
                  <a:lnTo>
                    <a:pt x="574" y="85"/>
                  </a:lnTo>
                  <a:lnTo>
                    <a:pt x="576" y="80"/>
                  </a:lnTo>
                  <a:lnTo>
                    <a:pt x="574" y="78"/>
                  </a:lnTo>
                  <a:lnTo>
                    <a:pt x="574" y="78"/>
                  </a:lnTo>
                  <a:lnTo>
                    <a:pt x="569" y="78"/>
                  </a:lnTo>
                  <a:lnTo>
                    <a:pt x="569" y="78"/>
                  </a:lnTo>
                  <a:lnTo>
                    <a:pt x="569" y="75"/>
                  </a:lnTo>
                  <a:lnTo>
                    <a:pt x="569" y="75"/>
                  </a:lnTo>
                  <a:lnTo>
                    <a:pt x="569" y="73"/>
                  </a:lnTo>
                  <a:lnTo>
                    <a:pt x="572" y="70"/>
                  </a:lnTo>
                  <a:lnTo>
                    <a:pt x="572" y="68"/>
                  </a:lnTo>
                  <a:lnTo>
                    <a:pt x="574" y="68"/>
                  </a:lnTo>
                  <a:lnTo>
                    <a:pt x="576" y="68"/>
                  </a:lnTo>
                  <a:lnTo>
                    <a:pt x="576" y="66"/>
                  </a:lnTo>
                  <a:lnTo>
                    <a:pt x="576" y="66"/>
                  </a:lnTo>
                  <a:lnTo>
                    <a:pt x="576" y="63"/>
                  </a:lnTo>
                  <a:lnTo>
                    <a:pt x="576" y="61"/>
                  </a:lnTo>
                  <a:lnTo>
                    <a:pt x="579" y="63"/>
                  </a:lnTo>
                  <a:lnTo>
                    <a:pt x="581" y="61"/>
                  </a:lnTo>
                  <a:lnTo>
                    <a:pt x="581" y="63"/>
                  </a:lnTo>
                  <a:lnTo>
                    <a:pt x="584" y="66"/>
                  </a:lnTo>
                  <a:lnTo>
                    <a:pt x="586" y="66"/>
                  </a:lnTo>
                  <a:lnTo>
                    <a:pt x="586" y="68"/>
                  </a:lnTo>
                  <a:lnTo>
                    <a:pt x="591" y="70"/>
                  </a:lnTo>
                  <a:lnTo>
                    <a:pt x="593" y="73"/>
                  </a:lnTo>
                  <a:lnTo>
                    <a:pt x="595" y="73"/>
                  </a:lnTo>
                  <a:lnTo>
                    <a:pt x="595" y="75"/>
                  </a:lnTo>
                  <a:lnTo>
                    <a:pt x="595" y="75"/>
                  </a:lnTo>
                  <a:lnTo>
                    <a:pt x="598" y="75"/>
                  </a:lnTo>
                  <a:lnTo>
                    <a:pt x="598" y="78"/>
                  </a:lnTo>
                  <a:lnTo>
                    <a:pt x="600" y="78"/>
                  </a:lnTo>
                  <a:lnTo>
                    <a:pt x="600" y="80"/>
                  </a:lnTo>
                  <a:lnTo>
                    <a:pt x="600" y="80"/>
                  </a:lnTo>
                  <a:lnTo>
                    <a:pt x="602" y="82"/>
                  </a:lnTo>
                  <a:lnTo>
                    <a:pt x="602" y="82"/>
                  </a:lnTo>
                  <a:lnTo>
                    <a:pt x="602" y="85"/>
                  </a:lnTo>
                  <a:lnTo>
                    <a:pt x="602" y="85"/>
                  </a:lnTo>
                  <a:lnTo>
                    <a:pt x="602" y="87"/>
                  </a:lnTo>
                  <a:lnTo>
                    <a:pt x="600" y="87"/>
                  </a:lnTo>
                  <a:lnTo>
                    <a:pt x="602" y="87"/>
                  </a:lnTo>
                  <a:lnTo>
                    <a:pt x="602" y="89"/>
                  </a:lnTo>
                  <a:lnTo>
                    <a:pt x="605" y="89"/>
                  </a:lnTo>
                  <a:lnTo>
                    <a:pt x="605" y="89"/>
                  </a:lnTo>
                  <a:lnTo>
                    <a:pt x="605" y="92"/>
                  </a:lnTo>
                  <a:lnTo>
                    <a:pt x="607" y="92"/>
                  </a:lnTo>
                  <a:lnTo>
                    <a:pt x="610" y="89"/>
                  </a:lnTo>
                  <a:lnTo>
                    <a:pt x="612" y="89"/>
                  </a:lnTo>
                  <a:lnTo>
                    <a:pt x="612" y="94"/>
                  </a:lnTo>
                  <a:lnTo>
                    <a:pt x="614" y="94"/>
                  </a:lnTo>
                  <a:lnTo>
                    <a:pt x="614" y="92"/>
                  </a:lnTo>
                  <a:lnTo>
                    <a:pt x="614" y="92"/>
                  </a:lnTo>
                  <a:lnTo>
                    <a:pt x="619" y="94"/>
                  </a:lnTo>
                  <a:lnTo>
                    <a:pt x="621" y="92"/>
                  </a:lnTo>
                  <a:lnTo>
                    <a:pt x="621" y="89"/>
                  </a:lnTo>
                  <a:lnTo>
                    <a:pt x="621" y="89"/>
                  </a:lnTo>
                  <a:lnTo>
                    <a:pt x="621" y="89"/>
                  </a:lnTo>
                  <a:lnTo>
                    <a:pt x="624" y="92"/>
                  </a:lnTo>
                  <a:lnTo>
                    <a:pt x="624" y="92"/>
                  </a:lnTo>
                  <a:lnTo>
                    <a:pt x="624" y="89"/>
                  </a:lnTo>
                  <a:lnTo>
                    <a:pt x="626" y="89"/>
                  </a:lnTo>
                  <a:lnTo>
                    <a:pt x="626" y="92"/>
                  </a:lnTo>
                  <a:lnTo>
                    <a:pt x="628" y="92"/>
                  </a:lnTo>
                  <a:lnTo>
                    <a:pt x="631" y="92"/>
                  </a:lnTo>
                  <a:lnTo>
                    <a:pt x="631" y="92"/>
                  </a:lnTo>
                  <a:lnTo>
                    <a:pt x="631" y="87"/>
                  </a:lnTo>
                  <a:lnTo>
                    <a:pt x="633" y="89"/>
                  </a:lnTo>
                  <a:lnTo>
                    <a:pt x="636" y="87"/>
                  </a:lnTo>
                  <a:lnTo>
                    <a:pt x="636" y="85"/>
                  </a:lnTo>
                  <a:lnTo>
                    <a:pt x="636" y="85"/>
                  </a:lnTo>
                  <a:lnTo>
                    <a:pt x="636" y="85"/>
                  </a:lnTo>
                  <a:lnTo>
                    <a:pt x="638" y="85"/>
                  </a:lnTo>
                  <a:lnTo>
                    <a:pt x="640" y="87"/>
                  </a:lnTo>
                  <a:lnTo>
                    <a:pt x="640" y="92"/>
                  </a:lnTo>
                  <a:lnTo>
                    <a:pt x="643" y="92"/>
                  </a:lnTo>
                  <a:lnTo>
                    <a:pt x="643" y="94"/>
                  </a:lnTo>
                  <a:lnTo>
                    <a:pt x="645" y="94"/>
                  </a:lnTo>
                  <a:lnTo>
                    <a:pt x="645" y="96"/>
                  </a:lnTo>
                  <a:lnTo>
                    <a:pt x="645" y="99"/>
                  </a:lnTo>
                  <a:lnTo>
                    <a:pt x="645" y="101"/>
                  </a:lnTo>
                  <a:lnTo>
                    <a:pt x="645" y="101"/>
                  </a:lnTo>
                  <a:lnTo>
                    <a:pt x="645" y="106"/>
                  </a:lnTo>
                  <a:lnTo>
                    <a:pt x="640" y="111"/>
                  </a:lnTo>
                  <a:lnTo>
                    <a:pt x="640" y="111"/>
                  </a:lnTo>
                  <a:lnTo>
                    <a:pt x="640" y="113"/>
                  </a:lnTo>
                  <a:lnTo>
                    <a:pt x="638" y="113"/>
                  </a:lnTo>
                  <a:lnTo>
                    <a:pt x="638" y="115"/>
                  </a:lnTo>
                  <a:lnTo>
                    <a:pt x="636" y="115"/>
                  </a:lnTo>
                  <a:lnTo>
                    <a:pt x="636" y="118"/>
                  </a:lnTo>
                  <a:lnTo>
                    <a:pt x="636" y="118"/>
                  </a:lnTo>
                  <a:lnTo>
                    <a:pt x="636" y="120"/>
                  </a:lnTo>
                  <a:lnTo>
                    <a:pt x="636" y="122"/>
                  </a:lnTo>
                  <a:lnTo>
                    <a:pt x="636" y="122"/>
                  </a:lnTo>
                  <a:lnTo>
                    <a:pt x="636" y="122"/>
                  </a:lnTo>
                  <a:lnTo>
                    <a:pt x="633" y="125"/>
                  </a:lnTo>
                  <a:lnTo>
                    <a:pt x="631" y="125"/>
                  </a:lnTo>
                  <a:lnTo>
                    <a:pt x="631" y="125"/>
                  </a:lnTo>
                  <a:lnTo>
                    <a:pt x="631" y="125"/>
                  </a:lnTo>
                  <a:lnTo>
                    <a:pt x="628" y="125"/>
                  </a:lnTo>
                  <a:lnTo>
                    <a:pt x="626" y="125"/>
                  </a:lnTo>
                  <a:lnTo>
                    <a:pt x="626" y="127"/>
                  </a:lnTo>
                  <a:lnTo>
                    <a:pt x="628" y="129"/>
                  </a:lnTo>
                  <a:lnTo>
                    <a:pt x="628" y="132"/>
                  </a:lnTo>
                  <a:lnTo>
                    <a:pt x="631" y="134"/>
                  </a:lnTo>
                  <a:lnTo>
                    <a:pt x="631" y="132"/>
                  </a:lnTo>
                  <a:lnTo>
                    <a:pt x="631" y="134"/>
                  </a:lnTo>
                  <a:lnTo>
                    <a:pt x="631" y="134"/>
                  </a:lnTo>
                  <a:lnTo>
                    <a:pt x="636" y="134"/>
                  </a:lnTo>
                  <a:lnTo>
                    <a:pt x="633" y="134"/>
                  </a:lnTo>
                  <a:lnTo>
                    <a:pt x="636" y="132"/>
                  </a:lnTo>
                  <a:lnTo>
                    <a:pt x="636" y="132"/>
                  </a:lnTo>
                  <a:lnTo>
                    <a:pt x="636" y="132"/>
                  </a:lnTo>
                  <a:lnTo>
                    <a:pt x="636" y="129"/>
                  </a:lnTo>
                  <a:lnTo>
                    <a:pt x="638" y="127"/>
                  </a:lnTo>
                  <a:lnTo>
                    <a:pt x="638" y="127"/>
                  </a:lnTo>
                  <a:lnTo>
                    <a:pt x="638" y="127"/>
                  </a:lnTo>
                  <a:lnTo>
                    <a:pt x="640" y="127"/>
                  </a:lnTo>
                  <a:lnTo>
                    <a:pt x="640" y="127"/>
                  </a:lnTo>
                  <a:lnTo>
                    <a:pt x="643" y="127"/>
                  </a:lnTo>
                  <a:lnTo>
                    <a:pt x="643" y="127"/>
                  </a:lnTo>
                  <a:lnTo>
                    <a:pt x="645" y="125"/>
                  </a:lnTo>
                  <a:lnTo>
                    <a:pt x="643" y="122"/>
                  </a:lnTo>
                  <a:lnTo>
                    <a:pt x="645" y="122"/>
                  </a:lnTo>
                  <a:lnTo>
                    <a:pt x="645" y="120"/>
                  </a:lnTo>
                  <a:lnTo>
                    <a:pt x="647" y="118"/>
                  </a:lnTo>
                  <a:lnTo>
                    <a:pt x="652" y="118"/>
                  </a:lnTo>
                  <a:lnTo>
                    <a:pt x="657" y="122"/>
                  </a:lnTo>
                  <a:lnTo>
                    <a:pt x="659" y="120"/>
                  </a:lnTo>
                  <a:lnTo>
                    <a:pt x="659" y="120"/>
                  </a:lnTo>
                  <a:lnTo>
                    <a:pt x="659" y="120"/>
                  </a:lnTo>
                  <a:lnTo>
                    <a:pt x="662" y="120"/>
                  </a:lnTo>
                  <a:lnTo>
                    <a:pt x="662" y="118"/>
                  </a:lnTo>
                  <a:lnTo>
                    <a:pt x="662" y="118"/>
                  </a:lnTo>
                  <a:lnTo>
                    <a:pt x="662" y="118"/>
                  </a:lnTo>
                  <a:lnTo>
                    <a:pt x="664" y="118"/>
                  </a:lnTo>
                  <a:lnTo>
                    <a:pt x="664" y="115"/>
                  </a:lnTo>
                  <a:lnTo>
                    <a:pt x="664" y="115"/>
                  </a:lnTo>
                  <a:lnTo>
                    <a:pt x="666" y="115"/>
                  </a:lnTo>
                  <a:lnTo>
                    <a:pt x="666" y="115"/>
                  </a:lnTo>
                  <a:lnTo>
                    <a:pt x="669" y="115"/>
                  </a:lnTo>
                  <a:lnTo>
                    <a:pt x="671" y="115"/>
                  </a:lnTo>
                  <a:lnTo>
                    <a:pt x="671" y="115"/>
                  </a:lnTo>
                  <a:lnTo>
                    <a:pt x="673" y="115"/>
                  </a:lnTo>
                  <a:lnTo>
                    <a:pt x="676" y="115"/>
                  </a:lnTo>
                  <a:lnTo>
                    <a:pt x="676" y="115"/>
                  </a:lnTo>
                  <a:lnTo>
                    <a:pt x="676" y="115"/>
                  </a:lnTo>
                  <a:lnTo>
                    <a:pt x="676" y="115"/>
                  </a:lnTo>
                  <a:lnTo>
                    <a:pt x="676" y="115"/>
                  </a:lnTo>
                  <a:lnTo>
                    <a:pt x="676" y="115"/>
                  </a:lnTo>
                  <a:lnTo>
                    <a:pt x="678" y="115"/>
                  </a:lnTo>
                  <a:lnTo>
                    <a:pt x="678" y="113"/>
                  </a:lnTo>
                  <a:lnTo>
                    <a:pt x="678" y="113"/>
                  </a:lnTo>
                  <a:lnTo>
                    <a:pt x="678" y="113"/>
                  </a:lnTo>
                  <a:lnTo>
                    <a:pt x="678" y="113"/>
                  </a:lnTo>
                  <a:lnTo>
                    <a:pt x="680" y="113"/>
                  </a:lnTo>
                  <a:lnTo>
                    <a:pt x="680" y="113"/>
                  </a:lnTo>
                  <a:lnTo>
                    <a:pt x="680" y="113"/>
                  </a:lnTo>
                  <a:lnTo>
                    <a:pt x="680" y="113"/>
                  </a:lnTo>
                  <a:lnTo>
                    <a:pt x="683" y="113"/>
                  </a:lnTo>
                  <a:lnTo>
                    <a:pt x="683" y="111"/>
                  </a:lnTo>
                  <a:lnTo>
                    <a:pt x="685" y="108"/>
                  </a:lnTo>
                  <a:lnTo>
                    <a:pt x="685" y="106"/>
                  </a:lnTo>
                  <a:lnTo>
                    <a:pt x="685" y="106"/>
                  </a:lnTo>
                  <a:lnTo>
                    <a:pt x="685" y="104"/>
                  </a:lnTo>
                  <a:lnTo>
                    <a:pt x="685" y="104"/>
                  </a:lnTo>
                  <a:lnTo>
                    <a:pt x="685" y="106"/>
                  </a:lnTo>
                  <a:lnTo>
                    <a:pt x="687" y="104"/>
                  </a:lnTo>
                  <a:lnTo>
                    <a:pt x="687" y="104"/>
                  </a:lnTo>
                  <a:lnTo>
                    <a:pt x="687" y="104"/>
                  </a:lnTo>
                  <a:lnTo>
                    <a:pt x="690" y="104"/>
                  </a:lnTo>
                  <a:lnTo>
                    <a:pt x="690" y="104"/>
                  </a:lnTo>
                  <a:lnTo>
                    <a:pt x="690" y="99"/>
                  </a:lnTo>
                  <a:lnTo>
                    <a:pt x="692" y="99"/>
                  </a:lnTo>
                  <a:lnTo>
                    <a:pt x="692" y="99"/>
                  </a:lnTo>
                  <a:lnTo>
                    <a:pt x="692" y="99"/>
                  </a:lnTo>
                  <a:lnTo>
                    <a:pt x="692" y="96"/>
                  </a:lnTo>
                  <a:lnTo>
                    <a:pt x="695" y="99"/>
                  </a:lnTo>
                  <a:lnTo>
                    <a:pt x="695" y="96"/>
                  </a:lnTo>
                  <a:lnTo>
                    <a:pt x="697" y="94"/>
                  </a:lnTo>
                  <a:lnTo>
                    <a:pt x="697" y="94"/>
                  </a:lnTo>
                  <a:lnTo>
                    <a:pt x="697" y="94"/>
                  </a:lnTo>
                  <a:lnTo>
                    <a:pt x="699" y="94"/>
                  </a:lnTo>
                  <a:lnTo>
                    <a:pt x="699" y="94"/>
                  </a:lnTo>
                  <a:lnTo>
                    <a:pt x="699" y="94"/>
                  </a:lnTo>
                  <a:lnTo>
                    <a:pt x="702" y="94"/>
                  </a:lnTo>
                  <a:lnTo>
                    <a:pt x="704" y="94"/>
                  </a:lnTo>
                  <a:lnTo>
                    <a:pt x="704" y="94"/>
                  </a:lnTo>
                  <a:lnTo>
                    <a:pt x="706" y="96"/>
                  </a:lnTo>
                  <a:lnTo>
                    <a:pt x="709" y="94"/>
                  </a:lnTo>
                  <a:lnTo>
                    <a:pt x="709" y="94"/>
                  </a:lnTo>
                  <a:lnTo>
                    <a:pt x="709" y="94"/>
                  </a:lnTo>
                  <a:lnTo>
                    <a:pt x="711" y="94"/>
                  </a:lnTo>
                  <a:lnTo>
                    <a:pt x="711" y="94"/>
                  </a:lnTo>
                  <a:lnTo>
                    <a:pt x="711" y="94"/>
                  </a:lnTo>
                  <a:lnTo>
                    <a:pt x="711" y="94"/>
                  </a:lnTo>
                  <a:lnTo>
                    <a:pt x="713" y="92"/>
                  </a:lnTo>
                  <a:lnTo>
                    <a:pt x="713" y="89"/>
                  </a:lnTo>
                  <a:lnTo>
                    <a:pt x="713" y="89"/>
                  </a:lnTo>
                  <a:lnTo>
                    <a:pt x="713" y="92"/>
                  </a:lnTo>
                  <a:lnTo>
                    <a:pt x="716" y="92"/>
                  </a:lnTo>
                  <a:lnTo>
                    <a:pt x="718" y="89"/>
                  </a:lnTo>
                  <a:lnTo>
                    <a:pt x="721" y="87"/>
                  </a:lnTo>
                  <a:lnTo>
                    <a:pt x="721" y="87"/>
                  </a:lnTo>
                  <a:lnTo>
                    <a:pt x="721" y="87"/>
                  </a:lnTo>
                  <a:lnTo>
                    <a:pt x="721" y="85"/>
                  </a:lnTo>
                  <a:lnTo>
                    <a:pt x="723" y="85"/>
                  </a:lnTo>
                  <a:lnTo>
                    <a:pt x="723" y="85"/>
                  </a:lnTo>
                  <a:lnTo>
                    <a:pt x="723" y="85"/>
                  </a:lnTo>
                  <a:lnTo>
                    <a:pt x="723" y="85"/>
                  </a:lnTo>
                  <a:lnTo>
                    <a:pt x="723" y="85"/>
                  </a:lnTo>
                  <a:lnTo>
                    <a:pt x="723" y="82"/>
                  </a:lnTo>
                  <a:lnTo>
                    <a:pt x="725" y="82"/>
                  </a:lnTo>
                  <a:lnTo>
                    <a:pt x="728" y="80"/>
                  </a:lnTo>
                  <a:lnTo>
                    <a:pt x="728" y="82"/>
                  </a:lnTo>
                  <a:lnTo>
                    <a:pt x="728" y="80"/>
                  </a:lnTo>
                  <a:lnTo>
                    <a:pt x="728" y="78"/>
                  </a:lnTo>
                  <a:lnTo>
                    <a:pt x="728" y="80"/>
                  </a:lnTo>
                  <a:lnTo>
                    <a:pt x="730" y="80"/>
                  </a:lnTo>
                  <a:lnTo>
                    <a:pt x="730" y="78"/>
                  </a:lnTo>
                  <a:lnTo>
                    <a:pt x="730" y="78"/>
                  </a:lnTo>
                  <a:lnTo>
                    <a:pt x="732" y="78"/>
                  </a:lnTo>
                  <a:lnTo>
                    <a:pt x="732" y="78"/>
                  </a:lnTo>
                  <a:lnTo>
                    <a:pt x="732" y="78"/>
                  </a:lnTo>
                  <a:lnTo>
                    <a:pt x="732" y="75"/>
                  </a:lnTo>
                  <a:lnTo>
                    <a:pt x="735" y="75"/>
                  </a:lnTo>
                  <a:lnTo>
                    <a:pt x="735" y="75"/>
                  </a:lnTo>
                  <a:lnTo>
                    <a:pt x="735" y="73"/>
                  </a:lnTo>
                  <a:lnTo>
                    <a:pt x="737" y="73"/>
                  </a:lnTo>
                  <a:lnTo>
                    <a:pt x="737" y="73"/>
                  </a:lnTo>
                  <a:lnTo>
                    <a:pt x="739" y="70"/>
                  </a:lnTo>
                  <a:lnTo>
                    <a:pt x="739" y="70"/>
                  </a:lnTo>
                  <a:lnTo>
                    <a:pt x="742" y="68"/>
                  </a:lnTo>
                  <a:lnTo>
                    <a:pt x="742" y="68"/>
                  </a:lnTo>
                  <a:lnTo>
                    <a:pt x="744" y="68"/>
                  </a:lnTo>
                  <a:lnTo>
                    <a:pt x="744" y="68"/>
                  </a:lnTo>
                  <a:lnTo>
                    <a:pt x="744" y="68"/>
                  </a:lnTo>
                  <a:lnTo>
                    <a:pt x="747" y="68"/>
                  </a:lnTo>
                  <a:lnTo>
                    <a:pt x="747" y="66"/>
                  </a:lnTo>
                  <a:lnTo>
                    <a:pt x="749" y="66"/>
                  </a:lnTo>
                  <a:lnTo>
                    <a:pt x="747" y="66"/>
                  </a:lnTo>
                  <a:lnTo>
                    <a:pt x="749" y="68"/>
                  </a:lnTo>
                  <a:lnTo>
                    <a:pt x="756" y="68"/>
                  </a:lnTo>
                  <a:lnTo>
                    <a:pt x="758" y="68"/>
                  </a:lnTo>
                  <a:lnTo>
                    <a:pt x="758" y="68"/>
                  </a:lnTo>
                  <a:lnTo>
                    <a:pt x="761" y="66"/>
                  </a:lnTo>
                  <a:lnTo>
                    <a:pt x="761" y="61"/>
                  </a:lnTo>
                  <a:lnTo>
                    <a:pt x="763" y="61"/>
                  </a:lnTo>
                  <a:lnTo>
                    <a:pt x="763" y="61"/>
                  </a:lnTo>
                  <a:lnTo>
                    <a:pt x="763" y="61"/>
                  </a:lnTo>
                  <a:lnTo>
                    <a:pt x="763" y="59"/>
                  </a:lnTo>
                  <a:lnTo>
                    <a:pt x="768" y="56"/>
                  </a:lnTo>
                  <a:lnTo>
                    <a:pt x="768" y="56"/>
                  </a:lnTo>
                  <a:lnTo>
                    <a:pt x="770" y="56"/>
                  </a:lnTo>
                  <a:lnTo>
                    <a:pt x="770" y="56"/>
                  </a:lnTo>
                  <a:lnTo>
                    <a:pt x="770" y="56"/>
                  </a:lnTo>
                  <a:lnTo>
                    <a:pt x="773" y="56"/>
                  </a:lnTo>
                  <a:lnTo>
                    <a:pt x="770" y="54"/>
                  </a:lnTo>
                  <a:lnTo>
                    <a:pt x="773" y="52"/>
                  </a:lnTo>
                  <a:lnTo>
                    <a:pt x="773" y="54"/>
                  </a:lnTo>
                  <a:lnTo>
                    <a:pt x="775" y="52"/>
                  </a:lnTo>
                  <a:lnTo>
                    <a:pt x="775" y="52"/>
                  </a:lnTo>
                  <a:lnTo>
                    <a:pt x="775" y="52"/>
                  </a:lnTo>
                  <a:lnTo>
                    <a:pt x="777" y="52"/>
                  </a:lnTo>
                  <a:lnTo>
                    <a:pt x="780" y="52"/>
                  </a:lnTo>
                  <a:lnTo>
                    <a:pt x="780" y="49"/>
                  </a:lnTo>
                  <a:lnTo>
                    <a:pt x="780" y="49"/>
                  </a:lnTo>
                  <a:lnTo>
                    <a:pt x="780" y="49"/>
                  </a:lnTo>
                  <a:lnTo>
                    <a:pt x="782" y="49"/>
                  </a:lnTo>
                  <a:lnTo>
                    <a:pt x="782" y="49"/>
                  </a:lnTo>
                  <a:lnTo>
                    <a:pt x="784" y="49"/>
                  </a:lnTo>
                  <a:lnTo>
                    <a:pt x="784" y="47"/>
                  </a:lnTo>
                  <a:lnTo>
                    <a:pt x="784" y="49"/>
                  </a:lnTo>
                  <a:lnTo>
                    <a:pt x="787" y="47"/>
                  </a:lnTo>
                  <a:lnTo>
                    <a:pt x="787" y="47"/>
                  </a:lnTo>
                  <a:lnTo>
                    <a:pt x="787" y="47"/>
                  </a:lnTo>
                  <a:lnTo>
                    <a:pt x="789" y="47"/>
                  </a:lnTo>
                  <a:lnTo>
                    <a:pt x="789" y="44"/>
                  </a:lnTo>
                  <a:lnTo>
                    <a:pt x="787" y="44"/>
                  </a:lnTo>
                  <a:lnTo>
                    <a:pt x="787" y="44"/>
                  </a:lnTo>
                  <a:lnTo>
                    <a:pt x="787" y="44"/>
                  </a:lnTo>
                  <a:lnTo>
                    <a:pt x="787" y="42"/>
                  </a:lnTo>
                  <a:lnTo>
                    <a:pt x="787" y="44"/>
                  </a:lnTo>
                  <a:lnTo>
                    <a:pt x="787" y="42"/>
                  </a:lnTo>
                  <a:lnTo>
                    <a:pt x="787" y="42"/>
                  </a:lnTo>
                  <a:lnTo>
                    <a:pt x="789" y="40"/>
                  </a:lnTo>
                  <a:lnTo>
                    <a:pt x="789" y="40"/>
                  </a:lnTo>
                  <a:lnTo>
                    <a:pt x="791" y="40"/>
                  </a:lnTo>
                  <a:lnTo>
                    <a:pt x="789" y="40"/>
                  </a:lnTo>
                  <a:lnTo>
                    <a:pt x="789" y="40"/>
                  </a:lnTo>
                  <a:lnTo>
                    <a:pt x="789" y="40"/>
                  </a:lnTo>
                  <a:lnTo>
                    <a:pt x="789" y="37"/>
                  </a:lnTo>
                  <a:lnTo>
                    <a:pt x="789" y="37"/>
                  </a:lnTo>
                  <a:lnTo>
                    <a:pt x="791" y="37"/>
                  </a:lnTo>
                  <a:lnTo>
                    <a:pt x="789" y="35"/>
                  </a:lnTo>
                  <a:lnTo>
                    <a:pt x="789" y="35"/>
                  </a:lnTo>
                  <a:lnTo>
                    <a:pt x="791" y="35"/>
                  </a:lnTo>
                  <a:lnTo>
                    <a:pt x="791" y="35"/>
                  </a:lnTo>
                  <a:lnTo>
                    <a:pt x="791" y="35"/>
                  </a:lnTo>
                  <a:lnTo>
                    <a:pt x="794" y="35"/>
                  </a:lnTo>
                  <a:lnTo>
                    <a:pt x="794" y="35"/>
                  </a:lnTo>
                  <a:lnTo>
                    <a:pt x="794" y="33"/>
                  </a:lnTo>
                  <a:lnTo>
                    <a:pt x="796" y="33"/>
                  </a:lnTo>
                  <a:lnTo>
                    <a:pt x="796" y="33"/>
                  </a:lnTo>
                  <a:lnTo>
                    <a:pt x="799" y="33"/>
                  </a:lnTo>
                  <a:lnTo>
                    <a:pt x="799" y="33"/>
                  </a:lnTo>
                  <a:lnTo>
                    <a:pt x="799" y="33"/>
                  </a:lnTo>
                  <a:lnTo>
                    <a:pt x="799" y="33"/>
                  </a:lnTo>
                  <a:lnTo>
                    <a:pt x="801" y="33"/>
                  </a:lnTo>
                  <a:lnTo>
                    <a:pt x="801" y="30"/>
                  </a:lnTo>
                  <a:lnTo>
                    <a:pt x="801" y="30"/>
                  </a:lnTo>
                  <a:lnTo>
                    <a:pt x="803" y="30"/>
                  </a:lnTo>
                  <a:lnTo>
                    <a:pt x="803" y="28"/>
                  </a:lnTo>
                  <a:lnTo>
                    <a:pt x="803" y="30"/>
                  </a:lnTo>
                  <a:lnTo>
                    <a:pt x="806" y="28"/>
                  </a:lnTo>
                  <a:lnTo>
                    <a:pt x="806" y="28"/>
                  </a:lnTo>
                  <a:lnTo>
                    <a:pt x="806" y="28"/>
                  </a:lnTo>
                  <a:lnTo>
                    <a:pt x="806" y="28"/>
                  </a:lnTo>
                  <a:lnTo>
                    <a:pt x="806" y="26"/>
                  </a:lnTo>
                  <a:lnTo>
                    <a:pt x="808" y="26"/>
                  </a:lnTo>
                  <a:lnTo>
                    <a:pt x="808" y="26"/>
                  </a:lnTo>
                  <a:lnTo>
                    <a:pt x="808" y="26"/>
                  </a:lnTo>
                  <a:lnTo>
                    <a:pt x="808" y="23"/>
                  </a:lnTo>
                  <a:lnTo>
                    <a:pt x="810" y="26"/>
                  </a:lnTo>
                  <a:lnTo>
                    <a:pt x="810" y="23"/>
                  </a:lnTo>
                  <a:lnTo>
                    <a:pt x="810" y="26"/>
                  </a:lnTo>
                  <a:lnTo>
                    <a:pt x="810" y="23"/>
                  </a:lnTo>
                  <a:lnTo>
                    <a:pt x="810" y="23"/>
                  </a:lnTo>
                  <a:lnTo>
                    <a:pt x="810" y="21"/>
                  </a:lnTo>
                  <a:lnTo>
                    <a:pt x="813" y="21"/>
                  </a:lnTo>
                  <a:lnTo>
                    <a:pt x="813" y="23"/>
                  </a:lnTo>
                  <a:lnTo>
                    <a:pt x="815" y="21"/>
                  </a:lnTo>
                  <a:lnTo>
                    <a:pt x="813" y="21"/>
                  </a:lnTo>
                  <a:lnTo>
                    <a:pt x="815" y="21"/>
                  </a:lnTo>
                  <a:lnTo>
                    <a:pt x="815" y="21"/>
                  </a:lnTo>
                  <a:lnTo>
                    <a:pt x="815" y="18"/>
                  </a:lnTo>
                  <a:lnTo>
                    <a:pt x="817" y="18"/>
                  </a:lnTo>
                  <a:lnTo>
                    <a:pt x="817" y="18"/>
                  </a:lnTo>
                  <a:lnTo>
                    <a:pt x="817" y="18"/>
                  </a:lnTo>
                  <a:lnTo>
                    <a:pt x="820" y="18"/>
                  </a:lnTo>
                  <a:lnTo>
                    <a:pt x="820" y="16"/>
                  </a:lnTo>
                  <a:lnTo>
                    <a:pt x="822" y="16"/>
                  </a:lnTo>
                  <a:lnTo>
                    <a:pt x="822" y="16"/>
                  </a:lnTo>
                  <a:lnTo>
                    <a:pt x="822" y="16"/>
                  </a:lnTo>
                  <a:lnTo>
                    <a:pt x="822" y="16"/>
                  </a:lnTo>
                  <a:lnTo>
                    <a:pt x="825" y="16"/>
                  </a:lnTo>
                  <a:lnTo>
                    <a:pt x="825" y="14"/>
                  </a:lnTo>
                  <a:lnTo>
                    <a:pt x="825" y="14"/>
                  </a:lnTo>
                  <a:lnTo>
                    <a:pt x="825" y="14"/>
                  </a:lnTo>
                  <a:lnTo>
                    <a:pt x="827" y="14"/>
                  </a:lnTo>
                  <a:lnTo>
                    <a:pt x="827" y="14"/>
                  </a:lnTo>
                  <a:lnTo>
                    <a:pt x="827" y="14"/>
                  </a:lnTo>
                  <a:lnTo>
                    <a:pt x="829" y="14"/>
                  </a:lnTo>
                  <a:lnTo>
                    <a:pt x="832" y="11"/>
                  </a:lnTo>
                  <a:lnTo>
                    <a:pt x="832" y="14"/>
                  </a:lnTo>
                  <a:lnTo>
                    <a:pt x="832" y="11"/>
                  </a:lnTo>
                  <a:lnTo>
                    <a:pt x="832" y="14"/>
                  </a:lnTo>
                  <a:lnTo>
                    <a:pt x="834" y="14"/>
                  </a:lnTo>
                  <a:lnTo>
                    <a:pt x="834" y="11"/>
                  </a:lnTo>
                  <a:lnTo>
                    <a:pt x="834" y="11"/>
                  </a:lnTo>
                  <a:lnTo>
                    <a:pt x="836" y="11"/>
                  </a:lnTo>
                  <a:lnTo>
                    <a:pt x="836" y="11"/>
                  </a:lnTo>
                  <a:lnTo>
                    <a:pt x="836" y="11"/>
                  </a:lnTo>
                  <a:lnTo>
                    <a:pt x="836" y="11"/>
                  </a:lnTo>
                  <a:lnTo>
                    <a:pt x="839" y="9"/>
                  </a:lnTo>
                  <a:lnTo>
                    <a:pt x="841" y="7"/>
                  </a:lnTo>
                  <a:lnTo>
                    <a:pt x="843" y="7"/>
                  </a:lnTo>
                  <a:lnTo>
                    <a:pt x="843" y="7"/>
                  </a:lnTo>
                  <a:lnTo>
                    <a:pt x="846" y="7"/>
                  </a:lnTo>
                  <a:lnTo>
                    <a:pt x="846" y="7"/>
                  </a:lnTo>
                  <a:lnTo>
                    <a:pt x="846" y="7"/>
                  </a:lnTo>
                  <a:lnTo>
                    <a:pt x="846" y="7"/>
                  </a:lnTo>
                  <a:lnTo>
                    <a:pt x="846" y="4"/>
                  </a:lnTo>
                  <a:lnTo>
                    <a:pt x="848" y="7"/>
                  </a:lnTo>
                  <a:lnTo>
                    <a:pt x="848" y="4"/>
                  </a:lnTo>
                  <a:lnTo>
                    <a:pt x="850" y="4"/>
                  </a:lnTo>
                  <a:lnTo>
                    <a:pt x="850" y="4"/>
                  </a:lnTo>
                  <a:lnTo>
                    <a:pt x="850" y="4"/>
                  </a:lnTo>
                  <a:lnTo>
                    <a:pt x="850" y="4"/>
                  </a:lnTo>
                  <a:lnTo>
                    <a:pt x="853" y="4"/>
                  </a:lnTo>
                  <a:lnTo>
                    <a:pt x="853" y="2"/>
                  </a:lnTo>
                  <a:lnTo>
                    <a:pt x="855" y="2"/>
                  </a:lnTo>
                  <a:lnTo>
                    <a:pt x="858" y="4"/>
                  </a:lnTo>
                  <a:lnTo>
                    <a:pt x="858" y="2"/>
                  </a:lnTo>
                  <a:lnTo>
                    <a:pt x="860" y="2"/>
                  </a:lnTo>
                  <a:lnTo>
                    <a:pt x="860" y="2"/>
                  </a:lnTo>
                  <a:lnTo>
                    <a:pt x="860" y="2"/>
                  </a:lnTo>
                  <a:lnTo>
                    <a:pt x="862" y="2"/>
                  </a:lnTo>
                  <a:lnTo>
                    <a:pt x="865" y="4"/>
                  </a:lnTo>
                  <a:lnTo>
                    <a:pt x="865" y="4"/>
                  </a:lnTo>
                  <a:lnTo>
                    <a:pt x="862" y="4"/>
                  </a:lnTo>
                  <a:lnTo>
                    <a:pt x="865" y="2"/>
                  </a:lnTo>
                  <a:lnTo>
                    <a:pt x="865" y="4"/>
                  </a:lnTo>
                  <a:lnTo>
                    <a:pt x="865" y="2"/>
                  </a:lnTo>
                  <a:lnTo>
                    <a:pt x="865" y="2"/>
                  </a:lnTo>
                  <a:lnTo>
                    <a:pt x="867" y="2"/>
                  </a:lnTo>
                  <a:lnTo>
                    <a:pt x="867" y="2"/>
                  </a:lnTo>
                  <a:lnTo>
                    <a:pt x="867" y="0"/>
                  </a:lnTo>
                  <a:lnTo>
                    <a:pt x="869" y="2"/>
                  </a:lnTo>
                  <a:lnTo>
                    <a:pt x="869" y="2"/>
                  </a:lnTo>
                  <a:lnTo>
                    <a:pt x="869" y="2"/>
                  </a:lnTo>
                  <a:lnTo>
                    <a:pt x="869" y="4"/>
                  </a:lnTo>
                  <a:lnTo>
                    <a:pt x="872" y="4"/>
                  </a:lnTo>
                  <a:lnTo>
                    <a:pt x="874" y="4"/>
                  </a:lnTo>
                  <a:lnTo>
                    <a:pt x="874" y="4"/>
                  </a:lnTo>
                  <a:lnTo>
                    <a:pt x="874" y="4"/>
                  </a:lnTo>
                  <a:lnTo>
                    <a:pt x="879" y="4"/>
                  </a:lnTo>
                  <a:lnTo>
                    <a:pt x="879" y="7"/>
                  </a:lnTo>
                  <a:lnTo>
                    <a:pt x="876" y="7"/>
                  </a:lnTo>
                  <a:lnTo>
                    <a:pt x="879" y="7"/>
                  </a:lnTo>
                  <a:lnTo>
                    <a:pt x="879" y="7"/>
                  </a:lnTo>
                  <a:lnTo>
                    <a:pt x="881" y="4"/>
                  </a:lnTo>
                  <a:lnTo>
                    <a:pt x="881" y="4"/>
                  </a:lnTo>
                  <a:lnTo>
                    <a:pt x="881" y="4"/>
                  </a:lnTo>
                  <a:lnTo>
                    <a:pt x="881" y="7"/>
                  </a:lnTo>
                  <a:lnTo>
                    <a:pt x="884" y="7"/>
                  </a:lnTo>
                  <a:lnTo>
                    <a:pt x="884" y="4"/>
                  </a:lnTo>
                  <a:lnTo>
                    <a:pt x="884" y="7"/>
                  </a:lnTo>
                  <a:lnTo>
                    <a:pt x="884" y="7"/>
                  </a:lnTo>
                  <a:lnTo>
                    <a:pt x="884" y="4"/>
                  </a:lnTo>
                  <a:lnTo>
                    <a:pt x="886" y="4"/>
                  </a:lnTo>
                  <a:lnTo>
                    <a:pt x="886" y="7"/>
                  </a:lnTo>
                  <a:lnTo>
                    <a:pt x="886" y="7"/>
                  </a:lnTo>
                  <a:lnTo>
                    <a:pt x="886" y="7"/>
                  </a:lnTo>
                  <a:lnTo>
                    <a:pt x="888" y="7"/>
                  </a:lnTo>
                  <a:lnTo>
                    <a:pt x="888" y="7"/>
                  </a:lnTo>
                  <a:lnTo>
                    <a:pt x="888" y="7"/>
                  </a:lnTo>
                  <a:lnTo>
                    <a:pt x="888" y="7"/>
                  </a:lnTo>
                  <a:lnTo>
                    <a:pt x="891" y="7"/>
                  </a:lnTo>
                  <a:lnTo>
                    <a:pt x="891" y="7"/>
                  </a:lnTo>
                  <a:lnTo>
                    <a:pt x="891" y="7"/>
                  </a:lnTo>
                  <a:lnTo>
                    <a:pt x="891" y="7"/>
                  </a:lnTo>
                  <a:lnTo>
                    <a:pt x="893" y="7"/>
                  </a:lnTo>
                  <a:lnTo>
                    <a:pt x="893" y="4"/>
                  </a:lnTo>
                  <a:lnTo>
                    <a:pt x="893" y="4"/>
                  </a:lnTo>
                  <a:lnTo>
                    <a:pt x="898" y="4"/>
                  </a:lnTo>
                  <a:lnTo>
                    <a:pt x="895" y="4"/>
                  </a:lnTo>
                  <a:lnTo>
                    <a:pt x="898" y="7"/>
                  </a:lnTo>
                  <a:lnTo>
                    <a:pt x="898" y="7"/>
                  </a:lnTo>
                  <a:lnTo>
                    <a:pt x="898" y="7"/>
                  </a:lnTo>
                  <a:lnTo>
                    <a:pt x="900" y="7"/>
                  </a:lnTo>
                  <a:lnTo>
                    <a:pt x="900" y="7"/>
                  </a:lnTo>
                  <a:lnTo>
                    <a:pt x="900" y="7"/>
                  </a:lnTo>
                  <a:lnTo>
                    <a:pt x="900" y="9"/>
                  </a:lnTo>
                  <a:lnTo>
                    <a:pt x="900" y="7"/>
                  </a:lnTo>
                  <a:lnTo>
                    <a:pt x="902" y="7"/>
                  </a:lnTo>
                  <a:lnTo>
                    <a:pt x="902" y="9"/>
                  </a:lnTo>
                  <a:lnTo>
                    <a:pt x="902" y="9"/>
                  </a:lnTo>
                  <a:lnTo>
                    <a:pt x="905" y="9"/>
                  </a:lnTo>
                  <a:lnTo>
                    <a:pt x="905" y="9"/>
                  </a:lnTo>
                  <a:lnTo>
                    <a:pt x="905" y="9"/>
                  </a:lnTo>
                  <a:lnTo>
                    <a:pt x="907" y="9"/>
                  </a:lnTo>
                  <a:lnTo>
                    <a:pt x="907" y="9"/>
                  </a:lnTo>
                  <a:lnTo>
                    <a:pt x="907" y="9"/>
                  </a:lnTo>
                  <a:lnTo>
                    <a:pt x="907" y="9"/>
                  </a:lnTo>
                  <a:lnTo>
                    <a:pt x="907" y="9"/>
                  </a:lnTo>
                  <a:lnTo>
                    <a:pt x="910" y="9"/>
                  </a:lnTo>
                  <a:lnTo>
                    <a:pt x="910" y="9"/>
                  </a:lnTo>
                  <a:lnTo>
                    <a:pt x="910" y="11"/>
                  </a:lnTo>
                  <a:lnTo>
                    <a:pt x="910" y="11"/>
                  </a:lnTo>
                  <a:lnTo>
                    <a:pt x="912" y="11"/>
                  </a:lnTo>
                  <a:lnTo>
                    <a:pt x="912" y="11"/>
                  </a:lnTo>
                  <a:lnTo>
                    <a:pt x="912" y="11"/>
                  </a:lnTo>
                  <a:lnTo>
                    <a:pt x="914" y="11"/>
                  </a:lnTo>
                  <a:lnTo>
                    <a:pt x="914" y="11"/>
                  </a:lnTo>
                  <a:lnTo>
                    <a:pt x="914" y="11"/>
                  </a:lnTo>
                  <a:lnTo>
                    <a:pt x="914" y="11"/>
                  </a:lnTo>
                  <a:lnTo>
                    <a:pt x="914" y="11"/>
                  </a:lnTo>
                  <a:lnTo>
                    <a:pt x="914" y="11"/>
                  </a:lnTo>
                  <a:lnTo>
                    <a:pt x="917" y="11"/>
                  </a:lnTo>
                  <a:lnTo>
                    <a:pt x="917" y="11"/>
                  </a:lnTo>
                  <a:lnTo>
                    <a:pt x="919" y="11"/>
                  </a:lnTo>
                  <a:lnTo>
                    <a:pt x="917" y="11"/>
                  </a:lnTo>
                  <a:lnTo>
                    <a:pt x="919" y="11"/>
                  </a:lnTo>
                  <a:lnTo>
                    <a:pt x="919" y="14"/>
                  </a:lnTo>
                  <a:lnTo>
                    <a:pt x="919" y="11"/>
                  </a:lnTo>
                  <a:lnTo>
                    <a:pt x="919" y="14"/>
                  </a:lnTo>
                  <a:lnTo>
                    <a:pt x="921" y="14"/>
                  </a:lnTo>
                  <a:lnTo>
                    <a:pt x="924" y="14"/>
                  </a:lnTo>
                  <a:lnTo>
                    <a:pt x="919" y="18"/>
                  </a:lnTo>
                  <a:lnTo>
                    <a:pt x="919" y="18"/>
                  </a:lnTo>
                  <a:lnTo>
                    <a:pt x="919" y="21"/>
                  </a:lnTo>
                  <a:lnTo>
                    <a:pt x="917" y="26"/>
                  </a:lnTo>
                  <a:lnTo>
                    <a:pt x="917" y="30"/>
                  </a:lnTo>
                  <a:lnTo>
                    <a:pt x="914" y="30"/>
                  </a:lnTo>
                  <a:lnTo>
                    <a:pt x="912" y="37"/>
                  </a:lnTo>
                  <a:lnTo>
                    <a:pt x="910" y="42"/>
                  </a:lnTo>
                  <a:lnTo>
                    <a:pt x="910" y="44"/>
                  </a:lnTo>
                  <a:lnTo>
                    <a:pt x="910" y="47"/>
                  </a:lnTo>
                  <a:lnTo>
                    <a:pt x="910" y="47"/>
                  </a:lnTo>
                  <a:lnTo>
                    <a:pt x="910" y="49"/>
                  </a:lnTo>
                  <a:lnTo>
                    <a:pt x="910" y="47"/>
                  </a:lnTo>
                  <a:lnTo>
                    <a:pt x="910" y="49"/>
                  </a:lnTo>
                  <a:lnTo>
                    <a:pt x="912" y="49"/>
                  </a:lnTo>
                  <a:lnTo>
                    <a:pt x="912" y="52"/>
                  </a:lnTo>
                  <a:lnTo>
                    <a:pt x="910" y="52"/>
                  </a:lnTo>
                  <a:lnTo>
                    <a:pt x="912" y="54"/>
                  </a:lnTo>
                  <a:lnTo>
                    <a:pt x="910" y="54"/>
                  </a:lnTo>
                  <a:lnTo>
                    <a:pt x="910" y="54"/>
                  </a:lnTo>
                  <a:lnTo>
                    <a:pt x="910" y="54"/>
                  </a:lnTo>
                  <a:lnTo>
                    <a:pt x="910" y="54"/>
                  </a:lnTo>
                  <a:lnTo>
                    <a:pt x="910" y="56"/>
                  </a:lnTo>
                  <a:lnTo>
                    <a:pt x="910" y="56"/>
                  </a:lnTo>
                  <a:lnTo>
                    <a:pt x="910" y="56"/>
                  </a:lnTo>
                  <a:lnTo>
                    <a:pt x="912" y="56"/>
                  </a:lnTo>
                  <a:lnTo>
                    <a:pt x="912" y="56"/>
                  </a:lnTo>
                  <a:lnTo>
                    <a:pt x="912" y="56"/>
                  </a:lnTo>
                  <a:lnTo>
                    <a:pt x="914" y="59"/>
                  </a:lnTo>
                  <a:lnTo>
                    <a:pt x="914" y="59"/>
                  </a:lnTo>
                  <a:lnTo>
                    <a:pt x="919" y="59"/>
                  </a:lnTo>
                  <a:lnTo>
                    <a:pt x="924" y="59"/>
                  </a:lnTo>
                  <a:lnTo>
                    <a:pt x="924" y="61"/>
                  </a:lnTo>
                  <a:lnTo>
                    <a:pt x="924" y="61"/>
                  </a:lnTo>
                  <a:lnTo>
                    <a:pt x="926" y="61"/>
                  </a:lnTo>
                  <a:lnTo>
                    <a:pt x="926" y="61"/>
                  </a:lnTo>
                  <a:lnTo>
                    <a:pt x="928" y="61"/>
                  </a:lnTo>
                  <a:lnTo>
                    <a:pt x="931" y="61"/>
                  </a:lnTo>
                  <a:lnTo>
                    <a:pt x="931" y="63"/>
                  </a:lnTo>
                  <a:lnTo>
                    <a:pt x="931" y="63"/>
                  </a:lnTo>
                  <a:lnTo>
                    <a:pt x="931" y="66"/>
                  </a:lnTo>
                  <a:lnTo>
                    <a:pt x="931" y="66"/>
                  </a:lnTo>
                  <a:lnTo>
                    <a:pt x="933" y="66"/>
                  </a:lnTo>
                  <a:lnTo>
                    <a:pt x="933" y="66"/>
                  </a:lnTo>
                  <a:lnTo>
                    <a:pt x="936" y="66"/>
                  </a:lnTo>
                  <a:lnTo>
                    <a:pt x="936" y="66"/>
                  </a:lnTo>
                  <a:lnTo>
                    <a:pt x="936" y="66"/>
                  </a:lnTo>
                  <a:lnTo>
                    <a:pt x="936" y="66"/>
                  </a:lnTo>
                  <a:lnTo>
                    <a:pt x="938" y="66"/>
                  </a:lnTo>
                  <a:lnTo>
                    <a:pt x="938" y="68"/>
                  </a:lnTo>
                  <a:lnTo>
                    <a:pt x="943" y="68"/>
                  </a:lnTo>
                  <a:lnTo>
                    <a:pt x="945" y="68"/>
                  </a:lnTo>
                  <a:lnTo>
                    <a:pt x="945" y="68"/>
                  </a:lnTo>
                  <a:lnTo>
                    <a:pt x="947" y="68"/>
                  </a:lnTo>
                  <a:lnTo>
                    <a:pt x="947" y="68"/>
                  </a:lnTo>
                  <a:lnTo>
                    <a:pt x="950" y="70"/>
                  </a:lnTo>
                  <a:lnTo>
                    <a:pt x="954" y="73"/>
                  </a:lnTo>
                  <a:lnTo>
                    <a:pt x="954" y="73"/>
                  </a:lnTo>
                  <a:lnTo>
                    <a:pt x="954" y="73"/>
                  </a:lnTo>
                  <a:lnTo>
                    <a:pt x="954" y="75"/>
                  </a:lnTo>
                  <a:lnTo>
                    <a:pt x="954" y="78"/>
                  </a:lnTo>
                  <a:lnTo>
                    <a:pt x="954" y="78"/>
                  </a:lnTo>
                  <a:lnTo>
                    <a:pt x="957" y="75"/>
                  </a:lnTo>
                  <a:lnTo>
                    <a:pt x="957" y="75"/>
                  </a:lnTo>
                  <a:lnTo>
                    <a:pt x="957" y="75"/>
                  </a:lnTo>
                  <a:lnTo>
                    <a:pt x="959" y="75"/>
                  </a:lnTo>
                  <a:lnTo>
                    <a:pt x="959" y="73"/>
                  </a:lnTo>
                  <a:lnTo>
                    <a:pt x="962" y="73"/>
                  </a:lnTo>
                  <a:lnTo>
                    <a:pt x="962" y="73"/>
                  </a:lnTo>
                  <a:lnTo>
                    <a:pt x="962" y="73"/>
                  </a:lnTo>
                  <a:lnTo>
                    <a:pt x="962" y="73"/>
                  </a:lnTo>
                  <a:lnTo>
                    <a:pt x="962" y="70"/>
                  </a:lnTo>
                  <a:lnTo>
                    <a:pt x="962" y="70"/>
                  </a:lnTo>
                  <a:lnTo>
                    <a:pt x="964" y="70"/>
                  </a:lnTo>
                  <a:lnTo>
                    <a:pt x="964" y="68"/>
                  </a:lnTo>
                  <a:lnTo>
                    <a:pt x="964" y="68"/>
                  </a:lnTo>
                  <a:lnTo>
                    <a:pt x="964" y="66"/>
                  </a:lnTo>
                  <a:lnTo>
                    <a:pt x="966" y="66"/>
                  </a:lnTo>
                  <a:lnTo>
                    <a:pt x="966" y="66"/>
                  </a:lnTo>
                  <a:lnTo>
                    <a:pt x="966" y="66"/>
                  </a:lnTo>
                  <a:lnTo>
                    <a:pt x="966" y="66"/>
                  </a:lnTo>
                  <a:lnTo>
                    <a:pt x="969" y="63"/>
                  </a:lnTo>
                  <a:lnTo>
                    <a:pt x="969" y="66"/>
                  </a:lnTo>
                  <a:lnTo>
                    <a:pt x="971" y="63"/>
                  </a:lnTo>
                  <a:lnTo>
                    <a:pt x="976" y="61"/>
                  </a:lnTo>
                  <a:lnTo>
                    <a:pt x="976" y="61"/>
                  </a:lnTo>
                  <a:lnTo>
                    <a:pt x="978" y="61"/>
                  </a:lnTo>
                  <a:lnTo>
                    <a:pt x="980" y="59"/>
                  </a:lnTo>
                  <a:lnTo>
                    <a:pt x="980" y="59"/>
                  </a:lnTo>
                  <a:lnTo>
                    <a:pt x="980" y="59"/>
                  </a:lnTo>
                  <a:lnTo>
                    <a:pt x="983" y="59"/>
                  </a:lnTo>
                  <a:lnTo>
                    <a:pt x="983" y="59"/>
                  </a:lnTo>
                  <a:lnTo>
                    <a:pt x="985" y="59"/>
                  </a:lnTo>
                  <a:lnTo>
                    <a:pt x="985" y="59"/>
                  </a:lnTo>
                  <a:lnTo>
                    <a:pt x="985" y="56"/>
                  </a:lnTo>
                  <a:lnTo>
                    <a:pt x="992" y="56"/>
                  </a:lnTo>
                  <a:lnTo>
                    <a:pt x="992" y="56"/>
                  </a:lnTo>
                  <a:lnTo>
                    <a:pt x="997" y="56"/>
                  </a:lnTo>
                  <a:lnTo>
                    <a:pt x="997" y="56"/>
                  </a:lnTo>
                  <a:lnTo>
                    <a:pt x="997" y="56"/>
                  </a:lnTo>
                  <a:lnTo>
                    <a:pt x="999" y="56"/>
                  </a:lnTo>
                  <a:lnTo>
                    <a:pt x="999" y="56"/>
                  </a:lnTo>
                  <a:lnTo>
                    <a:pt x="1002" y="56"/>
                  </a:lnTo>
                  <a:lnTo>
                    <a:pt x="1006" y="56"/>
                  </a:lnTo>
                  <a:lnTo>
                    <a:pt x="1006" y="59"/>
                  </a:lnTo>
                  <a:lnTo>
                    <a:pt x="1009" y="59"/>
                  </a:lnTo>
                  <a:lnTo>
                    <a:pt x="1009" y="59"/>
                  </a:lnTo>
                  <a:lnTo>
                    <a:pt x="1009" y="59"/>
                  </a:lnTo>
                  <a:lnTo>
                    <a:pt x="1011" y="59"/>
                  </a:lnTo>
                  <a:lnTo>
                    <a:pt x="1011" y="61"/>
                  </a:lnTo>
                  <a:lnTo>
                    <a:pt x="1011" y="61"/>
                  </a:lnTo>
                  <a:lnTo>
                    <a:pt x="1013" y="61"/>
                  </a:lnTo>
                  <a:lnTo>
                    <a:pt x="1013" y="59"/>
                  </a:lnTo>
                  <a:lnTo>
                    <a:pt x="1016" y="61"/>
                  </a:lnTo>
                  <a:lnTo>
                    <a:pt x="1016" y="61"/>
                  </a:lnTo>
                  <a:lnTo>
                    <a:pt x="1018" y="59"/>
                  </a:lnTo>
                  <a:lnTo>
                    <a:pt x="1018" y="59"/>
                  </a:lnTo>
                  <a:lnTo>
                    <a:pt x="1018" y="61"/>
                  </a:lnTo>
                  <a:lnTo>
                    <a:pt x="1021" y="61"/>
                  </a:lnTo>
                  <a:lnTo>
                    <a:pt x="1021" y="61"/>
                  </a:lnTo>
                  <a:lnTo>
                    <a:pt x="1025" y="61"/>
                  </a:lnTo>
                  <a:lnTo>
                    <a:pt x="1025" y="61"/>
                  </a:lnTo>
                  <a:lnTo>
                    <a:pt x="1028" y="63"/>
                  </a:lnTo>
                  <a:lnTo>
                    <a:pt x="1030" y="63"/>
                  </a:lnTo>
                  <a:lnTo>
                    <a:pt x="1030" y="63"/>
                  </a:lnTo>
                  <a:lnTo>
                    <a:pt x="1030" y="66"/>
                  </a:lnTo>
                  <a:lnTo>
                    <a:pt x="1030" y="68"/>
                  </a:lnTo>
                  <a:lnTo>
                    <a:pt x="1032" y="68"/>
                  </a:lnTo>
                  <a:lnTo>
                    <a:pt x="1032" y="68"/>
                  </a:lnTo>
                  <a:lnTo>
                    <a:pt x="1032" y="68"/>
                  </a:lnTo>
                  <a:lnTo>
                    <a:pt x="1035" y="70"/>
                  </a:lnTo>
                  <a:lnTo>
                    <a:pt x="1035" y="70"/>
                  </a:lnTo>
                  <a:lnTo>
                    <a:pt x="1035" y="68"/>
                  </a:lnTo>
                  <a:lnTo>
                    <a:pt x="1035" y="70"/>
                  </a:lnTo>
                  <a:lnTo>
                    <a:pt x="1037" y="70"/>
                  </a:lnTo>
                  <a:lnTo>
                    <a:pt x="1037" y="70"/>
                  </a:lnTo>
                  <a:lnTo>
                    <a:pt x="1037" y="70"/>
                  </a:lnTo>
                  <a:lnTo>
                    <a:pt x="1039" y="70"/>
                  </a:lnTo>
                  <a:lnTo>
                    <a:pt x="1037" y="70"/>
                  </a:lnTo>
                  <a:lnTo>
                    <a:pt x="1037" y="70"/>
                  </a:lnTo>
                  <a:lnTo>
                    <a:pt x="1039" y="73"/>
                  </a:lnTo>
                  <a:lnTo>
                    <a:pt x="1039" y="75"/>
                  </a:lnTo>
                  <a:lnTo>
                    <a:pt x="1042" y="75"/>
                  </a:lnTo>
                  <a:lnTo>
                    <a:pt x="1042" y="75"/>
                  </a:lnTo>
                  <a:lnTo>
                    <a:pt x="1044" y="75"/>
                  </a:lnTo>
                  <a:lnTo>
                    <a:pt x="1047" y="78"/>
                  </a:lnTo>
                  <a:lnTo>
                    <a:pt x="1049" y="80"/>
                  </a:lnTo>
                  <a:lnTo>
                    <a:pt x="1054" y="80"/>
                  </a:lnTo>
                  <a:lnTo>
                    <a:pt x="1054" y="82"/>
                  </a:lnTo>
                  <a:lnTo>
                    <a:pt x="1056" y="85"/>
                  </a:lnTo>
                  <a:lnTo>
                    <a:pt x="1056" y="85"/>
                  </a:lnTo>
                  <a:lnTo>
                    <a:pt x="1056" y="87"/>
                  </a:lnTo>
                  <a:lnTo>
                    <a:pt x="1058" y="85"/>
                  </a:lnTo>
                  <a:lnTo>
                    <a:pt x="1058" y="85"/>
                  </a:lnTo>
                  <a:lnTo>
                    <a:pt x="1058" y="85"/>
                  </a:lnTo>
                  <a:lnTo>
                    <a:pt x="1058" y="87"/>
                  </a:lnTo>
                  <a:lnTo>
                    <a:pt x="1061" y="87"/>
                  </a:lnTo>
                  <a:lnTo>
                    <a:pt x="1058" y="87"/>
                  </a:lnTo>
                  <a:lnTo>
                    <a:pt x="1061" y="87"/>
                  </a:lnTo>
                  <a:lnTo>
                    <a:pt x="1063" y="89"/>
                  </a:lnTo>
                  <a:lnTo>
                    <a:pt x="1063" y="87"/>
                  </a:lnTo>
                  <a:lnTo>
                    <a:pt x="1065" y="89"/>
                  </a:lnTo>
                  <a:lnTo>
                    <a:pt x="1065" y="89"/>
                  </a:lnTo>
                  <a:lnTo>
                    <a:pt x="1065" y="89"/>
                  </a:lnTo>
                  <a:lnTo>
                    <a:pt x="1065" y="89"/>
                  </a:lnTo>
                  <a:lnTo>
                    <a:pt x="1065" y="89"/>
                  </a:lnTo>
                  <a:lnTo>
                    <a:pt x="1068" y="92"/>
                  </a:lnTo>
                  <a:lnTo>
                    <a:pt x="1070" y="94"/>
                  </a:lnTo>
                  <a:lnTo>
                    <a:pt x="1070" y="92"/>
                  </a:lnTo>
                  <a:lnTo>
                    <a:pt x="1073" y="89"/>
                  </a:lnTo>
                  <a:lnTo>
                    <a:pt x="1075" y="92"/>
                  </a:lnTo>
                  <a:lnTo>
                    <a:pt x="1075" y="92"/>
                  </a:lnTo>
                  <a:lnTo>
                    <a:pt x="1075" y="94"/>
                  </a:lnTo>
                  <a:lnTo>
                    <a:pt x="1077" y="96"/>
                  </a:lnTo>
                  <a:lnTo>
                    <a:pt x="1080" y="96"/>
                  </a:lnTo>
                  <a:lnTo>
                    <a:pt x="1082" y="96"/>
                  </a:lnTo>
                  <a:lnTo>
                    <a:pt x="1082" y="99"/>
                  </a:lnTo>
                  <a:lnTo>
                    <a:pt x="1082" y="99"/>
                  </a:lnTo>
                  <a:lnTo>
                    <a:pt x="1084" y="99"/>
                  </a:lnTo>
                  <a:lnTo>
                    <a:pt x="1087" y="99"/>
                  </a:lnTo>
                  <a:lnTo>
                    <a:pt x="1089" y="104"/>
                  </a:lnTo>
                  <a:lnTo>
                    <a:pt x="1094" y="104"/>
                  </a:lnTo>
                  <a:lnTo>
                    <a:pt x="1094" y="106"/>
                  </a:lnTo>
                  <a:lnTo>
                    <a:pt x="1091" y="108"/>
                  </a:lnTo>
                  <a:lnTo>
                    <a:pt x="1096" y="108"/>
                  </a:lnTo>
                  <a:lnTo>
                    <a:pt x="1099" y="111"/>
                  </a:lnTo>
                  <a:lnTo>
                    <a:pt x="1101" y="111"/>
                  </a:lnTo>
                  <a:lnTo>
                    <a:pt x="1101" y="111"/>
                  </a:lnTo>
                  <a:lnTo>
                    <a:pt x="1103" y="113"/>
                  </a:lnTo>
                  <a:lnTo>
                    <a:pt x="1106" y="111"/>
                  </a:lnTo>
                  <a:lnTo>
                    <a:pt x="1108" y="111"/>
                  </a:lnTo>
                  <a:lnTo>
                    <a:pt x="1108" y="113"/>
                  </a:lnTo>
                  <a:lnTo>
                    <a:pt x="1108" y="113"/>
                  </a:lnTo>
                  <a:lnTo>
                    <a:pt x="1113" y="115"/>
                  </a:lnTo>
                  <a:lnTo>
                    <a:pt x="1113" y="115"/>
                  </a:lnTo>
                  <a:lnTo>
                    <a:pt x="1113" y="115"/>
                  </a:lnTo>
                  <a:lnTo>
                    <a:pt x="1115" y="118"/>
                  </a:lnTo>
                  <a:lnTo>
                    <a:pt x="1117" y="115"/>
                  </a:lnTo>
                  <a:lnTo>
                    <a:pt x="1120" y="113"/>
                  </a:lnTo>
                  <a:lnTo>
                    <a:pt x="1122" y="115"/>
                  </a:lnTo>
                  <a:lnTo>
                    <a:pt x="1122" y="113"/>
                  </a:lnTo>
                  <a:lnTo>
                    <a:pt x="1125" y="115"/>
                  </a:lnTo>
                  <a:lnTo>
                    <a:pt x="1127" y="113"/>
                  </a:lnTo>
                  <a:lnTo>
                    <a:pt x="1127" y="113"/>
                  </a:lnTo>
                  <a:lnTo>
                    <a:pt x="1127" y="113"/>
                  </a:lnTo>
                  <a:lnTo>
                    <a:pt x="1127" y="113"/>
                  </a:lnTo>
                  <a:lnTo>
                    <a:pt x="1129" y="113"/>
                  </a:lnTo>
                  <a:lnTo>
                    <a:pt x="1129" y="115"/>
                  </a:lnTo>
                  <a:lnTo>
                    <a:pt x="1129" y="115"/>
                  </a:lnTo>
                  <a:lnTo>
                    <a:pt x="1132" y="118"/>
                  </a:lnTo>
                  <a:lnTo>
                    <a:pt x="1132" y="118"/>
                  </a:lnTo>
                  <a:lnTo>
                    <a:pt x="1134" y="120"/>
                  </a:lnTo>
                  <a:lnTo>
                    <a:pt x="1136" y="122"/>
                  </a:lnTo>
                  <a:lnTo>
                    <a:pt x="1136" y="122"/>
                  </a:lnTo>
                  <a:lnTo>
                    <a:pt x="1136" y="125"/>
                  </a:lnTo>
                  <a:lnTo>
                    <a:pt x="1136" y="125"/>
                  </a:lnTo>
                  <a:lnTo>
                    <a:pt x="1139" y="125"/>
                  </a:lnTo>
                  <a:lnTo>
                    <a:pt x="1139" y="125"/>
                  </a:lnTo>
                  <a:lnTo>
                    <a:pt x="1146" y="122"/>
                  </a:lnTo>
                  <a:lnTo>
                    <a:pt x="1148" y="122"/>
                  </a:lnTo>
                  <a:lnTo>
                    <a:pt x="1150" y="122"/>
                  </a:lnTo>
                  <a:lnTo>
                    <a:pt x="1150" y="122"/>
                  </a:lnTo>
                  <a:lnTo>
                    <a:pt x="1155" y="125"/>
                  </a:lnTo>
                  <a:lnTo>
                    <a:pt x="1158" y="122"/>
                  </a:lnTo>
                  <a:lnTo>
                    <a:pt x="1158" y="122"/>
                  </a:lnTo>
                  <a:lnTo>
                    <a:pt x="1160" y="122"/>
                  </a:lnTo>
                  <a:lnTo>
                    <a:pt x="1160" y="120"/>
                  </a:lnTo>
                  <a:lnTo>
                    <a:pt x="1162" y="120"/>
                  </a:lnTo>
                  <a:lnTo>
                    <a:pt x="1162" y="120"/>
                  </a:lnTo>
                  <a:lnTo>
                    <a:pt x="1165" y="118"/>
                  </a:lnTo>
                  <a:lnTo>
                    <a:pt x="1165" y="115"/>
                  </a:lnTo>
                  <a:lnTo>
                    <a:pt x="1167" y="115"/>
                  </a:lnTo>
                  <a:lnTo>
                    <a:pt x="1169" y="115"/>
                  </a:lnTo>
                  <a:lnTo>
                    <a:pt x="1172" y="115"/>
                  </a:lnTo>
                  <a:lnTo>
                    <a:pt x="1174" y="113"/>
                  </a:lnTo>
                  <a:lnTo>
                    <a:pt x="1174" y="113"/>
                  </a:lnTo>
                  <a:lnTo>
                    <a:pt x="1205" y="141"/>
                  </a:lnTo>
                  <a:lnTo>
                    <a:pt x="1217" y="153"/>
                  </a:lnTo>
                  <a:lnTo>
                    <a:pt x="1226" y="163"/>
                  </a:lnTo>
                  <a:lnTo>
                    <a:pt x="1231" y="165"/>
                  </a:lnTo>
                  <a:lnTo>
                    <a:pt x="1231" y="167"/>
                  </a:lnTo>
                  <a:lnTo>
                    <a:pt x="1233" y="184"/>
                  </a:lnTo>
                  <a:lnTo>
                    <a:pt x="1233" y="198"/>
                  </a:lnTo>
                  <a:lnTo>
                    <a:pt x="1233" y="198"/>
                  </a:lnTo>
                  <a:lnTo>
                    <a:pt x="1238" y="198"/>
                  </a:lnTo>
                  <a:lnTo>
                    <a:pt x="1238" y="198"/>
                  </a:lnTo>
                  <a:lnTo>
                    <a:pt x="1240" y="198"/>
                  </a:lnTo>
                  <a:lnTo>
                    <a:pt x="1240" y="198"/>
                  </a:lnTo>
                  <a:lnTo>
                    <a:pt x="1243" y="198"/>
                  </a:lnTo>
                  <a:lnTo>
                    <a:pt x="1245" y="198"/>
                  </a:lnTo>
                  <a:lnTo>
                    <a:pt x="1247" y="198"/>
                  </a:lnTo>
                  <a:lnTo>
                    <a:pt x="1250" y="198"/>
                  </a:lnTo>
                  <a:lnTo>
                    <a:pt x="1252" y="198"/>
                  </a:lnTo>
                  <a:lnTo>
                    <a:pt x="1254" y="200"/>
                  </a:lnTo>
                  <a:lnTo>
                    <a:pt x="1257" y="200"/>
                  </a:lnTo>
                  <a:lnTo>
                    <a:pt x="1257" y="200"/>
                  </a:lnTo>
                  <a:lnTo>
                    <a:pt x="1259" y="200"/>
                  </a:lnTo>
                  <a:lnTo>
                    <a:pt x="1259" y="198"/>
                  </a:lnTo>
                  <a:lnTo>
                    <a:pt x="1259" y="198"/>
                  </a:lnTo>
                  <a:lnTo>
                    <a:pt x="1264" y="198"/>
                  </a:lnTo>
                  <a:lnTo>
                    <a:pt x="1266" y="196"/>
                  </a:lnTo>
                  <a:lnTo>
                    <a:pt x="1269" y="196"/>
                  </a:lnTo>
                  <a:lnTo>
                    <a:pt x="1271" y="193"/>
                  </a:lnTo>
                  <a:lnTo>
                    <a:pt x="1276" y="193"/>
                  </a:lnTo>
                  <a:lnTo>
                    <a:pt x="1278" y="191"/>
                  </a:lnTo>
                  <a:lnTo>
                    <a:pt x="1278" y="191"/>
                  </a:lnTo>
                  <a:lnTo>
                    <a:pt x="1278" y="189"/>
                  </a:lnTo>
                  <a:lnTo>
                    <a:pt x="1278" y="189"/>
                  </a:lnTo>
                  <a:lnTo>
                    <a:pt x="1280" y="186"/>
                  </a:lnTo>
                  <a:lnTo>
                    <a:pt x="1280" y="186"/>
                  </a:lnTo>
                  <a:lnTo>
                    <a:pt x="1283" y="186"/>
                  </a:lnTo>
                  <a:lnTo>
                    <a:pt x="1283" y="186"/>
                  </a:lnTo>
                  <a:lnTo>
                    <a:pt x="1285" y="186"/>
                  </a:lnTo>
                  <a:lnTo>
                    <a:pt x="1285" y="186"/>
                  </a:lnTo>
                  <a:lnTo>
                    <a:pt x="1288" y="186"/>
                  </a:lnTo>
                  <a:lnTo>
                    <a:pt x="1288" y="191"/>
                  </a:lnTo>
                  <a:lnTo>
                    <a:pt x="1290" y="191"/>
                  </a:lnTo>
                  <a:lnTo>
                    <a:pt x="1290" y="191"/>
                  </a:lnTo>
                  <a:lnTo>
                    <a:pt x="1295" y="191"/>
                  </a:lnTo>
                  <a:lnTo>
                    <a:pt x="1295" y="189"/>
                  </a:lnTo>
                  <a:lnTo>
                    <a:pt x="1295" y="191"/>
                  </a:lnTo>
                  <a:lnTo>
                    <a:pt x="1297" y="189"/>
                  </a:lnTo>
                  <a:lnTo>
                    <a:pt x="1297" y="189"/>
                  </a:lnTo>
                  <a:lnTo>
                    <a:pt x="1297" y="186"/>
                  </a:lnTo>
                  <a:lnTo>
                    <a:pt x="1297" y="186"/>
                  </a:lnTo>
                  <a:lnTo>
                    <a:pt x="1299" y="186"/>
                  </a:lnTo>
                  <a:lnTo>
                    <a:pt x="1299" y="186"/>
                  </a:lnTo>
                  <a:lnTo>
                    <a:pt x="1302" y="189"/>
                  </a:lnTo>
                  <a:lnTo>
                    <a:pt x="1304" y="189"/>
                  </a:lnTo>
                  <a:lnTo>
                    <a:pt x="1302" y="191"/>
                  </a:lnTo>
                  <a:lnTo>
                    <a:pt x="1304" y="193"/>
                  </a:lnTo>
                  <a:lnTo>
                    <a:pt x="1304" y="193"/>
                  </a:lnTo>
                  <a:lnTo>
                    <a:pt x="1306" y="193"/>
                  </a:lnTo>
                  <a:lnTo>
                    <a:pt x="1309" y="191"/>
                  </a:lnTo>
                  <a:lnTo>
                    <a:pt x="1309" y="191"/>
                  </a:lnTo>
                  <a:lnTo>
                    <a:pt x="1309" y="191"/>
                  </a:lnTo>
                  <a:lnTo>
                    <a:pt x="1309" y="189"/>
                  </a:lnTo>
                  <a:lnTo>
                    <a:pt x="1311" y="189"/>
                  </a:lnTo>
                  <a:lnTo>
                    <a:pt x="1313" y="189"/>
                  </a:lnTo>
                  <a:lnTo>
                    <a:pt x="1313" y="189"/>
                  </a:lnTo>
                  <a:lnTo>
                    <a:pt x="1313" y="189"/>
                  </a:lnTo>
                  <a:lnTo>
                    <a:pt x="1313" y="189"/>
                  </a:lnTo>
                  <a:lnTo>
                    <a:pt x="1316" y="191"/>
                  </a:lnTo>
                  <a:lnTo>
                    <a:pt x="1316" y="191"/>
                  </a:lnTo>
                  <a:lnTo>
                    <a:pt x="1318" y="193"/>
                  </a:lnTo>
                  <a:lnTo>
                    <a:pt x="1321" y="196"/>
                  </a:lnTo>
                  <a:lnTo>
                    <a:pt x="1321" y="196"/>
                  </a:lnTo>
                  <a:lnTo>
                    <a:pt x="1323" y="196"/>
                  </a:lnTo>
                  <a:lnTo>
                    <a:pt x="1323" y="196"/>
                  </a:lnTo>
                  <a:lnTo>
                    <a:pt x="1325" y="198"/>
                  </a:lnTo>
                  <a:lnTo>
                    <a:pt x="1325" y="198"/>
                  </a:lnTo>
                  <a:lnTo>
                    <a:pt x="1325" y="198"/>
                  </a:lnTo>
                  <a:lnTo>
                    <a:pt x="1325" y="198"/>
                  </a:lnTo>
                  <a:lnTo>
                    <a:pt x="1325" y="200"/>
                  </a:lnTo>
                  <a:lnTo>
                    <a:pt x="1328" y="200"/>
                  </a:lnTo>
                  <a:lnTo>
                    <a:pt x="1328" y="200"/>
                  </a:lnTo>
                  <a:lnTo>
                    <a:pt x="1330" y="203"/>
                  </a:lnTo>
                  <a:lnTo>
                    <a:pt x="1330" y="205"/>
                  </a:lnTo>
                  <a:lnTo>
                    <a:pt x="1330" y="205"/>
                  </a:lnTo>
                  <a:lnTo>
                    <a:pt x="1332" y="205"/>
                  </a:lnTo>
                  <a:lnTo>
                    <a:pt x="1335" y="205"/>
                  </a:lnTo>
                  <a:lnTo>
                    <a:pt x="1337" y="205"/>
                  </a:lnTo>
                  <a:lnTo>
                    <a:pt x="1337" y="203"/>
                  </a:lnTo>
                  <a:lnTo>
                    <a:pt x="1337" y="200"/>
                  </a:lnTo>
                  <a:lnTo>
                    <a:pt x="1339" y="200"/>
                  </a:lnTo>
                  <a:lnTo>
                    <a:pt x="1339" y="200"/>
                  </a:lnTo>
                  <a:lnTo>
                    <a:pt x="1342" y="203"/>
                  </a:lnTo>
                  <a:lnTo>
                    <a:pt x="1342" y="200"/>
                  </a:lnTo>
                  <a:lnTo>
                    <a:pt x="1344" y="198"/>
                  </a:lnTo>
                  <a:lnTo>
                    <a:pt x="1344" y="200"/>
                  </a:lnTo>
                  <a:lnTo>
                    <a:pt x="1347" y="200"/>
                  </a:lnTo>
                  <a:lnTo>
                    <a:pt x="1349" y="203"/>
                  </a:lnTo>
                  <a:lnTo>
                    <a:pt x="1349" y="205"/>
                  </a:lnTo>
                  <a:lnTo>
                    <a:pt x="1349" y="207"/>
                  </a:lnTo>
                  <a:lnTo>
                    <a:pt x="1349" y="205"/>
                  </a:lnTo>
                  <a:lnTo>
                    <a:pt x="1351" y="207"/>
                  </a:lnTo>
                  <a:lnTo>
                    <a:pt x="1351" y="207"/>
                  </a:lnTo>
                  <a:lnTo>
                    <a:pt x="1351" y="207"/>
                  </a:lnTo>
                  <a:lnTo>
                    <a:pt x="1354" y="207"/>
                  </a:lnTo>
                  <a:lnTo>
                    <a:pt x="1356" y="207"/>
                  </a:lnTo>
                  <a:lnTo>
                    <a:pt x="1356" y="207"/>
                  </a:lnTo>
                  <a:lnTo>
                    <a:pt x="1358" y="207"/>
                  </a:lnTo>
                  <a:lnTo>
                    <a:pt x="1358" y="207"/>
                  </a:lnTo>
                  <a:lnTo>
                    <a:pt x="1358" y="207"/>
                  </a:lnTo>
                  <a:lnTo>
                    <a:pt x="1361" y="207"/>
                  </a:lnTo>
                  <a:lnTo>
                    <a:pt x="1361" y="207"/>
                  </a:lnTo>
                  <a:lnTo>
                    <a:pt x="1361" y="207"/>
                  </a:lnTo>
                  <a:lnTo>
                    <a:pt x="1363" y="207"/>
                  </a:lnTo>
                  <a:lnTo>
                    <a:pt x="1365" y="207"/>
                  </a:lnTo>
                  <a:lnTo>
                    <a:pt x="1368" y="207"/>
                  </a:lnTo>
                  <a:lnTo>
                    <a:pt x="1368" y="207"/>
                  </a:lnTo>
                  <a:lnTo>
                    <a:pt x="1368" y="207"/>
                  </a:lnTo>
                  <a:lnTo>
                    <a:pt x="1370" y="207"/>
                  </a:lnTo>
                  <a:lnTo>
                    <a:pt x="1370" y="207"/>
                  </a:lnTo>
                  <a:lnTo>
                    <a:pt x="1373" y="205"/>
                  </a:lnTo>
                  <a:lnTo>
                    <a:pt x="1373" y="205"/>
                  </a:lnTo>
                  <a:lnTo>
                    <a:pt x="1375" y="207"/>
                  </a:lnTo>
                  <a:lnTo>
                    <a:pt x="1375" y="207"/>
                  </a:lnTo>
                  <a:lnTo>
                    <a:pt x="1375" y="207"/>
                  </a:lnTo>
                  <a:lnTo>
                    <a:pt x="1375" y="210"/>
                  </a:lnTo>
                  <a:lnTo>
                    <a:pt x="1375" y="210"/>
                  </a:lnTo>
                  <a:lnTo>
                    <a:pt x="1375" y="210"/>
                  </a:lnTo>
                  <a:lnTo>
                    <a:pt x="1377" y="210"/>
                  </a:lnTo>
                  <a:lnTo>
                    <a:pt x="1377" y="212"/>
                  </a:lnTo>
                  <a:lnTo>
                    <a:pt x="1377" y="212"/>
                  </a:lnTo>
                  <a:lnTo>
                    <a:pt x="1377" y="215"/>
                  </a:lnTo>
                  <a:lnTo>
                    <a:pt x="1377" y="212"/>
                  </a:lnTo>
                  <a:lnTo>
                    <a:pt x="1380" y="215"/>
                  </a:lnTo>
                  <a:lnTo>
                    <a:pt x="1382" y="215"/>
                  </a:lnTo>
                  <a:lnTo>
                    <a:pt x="1382" y="217"/>
                  </a:lnTo>
                  <a:lnTo>
                    <a:pt x="1380" y="219"/>
                  </a:lnTo>
                  <a:lnTo>
                    <a:pt x="1380" y="219"/>
                  </a:lnTo>
                  <a:lnTo>
                    <a:pt x="1382" y="219"/>
                  </a:lnTo>
                  <a:lnTo>
                    <a:pt x="1382" y="219"/>
                  </a:lnTo>
                  <a:lnTo>
                    <a:pt x="1382" y="219"/>
                  </a:lnTo>
                  <a:lnTo>
                    <a:pt x="1382" y="219"/>
                  </a:lnTo>
                  <a:lnTo>
                    <a:pt x="1384" y="219"/>
                  </a:lnTo>
                  <a:lnTo>
                    <a:pt x="1384" y="219"/>
                  </a:lnTo>
                  <a:lnTo>
                    <a:pt x="1384" y="217"/>
                  </a:lnTo>
                  <a:lnTo>
                    <a:pt x="1384" y="219"/>
                  </a:lnTo>
                  <a:lnTo>
                    <a:pt x="1387" y="219"/>
                  </a:lnTo>
                  <a:lnTo>
                    <a:pt x="1387" y="219"/>
                  </a:lnTo>
                  <a:lnTo>
                    <a:pt x="1389" y="219"/>
                  </a:lnTo>
                  <a:lnTo>
                    <a:pt x="1389" y="219"/>
                  </a:lnTo>
                  <a:lnTo>
                    <a:pt x="1389" y="219"/>
                  </a:lnTo>
                  <a:lnTo>
                    <a:pt x="1389" y="219"/>
                  </a:lnTo>
                  <a:lnTo>
                    <a:pt x="1391" y="217"/>
                  </a:lnTo>
                  <a:lnTo>
                    <a:pt x="1391" y="219"/>
                  </a:lnTo>
                  <a:lnTo>
                    <a:pt x="1391" y="222"/>
                  </a:lnTo>
                  <a:lnTo>
                    <a:pt x="1391" y="222"/>
                  </a:lnTo>
                  <a:lnTo>
                    <a:pt x="1394" y="222"/>
                  </a:lnTo>
                  <a:lnTo>
                    <a:pt x="1394" y="219"/>
                  </a:lnTo>
                  <a:lnTo>
                    <a:pt x="1394" y="219"/>
                  </a:lnTo>
                  <a:lnTo>
                    <a:pt x="1394" y="222"/>
                  </a:lnTo>
                  <a:lnTo>
                    <a:pt x="1394" y="222"/>
                  </a:lnTo>
                  <a:lnTo>
                    <a:pt x="1394" y="224"/>
                  </a:lnTo>
                  <a:lnTo>
                    <a:pt x="1394" y="224"/>
                  </a:lnTo>
                  <a:lnTo>
                    <a:pt x="1394" y="224"/>
                  </a:lnTo>
                  <a:lnTo>
                    <a:pt x="1394" y="224"/>
                  </a:lnTo>
                  <a:lnTo>
                    <a:pt x="1394" y="224"/>
                  </a:lnTo>
                  <a:lnTo>
                    <a:pt x="1394" y="224"/>
                  </a:lnTo>
                  <a:lnTo>
                    <a:pt x="1396" y="226"/>
                  </a:lnTo>
                  <a:lnTo>
                    <a:pt x="1394" y="226"/>
                  </a:lnTo>
                  <a:lnTo>
                    <a:pt x="1394" y="226"/>
                  </a:lnTo>
                  <a:lnTo>
                    <a:pt x="1396" y="226"/>
                  </a:lnTo>
                  <a:lnTo>
                    <a:pt x="1396" y="226"/>
                  </a:lnTo>
                  <a:lnTo>
                    <a:pt x="1396" y="226"/>
                  </a:lnTo>
                  <a:lnTo>
                    <a:pt x="1396" y="229"/>
                  </a:lnTo>
                  <a:lnTo>
                    <a:pt x="1399" y="229"/>
                  </a:lnTo>
                  <a:lnTo>
                    <a:pt x="1399" y="229"/>
                  </a:lnTo>
                  <a:lnTo>
                    <a:pt x="1399" y="229"/>
                  </a:lnTo>
                  <a:lnTo>
                    <a:pt x="1399" y="229"/>
                  </a:lnTo>
                  <a:lnTo>
                    <a:pt x="1399" y="231"/>
                  </a:lnTo>
                  <a:lnTo>
                    <a:pt x="1399" y="231"/>
                  </a:lnTo>
                  <a:lnTo>
                    <a:pt x="1399" y="229"/>
                  </a:lnTo>
                  <a:lnTo>
                    <a:pt x="1401" y="229"/>
                  </a:lnTo>
                  <a:lnTo>
                    <a:pt x="1401" y="231"/>
                  </a:lnTo>
                  <a:lnTo>
                    <a:pt x="1403" y="231"/>
                  </a:lnTo>
                  <a:lnTo>
                    <a:pt x="1403" y="231"/>
                  </a:lnTo>
                  <a:lnTo>
                    <a:pt x="1403" y="231"/>
                  </a:lnTo>
                  <a:lnTo>
                    <a:pt x="1403" y="231"/>
                  </a:lnTo>
                  <a:lnTo>
                    <a:pt x="1406" y="231"/>
                  </a:lnTo>
                  <a:lnTo>
                    <a:pt x="1406" y="233"/>
                  </a:lnTo>
                  <a:lnTo>
                    <a:pt x="1408" y="233"/>
                  </a:lnTo>
                  <a:lnTo>
                    <a:pt x="1408" y="231"/>
                  </a:lnTo>
                  <a:lnTo>
                    <a:pt x="1408" y="231"/>
                  </a:lnTo>
                  <a:lnTo>
                    <a:pt x="1413" y="231"/>
                  </a:lnTo>
                  <a:lnTo>
                    <a:pt x="1413" y="231"/>
                  </a:lnTo>
                  <a:lnTo>
                    <a:pt x="1413" y="231"/>
                  </a:lnTo>
                  <a:lnTo>
                    <a:pt x="1413" y="231"/>
                  </a:lnTo>
                  <a:lnTo>
                    <a:pt x="1410" y="233"/>
                  </a:lnTo>
                  <a:lnTo>
                    <a:pt x="1410" y="236"/>
                  </a:lnTo>
                  <a:lnTo>
                    <a:pt x="1413" y="236"/>
                  </a:lnTo>
                  <a:lnTo>
                    <a:pt x="1415" y="238"/>
                  </a:lnTo>
                  <a:lnTo>
                    <a:pt x="1415" y="241"/>
                  </a:lnTo>
                  <a:lnTo>
                    <a:pt x="1417" y="241"/>
                  </a:lnTo>
                  <a:lnTo>
                    <a:pt x="1417" y="243"/>
                  </a:lnTo>
                  <a:lnTo>
                    <a:pt x="1417" y="243"/>
                  </a:lnTo>
                  <a:lnTo>
                    <a:pt x="1420" y="243"/>
                  </a:lnTo>
                  <a:lnTo>
                    <a:pt x="1420" y="245"/>
                  </a:lnTo>
                  <a:lnTo>
                    <a:pt x="1420" y="245"/>
                  </a:lnTo>
                  <a:lnTo>
                    <a:pt x="1420" y="248"/>
                  </a:lnTo>
                  <a:lnTo>
                    <a:pt x="1417" y="250"/>
                  </a:lnTo>
                  <a:lnTo>
                    <a:pt x="1417" y="250"/>
                  </a:lnTo>
                  <a:lnTo>
                    <a:pt x="1417" y="250"/>
                  </a:lnTo>
                  <a:lnTo>
                    <a:pt x="1415" y="250"/>
                  </a:lnTo>
                  <a:lnTo>
                    <a:pt x="1415" y="250"/>
                  </a:lnTo>
                  <a:lnTo>
                    <a:pt x="1415" y="252"/>
                  </a:lnTo>
                  <a:lnTo>
                    <a:pt x="1417" y="252"/>
                  </a:lnTo>
                  <a:lnTo>
                    <a:pt x="1417" y="252"/>
                  </a:lnTo>
                  <a:lnTo>
                    <a:pt x="1417" y="257"/>
                  </a:lnTo>
                  <a:lnTo>
                    <a:pt x="1415" y="257"/>
                  </a:lnTo>
                  <a:lnTo>
                    <a:pt x="1415" y="259"/>
                  </a:lnTo>
                  <a:lnTo>
                    <a:pt x="1413" y="259"/>
                  </a:lnTo>
                  <a:lnTo>
                    <a:pt x="1413" y="259"/>
                  </a:lnTo>
                  <a:lnTo>
                    <a:pt x="1410" y="264"/>
                  </a:lnTo>
                  <a:lnTo>
                    <a:pt x="1413" y="264"/>
                  </a:lnTo>
                  <a:lnTo>
                    <a:pt x="1413" y="266"/>
                  </a:lnTo>
                  <a:lnTo>
                    <a:pt x="1413" y="269"/>
                  </a:lnTo>
                  <a:lnTo>
                    <a:pt x="1410" y="269"/>
                  </a:lnTo>
                  <a:lnTo>
                    <a:pt x="1410" y="269"/>
                  </a:lnTo>
                  <a:lnTo>
                    <a:pt x="1408" y="271"/>
                  </a:lnTo>
                  <a:lnTo>
                    <a:pt x="1408" y="274"/>
                  </a:lnTo>
                  <a:lnTo>
                    <a:pt x="1406" y="274"/>
                  </a:lnTo>
                  <a:lnTo>
                    <a:pt x="1406" y="274"/>
                  </a:lnTo>
                  <a:lnTo>
                    <a:pt x="1406" y="274"/>
                  </a:lnTo>
                  <a:lnTo>
                    <a:pt x="1406" y="271"/>
                  </a:lnTo>
                  <a:lnTo>
                    <a:pt x="1403" y="271"/>
                  </a:lnTo>
                  <a:lnTo>
                    <a:pt x="1403" y="274"/>
                  </a:lnTo>
                  <a:lnTo>
                    <a:pt x="1403" y="274"/>
                  </a:lnTo>
                  <a:lnTo>
                    <a:pt x="1401" y="276"/>
                  </a:lnTo>
                  <a:lnTo>
                    <a:pt x="1401" y="276"/>
                  </a:lnTo>
                  <a:lnTo>
                    <a:pt x="1401" y="278"/>
                  </a:lnTo>
                  <a:lnTo>
                    <a:pt x="1399" y="278"/>
                  </a:lnTo>
                  <a:lnTo>
                    <a:pt x="1399" y="283"/>
                  </a:lnTo>
                  <a:lnTo>
                    <a:pt x="1396" y="283"/>
                  </a:lnTo>
                  <a:lnTo>
                    <a:pt x="1396" y="285"/>
                  </a:lnTo>
                  <a:lnTo>
                    <a:pt x="1396" y="288"/>
                  </a:lnTo>
                  <a:lnTo>
                    <a:pt x="1394" y="288"/>
                  </a:lnTo>
                  <a:lnTo>
                    <a:pt x="1394" y="290"/>
                  </a:lnTo>
                  <a:lnTo>
                    <a:pt x="1394" y="290"/>
                  </a:lnTo>
                  <a:lnTo>
                    <a:pt x="1391" y="292"/>
                  </a:lnTo>
                  <a:lnTo>
                    <a:pt x="1391" y="290"/>
                  </a:lnTo>
                  <a:lnTo>
                    <a:pt x="1389" y="290"/>
                  </a:lnTo>
                  <a:lnTo>
                    <a:pt x="1391" y="288"/>
                  </a:lnTo>
                  <a:lnTo>
                    <a:pt x="1389" y="288"/>
                  </a:lnTo>
                  <a:lnTo>
                    <a:pt x="1389" y="288"/>
                  </a:lnTo>
                  <a:lnTo>
                    <a:pt x="1389" y="290"/>
                  </a:lnTo>
                  <a:lnTo>
                    <a:pt x="1387" y="292"/>
                  </a:lnTo>
                  <a:lnTo>
                    <a:pt x="1387" y="292"/>
                  </a:lnTo>
                  <a:lnTo>
                    <a:pt x="1384" y="297"/>
                  </a:lnTo>
                  <a:lnTo>
                    <a:pt x="1382" y="300"/>
                  </a:lnTo>
                  <a:lnTo>
                    <a:pt x="1382" y="300"/>
                  </a:lnTo>
                  <a:lnTo>
                    <a:pt x="1380" y="300"/>
                  </a:lnTo>
                  <a:lnTo>
                    <a:pt x="1380" y="302"/>
                  </a:lnTo>
                  <a:lnTo>
                    <a:pt x="1380" y="302"/>
                  </a:lnTo>
                  <a:lnTo>
                    <a:pt x="1380" y="302"/>
                  </a:lnTo>
                  <a:lnTo>
                    <a:pt x="1382" y="302"/>
                  </a:lnTo>
                  <a:lnTo>
                    <a:pt x="1382" y="304"/>
                  </a:lnTo>
                  <a:lnTo>
                    <a:pt x="1382" y="304"/>
                  </a:lnTo>
                  <a:lnTo>
                    <a:pt x="1382" y="307"/>
                  </a:lnTo>
                  <a:lnTo>
                    <a:pt x="1382" y="307"/>
                  </a:lnTo>
                  <a:lnTo>
                    <a:pt x="1380" y="307"/>
                  </a:lnTo>
                  <a:lnTo>
                    <a:pt x="1377" y="307"/>
                  </a:lnTo>
                  <a:lnTo>
                    <a:pt x="1377" y="307"/>
                  </a:lnTo>
                  <a:lnTo>
                    <a:pt x="1377" y="307"/>
                  </a:lnTo>
                  <a:lnTo>
                    <a:pt x="1375" y="307"/>
                  </a:lnTo>
                  <a:lnTo>
                    <a:pt x="1373" y="304"/>
                  </a:lnTo>
                  <a:lnTo>
                    <a:pt x="1373" y="304"/>
                  </a:lnTo>
                  <a:lnTo>
                    <a:pt x="1370" y="307"/>
                  </a:lnTo>
                  <a:lnTo>
                    <a:pt x="1370" y="307"/>
                  </a:lnTo>
                  <a:lnTo>
                    <a:pt x="1370" y="307"/>
                  </a:lnTo>
                  <a:lnTo>
                    <a:pt x="1370" y="307"/>
                  </a:lnTo>
                  <a:lnTo>
                    <a:pt x="1368" y="307"/>
                  </a:lnTo>
                  <a:lnTo>
                    <a:pt x="1365" y="309"/>
                  </a:lnTo>
                  <a:lnTo>
                    <a:pt x="1365" y="311"/>
                  </a:lnTo>
                  <a:lnTo>
                    <a:pt x="1365" y="314"/>
                  </a:lnTo>
                  <a:lnTo>
                    <a:pt x="1365" y="316"/>
                  </a:lnTo>
                  <a:lnTo>
                    <a:pt x="1363" y="321"/>
                  </a:lnTo>
                  <a:lnTo>
                    <a:pt x="1363" y="323"/>
                  </a:lnTo>
                  <a:lnTo>
                    <a:pt x="1363" y="323"/>
                  </a:lnTo>
                  <a:lnTo>
                    <a:pt x="1365" y="323"/>
                  </a:lnTo>
                  <a:lnTo>
                    <a:pt x="1363" y="326"/>
                  </a:lnTo>
                  <a:lnTo>
                    <a:pt x="1363" y="328"/>
                  </a:lnTo>
                  <a:lnTo>
                    <a:pt x="1361" y="328"/>
                  </a:lnTo>
                  <a:lnTo>
                    <a:pt x="1361" y="333"/>
                  </a:lnTo>
                  <a:lnTo>
                    <a:pt x="1358" y="335"/>
                  </a:lnTo>
                  <a:lnTo>
                    <a:pt x="1361" y="335"/>
                  </a:lnTo>
                  <a:lnTo>
                    <a:pt x="1361" y="335"/>
                  </a:lnTo>
                  <a:lnTo>
                    <a:pt x="1365" y="335"/>
                  </a:lnTo>
                  <a:lnTo>
                    <a:pt x="1365" y="337"/>
                  </a:lnTo>
                  <a:lnTo>
                    <a:pt x="1368" y="335"/>
                  </a:lnTo>
                  <a:lnTo>
                    <a:pt x="1370" y="337"/>
                  </a:lnTo>
                  <a:lnTo>
                    <a:pt x="1370" y="337"/>
                  </a:lnTo>
                  <a:lnTo>
                    <a:pt x="1370" y="340"/>
                  </a:lnTo>
                  <a:lnTo>
                    <a:pt x="1370" y="342"/>
                  </a:lnTo>
                  <a:lnTo>
                    <a:pt x="1370" y="342"/>
                  </a:lnTo>
                  <a:lnTo>
                    <a:pt x="1370" y="342"/>
                  </a:lnTo>
                  <a:lnTo>
                    <a:pt x="1370" y="344"/>
                  </a:lnTo>
                  <a:lnTo>
                    <a:pt x="1368" y="344"/>
                  </a:lnTo>
                  <a:lnTo>
                    <a:pt x="1368" y="344"/>
                  </a:lnTo>
                  <a:lnTo>
                    <a:pt x="1368" y="344"/>
                  </a:lnTo>
                  <a:lnTo>
                    <a:pt x="1368" y="347"/>
                  </a:lnTo>
                  <a:lnTo>
                    <a:pt x="1368" y="349"/>
                  </a:lnTo>
                  <a:lnTo>
                    <a:pt x="1365" y="349"/>
                  </a:lnTo>
                  <a:lnTo>
                    <a:pt x="1365" y="347"/>
                  </a:lnTo>
                  <a:lnTo>
                    <a:pt x="1363" y="349"/>
                  </a:lnTo>
                  <a:lnTo>
                    <a:pt x="1361" y="349"/>
                  </a:lnTo>
                  <a:lnTo>
                    <a:pt x="1361" y="352"/>
                  </a:lnTo>
                  <a:lnTo>
                    <a:pt x="1358" y="349"/>
                  </a:lnTo>
                  <a:lnTo>
                    <a:pt x="1358" y="349"/>
                  </a:lnTo>
                  <a:lnTo>
                    <a:pt x="1358" y="347"/>
                  </a:lnTo>
                  <a:lnTo>
                    <a:pt x="1356" y="347"/>
                  </a:lnTo>
                  <a:lnTo>
                    <a:pt x="1356" y="347"/>
                  </a:lnTo>
                  <a:lnTo>
                    <a:pt x="1351" y="347"/>
                  </a:lnTo>
                  <a:lnTo>
                    <a:pt x="1351" y="347"/>
                  </a:lnTo>
                  <a:lnTo>
                    <a:pt x="1351" y="349"/>
                  </a:lnTo>
                  <a:lnTo>
                    <a:pt x="1349" y="349"/>
                  </a:lnTo>
                  <a:lnTo>
                    <a:pt x="1349" y="347"/>
                  </a:lnTo>
                  <a:lnTo>
                    <a:pt x="1347" y="347"/>
                  </a:lnTo>
                  <a:lnTo>
                    <a:pt x="1347" y="347"/>
                  </a:lnTo>
                  <a:lnTo>
                    <a:pt x="1344" y="347"/>
                  </a:lnTo>
                  <a:lnTo>
                    <a:pt x="1344" y="347"/>
                  </a:lnTo>
                  <a:lnTo>
                    <a:pt x="1342" y="347"/>
                  </a:lnTo>
                  <a:lnTo>
                    <a:pt x="1339" y="347"/>
                  </a:lnTo>
                  <a:lnTo>
                    <a:pt x="1339" y="349"/>
                  </a:lnTo>
                  <a:lnTo>
                    <a:pt x="1339" y="354"/>
                  </a:lnTo>
                  <a:lnTo>
                    <a:pt x="1337" y="356"/>
                  </a:lnTo>
                  <a:lnTo>
                    <a:pt x="1335" y="361"/>
                  </a:lnTo>
                  <a:lnTo>
                    <a:pt x="1332" y="361"/>
                  </a:lnTo>
                  <a:lnTo>
                    <a:pt x="1332" y="363"/>
                  </a:lnTo>
                  <a:lnTo>
                    <a:pt x="1332" y="363"/>
                  </a:lnTo>
                  <a:lnTo>
                    <a:pt x="1332" y="366"/>
                  </a:lnTo>
                  <a:lnTo>
                    <a:pt x="1330" y="370"/>
                  </a:lnTo>
                  <a:lnTo>
                    <a:pt x="1330" y="373"/>
                  </a:lnTo>
                  <a:lnTo>
                    <a:pt x="1330" y="373"/>
                  </a:lnTo>
                  <a:lnTo>
                    <a:pt x="1332" y="373"/>
                  </a:lnTo>
                  <a:lnTo>
                    <a:pt x="1332" y="373"/>
                  </a:lnTo>
                  <a:lnTo>
                    <a:pt x="1330" y="380"/>
                  </a:lnTo>
                  <a:lnTo>
                    <a:pt x="1330" y="382"/>
                  </a:lnTo>
                  <a:lnTo>
                    <a:pt x="1330" y="385"/>
                  </a:lnTo>
                  <a:lnTo>
                    <a:pt x="1332" y="387"/>
                  </a:lnTo>
                  <a:lnTo>
                    <a:pt x="1332" y="389"/>
                  </a:lnTo>
                  <a:lnTo>
                    <a:pt x="1330" y="389"/>
                  </a:lnTo>
                  <a:lnTo>
                    <a:pt x="1332" y="392"/>
                  </a:lnTo>
                  <a:lnTo>
                    <a:pt x="1330" y="394"/>
                  </a:lnTo>
                  <a:lnTo>
                    <a:pt x="1330" y="394"/>
                  </a:lnTo>
                  <a:lnTo>
                    <a:pt x="1330" y="396"/>
                  </a:lnTo>
                  <a:lnTo>
                    <a:pt x="1330" y="396"/>
                  </a:lnTo>
                  <a:lnTo>
                    <a:pt x="1330" y="399"/>
                  </a:lnTo>
                  <a:lnTo>
                    <a:pt x="1332" y="399"/>
                  </a:lnTo>
                  <a:lnTo>
                    <a:pt x="1330" y="401"/>
                  </a:lnTo>
                  <a:lnTo>
                    <a:pt x="1328" y="403"/>
                  </a:lnTo>
                  <a:lnTo>
                    <a:pt x="1328" y="403"/>
                  </a:lnTo>
                  <a:lnTo>
                    <a:pt x="1328" y="406"/>
                  </a:lnTo>
                  <a:lnTo>
                    <a:pt x="1325" y="406"/>
                  </a:lnTo>
                  <a:lnTo>
                    <a:pt x="1325" y="406"/>
                  </a:lnTo>
                  <a:lnTo>
                    <a:pt x="1328" y="408"/>
                  </a:lnTo>
                  <a:lnTo>
                    <a:pt x="1325" y="408"/>
                  </a:lnTo>
                  <a:lnTo>
                    <a:pt x="1325" y="411"/>
                  </a:lnTo>
                  <a:lnTo>
                    <a:pt x="1325" y="411"/>
                  </a:lnTo>
                  <a:lnTo>
                    <a:pt x="1325" y="413"/>
                  </a:lnTo>
                  <a:lnTo>
                    <a:pt x="1325" y="413"/>
                  </a:lnTo>
                  <a:lnTo>
                    <a:pt x="1323" y="415"/>
                  </a:lnTo>
                  <a:lnTo>
                    <a:pt x="1325" y="418"/>
                  </a:lnTo>
                  <a:lnTo>
                    <a:pt x="1325" y="418"/>
                  </a:lnTo>
                  <a:lnTo>
                    <a:pt x="1330" y="418"/>
                  </a:lnTo>
                  <a:lnTo>
                    <a:pt x="1330" y="418"/>
                  </a:lnTo>
                  <a:lnTo>
                    <a:pt x="1332" y="420"/>
                  </a:lnTo>
                  <a:lnTo>
                    <a:pt x="1337" y="420"/>
                  </a:lnTo>
                  <a:lnTo>
                    <a:pt x="1337" y="420"/>
                  </a:lnTo>
                  <a:lnTo>
                    <a:pt x="1337" y="422"/>
                  </a:lnTo>
                  <a:lnTo>
                    <a:pt x="1339" y="425"/>
                  </a:lnTo>
                  <a:lnTo>
                    <a:pt x="1339" y="425"/>
                  </a:lnTo>
                  <a:lnTo>
                    <a:pt x="1339" y="427"/>
                  </a:lnTo>
                  <a:lnTo>
                    <a:pt x="1342" y="427"/>
                  </a:lnTo>
                  <a:lnTo>
                    <a:pt x="1342" y="429"/>
                  </a:lnTo>
                  <a:lnTo>
                    <a:pt x="1339" y="429"/>
                  </a:lnTo>
                  <a:lnTo>
                    <a:pt x="1342" y="432"/>
                  </a:lnTo>
                  <a:lnTo>
                    <a:pt x="1342" y="432"/>
                  </a:lnTo>
                  <a:lnTo>
                    <a:pt x="1344" y="437"/>
                  </a:lnTo>
                  <a:lnTo>
                    <a:pt x="1347" y="439"/>
                  </a:lnTo>
                  <a:lnTo>
                    <a:pt x="1349" y="437"/>
                  </a:lnTo>
                  <a:lnTo>
                    <a:pt x="1351" y="437"/>
                  </a:lnTo>
                  <a:lnTo>
                    <a:pt x="1349" y="437"/>
                  </a:lnTo>
                  <a:lnTo>
                    <a:pt x="1351" y="439"/>
                  </a:lnTo>
                  <a:lnTo>
                    <a:pt x="1349" y="439"/>
                  </a:lnTo>
                  <a:lnTo>
                    <a:pt x="1349" y="439"/>
                  </a:lnTo>
                  <a:lnTo>
                    <a:pt x="1349" y="441"/>
                  </a:lnTo>
                  <a:lnTo>
                    <a:pt x="1351" y="444"/>
                  </a:lnTo>
                  <a:lnTo>
                    <a:pt x="1351" y="444"/>
                  </a:lnTo>
                  <a:lnTo>
                    <a:pt x="1354" y="444"/>
                  </a:lnTo>
                  <a:lnTo>
                    <a:pt x="1356" y="444"/>
                  </a:lnTo>
                  <a:lnTo>
                    <a:pt x="1356" y="446"/>
                  </a:lnTo>
                  <a:lnTo>
                    <a:pt x="1358" y="446"/>
                  </a:lnTo>
                  <a:lnTo>
                    <a:pt x="1358" y="444"/>
                  </a:lnTo>
                  <a:lnTo>
                    <a:pt x="1358" y="444"/>
                  </a:lnTo>
                  <a:lnTo>
                    <a:pt x="1358" y="444"/>
                  </a:lnTo>
                  <a:lnTo>
                    <a:pt x="1361" y="446"/>
                  </a:lnTo>
                  <a:lnTo>
                    <a:pt x="1361" y="446"/>
                  </a:lnTo>
                  <a:lnTo>
                    <a:pt x="1361" y="448"/>
                  </a:lnTo>
                  <a:lnTo>
                    <a:pt x="1361" y="448"/>
                  </a:lnTo>
                  <a:lnTo>
                    <a:pt x="1363" y="448"/>
                  </a:lnTo>
                  <a:lnTo>
                    <a:pt x="1365" y="451"/>
                  </a:lnTo>
                  <a:lnTo>
                    <a:pt x="1365" y="453"/>
                  </a:lnTo>
                  <a:lnTo>
                    <a:pt x="1365" y="453"/>
                  </a:lnTo>
                  <a:lnTo>
                    <a:pt x="1365" y="453"/>
                  </a:lnTo>
                  <a:lnTo>
                    <a:pt x="1368" y="455"/>
                  </a:lnTo>
                  <a:lnTo>
                    <a:pt x="1368" y="458"/>
                  </a:lnTo>
                  <a:lnTo>
                    <a:pt x="1370" y="455"/>
                  </a:lnTo>
                  <a:lnTo>
                    <a:pt x="1370" y="458"/>
                  </a:lnTo>
                  <a:lnTo>
                    <a:pt x="1373" y="458"/>
                  </a:lnTo>
                  <a:lnTo>
                    <a:pt x="1375" y="458"/>
                  </a:lnTo>
                  <a:lnTo>
                    <a:pt x="1375" y="460"/>
                  </a:lnTo>
                  <a:lnTo>
                    <a:pt x="1375" y="463"/>
                  </a:lnTo>
                  <a:lnTo>
                    <a:pt x="1375" y="465"/>
                  </a:lnTo>
                  <a:lnTo>
                    <a:pt x="1375" y="465"/>
                  </a:lnTo>
                  <a:lnTo>
                    <a:pt x="1377" y="467"/>
                  </a:lnTo>
                  <a:lnTo>
                    <a:pt x="1377" y="470"/>
                  </a:lnTo>
                  <a:lnTo>
                    <a:pt x="1377" y="472"/>
                  </a:lnTo>
                  <a:lnTo>
                    <a:pt x="1377" y="470"/>
                  </a:lnTo>
                  <a:lnTo>
                    <a:pt x="1380" y="472"/>
                  </a:lnTo>
                  <a:lnTo>
                    <a:pt x="1380" y="472"/>
                  </a:lnTo>
                  <a:lnTo>
                    <a:pt x="1380" y="474"/>
                  </a:lnTo>
                  <a:lnTo>
                    <a:pt x="1375" y="479"/>
                  </a:lnTo>
                  <a:lnTo>
                    <a:pt x="1368" y="484"/>
                  </a:lnTo>
                  <a:lnTo>
                    <a:pt x="1368" y="484"/>
                  </a:lnTo>
                  <a:lnTo>
                    <a:pt x="1370" y="484"/>
                  </a:lnTo>
                  <a:lnTo>
                    <a:pt x="1373" y="486"/>
                  </a:lnTo>
                  <a:lnTo>
                    <a:pt x="1375" y="489"/>
                  </a:lnTo>
                  <a:lnTo>
                    <a:pt x="1375" y="491"/>
                  </a:lnTo>
                  <a:lnTo>
                    <a:pt x="1370" y="489"/>
                  </a:lnTo>
                  <a:lnTo>
                    <a:pt x="1368" y="489"/>
                  </a:lnTo>
                  <a:lnTo>
                    <a:pt x="1368" y="489"/>
                  </a:lnTo>
                  <a:lnTo>
                    <a:pt x="1365" y="486"/>
                  </a:lnTo>
                  <a:lnTo>
                    <a:pt x="1365" y="486"/>
                  </a:lnTo>
                  <a:lnTo>
                    <a:pt x="1363" y="486"/>
                  </a:lnTo>
                  <a:lnTo>
                    <a:pt x="1363" y="484"/>
                  </a:lnTo>
                  <a:lnTo>
                    <a:pt x="1361" y="484"/>
                  </a:lnTo>
                  <a:lnTo>
                    <a:pt x="1361" y="484"/>
                  </a:lnTo>
                  <a:lnTo>
                    <a:pt x="1358" y="484"/>
                  </a:lnTo>
                  <a:lnTo>
                    <a:pt x="1358" y="484"/>
                  </a:lnTo>
                  <a:lnTo>
                    <a:pt x="1356" y="484"/>
                  </a:lnTo>
                  <a:lnTo>
                    <a:pt x="1356" y="484"/>
                  </a:lnTo>
                  <a:lnTo>
                    <a:pt x="1354" y="484"/>
                  </a:lnTo>
                  <a:lnTo>
                    <a:pt x="1354" y="484"/>
                  </a:lnTo>
                  <a:lnTo>
                    <a:pt x="1349" y="484"/>
                  </a:lnTo>
                  <a:lnTo>
                    <a:pt x="1349" y="484"/>
                  </a:lnTo>
                  <a:lnTo>
                    <a:pt x="1344" y="481"/>
                  </a:lnTo>
                  <a:lnTo>
                    <a:pt x="1344" y="484"/>
                  </a:lnTo>
                  <a:lnTo>
                    <a:pt x="1342" y="481"/>
                  </a:lnTo>
                  <a:lnTo>
                    <a:pt x="1339" y="481"/>
                  </a:lnTo>
                  <a:lnTo>
                    <a:pt x="1337" y="479"/>
                  </a:lnTo>
                  <a:lnTo>
                    <a:pt x="1337" y="479"/>
                  </a:lnTo>
                  <a:lnTo>
                    <a:pt x="1332" y="481"/>
                  </a:lnTo>
                  <a:lnTo>
                    <a:pt x="1330" y="481"/>
                  </a:lnTo>
                  <a:lnTo>
                    <a:pt x="1328" y="481"/>
                  </a:lnTo>
                  <a:lnTo>
                    <a:pt x="1328" y="484"/>
                  </a:lnTo>
                  <a:lnTo>
                    <a:pt x="1325" y="484"/>
                  </a:lnTo>
                  <a:lnTo>
                    <a:pt x="1325" y="484"/>
                  </a:lnTo>
                  <a:lnTo>
                    <a:pt x="1325" y="486"/>
                  </a:lnTo>
                  <a:lnTo>
                    <a:pt x="1325" y="486"/>
                  </a:lnTo>
                  <a:lnTo>
                    <a:pt x="1323" y="489"/>
                  </a:lnTo>
                  <a:lnTo>
                    <a:pt x="1325" y="489"/>
                  </a:lnTo>
                  <a:lnTo>
                    <a:pt x="1323" y="491"/>
                  </a:lnTo>
                  <a:lnTo>
                    <a:pt x="1323" y="491"/>
                  </a:lnTo>
                  <a:lnTo>
                    <a:pt x="1321" y="493"/>
                  </a:lnTo>
                  <a:lnTo>
                    <a:pt x="1321" y="493"/>
                  </a:lnTo>
                  <a:lnTo>
                    <a:pt x="1318" y="496"/>
                  </a:lnTo>
                  <a:lnTo>
                    <a:pt x="1316" y="493"/>
                  </a:lnTo>
                  <a:lnTo>
                    <a:pt x="1316" y="496"/>
                  </a:lnTo>
                  <a:lnTo>
                    <a:pt x="1316" y="493"/>
                  </a:lnTo>
                  <a:lnTo>
                    <a:pt x="1313" y="496"/>
                  </a:lnTo>
                  <a:lnTo>
                    <a:pt x="1311" y="496"/>
                  </a:lnTo>
                  <a:lnTo>
                    <a:pt x="1311" y="493"/>
                  </a:lnTo>
                  <a:lnTo>
                    <a:pt x="1311" y="493"/>
                  </a:lnTo>
                  <a:lnTo>
                    <a:pt x="1309" y="493"/>
                  </a:lnTo>
                  <a:lnTo>
                    <a:pt x="1306" y="493"/>
                  </a:lnTo>
                  <a:lnTo>
                    <a:pt x="1306" y="493"/>
                  </a:lnTo>
                  <a:lnTo>
                    <a:pt x="1304" y="493"/>
                  </a:lnTo>
                  <a:lnTo>
                    <a:pt x="1304" y="493"/>
                  </a:lnTo>
                  <a:lnTo>
                    <a:pt x="1304" y="491"/>
                  </a:lnTo>
                  <a:lnTo>
                    <a:pt x="1304" y="491"/>
                  </a:lnTo>
                  <a:lnTo>
                    <a:pt x="1304" y="491"/>
                  </a:lnTo>
                  <a:lnTo>
                    <a:pt x="1304" y="491"/>
                  </a:lnTo>
                  <a:lnTo>
                    <a:pt x="1302" y="491"/>
                  </a:lnTo>
                  <a:lnTo>
                    <a:pt x="1302" y="489"/>
                  </a:lnTo>
                  <a:lnTo>
                    <a:pt x="1302" y="489"/>
                  </a:lnTo>
                  <a:lnTo>
                    <a:pt x="1302" y="489"/>
                  </a:lnTo>
                  <a:lnTo>
                    <a:pt x="1299" y="486"/>
                  </a:lnTo>
                  <a:lnTo>
                    <a:pt x="1299" y="489"/>
                  </a:lnTo>
                  <a:lnTo>
                    <a:pt x="1297" y="489"/>
                  </a:lnTo>
                  <a:lnTo>
                    <a:pt x="1297" y="489"/>
                  </a:lnTo>
                  <a:lnTo>
                    <a:pt x="1297" y="489"/>
                  </a:lnTo>
                  <a:lnTo>
                    <a:pt x="1295" y="491"/>
                  </a:lnTo>
                  <a:lnTo>
                    <a:pt x="1292" y="491"/>
                  </a:lnTo>
                  <a:lnTo>
                    <a:pt x="1292" y="491"/>
                  </a:lnTo>
                  <a:lnTo>
                    <a:pt x="1292" y="491"/>
                  </a:lnTo>
                  <a:lnTo>
                    <a:pt x="1290" y="489"/>
                  </a:lnTo>
                  <a:lnTo>
                    <a:pt x="1290" y="491"/>
                  </a:lnTo>
                  <a:lnTo>
                    <a:pt x="1288" y="491"/>
                  </a:lnTo>
                  <a:lnTo>
                    <a:pt x="1288" y="491"/>
                  </a:lnTo>
                  <a:lnTo>
                    <a:pt x="1304" y="507"/>
                  </a:lnTo>
                  <a:lnTo>
                    <a:pt x="1304" y="512"/>
                  </a:lnTo>
                  <a:lnTo>
                    <a:pt x="1302" y="515"/>
                  </a:lnTo>
                  <a:lnTo>
                    <a:pt x="1302" y="512"/>
                  </a:lnTo>
                  <a:lnTo>
                    <a:pt x="1297" y="512"/>
                  </a:lnTo>
                  <a:lnTo>
                    <a:pt x="1297" y="512"/>
                  </a:lnTo>
                  <a:lnTo>
                    <a:pt x="1295" y="512"/>
                  </a:lnTo>
                  <a:lnTo>
                    <a:pt x="1295" y="512"/>
                  </a:lnTo>
                  <a:lnTo>
                    <a:pt x="1295" y="512"/>
                  </a:lnTo>
                  <a:lnTo>
                    <a:pt x="1292" y="512"/>
                  </a:lnTo>
                  <a:lnTo>
                    <a:pt x="1292" y="510"/>
                  </a:lnTo>
                  <a:lnTo>
                    <a:pt x="1292" y="510"/>
                  </a:lnTo>
                  <a:lnTo>
                    <a:pt x="1290" y="510"/>
                  </a:lnTo>
                  <a:lnTo>
                    <a:pt x="1290" y="507"/>
                  </a:lnTo>
                  <a:lnTo>
                    <a:pt x="1288" y="507"/>
                  </a:lnTo>
                  <a:lnTo>
                    <a:pt x="1288" y="507"/>
                  </a:lnTo>
                  <a:lnTo>
                    <a:pt x="1288" y="507"/>
                  </a:lnTo>
                  <a:lnTo>
                    <a:pt x="1288" y="507"/>
                  </a:lnTo>
                  <a:lnTo>
                    <a:pt x="1285" y="510"/>
                  </a:lnTo>
                  <a:lnTo>
                    <a:pt x="1285" y="510"/>
                  </a:lnTo>
                  <a:lnTo>
                    <a:pt x="1283" y="510"/>
                  </a:lnTo>
                  <a:lnTo>
                    <a:pt x="1283" y="510"/>
                  </a:lnTo>
                  <a:lnTo>
                    <a:pt x="1283" y="510"/>
                  </a:lnTo>
                  <a:lnTo>
                    <a:pt x="1283" y="512"/>
                  </a:lnTo>
                  <a:lnTo>
                    <a:pt x="1283" y="512"/>
                  </a:lnTo>
                  <a:lnTo>
                    <a:pt x="1283" y="512"/>
                  </a:lnTo>
                  <a:lnTo>
                    <a:pt x="1280" y="512"/>
                  </a:lnTo>
                  <a:lnTo>
                    <a:pt x="1280" y="512"/>
                  </a:lnTo>
                  <a:lnTo>
                    <a:pt x="1278" y="512"/>
                  </a:lnTo>
                  <a:lnTo>
                    <a:pt x="1278" y="512"/>
                  </a:lnTo>
                  <a:lnTo>
                    <a:pt x="1276" y="515"/>
                  </a:lnTo>
                  <a:lnTo>
                    <a:pt x="1273" y="515"/>
                  </a:lnTo>
                  <a:lnTo>
                    <a:pt x="1273" y="512"/>
                  </a:lnTo>
                  <a:lnTo>
                    <a:pt x="1273" y="512"/>
                  </a:lnTo>
                  <a:lnTo>
                    <a:pt x="1271" y="517"/>
                  </a:lnTo>
                  <a:lnTo>
                    <a:pt x="1271" y="517"/>
                  </a:lnTo>
                  <a:lnTo>
                    <a:pt x="1271" y="515"/>
                  </a:lnTo>
                  <a:lnTo>
                    <a:pt x="1269" y="515"/>
                  </a:lnTo>
                  <a:lnTo>
                    <a:pt x="1269" y="517"/>
                  </a:lnTo>
                  <a:lnTo>
                    <a:pt x="1269" y="517"/>
                  </a:lnTo>
                  <a:lnTo>
                    <a:pt x="1266" y="517"/>
                  </a:lnTo>
                  <a:lnTo>
                    <a:pt x="1264" y="519"/>
                  </a:lnTo>
                  <a:lnTo>
                    <a:pt x="1264" y="519"/>
                  </a:lnTo>
                  <a:lnTo>
                    <a:pt x="1264" y="522"/>
                  </a:lnTo>
                  <a:lnTo>
                    <a:pt x="1264" y="522"/>
                  </a:lnTo>
                  <a:lnTo>
                    <a:pt x="1264" y="522"/>
                  </a:lnTo>
                  <a:lnTo>
                    <a:pt x="1264" y="524"/>
                  </a:lnTo>
                  <a:lnTo>
                    <a:pt x="1264" y="524"/>
                  </a:lnTo>
                  <a:lnTo>
                    <a:pt x="1264" y="524"/>
                  </a:lnTo>
                  <a:lnTo>
                    <a:pt x="1264" y="526"/>
                  </a:lnTo>
                  <a:lnTo>
                    <a:pt x="1264" y="526"/>
                  </a:lnTo>
                  <a:lnTo>
                    <a:pt x="1259" y="529"/>
                  </a:lnTo>
                  <a:lnTo>
                    <a:pt x="1257" y="531"/>
                  </a:lnTo>
                  <a:lnTo>
                    <a:pt x="1257" y="533"/>
                  </a:lnTo>
                  <a:lnTo>
                    <a:pt x="1257" y="536"/>
                  </a:lnTo>
                  <a:lnTo>
                    <a:pt x="1257" y="538"/>
                  </a:lnTo>
                  <a:lnTo>
                    <a:pt x="1257" y="541"/>
                  </a:lnTo>
                  <a:lnTo>
                    <a:pt x="1257" y="541"/>
                  </a:lnTo>
                  <a:lnTo>
                    <a:pt x="1257" y="543"/>
                  </a:lnTo>
                  <a:lnTo>
                    <a:pt x="1254" y="543"/>
                  </a:lnTo>
                  <a:lnTo>
                    <a:pt x="1254" y="545"/>
                  </a:lnTo>
                  <a:lnTo>
                    <a:pt x="1254" y="545"/>
                  </a:lnTo>
                  <a:lnTo>
                    <a:pt x="1257" y="545"/>
                  </a:lnTo>
                  <a:lnTo>
                    <a:pt x="1257" y="548"/>
                  </a:lnTo>
                  <a:lnTo>
                    <a:pt x="1254" y="548"/>
                  </a:lnTo>
                  <a:lnTo>
                    <a:pt x="1252" y="550"/>
                  </a:lnTo>
                  <a:lnTo>
                    <a:pt x="1254" y="550"/>
                  </a:lnTo>
                  <a:lnTo>
                    <a:pt x="1264" y="552"/>
                  </a:lnTo>
                  <a:lnTo>
                    <a:pt x="1269" y="552"/>
                  </a:lnTo>
                  <a:lnTo>
                    <a:pt x="1273" y="552"/>
                  </a:lnTo>
                  <a:lnTo>
                    <a:pt x="1273" y="552"/>
                  </a:lnTo>
                  <a:lnTo>
                    <a:pt x="1273" y="555"/>
                  </a:lnTo>
                  <a:lnTo>
                    <a:pt x="1273" y="555"/>
                  </a:lnTo>
                  <a:lnTo>
                    <a:pt x="1273" y="562"/>
                  </a:lnTo>
                  <a:lnTo>
                    <a:pt x="1273" y="564"/>
                  </a:lnTo>
                  <a:lnTo>
                    <a:pt x="1271" y="564"/>
                  </a:lnTo>
                  <a:lnTo>
                    <a:pt x="1271" y="571"/>
                  </a:lnTo>
                  <a:lnTo>
                    <a:pt x="1271" y="574"/>
                  </a:lnTo>
                  <a:lnTo>
                    <a:pt x="1271" y="574"/>
                  </a:lnTo>
                  <a:lnTo>
                    <a:pt x="1271" y="574"/>
                  </a:lnTo>
                  <a:lnTo>
                    <a:pt x="1269" y="576"/>
                  </a:lnTo>
                  <a:lnTo>
                    <a:pt x="1269" y="576"/>
                  </a:lnTo>
                  <a:lnTo>
                    <a:pt x="1269" y="576"/>
                  </a:lnTo>
                  <a:lnTo>
                    <a:pt x="1271" y="576"/>
                  </a:lnTo>
                  <a:lnTo>
                    <a:pt x="1269" y="578"/>
                  </a:lnTo>
                  <a:lnTo>
                    <a:pt x="1271" y="576"/>
                  </a:lnTo>
                  <a:lnTo>
                    <a:pt x="1271" y="578"/>
                  </a:lnTo>
                  <a:lnTo>
                    <a:pt x="1273" y="578"/>
                  </a:lnTo>
                  <a:lnTo>
                    <a:pt x="1271" y="578"/>
                  </a:lnTo>
                  <a:lnTo>
                    <a:pt x="1273" y="578"/>
                  </a:lnTo>
                  <a:lnTo>
                    <a:pt x="1276" y="581"/>
                  </a:lnTo>
                  <a:lnTo>
                    <a:pt x="1276" y="581"/>
                  </a:lnTo>
                  <a:lnTo>
                    <a:pt x="1278" y="581"/>
                  </a:lnTo>
                  <a:lnTo>
                    <a:pt x="1283" y="583"/>
                  </a:lnTo>
                  <a:lnTo>
                    <a:pt x="1283" y="583"/>
                  </a:lnTo>
                  <a:lnTo>
                    <a:pt x="1283" y="588"/>
                  </a:lnTo>
                  <a:lnTo>
                    <a:pt x="1283" y="590"/>
                  </a:lnTo>
                  <a:lnTo>
                    <a:pt x="1283" y="595"/>
                  </a:lnTo>
                  <a:lnTo>
                    <a:pt x="1285" y="595"/>
                  </a:lnTo>
                  <a:lnTo>
                    <a:pt x="1285" y="597"/>
                  </a:lnTo>
                  <a:lnTo>
                    <a:pt x="1285" y="597"/>
                  </a:lnTo>
                  <a:lnTo>
                    <a:pt x="1285" y="600"/>
                  </a:lnTo>
                  <a:lnTo>
                    <a:pt x="1285" y="600"/>
                  </a:lnTo>
                  <a:lnTo>
                    <a:pt x="1285" y="600"/>
                  </a:lnTo>
                  <a:lnTo>
                    <a:pt x="1285" y="602"/>
                  </a:lnTo>
                  <a:lnTo>
                    <a:pt x="1283" y="602"/>
                  </a:lnTo>
                  <a:lnTo>
                    <a:pt x="1283" y="602"/>
                  </a:lnTo>
                  <a:lnTo>
                    <a:pt x="1283" y="602"/>
                  </a:lnTo>
                  <a:lnTo>
                    <a:pt x="1280" y="602"/>
                  </a:lnTo>
                  <a:lnTo>
                    <a:pt x="1273" y="602"/>
                  </a:lnTo>
                  <a:lnTo>
                    <a:pt x="1269" y="602"/>
                  </a:lnTo>
                  <a:lnTo>
                    <a:pt x="1266" y="602"/>
                  </a:lnTo>
                  <a:lnTo>
                    <a:pt x="1264" y="602"/>
                  </a:lnTo>
                  <a:lnTo>
                    <a:pt x="1262" y="602"/>
                  </a:lnTo>
                  <a:lnTo>
                    <a:pt x="1259" y="600"/>
                  </a:lnTo>
                  <a:lnTo>
                    <a:pt x="1259" y="600"/>
                  </a:lnTo>
                  <a:lnTo>
                    <a:pt x="1259" y="600"/>
                  </a:lnTo>
                  <a:lnTo>
                    <a:pt x="1259" y="597"/>
                  </a:lnTo>
                  <a:lnTo>
                    <a:pt x="1257" y="597"/>
                  </a:lnTo>
                  <a:lnTo>
                    <a:pt x="1254" y="597"/>
                  </a:lnTo>
                  <a:lnTo>
                    <a:pt x="1254" y="597"/>
                  </a:lnTo>
                  <a:lnTo>
                    <a:pt x="1247" y="597"/>
                  </a:lnTo>
                  <a:lnTo>
                    <a:pt x="1245" y="600"/>
                  </a:lnTo>
                  <a:lnTo>
                    <a:pt x="1245" y="602"/>
                  </a:lnTo>
                  <a:lnTo>
                    <a:pt x="1245" y="604"/>
                  </a:lnTo>
                  <a:lnTo>
                    <a:pt x="1245" y="604"/>
                  </a:lnTo>
                  <a:lnTo>
                    <a:pt x="1245" y="604"/>
                  </a:lnTo>
                  <a:lnTo>
                    <a:pt x="1245" y="604"/>
                  </a:lnTo>
                  <a:lnTo>
                    <a:pt x="1247" y="604"/>
                  </a:lnTo>
                  <a:lnTo>
                    <a:pt x="1247" y="609"/>
                  </a:lnTo>
                  <a:lnTo>
                    <a:pt x="1250" y="607"/>
                  </a:lnTo>
                  <a:lnTo>
                    <a:pt x="1250" y="607"/>
                  </a:lnTo>
                  <a:lnTo>
                    <a:pt x="1250" y="604"/>
                  </a:lnTo>
                  <a:lnTo>
                    <a:pt x="1250" y="607"/>
                  </a:lnTo>
                  <a:lnTo>
                    <a:pt x="1252" y="607"/>
                  </a:lnTo>
                  <a:lnTo>
                    <a:pt x="1254" y="604"/>
                  </a:lnTo>
                  <a:lnTo>
                    <a:pt x="1254" y="607"/>
                  </a:lnTo>
                  <a:lnTo>
                    <a:pt x="1257" y="609"/>
                  </a:lnTo>
                  <a:lnTo>
                    <a:pt x="1257" y="609"/>
                  </a:lnTo>
                  <a:lnTo>
                    <a:pt x="1257" y="609"/>
                  </a:lnTo>
                  <a:lnTo>
                    <a:pt x="1257" y="609"/>
                  </a:lnTo>
                  <a:lnTo>
                    <a:pt x="1259" y="609"/>
                  </a:lnTo>
                  <a:lnTo>
                    <a:pt x="1259" y="611"/>
                  </a:lnTo>
                  <a:lnTo>
                    <a:pt x="1262" y="611"/>
                  </a:lnTo>
                  <a:lnTo>
                    <a:pt x="1262" y="614"/>
                  </a:lnTo>
                  <a:lnTo>
                    <a:pt x="1262" y="614"/>
                  </a:lnTo>
                  <a:lnTo>
                    <a:pt x="1264" y="614"/>
                  </a:lnTo>
                  <a:lnTo>
                    <a:pt x="1266" y="616"/>
                  </a:lnTo>
                  <a:lnTo>
                    <a:pt x="1266" y="616"/>
                  </a:lnTo>
                  <a:lnTo>
                    <a:pt x="1266" y="616"/>
                  </a:lnTo>
                  <a:lnTo>
                    <a:pt x="1266" y="618"/>
                  </a:lnTo>
                  <a:lnTo>
                    <a:pt x="1269" y="618"/>
                  </a:lnTo>
                  <a:lnTo>
                    <a:pt x="1269" y="618"/>
                  </a:lnTo>
                  <a:lnTo>
                    <a:pt x="1269" y="621"/>
                  </a:lnTo>
                  <a:lnTo>
                    <a:pt x="1269" y="621"/>
                  </a:lnTo>
                  <a:lnTo>
                    <a:pt x="1271" y="621"/>
                  </a:lnTo>
                  <a:lnTo>
                    <a:pt x="1271" y="621"/>
                  </a:lnTo>
                  <a:lnTo>
                    <a:pt x="1273" y="621"/>
                  </a:lnTo>
                  <a:lnTo>
                    <a:pt x="1273" y="621"/>
                  </a:lnTo>
                  <a:lnTo>
                    <a:pt x="1273" y="621"/>
                  </a:lnTo>
                  <a:lnTo>
                    <a:pt x="1273" y="621"/>
                  </a:lnTo>
                  <a:lnTo>
                    <a:pt x="1273" y="621"/>
                  </a:lnTo>
                  <a:lnTo>
                    <a:pt x="1269" y="623"/>
                  </a:lnTo>
                  <a:lnTo>
                    <a:pt x="1266" y="623"/>
                  </a:lnTo>
                  <a:lnTo>
                    <a:pt x="1266" y="626"/>
                  </a:lnTo>
                  <a:lnTo>
                    <a:pt x="1266" y="628"/>
                  </a:lnTo>
                  <a:lnTo>
                    <a:pt x="1269" y="628"/>
                  </a:lnTo>
                  <a:lnTo>
                    <a:pt x="1266" y="630"/>
                  </a:lnTo>
                  <a:lnTo>
                    <a:pt x="1269" y="630"/>
                  </a:lnTo>
                  <a:lnTo>
                    <a:pt x="1269" y="630"/>
                  </a:lnTo>
                  <a:lnTo>
                    <a:pt x="1269" y="633"/>
                  </a:lnTo>
                  <a:lnTo>
                    <a:pt x="1271" y="633"/>
                  </a:lnTo>
                  <a:lnTo>
                    <a:pt x="1273" y="635"/>
                  </a:lnTo>
                  <a:lnTo>
                    <a:pt x="1273" y="633"/>
                  </a:lnTo>
                  <a:lnTo>
                    <a:pt x="1273" y="633"/>
                  </a:lnTo>
                  <a:lnTo>
                    <a:pt x="1273" y="635"/>
                  </a:lnTo>
                  <a:lnTo>
                    <a:pt x="1276" y="635"/>
                  </a:lnTo>
                  <a:lnTo>
                    <a:pt x="1276" y="637"/>
                  </a:lnTo>
                  <a:lnTo>
                    <a:pt x="1276" y="637"/>
                  </a:lnTo>
                  <a:lnTo>
                    <a:pt x="1276" y="637"/>
                  </a:lnTo>
                  <a:lnTo>
                    <a:pt x="1278" y="637"/>
                  </a:lnTo>
                  <a:lnTo>
                    <a:pt x="1278" y="637"/>
                  </a:lnTo>
                  <a:lnTo>
                    <a:pt x="1278" y="640"/>
                  </a:lnTo>
                  <a:lnTo>
                    <a:pt x="1278" y="640"/>
                  </a:lnTo>
                  <a:lnTo>
                    <a:pt x="1280" y="640"/>
                  </a:lnTo>
                  <a:lnTo>
                    <a:pt x="1280" y="640"/>
                  </a:lnTo>
                  <a:lnTo>
                    <a:pt x="1280" y="642"/>
                  </a:lnTo>
                  <a:lnTo>
                    <a:pt x="1283" y="642"/>
                  </a:lnTo>
                  <a:lnTo>
                    <a:pt x="1283" y="644"/>
                  </a:lnTo>
                  <a:lnTo>
                    <a:pt x="1283" y="644"/>
                  </a:lnTo>
                  <a:lnTo>
                    <a:pt x="1283" y="647"/>
                  </a:lnTo>
                  <a:lnTo>
                    <a:pt x="1283" y="647"/>
                  </a:lnTo>
                  <a:lnTo>
                    <a:pt x="1285" y="647"/>
                  </a:lnTo>
                  <a:lnTo>
                    <a:pt x="1285" y="649"/>
                  </a:lnTo>
                  <a:lnTo>
                    <a:pt x="1285" y="649"/>
                  </a:lnTo>
                  <a:lnTo>
                    <a:pt x="1285" y="649"/>
                  </a:lnTo>
                  <a:lnTo>
                    <a:pt x="1285" y="649"/>
                  </a:lnTo>
                  <a:lnTo>
                    <a:pt x="1285" y="652"/>
                  </a:lnTo>
                  <a:lnTo>
                    <a:pt x="1285" y="654"/>
                  </a:lnTo>
                  <a:lnTo>
                    <a:pt x="1283" y="654"/>
                  </a:lnTo>
                  <a:lnTo>
                    <a:pt x="1283" y="654"/>
                  </a:lnTo>
                  <a:lnTo>
                    <a:pt x="1285" y="656"/>
                  </a:lnTo>
                  <a:lnTo>
                    <a:pt x="1283" y="656"/>
                  </a:lnTo>
                  <a:lnTo>
                    <a:pt x="1285" y="656"/>
                  </a:lnTo>
                  <a:lnTo>
                    <a:pt x="1285" y="656"/>
                  </a:lnTo>
                  <a:lnTo>
                    <a:pt x="1285" y="659"/>
                  </a:lnTo>
                  <a:lnTo>
                    <a:pt x="1285" y="659"/>
                  </a:lnTo>
                  <a:lnTo>
                    <a:pt x="1283" y="661"/>
                  </a:lnTo>
                  <a:lnTo>
                    <a:pt x="1283" y="661"/>
                  </a:lnTo>
                  <a:lnTo>
                    <a:pt x="1285" y="661"/>
                  </a:lnTo>
                  <a:lnTo>
                    <a:pt x="1285" y="663"/>
                  </a:lnTo>
                  <a:lnTo>
                    <a:pt x="1285" y="663"/>
                  </a:lnTo>
                  <a:lnTo>
                    <a:pt x="1285" y="663"/>
                  </a:lnTo>
                  <a:lnTo>
                    <a:pt x="1285" y="663"/>
                  </a:lnTo>
                  <a:lnTo>
                    <a:pt x="1288" y="663"/>
                  </a:lnTo>
                  <a:lnTo>
                    <a:pt x="1288" y="663"/>
                  </a:lnTo>
                  <a:lnTo>
                    <a:pt x="1288" y="666"/>
                  </a:lnTo>
                  <a:lnTo>
                    <a:pt x="1285" y="666"/>
                  </a:lnTo>
                  <a:lnTo>
                    <a:pt x="1285" y="666"/>
                  </a:lnTo>
                  <a:lnTo>
                    <a:pt x="1285" y="666"/>
                  </a:lnTo>
                  <a:lnTo>
                    <a:pt x="1283" y="668"/>
                  </a:lnTo>
                  <a:lnTo>
                    <a:pt x="1283" y="670"/>
                  </a:lnTo>
                  <a:lnTo>
                    <a:pt x="1285" y="673"/>
                  </a:lnTo>
                  <a:lnTo>
                    <a:pt x="1285" y="673"/>
                  </a:lnTo>
                  <a:lnTo>
                    <a:pt x="1285" y="673"/>
                  </a:lnTo>
                  <a:lnTo>
                    <a:pt x="1280" y="675"/>
                  </a:lnTo>
                  <a:lnTo>
                    <a:pt x="1280" y="678"/>
                  </a:lnTo>
                  <a:lnTo>
                    <a:pt x="1280" y="678"/>
                  </a:lnTo>
                  <a:lnTo>
                    <a:pt x="1280" y="680"/>
                  </a:lnTo>
                  <a:lnTo>
                    <a:pt x="1280" y="680"/>
                  </a:lnTo>
                  <a:lnTo>
                    <a:pt x="1280" y="682"/>
                  </a:lnTo>
                  <a:lnTo>
                    <a:pt x="1280" y="682"/>
                  </a:lnTo>
                  <a:lnTo>
                    <a:pt x="1283" y="685"/>
                  </a:lnTo>
                  <a:lnTo>
                    <a:pt x="1283" y="685"/>
                  </a:lnTo>
                  <a:lnTo>
                    <a:pt x="1283" y="685"/>
                  </a:lnTo>
                  <a:lnTo>
                    <a:pt x="1278" y="689"/>
                  </a:lnTo>
                  <a:lnTo>
                    <a:pt x="1278" y="689"/>
                  </a:lnTo>
                  <a:lnTo>
                    <a:pt x="1276" y="689"/>
                  </a:lnTo>
                  <a:lnTo>
                    <a:pt x="1273" y="689"/>
                  </a:lnTo>
                  <a:lnTo>
                    <a:pt x="1269" y="687"/>
                  </a:lnTo>
                  <a:lnTo>
                    <a:pt x="1269" y="689"/>
                  </a:lnTo>
                  <a:lnTo>
                    <a:pt x="1271" y="692"/>
                  </a:lnTo>
                  <a:lnTo>
                    <a:pt x="1269" y="694"/>
                  </a:lnTo>
                  <a:lnTo>
                    <a:pt x="1271" y="696"/>
                  </a:lnTo>
                  <a:lnTo>
                    <a:pt x="1271" y="696"/>
                  </a:lnTo>
                  <a:lnTo>
                    <a:pt x="1271" y="699"/>
                  </a:lnTo>
                  <a:lnTo>
                    <a:pt x="1269" y="699"/>
                  </a:lnTo>
                  <a:lnTo>
                    <a:pt x="1269" y="701"/>
                  </a:lnTo>
                  <a:lnTo>
                    <a:pt x="1266" y="701"/>
                  </a:lnTo>
                  <a:lnTo>
                    <a:pt x="1266" y="701"/>
                  </a:lnTo>
                  <a:lnTo>
                    <a:pt x="1266" y="701"/>
                  </a:lnTo>
                  <a:lnTo>
                    <a:pt x="1264" y="701"/>
                  </a:lnTo>
                  <a:lnTo>
                    <a:pt x="1264" y="703"/>
                  </a:lnTo>
                  <a:lnTo>
                    <a:pt x="1264" y="703"/>
                  </a:lnTo>
                  <a:lnTo>
                    <a:pt x="1262" y="706"/>
                  </a:lnTo>
                  <a:lnTo>
                    <a:pt x="1262" y="708"/>
                  </a:lnTo>
                  <a:lnTo>
                    <a:pt x="1259" y="708"/>
                  </a:lnTo>
                  <a:lnTo>
                    <a:pt x="1259" y="708"/>
                  </a:lnTo>
                  <a:lnTo>
                    <a:pt x="1259" y="711"/>
                  </a:lnTo>
                  <a:lnTo>
                    <a:pt x="1257" y="711"/>
                  </a:lnTo>
                  <a:lnTo>
                    <a:pt x="1254" y="711"/>
                  </a:lnTo>
                  <a:lnTo>
                    <a:pt x="1254" y="711"/>
                  </a:lnTo>
                  <a:lnTo>
                    <a:pt x="1254" y="713"/>
                  </a:lnTo>
                  <a:lnTo>
                    <a:pt x="1254" y="715"/>
                  </a:lnTo>
                  <a:lnTo>
                    <a:pt x="1254" y="715"/>
                  </a:lnTo>
                  <a:lnTo>
                    <a:pt x="1254" y="718"/>
                  </a:lnTo>
                  <a:lnTo>
                    <a:pt x="1254" y="718"/>
                  </a:lnTo>
                  <a:lnTo>
                    <a:pt x="1252" y="720"/>
                  </a:lnTo>
                  <a:lnTo>
                    <a:pt x="1254" y="720"/>
                  </a:lnTo>
                  <a:lnTo>
                    <a:pt x="1252" y="722"/>
                  </a:lnTo>
                  <a:lnTo>
                    <a:pt x="1252" y="722"/>
                  </a:lnTo>
                  <a:lnTo>
                    <a:pt x="1254" y="725"/>
                  </a:lnTo>
                  <a:lnTo>
                    <a:pt x="1254" y="727"/>
                  </a:lnTo>
                  <a:lnTo>
                    <a:pt x="1254" y="727"/>
                  </a:lnTo>
                  <a:lnTo>
                    <a:pt x="1254" y="727"/>
                  </a:lnTo>
                  <a:lnTo>
                    <a:pt x="1254" y="727"/>
                  </a:lnTo>
                  <a:lnTo>
                    <a:pt x="1254" y="729"/>
                  </a:lnTo>
                  <a:lnTo>
                    <a:pt x="1254" y="732"/>
                  </a:lnTo>
                  <a:lnTo>
                    <a:pt x="1252" y="732"/>
                  </a:lnTo>
                  <a:lnTo>
                    <a:pt x="1254" y="734"/>
                  </a:lnTo>
                  <a:lnTo>
                    <a:pt x="1254" y="734"/>
                  </a:lnTo>
                  <a:lnTo>
                    <a:pt x="1252" y="734"/>
                  </a:lnTo>
                  <a:lnTo>
                    <a:pt x="1252" y="739"/>
                  </a:lnTo>
                  <a:lnTo>
                    <a:pt x="1252" y="741"/>
                  </a:lnTo>
                  <a:lnTo>
                    <a:pt x="1250" y="741"/>
                  </a:lnTo>
                  <a:lnTo>
                    <a:pt x="1250" y="741"/>
                  </a:lnTo>
                  <a:lnTo>
                    <a:pt x="1247" y="741"/>
                  </a:lnTo>
                  <a:lnTo>
                    <a:pt x="1247" y="744"/>
                  </a:lnTo>
                  <a:lnTo>
                    <a:pt x="1245" y="746"/>
                  </a:lnTo>
                  <a:lnTo>
                    <a:pt x="1243" y="746"/>
                  </a:lnTo>
                  <a:lnTo>
                    <a:pt x="1243" y="746"/>
                  </a:lnTo>
                  <a:lnTo>
                    <a:pt x="1240" y="746"/>
                  </a:lnTo>
                  <a:lnTo>
                    <a:pt x="1238" y="746"/>
                  </a:lnTo>
                  <a:lnTo>
                    <a:pt x="1238" y="748"/>
                  </a:lnTo>
                  <a:lnTo>
                    <a:pt x="1236" y="751"/>
                  </a:lnTo>
                  <a:lnTo>
                    <a:pt x="1236" y="751"/>
                  </a:lnTo>
                  <a:lnTo>
                    <a:pt x="1236" y="753"/>
                  </a:lnTo>
                  <a:lnTo>
                    <a:pt x="1236" y="755"/>
                  </a:lnTo>
                  <a:lnTo>
                    <a:pt x="1238" y="755"/>
                  </a:lnTo>
                  <a:lnTo>
                    <a:pt x="1236" y="758"/>
                  </a:lnTo>
                  <a:lnTo>
                    <a:pt x="1236" y="760"/>
                  </a:lnTo>
                  <a:lnTo>
                    <a:pt x="1233" y="760"/>
                  </a:lnTo>
                  <a:lnTo>
                    <a:pt x="1233" y="763"/>
                  </a:lnTo>
                  <a:lnTo>
                    <a:pt x="1233" y="763"/>
                  </a:lnTo>
                  <a:lnTo>
                    <a:pt x="1233" y="765"/>
                  </a:lnTo>
                  <a:lnTo>
                    <a:pt x="1231" y="767"/>
                  </a:lnTo>
                  <a:lnTo>
                    <a:pt x="1231" y="767"/>
                  </a:lnTo>
                  <a:lnTo>
                    <a:pt x="1231" y="770"/>
                  </a:lnTo>
                  <a:lnTo>
                    <a:pt x="1231" y="770"/>
                  </a:lnTo>
                  <a:lnTo>
                    <a:pt x="1231" y="772"/>
                  </a:lnTo>
                  <a:lnTo>
                    <a:pt x="1231" y="772"/>
                  </a:lnTo>
                  <a:lnTo>
                    <a:pt x="1231" y="774"/>
                  </a:lnTo>
                  <a:lnTo>
                    <a:pt x="1228" y="774"/>
                  </a:lnTo>
                  <a:lnTo>
                    <a:pt x="1228" y="777"/>
                  </a:lnTo>
                  <a:lnTo>
                    <a:pt x="1228" y="777"/>
                  </a:lnTo>
                  <a:lnTo>
                    <a:pt x="1228" y="779"/>
                  </a:lnTo>
                  <a:lnTo>
                    <a:pt x="1224" y="781"/>
                  </a:lnTo>
                  <a:lnTo>
                    <a:pt x="1224" y="779"/>
                  </a:lnTo>
                  <a:lnTo>
                    <a:pt x="1224" y="781"/>
                  </a:lnTo>
                  <a:lnTo>
                    <a:pt x="1224" y="781"/>
                  </a:lnTo>
                  <a:lnTo>
                    <a:pt x="1219" y="781"/>
                  </a:lnTo>
                  <a:lnTo>
                    <a:pt x="1191" y="781"/>
                  </a:lnTo>
                  <a:lnTo>
                    <a:pt x="1179" y="781"/>
                  </a:lnTo>
                  <a:lnTo>
                    <a:pt x="1179" y="784"/>
                  </a:lnTo>
                  <a:lnTo>
                    <a:pt x="1179" y="784"/>
                  </a:lnTo>
                  <a:lnTo>
                    <a:pt x="1179" y="784"/>
                  </a:lnTo>
                  <a:lnTo>
                    <a:pt x="1179" y="789"/>
                  </a:lnTo>
                  <a:lnTo>
                    <a:pt x="1176" y="789"/>
                  </a:lnTo>
                  <a:lnTo>
                    <a:pt x="1176" y="791"/>
                  </a:lnTo>
                  <a:lnTo>
                    <a:pt x="1176" y="793"/>
                  </a:lnTo>
                  <a:lnTo>
                    <a:pt x="1176" y="793"/>
                  </a:lnTo>
                  <a:lnTo>
                    <a:pt x="1174" y="793"/>
                  </a:lnTo>
                  <a:lnTo>
                    <a:pt x="1174" y="793"/>
                  </a:lnTo>
                  <a:lnTo>
                    <a:pt x="1174" y="796"/>
                  </a:lnTo>
                  <a:lnTo>
                    <a:pt x="1172" y="796"/>
                  </a:lnTo>
                  <a:lnTo>
                    <a:pt x="1172" y="796"/>
                  </a:lnTo>
                  <a:lnTo>
                    <a:pt x="1169" y="798"/>
                  </a:lnTo>
                  <a:lnTo>
                    <a:pt x="1169" y="798"/>
                  </a:lnTo>
                  <a:lnTo>
                    <a:pt x="1167" y="798"/>
                  </a:lnTo>
                  <a:lnTo>
                    <a:pt x="1169" y="798"/>
                  </a:lnTo>
                  <a:lnTo>
                    <a:pt x="1167" y="800"/>
                  </a:lnTo>
                  <a:lnTo>
                    <a:pt x="1167" y="800"/>
                  </a:lnTo>
                  <a:lnTo>
                    <a:pt x="1167" y="803"/>
                  </a:lnTo>
                  <a:lnTo>
                    <a:pt x="1167" y="803"/>
                  </a:lnTo>
                  <a:lnTo>
                    <a:pt x="1167" y="805"/>
                  </a:lnTo>
                  <a:lnTo>
                    <a:pt x="1169" y="807"/>
                  </a:lnTo>
                  <a:lnTo>
                    <a:pt x="1174" y="810"/>
                  </a:lnTo>
                  <a:lnTo>
                    <a:pt x="1174" y="812"/>
                  </a:lnTo>
                  <a:lnTo>
                    <a:pt x="1174" y="812"/>
                  </a:lnTo>
                  <a:lnTo>
                    <a:pt x="1174" y="817"/>
                  </a:lnTo>
                  <a:lnTo>
                    <a:pt x="1174" y="819"/>
                  </a:lnTo>
                  <a:lnTo>
                    <a:pt x="1174" y="822"/>
                  </a:lnTo>
                  <a:lnTo>
                    <a:pt x="1172" y="822"/>
                  </a:lnTo>
                  <a:lnTo>
                    <a:pt x="1174" y="824"/>
                  </a:lnTo>
                  <a:lnTo>
                    <a:pt x="1174" y="826"/>
                  </a:lnTo>
                  <a:lnTo>
                    <a:pt x="1174" y="826"/>
                  </a:lnTo>
                  <a:lnTo>
                    <a:pt x="1172" y="826"/>
                  </a:lnTo>
                  <a:lnTo>
                    <a:pt x="1172" y="829"/>
                  </a:lnTo>
                  <a:lnTo>
                    <a:pt x="1172" y="829"/>
                  </a:lnTo>
                  <a:lnTo>
                    <a:pt x="1169" y="831"/>
                  </a:lnTo>
                  <a:lnTo>
                    <a:pt x="1169" y="833"/>
                  </a:lnTo>
                  <a:lnTo>
                    <a:pt x="1167" y="833"/>
                  </a:lnTo>
                  <a:lnTo>
                    <a:pt x="1167" y="833"/>
                  </a:lnTo>
                  <a:lnTo>
                    <a:pt x="1167" y="836"/>
                  </a:lnTo>
                  <a:lnTo>
                    <a:pt x="1167" y="836"/>
                  </a:lnTo>
                  <a:lnTo>
                    <a:pt x="1172" y="836"/>
                  </a:lnTo>
                  <a:lnTo>
                    <a:pt x="1172" y="836"/>
                  </a:lnTo>
                  <a:lnTo>
                    <a:pt x="1172" y="838"/>
                  </a:lnTo>
                  <a:lnTo>
                    <a:pt x="1172" y="838"/>
                  </a:lnTo>
                  <a:lnTo>
                    <a:pt x="1172" y="838"/>
                  </a:lnTo>
                  <a:lnTo>
                    <a:pt x="1174" y="838"/>
                  </a:lnTo>
                  <a:lnTo>
                    <a:pt x="1172" y="840"/>
                  </a:lnTo>
                  <a:lnTo>
                    <a:pt x="1172" y="840"/>
                  </a:lnTo>
                  <a:lnTo>
                    <a:pt x="1172" y="840"/>
                  </a:lnTo>
                  <a:lnTo>
                    <a:pt x="1172" y="840"/>
                  </a:lnTo>
                  <a:lnTo>
                    <a:pt x="1169" y="843"/>
                  </a:lnTo>
                  <a:lnTo>
                    <a:pt x="1169" y="843"/>
                  </a:lnTo>
                  <a:lnTo>
                    <a:pt x="1167" y="845"/>
                  </a:lnTo>
                  <a:lnTo>
                    <a:pt x="1167" y="845"/>
                  </a:lnTo>
                  <a:lnTo>
                    <a:pt x="1167" y="848"/>
                  </a:lnTo>
                  <a:lnTo>
                    <a:pt x="1167" y="848"/>
                  </a:lnTo>
                  <a:lnTo>
                    <a:pt x="1167" y="848"/>
                  </a:lnTo>
                  <a:lnTo>
                    <a:pt x="1167" y="850"/>
                  </a:lnTo>
                  <a:lnTo>
                    <a:pt x="1165" y="850"/>
                  </a:lnTo>
                  <a:lnTo>
                    <a:pt x="1167" y="850"/>
                  </a:lnTo>
                  <a:lnTo>
                    <a:pt x="1167" y="852"/>
                  </a:lnTo>
                  <a:lnTo>
                    <a:pt x="1167" y="852"/>
                  </a:lnTo>
                  <a:lnTo>
                    <a:pt x="1167" y="852"/>
                  </a:lnTo>
                  <a:lnTo>
                    <a:pt x="1165" y="852"/>
                  </a:lnTo>
                  <a:lnTo>
                    <a:pt x="1165" y="852"/>
                  </a:lnTo>
                  <a:lnTo>
                    <a:pt x="1165" y="855"/>
                  </a:lnTo>
                  <a:lnTo>
                    <a:pt x="1165" y="855"/>
                  </a:lnTo>
                  <a:lnTo>
                    <a:pt x="1165" y="857"/>
                  </a:lnTo>
                  <a:lnTo>
                    <a:pt x="1165" y="857"/>
                  </a:lnTo>
                  <a:lnTo>
                    <a:pt x="1165" y="857"/>
                  </a:lnTo>
                  <a:lnTo>
                    <a:pt x="1162" y="857"/>
                  </a:lnTo>
                  <a:lnTo>
                    <a:pt x="1162" y="859"/>
                  </a:lnTo>
                  <a:lnTo>
                    <a:pt x="1160" y="859"/>
                  </a:lnTo>
                  <a:lnTo>
                    <a:pt x="1160" y="859"/>
                  </a:lnTo>
                  <a:lnTo>
                    <a:pt x="1158" y="859"/>
                  </a:lnTo>
                  <a:lnTo>
                    <a:pt x="1158" y="859"/>
                  </a:lnTo>
                  <a:lnTo>
                    <a:pt x="1158" y="862"/>
                  </a:lnTo>
                  <a:lnTo>
                    <a:pt x="1158" y="864"/>
                  </a:lnTo>
                  <a:lnTo>
                    <a:pt x="1158" y="866"/>
                  </a:lnTo>
                  <a:lnTo>
                    <a:pt x="1158" y="866"/>
                  </a:lnTo>
                  <a:lnTo>
                    <a:pt x="1155" y="866"/>
                  </a:lnTo>
                  <a:lnTo>
                    <a:pt x="1155" y="869"/>
                  </a:lnTo>
                  <a:lnTo>
                    <a:pt x="1155" y="869"/>
                  </a:lnTo>
                  <a:lnTo>
                    <a:pt x="1153" y="869"/>
                  </a:lnTo>
                  <a:lnTo>
                    <a:pt x="1153" y="871"/>
                  </a:lnTo>
                  <a:lnTo>
                    <a:pt x="1153" y="871"/>
                  </a:lnTo>
                  <a:lnTo>
                    <a:pt x="1153" y="874"/>
                  </a:lnTo>
                  <a:lnTo>
                    <a:pt x="1153" y="876"/>
                  </a:lnTo>
                  <a:lnTo>
                    <a:pt x="1153" y="874"/>
                  </a:lnTo>
                  <a:lnTo>
                    <a:pt x="1150" y="876"/>
                  </a:lnTo>
                  <a:lnTo>
                    <a:pt x="1150" y="876"/>
                  </a:lnTo>
                  <a:lnTo>
                    <a:pt x="1148" y="876"/>
                  </a:lnTo>
                  <a:lnTo>
                    <a:pt x="1148" y="876"/>
                  </a:lnTo>
                  <a:lnTo>
                    <a:pt x="1146" y="876"/>
                  </a:lnTo>
                  <a:lnTo>
                    <a:pt x="1143" y="876"/>
                  </a:lnTo>
                  <a:lnTo>
                    <a:pt x="1143" y="876"/>
                  </a:lnTo>
                  <a:lnTo>
                    <a:pt x="1141" y="878"/>
                  </a:lnTo>
                  <a:lnTo>
                    <a:pt x="1139" y="878"/>
                  </a:lnTo>
                  <a:lnTo>
                    <a:pt x="1136" y="876"/>
                  </a:lnTo>
                  <a:lnTo>
                    <a:pt x="1136" y="878"/>
                  </a:lnTo>
                  <a:lnTo>
                    <a:pt x="1134" y="878"/>
                  </a:lnTo>
                  <a:lnTo>
                    <a:pt x="1134" y="881"/>
                  </a:lnTo>
                  <a:lnTo>
                    <a:pt x="1134" y="881"/>
                  </a:lnTo>
                  <a:lnTo>
                    <a:pt x="1132" y="878"/>
                  </a:lnTo>
                  <a:lnTo>
                    <a:pt x="1132" y="881"/>
                  </a:lnTo>
                  <a:lnTo>
                    <a:pt x="1129" y="881"/>
                  </a:lnTo>
                  <a:lnTo>
                    <a:pt x="1129" y="883"/>
                  </a:lnTo>
                  <a:lnTo>
                    <a:pt x="1132" y="883"/>
                  </a:lnTo>
                  <a:lnTo>
                    <a:pt x="1132" y="885"/>
                  </a:lnTo>
                  <a:lnTo>
                    <a:pt x="1132" y="885"/>
                  </a:lnTo>
                  <a:lnTo>
                    <a:pt x="1134" y="885"/>
                  </a:lnTo>
                  <a:lnTo>
                    <a:pt x="1134" y="888"/>
                  </a:lnTo>
                  <a:lnTo>
                    <a:pt x="1136" y="888"/>
                  </a:lnTo>
                  <a:lnTo>
                    <a:pt x="1136" y="888"/>
                  </a:lnTo>
                  <a:lnTo>
                    <a:pt x="1139" y="888"/>
                  </a:lnTo>
                  <a:lnTo>
                    <a:pt x="1139" y="890"/>
                  </a:lnTo>
                  <a:lnTo>
                    <a:pt x="1139" y="890"/>
                  </a:lnTo>
                  <a:lnTo>
                    <a:pt x="1136" y="890"/>
                  </a:lnTo>
                  <a:lnTo>
                    <a:pt x="1136" y="890"/>
                  </a:lnTo>
                  <a:lnTo>
                    <a:pt x="1136" y="890"/>
                  </a:lnTo>
                  <a:lnTo>
                    <a:pt x="1136" y="890"/>
                  </a:lnTo>
                  <a:lnTo>
                    <a:pt x="1136" y="892"/>
                  </a:lnTo>
                  <a:lnTo>
                    <a:pt x="1134" y="895"/>
                  </a:lnTo>
                  <a:lnTo>
                    <a:pt x="1134" y="895"/>
                  </a:lnTo>
                  <a:lnTo>
                    <a:pt x="1132" y="895"/>
                  </a:lnTo>
                  <a:lnTo>
                    <a:pt x="1132" y="897"/>
                  </a:lnTo>
                  <a:lnTo>
                    <a:pt x="1132" y="897"/>
                  </a:lnTo>
                  <a:lnTo>
                    <a:pt x="1132" y="900"/>
                  </a:lnTo>
                  <a:lnTo>
                    <a:pt x="1127" y="900"/>
                  </a:lnTo>
                  <a:lnTo>
                    <a:pt x="1127" y="902"/>
                  </a:lnTo>
                  <a:lnTo>
                    <a:pt x="1127" y="902"/>
                  </a:lnTo>
                  <a:lnTo>
                    <a:pt x="1127" y="902"/>
                  </a:lnTo>
                  <a:lnTo>
                    <a:pt x="1127" y="904"/>
                  </a:lnTo>
                  <a:lnTo>
                    <a:pt x="1125" y="904"/>
                  </a:lnTo>
                  <a:lnTo>
                    <a:pt x="1125" y="907"/>
                  </a:lnTo>
                  <a:lnTo>
                    <a:pt x="1125" y="907"/>
                  </a:lnTo>
                  <a:lnTo>
                    <a:pt x="1122" y="907"/>
                  </a:lnTo>
                  <a:lnTo>
                    <a:pt x="1122" y="909"/>
                  </a:lnTo>
                  <a:lnTo>
                    <a:pt x="1122" y="909"/>
                  </a:lnTo>
                  <a:lnTo>
                    <a:pt x="1125" y="911"/>
                  </a:lnTo>
                  <a:lnTo>
                    <a:pt x="1122" y="914"/>
                  </a:lnTo>
                  <a:lnTo>
                    <a:pt x="1122" y="914"/>
                  </a:lnTo>
                  <a:lnTo>
                    <a:pt x="1125" y="916"/>
                  </a:lnTo>
                  <a:lnTo>
                    <a:pt x="1125" y="914"/>
                  </a:lnTo>
                  <a:lnTo>
                    <a:pt x="1125" y="916"/>
                  </a:lnTo>
                  <a:lnTo>
                    <a:pt x="1125" y="916"/>
                  </a:lnTo>
                  <a:lnTo>
                    <a:pt x="1125" y="918"/>
                  </a:lnTo>
                  <a:lnTo>
                    <a:pt x="1125" y="918"/>
                  </a:lnTo>
                  <a:lnTo>
                    <a:pt x="1122" y="921"/>
                  </a:lnTo>
                  <a:lnTo>
                    <a:pt x="1122" y="921"/>
                  </a:lnTo>
                  <a:lnTo>
                    <a:pt x="1120" y="921"/>
                  </a:lnTo>
                  <a:lnTo>
                    <a:pt x="1120" y="923"/>
                  </a:lnTo>
                  <a:lnTo>
                    <a:pt x="1120" y="926"/>
                  </a:lnTo>
                  <a:lnTo>
                    <a:pt x="1120" y="928"/>
                  </a:lnTo>
                  <a:lnTo>
                    <a:pt x="1120" y="928"/>
                  </a:lnTo>
                  <a:lnTo>
                    <a:pt x="1120" y="928"/>
                  </a:lnTo>
                  <a:lnTo>
                    <a:pt x="1120" y="930"/>
                  </a:lnTo>
                  <a:lnTo>
                    <a:pt x="1120" y="930"/>
                  </a:lnTo>
                  <a:lnTo>
                    <a:pt x="1120" y="930"/>
                  </a:lnTo>
                  <a:lnTo>
                    <a:pt x="1120" y="933"/>
                  </a:lnTo>
                  <a:lnTo>
                    <a:pt x="1120" y="933"/>
                  </a:lnTo>
                  <a:lnTo>
                    <a:pt x="1117" y="935"/>
                  </a:lnTo>
                  <a:lnTo>
                    <a:pt x="1117" y="935"/>
                  </a:lnTo>
                  <a:lnTo>
                    <a:pt x="1117" y="935"/>
                  </a:lnTo>
                  <a:lnTo>
                    <a:pt x="1117" y="935"/>
                  </a:lnTo>
                  <a:lnTo>
                    <a:pt x="1120" y="937"/>
                  </a:lnTo>
                  <a:lnTo>
                    <a:pt x="1117" y="937"/>
                  </a:lnTo>
                  <a:lnTo>
                    <a:pt x="1117" y="940"/>
                  </a:lnTo>
                  <a:lnTo>
                    <a:pt x="1115" y="940"/>
                  </a:lnTo>
                  <a:lnTo>
                    <a:pt x="1115" y="937"/>
                  </a:lnTo>
                  <a:lnTo>
                    <a:pt x="1113" y="940"/>
                  </a:lnTo>
                  <a:lnTo>
                    <a:pt x="1113" y="942"/>
                  </a:lnTo>
                  <a:lnTo>
                    <a:pt x="1113" y="942"/>
                  </a:lnTo>
                  <a:lnTo>
                    <a:pt x="1113" y="942"/>
                  </a:lnTo>
                  <a:lnTo>
                    <a:pt x="1113" y="944"/>
                  </a:lnTo>
                  <a:lnTo>
                    <a:pt x="1113" y="944"/>
                  </a:lnTo>
                  <a:lnTo>
                    <a:pt x="1115" y="947"/>
                  </a:lnTo>
                  <a:lnTo>
                    <a:pt x="1115" y="947"/>
                  </a:lnTo>
                  <a:lnTo>
                    <a:pt x="1117" y="949"/>
                  </a:lnTo>
                  <a:lnTo>
                    <a:pt x="1115" y="952"/>
                  </a:lnTo>
                  <a:lnTo>
                    <a:pt x="1113" y="952"/>
                  </a:lnTo>
                  <a:lnTo>
                    <a:pt x="1113" y="954"/>
                  </a:lnTo>
                  <a:lnTo>
                    <a:pt x="1110" y="954"/>
                  </a:lnTo>
                  <a:lnTo>
                    <a:pt x="1110" y="954"/>
                  </a:lnTo>
                  <a:lnTo>
                    <a:pt x="1110" y="956"/>
                  </a:lnTo>
                  <a:lnTo>
                    <a:pt x="1110" y="956"/>
                  </a:lnTo>
                  <a:lnTo>
                    <a:pt x="1110" y="959"/>
                  </a:lnTo>
                  <a:lnTo>
                    <a:pt x="1108" y="959"/>
                  </a:lnTo>
                  <a:lnTo>
                    <a:pt x="1108" y="959"/>
                  </a:lnTo>
                  <a:lnTo>
                    <a:pt x="1108" y="961"/>
                  </a:lnTo>
                  <a:lnTo>
                    <a:pt x="1106" y="961"/>
                  </a:lnTo>
                  <a:lnTo>
                    <a:pt x="1103" y="963"/>
                  </a:lnTo>
                  <a:lnTo>
                    <a:pt x="1101" y="966"/>
                  </a:lnTo>
                  <a:lnTo>
                    <a:pt x="1103" y="968"/>
                  </a:lnTo>
                  <a:lnTo>
                    <a:pt x="1103" y="968"/>
                  </a:lnTo>
                  <a:lnTo>
                    <a:pt x="1101" y="968"/>
                  </a:lnTo>
                  <a:lnTo>
                    <a:pt x="1103" y="970"/>
                  </a:lnTo>
                  <a:lnTo>
                    <a:pt x="1103" y="970"/>
                  </a:lnTo>
                  <a:lnTo>
                    <a:pt x="1106" y="970"/>
                  </a:lnTo>
                  <a:lnTo>
                    <a:pt x="1106" y="970"/>
                  </a:lnTo>
                  <a:lnTo>
                    <a:pt x="1106" y="973"/>
                  </a:lnTo>
                  <a:lnTo>
                    <a:pt x="1108" y="973"/>
                  </a:lnTo>
                  <a:lnTo>
                    <a:pt x="1108" y="970"/>
                  </a:lnTo>
                  <a:lnTo>
                    <a:pt x="1108" y="970"/>
                  </a:lnTo>
                  <a:lnTo>
                    <a:pt x="1110" y="970"/>
                  </a:lnTo>
                  <a:lnTo>
                    <a:pt x="1110" y="970"/>
                  </a:lnTo>
                  <a:lnTo>
                    <a:pt x="1113" y="973"/>
                  </a:lnTo>
                  <a:lnTo>
                    <a:pt x="1113" y="973"/>
                  </a:lnTo>
                  <a:lnTo>
                    <a:pt x="1113" y="973"/>
                  </a:lnTo>
                  <a:lnTo>
                    <a:pt x="1113" y="975"/>
                  </a:lnTo>
                  <a:lnTo>
                    <a:pt x="1113" y="973"/>
                  </a:lnTo>
                  <a:lnTo>
                    <a:pt x="1115" y="975"/>
                  </a:lnTo>
                  <a:lnTo>
                    <a:pt x="1115" y="978"/>
                  </a:lnTo>
                  <a:lnTo>
                    <a:pt x="1115" y="978"/>
                  </a:lnTo>
                  <a:lnTo>
                    <a:pt x="1115" y="978"/>
                  </a:lnTo>
                  <a:lnTo>
                    <a:pt x="1115" y="980"/>
                  </a:lnTo>
                  <a:lnTo>
                    <a:pt x="1110" y="980"/>
                  </a:lnTo>
                  <a:lnTo>
                    <a:pt x="1110" y="982"/>
                  </a:lnTo>
                  <a:lnTo>
                    <a:pt x="1106" y="982"/>
                  </a:lnTo>
                  <a:lnTo>
                    <a:pt x="1103" y="982"/>
                  </a:lnTo>
                  <a:lnTo>
                    <a:pt x="1101" y="982"/>
                  </a:lnTo>
                  <a:lnTo>
                    <a:pt x="1101" y="982"/>
                  </a:lnTo>
                  <a:lnTo>
                    <a:pt x="1099" y="985"/>
                  </a:lnTo>
                  <a:lnTo>
                    <a:pt x="1091" y="987"/>
                  </a:lnTo>
                  <a:lnTo>
                    <a:pt x="1089" y="989"/>
                  </a:lnTo>
                  <a:lnTo>
                    <a:pt x="1082" y="992"/>
                  </a:lnTo>
                  <a:lnTo>
                    <a:pt x="1075" y="994"/>
                  </a:lnTo>
                  <a:lnTo>
                    <a:pt x="1075" y="996"/>
                  </a:lnTo>
                  <a:lnTo>
                    <a:pt x="1073" y="996"/>
                  </a:lnTo>
                  <a:lnTo>
                    <a:pt x="1073" y="996"/>
                  </a:lnTo>
                  <a:lnTo>
                    <a:pt x="1073" y="996"/>
                  </a:lnTo>
                  <a:lnTo>
                    <a:pt x="1070" y="999"/>
                  </a:lnTo>
                  <a:lnTo>
                    <a:pt x="1065" y="999"/>
                  </a:lnTo>
                  <a:lnTo>
                    <a:pt x="1063" y="999"/>
                  </a:lnTo>
                  <a:lnTo>
                    <a:pt x="1063" y="1001"/>
                  </a:lnTo>
                  <a:lnTo>
                    <a:pt x="1058" y="1003"/>
                  </a:lnTo>
                  <a:lnTo>
                    <a:pt x="1054" y="1006"/>
                  </a:lnTo>
                  <a:lnTo>
                    <a:pt x="1051" y="1006"/>
                  </a:lnTo>
                  <a:lnTo>
                    <a:pt x="1049" y="1008"/>
                  </a:lnTo>
                  <a:lnTo>
                    <a:pt x="1042" y="1008"/>
                  </a:lnTo>
                  <a:lnTo>
                    <a:pt x="1037" y="1011"/>
                  </a:lnTo>
                  <a:lnTo>
                    <a:pt x="1037" y="1013"/>
                  </a:lnTo>
                  <a:lnTo>
                    <a:pt x="1035" y="1015"/>
                  </a:lnTo>
                  <a:lnTo>
                    <a:pt x="1028" y="1018"/>
                  </a:lnTo>
                  <a:lnTo>
                    <a:pt x="1028" y="1018"/>
                  </a:lnTo>
                  <a:lnTo>
                    <a:pt x="1025" y="1018"/>
                  </a:lnTo>
                  <a:lnTo>
                    <a:pt x="1023" y="1020"/>
                  </a:lnTo>
                  <a:lnTo>
                    <a:pt x="1021" y="1020"/>
                  </a:lnTo>
                  <a:lnTo>
                    <a:pt x="1018" y="1022"/>
                  </a:lnTo>
                  <a:lnTo>
                    <a:pt x="1018" y="1022"/>
                  </a:lnTo>
                  <a:lnTo>
                    <a:pt x="1018" y="1022"/>
                  </a:lnTo>
                  <a:lnTo>
                    <a:pt x="1018" y="1025"/>
                  </a:lnTo>
                  <a:lnTo>
                    <a:pt x="1018" y="1025"/>
                  </a:lnTo>
                  <a:lnTo>
                    <a:pt x="1016" y="1027"/>
                  </a:lnTo>
                  <a:lnTo>
                    <a:pt x="1011" y="1027"/>
                  </a:lnTo>
                  <a:lnTo>
                    <a:pt x="1011" y="1027"/>
                  </a:lnTo>
                  <a:lnTo>
                    <a:pt x="1011" y="1027"/>
                  </a:lnTo>
                  <a:lnTo>
                    <a:pt x="1009" y="1027"/>
                  </a:lnTo>
                  <a:lnTo>
                    <a:pt x="1006" y="1027"/>
                  </a:lnTo>
                  <a:lnTo>
                    <a:pt x="1006" y="1029"/>
                  </a:lnTo>
                  <a:lnTo>
                    <a:pt x="1004" y="1032"/>
                  </a:lnTo>
                  <a:lnTo>
                    <a:pt x="1004" y="1029"/>
                  </a:lnTo>
                  <a:lnTo>
                    <a:pt x="1002" y="1027"/>
                  </a:lnTo>
                  <a:lnTo>
                    <a:pt x="1002" y="1025"/>
                  </a:lnTo>
                  <a:lnTo>
                    <a:pt x="1006" y="1025"/>
                  </a:lnTo>
                  <a:lnTo>
                    <a:pt x="1006" y="1022"/>
                  </a:lnTo>
                  <a:lnTo>
                    <a:pt x="1006" y="1020"/>
                  </a:lnTo>
                  <a:lnTo>
                    <a:pt x="1004" y="1020"/>
                  </a:lnTo>
                  <a:lnTo>
                    <a:pt x="1002" y="1020"/>
                  </a:lnTo>
                  <a:lnTo>
                    <a:pt x="1002" y="1020"/>
                  </a:lnTo>
                  <a:lnTo>
                    <a:pt x="1002" y="1018"/>
                  </a:lnTo>
                  <a:lnTo>
                    <a:pt x="999" y="1018"/>
                  </a:lnTo>
                  <a:lnTo>
                    <a:pt x="997" y="1022"/>
                  </a:lnTo>
                  <a:lnTo>
                    <a:pt x="997" y="1020"/>
                  </a:lnTo>
                  <a:lnTo>
                    <a:pt x="997" y="1020"/>
                  </a:lnTo>
                  <a:lnTo>
                    <a:pt x="995" y="1020"/>
                  </a:lnTo>
                  <a:lnTo>
                    <a:pt x="995" y="1020"/>
                  </a:lnTo>
                  <a:lnTo>
                    <a:pt x="992" y="1020"/>
                  </a:lnTo>
                  <a:lnTo>
                    <a:pt x="992" y="1020"/>
                  </a:lnTo>
                  <a:lnTo>
                    <a:pt x="992" y="1018"/>
                  </a:lnTo>
                  <a:lnTo>
                    <a:pt x="992" y="1018"/>
                  </a:lnTo>
                  <a:lnTo>
                    <a:pt x="990" y="1018"/>
                  </a:lnTo>
                  <a:lnTo>
                    <a:pt x="990" y="1018"/>
                  </a:lnTo>
                  <a:lnTo>
                    <a:pt x="990" y="1018"/>
                  </a:lnTo>
                  <a:lnTo>
                    <a:pt x="988" y="1018"/>
                  </a:lnTo>
                  <a:lnTo>
                    <a:pt x="985" y="1018"/>
                  </a:lnTo>
                  <a:lnTo>
                    <a:pt x="983" y="1018"/>
                  </a:lnTo>
                  <a:lnTo>
                    <a:pt x="983" y="1018"/>
                  </a:lnTo>
                  <a:lnTo>
                    <a:pt x="980" y="1018"/>
                  </a:lnTo>
                  <a:lnTo>
                    <a:pt x="980" y="1018"/>
                  </a:lnTo>
                  <a:lnTo>
                    <a:pt x="978" y="1018"/>
                  </a:lnTo>
                  <a:lnTo>
                    <a:pt x="978" y="1018"/>
                  </a:lnTo>
                  <a:lnTo>
                    <a:pt x="976" y="1018"/>
                  </a:lnTo>
                  <a:lnTo>
                    <a:pt x="976" y="1018"/>
                  </a:lnTo>
                  <a:lnTo>
                    <a:pt x="976" y="1018"/>
                  </a:lnTo>
                  <a:lnTo>
                    <a:pt x="973" y="1020"/>
                  </a:lnTo>
                  <a:lnTo>
                    <a:pt x="969" y="1022"/>
                  </a:lnTo>
                  <a:lnTo>
                    <a:pt x="966" y="1022"/>
                  </a:lnTo>
                  <a:lnTo>
                    <a:pt x="966" y="1025"/>
                  </a:lnTo>
                  <a:lnTo>
                    <a:pt x="964" y="1025"/>
                  </a:lnTo>
                  <a:lnTo>
                    <a:pt x="962" y="1025"/>
                  </a:lnTo>
                  <a:lnTo>
                    <a:pt x="959" y="1025"/>
                  </a:lnTo>
                  <a:lnTo>
                    <a:pt x="957" y="1025"/>
                  </a:lnTo>
                  <a:lnTo>
                    <a:pt x="957" y="1025"/>
                  </a:lnTo>
                  <a:lnTo>
                    <a:pt x="957" y="1025"/>
                  </a:lnTo>
                  <a:lnTo>
                    <a:pt x="957" y="1025"/>
                  </a:lnTo>
                  <a:lnTo>
                    <a:pt x="954" y="1025"/>
                  </a:lnTo>
                  <a:lnTo>
                    <a:pt x="952" y="1027"/>
                  </a:lnTo>
                  <a:lnTo>
                    <a:pt x="950" y="1027"/>
                  </a:lnTo>
                  <a:lnTo>
                    <a:pt x="950" y="1027"/>
                  </a:lnTo>
                  <a:lnTo>
                    <a:pt x="947" y="1025"/>
                  </a:lnTo>
                  <a:lnTo>
                    <a:pt x="947" y="1022"/>
                  </a:lnTo>
                  <a:lnTo>
                    <a:pt x="947" y="1025"/>
                  </a:lnTo>
                  <a:lnTo>
                    <a:pt x="945" y="1025"/>
                  </a:lnTo>
                  <a:lnTo>
                    <a:pt x="945" y="1025"/>
                  </a:lnTo>
                  <a:lnTo>
                    <a:pt x="945" y="1025"/>
                  </a:lnTo>
                  <a:lnTo>
                    <a:pt x="945" y="1027"/>
                  </a:lnTo>
                  <a:lnTo>
                    <a:pt x="945" y="1027"/>
                  </a:lnTo>
                  <a:lnTo>
                    <a:pt x="943" y="1027"/>
                  </a:lnTo>
                  <a:lnTo>
                    <a:pt x="943" y="1025"/>
                  </a:lnTo>
                  <a:lnTo>
                    <a:pt x="943" y="1027"/>
                  </a:lnTo>
                  <a:lnTo>
                    <a:pt x="940" y="1025"/>
                  </a:lnTo>
                  <a:lnTo>
                    <a:pt x="940" y="1025"/>
                  </a:lnTo>
                  <a:lnTo>
                    <a:pt x="938" y="1025"/>
                  </a:lnTo>
                  <a:lnTo>
                    <a:pt x="938" y="1025"/>
                  </a:lnTo>
                  <a:lnTo>
                    <a:pt x="938" y="1025"/>
                  </a:lnTo>
                  <a:lnTo>
                    <a:pt x="938" y="1027"/>
                  </a:lnTo>
                  <a:lnTo>
                    <a:pt x="936" y="1027"/>
                  </a:lnTo>
                  <a:lnTo>
                    <a:pt x="936" y="1027"/>
                  </a:lnTo>
                  <a:lnTo>
                    <a:pt x="936" y="1025"/>
                  </a:lnTo>
                  <a:lnTo>
                    <a:pt x="933" y="1025"/>
                  </a:lnTo>
                  <a:lnTo>
                    <a:pt x="933" y="1027"/>
                  </a:lnTo>
                  <a:lnTo>
                    <a:pt x="933" y="1027"/>
                  </a:lnTo>
                  <a:lnTo>
                    <a:pt x="931" y="1027"/>
                  </a:lnTo>
                  <a:lnTo>
                    <a:pt x="928" y="1029"/>
                  </a:lnTo>
                  <a:lnTo>
                    <a:pt x="928" y="1027"/>
                  </a:lnTo>
                  <a:lnTo>
                    <a:pt x="926" y="1027"/>
                  </a:lnTo>
                  <a:lnTo>
                    <a:pt x="926" y="1027"/>
                  </a:lnTo>
                  <a:lnTo>
                    <a:pt x="926" y="1027"/>
                  </a:lnTo>
                  <a:lnTo>
                    <a:pt x="926" y="1027"/>
                  </a:lnTo>
                  <a:lnTo>
                    <a:pt x="926" y="1025"/>
                  </a:lnTo>
                  <a:lnTo>
                    <a:pt x="926" y="1025"/>
                  </a:lnTo>
                  <a:lnTo>
                    <a:pt x="924" y="1025"/>
                  </a:lnTo>
                  <a:lnTo>
                    <a:pt x="924" y="1025"/>
                  </a:lnTo>
                  <a:lnTo>
                    <a:pt x="919" y="1027"/>
                  </a:lnTo>
                  <a:lnTo>
                    <a:pt x="919" y="1027"/>
                  </a:lnTo>
                  <a:lnTo>
                    <a:pt x="919" y="1027"/>
                  </a:lnTo>
                  <a:lnTo>
                    <a:pt x="917" y="1027"/>
                  </a:lnTo>
                  <a:lnTo>
                    <a:pt x="914" y="1029"/>
                  </a:lnTo>
                  <a:lnTo>
                    <a:pt x="914" y="1027"/>
                  </a:lnTo>
                  <a:lnTo>
                    <a:pt x="912" y="1029"/>
                  </a:lnTo>
                  <a:lnTo>
                    <a:pt x="912" y="1029"/>
                  </a:lnTo>
                  <a:lnTo>
                    <a:pt x="912" y="1029"/>
                  </a:lnTo>
                  <a:lnTo>
                    <a:pt x="910" y="1029"/>
                  </a:lnTo>
                  <a:lnTo>
                    <a:pt x="910" y="1032"/>
                  </a:lnTo>
                  <a:lnTo>
                    <a:pt x="910" y="1032"/>
                  </a:lnTo>
                  <a:lnTo>
                    <a:pt x="907" y="1032"/>
                  </a:lnTo>
                  <a:lnTo>
                    <a:pt x="902" y="1034"/>
                  </a:lnTo>
                  <a:lnTo>
                    <a:pt x="900" y="1034"/>
                  </a:lnTo>
                  <a:lnTo>
                    <a:pt x="900" y="1034"/>
                  </a:lnTo>
                  <a:lnTo>
                    <a:pt x="898" y="1034"/>
                  </a:lnTo>
                  <a:lnTo>
                    <a:pt x="898" y="1037"/>
                  </a:lnTo>
                  <a:lnTo>
                    <a:pt x="898" y="1037"/>
                  </a:lnTo>
                  <a:lnTo>
                    <a:pt x="895" y="1037"/>
                  </a:lnTo>
                  <a:lnTo>
                    <a:pt x="895" y="1037"/>
                  </a:lnTo>
                  <a:lnTo>
                    <a:pt x="893" y="1037"/>
                  </a:lnTo>
                  <a:lnTo>
                    <a:pt x="893" y="1037"/>
                  </a:lnTo>
                  <a:lnTo>
                    <a:pt x="891" y="1037"/>
                  </a:lnTo>
                  <a:lnTo>
                    <a:pt x="891" y="1037"/>
                  </a:lnTo>
                  <a:lnTo>
                    <a:pt x="886" y="1037"/>
                  </a:lnTo>
                  <a:lnTo>
                    <a:pt x="886" y="1037"/>
                  </a:lnTo>
                  <a:lnTo>
                    <a:pt x="886" y="1039"/>
                  </a:lnTo>
                  <a:lnTo>
                    <a:pt x="884" y="1039"/>
                  </a:lnTo>
                  <a:lnTo>
                    <a:pt x="884" y="1041"/>
                  </a:lnTo>
                  <a:lnTo>
                    <a:pt x="884" y="1039"/>
                  </a:lnTo>
                  <a:lnTo>
                    <a:pt x="881" y="1039"/>
                  </a:lnTo>
                  <a:lnTo>
                    <a:pt x="881" y="1039"/>
                  </a:lnTo>
                  <a:lnTo>
                    <a:pt x="881" y="1041"/>
                  </a:lnTo>
                  <a:lnTo>
                    <a:pt x="881" y="1041"/>
                  </a:lnTo>
                  <a:lnTo>
                    <a:pt x="879" y="1041"/>
                  </a:lnTo>
                  <a:lnTo>
                    <a:pt x="879" y="1041"/>
                  </a:lnTo>
                  <a:lnTo>
                    <a:pt x="879" y="1041"/>
                  </a:lnTo>
                  <a:lnTo>
                    <a:pt x="879" y="1044"/>
                  </a:lnTo>
                  <a:lnTo>
                    <a:pt x="879" y="1044"/>
                  </a:lnTo>
                  <a:lnTo>
                    <a:pt x="879" y="1044"/>
                  </a:lnTo>
                  <a:lnTo>
                    <a:pt x="876" y="1044"/>
                  </a:lnTo>
                  <a:lnTo>
                    <a:pt x="876" y="1044"/>
                  </a:lnTo>
                  <a:lnTo>
                    <a:pt x="874" y="1046"/>
                  </a:lnTo>
                  <a:lnTo>
                    <a:pt x="874" y="1046"/>
                  </a:lnTo>
                  <a:lnTo>
                    <a:pt x="874" y="1046"/>
                  </a:lnTo>
                  <a:lnTo>
                    <a:pt x="872" y="1046"/>
                  </a:lnTo>
                  <a:lnTo>
                    <a:pt x="872" y="1046"/>
                  </a:lnTo>
                  <a:lnTo>
                    <a:pt x="872" y="1048"/>
                  </a:lnTo>
                  <a:lnTo>
                    <a:pt x="869" y="1048"/>
                  </a:lnTo>
                  <a:lnTo>
                    <a:pt x="869" y="1048"/>
                  </a:lnTo>
                  <a:lnTo>
                    <a:pt x="869" y="1048"/>
                  </a:lnTo>
                  <a:lnTo>
                    <a:pt x="867" y="1048"/>
                  </a:lnTo>
                  <a:lnTo>
                    <a:pt x="867" y="1051"/>
                  </a:lnTo>
                  <a:lnTo>
                    <a:pt x="865" y="1051"/>
                  </a:lnTo>
                  <a:lnTo>
                    <a:pt x="865" y="1051"/>
                  </a:lnTo>
                  <a:lnTo>
                    <a:pt x="862" y="1051"/>
                  </a:lnTo>
                  <a:lnTo>
                    <a:pt x="862" y="1051"/>
                  </a:lnTo>
                  <a:lnTo>
                    <a:pt x="862" y="1048"/>
                  </a:lnTo>
                  <a:lnTo>
                    <a:pt x="862" y="1048"/>
                  </a:lnTo>
                  <a:lnTo>
                    <a:pt x="860" y="1048"/>
                  </a:lnTo>
                  <a:lnTo>
                    <a:pt x="860" y="1048"/>
                  </a:lnTo>
                  <a:lnTo>
                    <a:pt x="860" y="1048"/>
                  </a:lnTo>
                  <a:lnTo>
                    <a:pt x="858" y="1048"/>
                  </a:lnTo>
                  <a:lnTo>
                    <a:pt x="858" y="1048"/>
                  </a:lnTo>
                  <a:lnTo>
                    <a:pt x="858" y="1051"/>
                  </a:lnTo>
                  <a:lnTo>
                    <a:pt x="855" y="1051"/>
                  </a:lnTo>
                  <a:lnTo>
                    <a:pt x="855" y="1051"/>
                  </a:lnTo>
                  <a:lnTo>
                    <a:pt x="853" y="1051"/>
                  </a:lnTo>
                  <a:lnTo>
                    <a:pt x="853" y="1051"/>
                  </a:lnTo>
                  <a:lnTo>
                    <a:pt x="850" y="1051"/>
                  </a:lnTo>
                  <a:lnTo>
                    <a:pt x="850" y="1048"/>
                  </a:lnTo>
                  <a:lnTo>
                    <a:pt x="848" y="1051"/>
                  </a:lnTo>
                  <a:lnTo>
                    <a:pt x="846" y="1051"/>
                  </a:lnTo>
                  <a:lnTo>
                    <a:pt x="846" y="1051"/>
                  </a:lnTo>
                  <a:lnTo>
                    <a:pt x="846" y="1051"/>
                  </a:lnTo>
                  <a:lnTo>
                    <a:pt x="846" y="1051"/>
                  </a:lnTo>
                  <a:lnTo>
                    <a:pt x="843" y="1051"/>
                  </a:lnTo>
                  <a:lnTo>
                    <a:pt x="841" y="1051"/>
                  </a:lnTo>
                  <a:lnTo>
                    <a:pt x="841" y="1048"/>
                  </a:lnTo>
                  <a:lnTo>
                    <a:pt x="839" y="1051"/>
                  </a:lnTo>
                  <a:lnTo>
                    <a:pt x="839" y="1051"/>
                  </a:lnTo>
                  <a:lnTo>
                    <a:pt x="836" y="1051"/>
                  </a:lnTo>
                  <a:lnTo>
                    <a:pt x="836" y="1051"/>
                  </a:lnTo>
                  <a:lnTo>
                    <a:pt x="836" y="1053"/>
                  </a:lnTo>
                  <a:lnTo>
                    <a:pt x="836" y="1053"/>
                  </a:lnTo>
                  <a:lnTo>
                    <a:pt x="836" y="1053"/>
                  </a:lnTo>
                  <a:lnTo>
                    <a:pt x="832" y="1055"/>
                  </a:lnTo>
                  <a:lnTo>
                    <a:pt x="829" y="1055"/>
                  </a:lnTo>
                  <a:lnTo>
                    <a:pt x="829" y="1058"/>
                  </a:lnTo>
                  <a:lnTo>
                    <a:pt x="827" y="1058"/>
                  </a:lnTo>
                  <a:lnTo>
                    <a:pt x="827" y="1060"/>
                  </a:lnTo>
                  <a:lnTo>
                    <a:pt x="827" y="1060"/>
                  </a:lnTo>
                  <a:lnTo>
                    <a:pt x="827" y="1058"/>
                  </a:lnTo>
                  <a:lnTo>
                    <a:pt x="825" y="1060"/>
                  </a:lnTo>
                  <a:lnTo>
                    <a:pt x="822" y="1058"/>
                  </a:lnTo>
                  <a:lnTo>
                    <a:pt x="820" y="1060"/>
                  </a:lnTo>
                  <a:lnTo>
                    <a:pt x="820" y="1058"/>
                  </a:lnTo>
                  <a:lnTo>
                    <a:pt x="820" y="1058"/>
                  </a:lnTo>
                  <a:lnTo>
                    <a:pt x="817" y="1060"/>
                  </a:lnTo>
                  <a:lnTo>
                    <a:pt x="815" y="1060"/>
                  </a:lnTo>
                  <a:lnTo>
                    <a:pt x="815" y="1063"/>
                  </a:lnTo>
                  <a:lnTo>
                    <a:pt x="813" y="1063"/>
                  </a:lnTo>
                  <a:lnTo>
                    <a:pt x="813" y="1063"/>
                  </a:lnTo>
                  <a:lnTo>
                    <a:pt x="810" y="1065"/>
                  </a:lnTo>
                  <a:lnTo>
                    <a:pt x="810" y="1065"/>
                  </a:lnTo>
                  <a:lnTo>
                    <a:pt x="810" y="1065"/>
                  </a:lnTo>
                  <a:lnTo>
                    <a:pt x="808" y="1065"/>
                  </a:lnTo>
                  <a:lnTo>
                    <a:pt x="808" y="1065"/>
                  </a:lnTo>
                  <a:lnTo>
                    <a:pt x="806" y="1065"/>
                  </a:lnTo>
                  <a:lnTo>
                    <a:pt x="803" y="1063"/>
                  </a:lnTo>
                  <a:lnTo>
                    <a:pt x="801" y="1063"/>
                  </a:lnTo>
                  <a:lnTo>
                    <a:pt x="801" y="1065"/>
                  </a:lnTo>
                  <a:lnTo>
                    <a:pt x="799" y="1065"/>
                  </a:lnTo>
                  <a:lnTo>
                    <a:pt x="796" y="1065"/>
                  </a:lnTo>
                  <a:lnTo>
                    <a:pt x="796" y="1065"/>
                  </a:lnTo>
                  <a:lnTo>
                    <a:pt x="796" y="1067"/>
                  </a:lnTo>
                  <a:lnTo>
                    <a:pt x="794" y="1067"/>
                  </a:lnTo>
                  <a:lnTo>
                    <a:pt x="794" y="1067"/>
                  </a:lnTo>
                  <a:lnTo>
                    <a:pt x="791" y="1070"/>
                  </a:lnTo>
                  <a:lnTo>
                    <a:pt x="791" y="1070"/>
                  </a:lnTo>
                  <a:lnTo>
                    <a:pt x="791" y="1072"/>
                  </a:lnTo>
                  <a:lnTo>
                    <a:pt x="789" y="1072"/>
                  </a:lnTo>
                  <a:lnTo>
                    <a:pt x="789" y="1072"/>
                  </a:lnTo>
                  <a:lnTo>
                    <a:pt x="787" y="1072"/>
                  </a:lnTo>
                  <a:lnTo>
                    <a:pt x="787" y="1072"/>
                  </a:lnTo>
                  <a:lnTo>
                    <a:pt x="784" y="1072"/>
                  </a:lnTo>
                  <a:lnTo>
                    <a:pt x="784" y="1072"/>
                  </a:lnTo>
                  <a:lnTo>
                    <a:pt x="782" y="1072"/>
                  </a:lnTo>
                  <a:lnTo>
                    <a:pt x="782" y="1077"/>
                  </a:lnTo>
                  <a:lnTo>
                    <a:pt x="780" y="1077"/>
                  </a:lnTo>
                  <a:lnTo>
                    <a:pt x="777" y="1077"/>
                  </a:lnTo>
                  <a:lnTo>
                    <a:pt x="773" y="1077"/>
                  </a:lnTo>
                  <a:lnTo>
                    <a:pt x="773" y="1079"/>
                  </a:lnTo>
                  <a:lnTo>
                    <a:pt x="770" y="1077"/>
                  </a:lnTo>
                  <a:lnTo>
                    <a:pt x="768" y="1077"/>
                  </a:lnTo>
                  <a:lnTo>
                    <a:pt x="768" y="1077"/>
                  </a:lnTo>
                  <a:lnTo>
                    <a:pt x="765" y="1077"/>
                  </a:lnTo>
                  <a:lnTo>
                    <a:pt x="765" y="1077"/>
                  </a:lnTo>
                  <a:lnTo>
                    <a:pt x="763" y="1077"/>
                  </a:lnTo>
                  <a:lnTo>
                    <a:pt x="761" y="1079"/>
                  </a:lnTo>
                  <a:lnTo>
                    <a:pt x="758" y="1079"/>
                  </a:lnTo>
                  <a:lnTo>
                    <a:pt x="756" y="1079"/>
                  </a:lnTo>
                  <a:lnTo>
                    <a:pt x="756" y="1079"/>
                  </a:lnTo>
                  <a:lnTo>
                    <a:pt x="754" y="1081"/>
                  </a:lnTo>
                  <a:lnTo>
                    <a:pt x="754" y="1081"/>
                  </a:lnTo>
                  <a:lnTo>
                    <a:pt x="751" y="1081"/>
                  </a:lnTo>
                  <a:lnTo>
                    <a:pt x="751" y="1081"/>
                  </a:lnTo>
                  <a:lnTo>
                    <a:pt x="749" y="1081"/>
                  </a:lnTo>
                  <a:lnTo>
                    <a:pt x="749" y="1084"/>
                  </a:lnTo>
                  <a:lnTo>
                    <a:pt x="747" y="1086"/>
                  </a:lnTo>
                  <a:lnTo>
                    <a:pt x="747" y="1086"/>
                  </a:lnTo>
                  <a:lnTo>
                    <a:pt x="749" y="1086"/>
                  </a:lnTo>
                  <a:lnTo>
                    <a:pt x="747" y="1089"/>
                  </a:lnTo>
                  <a:lnTo>
                    <a:pt x="742" y="1089"/>
                  </a:lnTo>
                  <a:lnTo>
                    <a:pt x="742" y="1089"/>
                  </a:lnTo>
                  <a:lnTo>
                    <a:pt x="739" y="1091"/>
                  </a:lnTo>
                  <a:lnTo>
                    <a:pt x="739" y="1091"/>
                  </a:lnTo>
                  <a:lnTo>
                    <a:pt x="735" y="1093"/>
                  </a:lnTo>
                  <a:lnTo>
                    <a:pt x="735" y="1093"/>
                  </a:lnTo>
                  <a:lnTo>
                    <a:pt x="735" y="1096"/>
                  </a:lnTo>
                  <a:lnTo>
                    <a:pt x="735" y="1096"/>
                  </a:lnTo>
                  <a:lnTo>
                    <a:pt x="735" y="1096"/>
                  </a:lnTo>
                  <a:lnTo>
                    <a:pt x="732" y="1098"/>
                  </a:lnTo>
                  <a:lnTo>
                    <a:pt x="730" y="1096"/>
                  </a:lnTo>
                  <a:lnTo>
                    <a:pt x="725" y="1098"/>
                  </a:lnTo>
                  <a:lnTo>
                    <a:pt x="725" y="1098"/>
                  </a:lnTo>
                  <a:lnTo>
                    <a:pt x="723" y="1098"/>
                  </a:lnTo>
                  <a:lnTo>
                    <a:pt x="723" y="1100"/>
                  </a:lnTo>
                  <a:lnTo>
                    <a:pt x="721" y="1100"/>
                  </a:lnTo>
                  <a:lnTo>
                    <a:pt x="718" y="1100"/>
                  </a:lnTo>
                  <a:lnTo>
                    <a:pt x="718" y="1100"/>
                  </a:lnTo>
                  <a:lnTo>
                    <a:pt x="716" y="1100"/>
                  </a:lnTo>
                  <a:lnTo>
                    <a:pt x="716" y="1098"/>
                  </a:lnTo>
                  <a:lnTo>
                    <a:pt x="716" y="1098"/>
                  </a:lnTo>
                  <a:lnTo>
                    <a:pt x="716" y="1098"/>
                  </a:lnTo>
                  <a:lnTo>
                    <a:pt x="713" y="1098"/>
                  </a:lnTo>
                  <a:lnTo>
                    <a:pt x="713" y="1096"/>
                  </a:lnTo>
                  <a:lnTo>
                    <a:pt x="711" y="1096"/>
                  </a:lnTo>
                  <a:lnTo>
                    <a:pt x="711" y="1096"/>
                  </a:lnTo>
                  <a:lnTo>
                    <a:pt x="709" y="1093"/>
                  </a:lnTo>
                  <a:lnTo>
                    <a:pt x="706" y="1093"/>
                  </a:lnTo>
                  <a:lnTo>
                    <a:pt x="709" y="1096"/>
                  </a:lnTo>
                  <a:lnTo>
                    <a:pt x="706" y="1098"/>
                  </a:lnTo>
                  <a:lnTo>
                    <a:pt x="704" y="1098"/>
                  </a:lnTo>
                  <a:lnTo>
                    <a:pt x="702" y="1100"/>
                  </a:lnTo>
                  <a:lnTo>
                    <a:pt x="699" y="1100"/>
                  </a:lnTo>
                  <a:lnTo>
                    <a:pt x="699" y="1100"/>
                  </a:lnTo>
                  <a:lnTo>
                    <a:pt x="699" y="1100"/>
                  </a:lnTo>
                  <a:lnTo>
                    <a:pt x="695" y="1103"/>
                  </a:lnTo>
                  <a:lnTo>
                    <a:pt x="695" y="1100"/>
                  </a:lnTo>
                  <a:lnTo>
                    <a:pt x="695" y="1100"/>
                  </a:lnTo>
                  <a:lnTo>
                    <a:pt x="695" y="1100"/>
                  </a:lnTo>
                  <a:lnTo>
                    <a:pt x="697" y="1098"/>
                  </a:lnTo>
                  <a:lnTo>
                    <a:pt x="697" y="1096"/>
                  </a:lnTo>
                  <a:lnTo>
                    <a:pt x="695" y="1096"/>
                  </a:lnTo>
                  <a:lnTo>
                    <a:pt x="695" y="1096"/>
                  </a:lnTo>
                  <a:lnTo>
                    <a:pt x="695" y="1096"/>
                  </a:lnTo>
                  <a:lnTo>
                    <a:pt x="695" y="1096"/>
                  </a:lnTo>
                  <a:lnTo>
                    <a:pt x="695" y="1098"/>
                  </a:lnTo>
                  <a:lnTo>
                    <a:pt x="692" y="1098"/>
                  </a:lnTo>
                  <a:lnTo>
                    <a:pt x="690" y="1100"/>
                  </a:lnTo>
                  <a:lnTo>
                    <a:pt x="685" y="1100"/>
                  </a:lnTo>
                  <a:lnTo>
                    <a:pt x="685" y="1100"/>
                  </a:lnTo>
                  <a:lnTo>
                    <a:pt x="683" y="1100"/>
                  </a:lnTo>
                  <a:lnTo>
                    <a:pt x="680" y="1100"/>
                  </a:lnTo>
                  <a:lnTo>
                    <a:pt x="683" y="1098"/>
                  </a:lnTo>
                  <a:lnTo>
                    <a:pt x="683" y="1098"/>
                  </a:lnTo>
                  <a:lnTo>
                    <a:pt x="685" y="1096"/>
                  </a:lnTo>
                  <a:lnTo>
                    <a:pt x="683" y="1096"/>
                  </a:lnTo>
                  <a:lnTo>
                    <a:pt x="685" y="1096"/>
                  </a:lnTo>
                  <a:lnTo>
                    <a:pt x="685" y="1096"/>
                  </a:lnTo>
                  <a:lnTo>
                    <a:pt x="685" y="1093"/>
                  </a:lnTo>
                  <a:lnTo>
                    <a:pt x="685" y="1091"/>
                  </a:lnTo>
                  <a:lnTo>
                    <a:pt x="683" y="1091"/>
                  </a:lnTo>
                  <a:lnTo>
                    <a:pt x="680" y="1093"/>
                  </a:lnTo>
                  <a:lnTo>
                    <a:pt x="678" y="1091"/>
                  </a:lnTo>
                  <a:lnTo>
                    <a:pt x="676" y="1093"/>
                  </a:lnTo>
                  <a:lnTo>
                    <a:pt x="676" y="1093"/>
                  </a:lnTo>
                  <a:lnTo>
                    <a:pt x="676" y="1096"/>
                  </a:lnTo>
                  <a:lnTo>
                    <a:pt x="676" y="1096"/>
                  </a:lnTo>
                  <a:lnTo>
                    <a:pt x="676" y="1096"/>
                  </a:lnTo>
                  <a:lnTo>
                    <a:pt x="676" y="1098"/>
                  </a:lnTo>
                  <a:lnTo>
                    <a:pt x="678" y="1098"/>
                  </a:lnTo>
                  <a:lnTo>
                    <a:pt x="678" y="1100"/>
                  </a:lnTo>
                  <a:lnTo>
                    <a:pt x="680" y="1100"/>
                  </a:lnTo>
                  <a:lnTo>
                    <a:pt x="680" y="1100"/>
                  </a:lnTo>
                  <a:lnTo>
                    <a:pt x="680" y="1100"/>
                  </a:lnTo>
                  <a:lnTo>
                    <a:pt x="678" y="1103"/>
                  </a:lnTo>
                  <a:lnTo>
                    <a:pt x="678" y="1103"/>
                  </a:lnTo>
                  <a:lnTo>
                    <a:pt x="676" y="1103"/>
                  </a:lnTo>
                  <a:lnTo>
                    <a:pt x="673" y="1103"/>
                  </a:lnTo>
                  <a:lnTo>
                    <a:pt x="673" y="1103"/>
                  </a:lnTo>
                  <a:lnTo>
                    <a:pt x="673" y="1105"/>
                  </a:lnTo>
                  <a:lnTo>
                    <a:pt x="671" y="1105"/>
                  </a:lnTo>
                  <a:lnTo>
                    <a:pt x="671" y="1105"/>
                  </a:lnTo>
                  <a:lnTo>
                    <a:pt x="669" y="1105"/>
                  </a:lnTo>
                  <a:lnTo>
                    <a:pt x="669" y="1107"/>
                  </a:lnTo>
                  <a:lnTo>
                    <a:pt x="666" y="1107"/>
                  </a:lnTo>
                  <a:lnTo>
                    <a:pt x="664" y="1110"/>
                  </a:lnTo>
                  <a:lnTo>
                    <a:pt x="666" y="1112"/>
                  </a:lnTo>
                  <a:lnTo>
                    <a:pt x="666" y="1112"/>
                  </a:lnTo>
                  <a:lnTo>
                    <a:pt x="669" y="1112"/>
                  </a:lnTo>
                  <a:lnTo>
                    <a:pt x="671" y="1110"/>
                  </a:lnTo>
                  <a:lnTo>
                    <a:pt x="673" y="1110"/>
                  </a:lnTo>
                  <a:lnTo>
                    <a:pt x="676" y="1110"/>
                  </a:lnTo>
                  <a:lnTo>
                    <a:pt x="676" y="1110"/>
                  </a:lnTo>
                  <a:lnTo>
                    <a:pt x="676" y="1110"/>
                  </a:lnTo>
                  <a:lnTo>
                    <a:pt x="678" y="1115"/>
                  </a:lnTo>
                  <a:lnTo>
                    <a:pt x="678" y="1115"/>
                  </a:lnTo>
                  <a:lnTo>
                    <a:pt x="678" y="1115"/>
                  </a:lnTo>
                  <a:lnTo>
                    <a:pt x="678" y="1117"/>
                  </a:lnTo>
                  <a:lnTo>
                    <a:pt x="678" y="1117"/>
                  </a:lnTo>
                  <a:lnTo>
                    <a:pt x="676" y="1117"/>
                  </a:lnTo>
                  <a:lnTo>
                    <a:pt x="676" y="1119"/>
                  </a:lnTo>
                  <a:lnTo>
                    <a:pt x="676" y="1119"/>
                  </a:lnTo>
                  <a:lnTo>
                    <a:pt x="676" y="1122"/>
                  </a:lnTo>
                  <a:lnTo>
                    <a:pt x="678" y="1122"/>
                  </a:lnTo>
                  <a:lnTo>
                    <a:pt x="678" y="1122"/>
                  </a:lnTo>
                  <a:lnTo>
                    <a:pt x="678" y="1124"/>
                  </a:lnTo>
                  <a:lnTo>
                    <a:pt x="676" y="1124"/>
                  </a:lnTo>
                  <a:lnTo>
                    <a:pt x="676" y="1122"/>
                  </a:lnTo>
                  <a:lnTo>
                    <a:pt x="676" y="1122"/>
                  </a:lnTo>
                  <a:lnTo>
                    <a:pt x="673" y="1119"/>
                  </a:lnTo>
                  <a:lnTo>
                    <a:pt x="673" y="1119"/>
                  </a:lnTo>
                  <a:lnTo>
                    <a:pt x="671" y="1122"/>
                  </a:lnTo>
                  <a:lnTo>
                    <a:pt x="671" y="1122"/>
                  </a:lnTo>
                  <a:lnTo>
                    <a:pt x="671" y="1126"/>
                  </a:lnTo>
                  <a:lnTo>
                    <a:pt x="671" y="1126"/>
                  </a:lnTo>
                  <a:lnTo>
                    <a:pt x="671" y="1126"/>
                  </a:lnTo>
                  <a:lnTo>
                    <a:pt x="669" y="1129"/>
                  </a:lnTo>
                  <a:lnTo>
                    <a:pt x="669" y="1129"/>
                  </a:lnTo>
                  <a:lnTo>
                    <a:pt x="666" y="1126"/>
                  </a:lnTo>
                  <a:lnTo>
                    <a:pt x="666" y="1126"/>
                  </a:lnTo>
                  <a:lnTo>
                    <a:pt x="666" y="1124"/>
                  </a:lnTo>
                  <a:lnTo>
                    <a:pt x="666" y="1126"/>
                  </a:lnTo>
                  <a:lnTo>
                    <a:pt x="664" y="1124"/>
                  </a:lnTo>
                  <a:lnTo>
                    <a:pt x="664" y="1126"/>
                  </a:lnTo>
                  <a:lnTo>
                    <a:pt x="662" y="1126"/>
                  </a:lnTo>
                  <a:lnTo>
                    <a:pt x="662" y="1126"/>
                  </a:lnTo>
                  <a:lnTo>
                    <a:pt x="659" y="1126"/>
                  </a:lnTo>
                  <a:lnTo>
                    <a:pt x="659" y="1126"/>
                  </a:lnTo>
                  <a:lnTo>
                    <a:pt x="659" y="1129"/>
                  </a:lnTo>
                  <a:lnTo>
                    <a:pt x="659" y="1129"/>
                  </a:lnTo>
                  <a:lnTo>
                    <a:pt x="659" y="1129"/>
                  </a:lnTo>
                  <a:lnTo>
                    <a:pt x="657" y="1131"/>
                  </a:lnTo>
                  <a:lnTo>
                    <a:pt x="657" y="1131"/>
                  </a:lnTo>
                  <a:lnTo>
                    <a:pt x="657" y="1129"/>
                  </a:lnTo>
                  <a:lnTo>
                    <a:pt x="657" y="1129"/>
                  </a:lnTo>
                  <a:lnTo>
                    <a:pt x="654" y="1129"/>
                  </a:lnTo>
                  <a:lnTo>
                    <a:pt x="654" y="1126"/>
                  </a:lnTo>
                  <a:lnTo>
                    <a:pt x="654" y="1126"/>
                  </a:lnTo>
                  <a:lnTo>
                    <a:pt x="652" y="1126"/>
                  </a:lnTo>
                  <a:lnTo>
                    <a:pt x="652" y="1124"/>
                  </a:lnTo>
                  <a:lnTo>
                    <a:pt x="654" y="1124"/>
                  </a:lnTo>
                  <a:lnTo>
                    <a:pt x="652" y="1124"/>
                  </a:lnTo>
                  <a:lnTo>
                    <a:pt x="652" y="1124"/>
                  </a:lnTo>
                  <a:lnTo>
                    <a:pt x="652" y="1124"/>
                  </a:lnTo>
                  <a:lnTo>
                    <a:pt x="650" y="1126"/>
                  </a:lnTo>
                  <a:lnTo>
                    <a:pt x="647" y="1126"/>
                  </a:lnTo>
                  <a:lnTo>
                    <a:pt x="647" y="1126"/>
                  </a:lnTo>
                  <a:lnTo>
                    <a:pt x="645" y="1129"/>
                  </a:lnTo>
                  <a:lnTo>
                    <a:pt x="645" y="1129"/>
                  </a:lnTo>
                  <a:lnTo>
                    <a:pt x="643" y="1129"/>
                  </a:lnTo>
                  <a:lnTo>
                    <a:pt x="643" y="1131"/>
                  </a:lnTo>
                  <a:lnTo>
                    <a:pt x="640" y="1131"/>
                  </a:lnTo>
                  <a:lnTo>
                    <a:pt x="640" y="1133"/>
                  </a:lnTo>
                  <a:lnTo>
                    <a:pt x="638" y="1131"/>
                  </a:lnTo>
                  <a:lnTo>
                    <a:pt x="636" y="1133"/>
                  </a:lnTo>
                  <a:lnTo>
                    <a:pt x="631" y="1133"/>
                  </a:lnTo>
                  <a:lnTo>
                    <a:pt x="628" y="1133"/>
                  </a:lnTo>
                  <a:lnTo>
                    <a:pt x="626" y="1136"/>
                  </a:lnTo>
                  <a:lnTo>
                    <a:pt x="626" y="1136"/>
                  </a:lnTo>
                  <a:lnTo>
                    <a:pt x="624" y="1136"/>
                  </a:lnTo>
                  <a:lnTo>
                    <a:pt x="621" y="1136"/>
                  </a:lnTo>
                  <a:lnTo>
                    <a:pt x="624" y="1136"/>
                  </a:lnTo>
                  <a:lnTo>
                    <a:pt x="624" y="1133"/>
                  </a:lnTo>
                  <a:lnTo>
                    <a:pt x="624" y="1131"/>
                  </a:lnTo>
                  <a:lnTo>
                    <a:pt x="624" y="1129"/>
                  </a:lnTo>
                  <a:lnTo>
                    <a:pt x="624" y="1129"/>
                  </a:lnTo>
                  <a:lnTo>
                    <a:pt x="621" y="1129"/>
                  </a:lnTo>
                  <a:lnTo>
                    <a:pt x="617" y="1129"/>
                  </a:lnTo>
                  <a:lnTo>
                    <a:pt x="617" y="1129"/>
                  </a:lnTo>
                  <a:lnTo>
                    <a:pt x="617" y="1129"/>
                  </a:lnTo>
                  <a:lnTo>
                    <a:pt x="612" y="1131"/>
                  </a:lnTo>
                  <a:lnTo>
                    <a:pt x="612" y="1133"/>
                  </a:lnTo>
                  <a:lnTo>
                    <a:pt x="610" y="1133"/>
                  </a:lnTo>
                  <a:lnTo>
                    <a:pt x="607" y="1133"/>
                  </a:lnTo>
                  <a:lnTo>
                    <a:pt x="607" y="1131"/>
                  </a:lnTo>
                  <a:lnTo>
                    <a:pt x="607" y="1131"/>
                  </a:lnTo>
                  <a:lnTo>
                    <a:pt x="605" y="1131"/>
                  </a:lnTo>
                  <a:lnTo>
                    <a:pt x="605" y="1133"/>
                  </a:lnTo>
                  <a:lnTo>
                    <a:pt x="602" y="1133"/>
                  </a:lnTo>
                  <a:lnTo>
                    <a:pt x="598" y="1133"/>
                  </a:lnTo>
                  <a:lnTo>
                    <a:pt x="598" y="1133"/>
                  </a:lnTo>
                  <a:lnTo>
                    <a:pt x="595" y="1133"/>
                  </a:lnTo>
                  <a:lnTo>
                    <a:pt x="595" y="1131"/>
                  </a:lnTo>
                  <a:lnTo>
                    <a:pt x="593" y="1131"/>
                  </a:lnTo>
                  <a:lnTo>
                    <a:pt x="593" y="1129"/>
                  </a:lnTo>
                  <a:lnTo>
                    <a:pt x="593" y="1129"/>
                  </a:lnTo>
                  <a:lnTo>
                    <a:pt x="593" y="1129"/>
                  </a:lnTo>
                  <a:lnTo>
                    <a:pt x="595" y="1129"/>
                  </a:lnTo>
                  <a:lnTo>
                    <a:pt x="593" y="1126"/>
                  </a:lnTo>
                  <a:lnTo>
                    <a:pt x="595" y="1126"/>
                  </a:lnTo>
                  <a:lnTo>
                    <a:pt x="593" y="1124"/>
                  </a:lnTo>
                  <a:lnTo>
                    <a:pt x="593" y="1124"/>
                  </a:lnTo>
                  <a:lnTo>
                    <a:pt x="595" y="1119"/>
                  </a:lnTo>
                  <a:lnTo>
                    <a:pt x="598" y="1119"/>
                  </a:lnTo>
                  <a:lnTo>
                    <a:pt x="598" y="1117"/>
                  </a:lnTo>
                  <a:lnTo>
                    <a:pt x="598" y="1117"/>
                  </a:lnTo>
                  <a:lnTo>
                    <a:pt x="598" y="1117"/>
                  </a:lnTo>
                  <a:lnTo>
                    <a:pt x="598" y="1117"/>
                  </a:lnTo>
                  <a:lnTo>
                    <a:pt x="598" y="1115"/>
                  </a:lnTo>
                  <a:lnTo>
                    <a:pt x="595" y="1115"/>
                  </a:lnTo>
                  <a:lnTo>
                    <a:pt x="595" y="1117"/>
                  </a:lnTo>
                  <a:lnTo>
                    <a:pt x="593" y="1115"/>
                  </a:lnTo>
                  <a:lnTo>
                    <a:pt x="593" y="1115"/>
                  </a:lnTo>
                  <a:lnTo>
                    <a:pt x="593" y="1112"/>
                  </a:lnTo>
                  <a:lnTo>
                    <a:pt x="593" y="1115"/>
                  </a:lnTo>
                  <a:lnTo>
                    <a:pt x="591" y="1115"/>
                  </a:lnTo>
                  <a:lnTo>
                    <a:pt x="588" y="1112"/>
                  </a:lnTo>
                  <a:lnTo>
                    <a:pt x="588" y="1112"/>
                  </a:lnTo>
                  <a:lnTo>
                    <a:pt x="586" y="1112"/>
                  </a:lnTo>
                  <a:lnTo>
                    <a:pt x="586" y="1110"/>
                  </a:lnTo>
                  <a:lnTo>
                    <a:pt x="584" y="1110"/>
                  </a:lnTo>
                  <a:lnTo>
                    <a:pt x="584" y="1107"/>
                  </a:lnTo>
                  <a:lnTo>
                    <a:pt x="581" y="1107"/>
                  </a:lnTo>
                  <a:lnTo>
                    <a:pt x="581" y="1107"/>
                  </a:lnTo>
                  <a:lnTo>
                    <a:pt x="581" y="1107"/>
                  </a:lnTo>
                  <a:lnTo>
                    <a:pt x="581" y="1105"/>
                  </a:lnTo>
                  <a:lnTo>
                    <a:pt x="581" y="1105"/>
                  </a:lnTo>
                  <a:lnTo>
                    <a:pt x="581" y="1105"/>
                  </a:lnTo>
                  <a:lnTo>
                    <a:pt x="584" y="1105"/>
                  </a:lnTo>
                  <a:lnTo>
                    <a:pt x="584" y="1105"/>
                  </a:lnTo>
                  <a:lnTo>
                    <a:pt x="586" y="1103"/>
                  </a:lnTo>
                  <a:lnTo>
                    <a:pt x="586" y="1103"/>
                  </a:lnTo>
                  <a:lnTo>
                    <a:pt x="588" y="1103"/>
                  </a:lnTo>
                  <a:lnTo>
                    <a:pt x="588" y="1103"/>
                  </a:lnTo>
                  <a:lnTo>
                    <a:pt x="591" y="1103"/>
                  </a:lnTo>
                  <a:lnTo>
                    <a:pt x="588" y="1105"/>
                  </a:lnTo>
                  <a:lnTo>
                    <a:pt x="591" y="1105"/>
                  </a:lnTo>
                  <a:lnTo>
                    <a:pt x="593" y="1103"/>
                  </a:lnTo>
                  <a:lnTo>
                    <a:pt x="593" y="1100"/>
                  </a:lnTo>
                  <a:lnTo>
                    <a:pt x="591" y="1100"/>
                  </a:lnTo>
                  <a:lnTo>
                    <a:pt x="591" y="1100"/>
                  </a:lnTo>
                  <a:lnTo>
                    <a:pt x="588" y="1100"/>
                  </a:lnTo>
                  <a:lnTo>
                    <a:pt x="588" y="1098"/>
                  </a:lnTo>
                  <a:lnTo>
                    <a:pt x="588" y="1098"/>
                  </a:lnTo>
                  <a:lnTo>
                    <a:pt x="591" y="1098"/>
                  </a:lnTo>
                  <a:lnTo>
                    <a:pt x="588" y="1096"/>
                  </a:lnTo>
                  <a:lnTo>
                    <a:pt x="588" y="1093"/>
                  </a:lnTo>
                  <a:lnTo>
                    <a:pt x="586" y="1093"/>
                  </a:lnTo>
                  <a:lnTo>
                    <a:pt x="586" y="1091"/>
                  </a:lnTo>
                  <a:lnTo>
                    <a:pt x="588" y="1089"/>
                  </a:lnTo>
                  <a:lnTo>
                    <a:pt x="588" y="1086"/>
                  </a:lnTo>
                  <a:lnTo>
                    <a:pt x="588" y="1089"/>
                  </a:lnTo>
                  <a:lnTo>
                    <a:pt x="588" y="1089"/>
                  </a:lnTo>
                  <a:lnTo>
                    <a:pt x="586" y="1086"/>
                  </a:lnTo>
                  <a:lnTo>
                    <a:pt x="586" y="1086"/>
                  </a:lnTo>
                  <a:lnTo>
                    <a:pt x="584" y="1086"/>
                  </a:lnTo>
                  <a:lnTo>
                    <a:pt x="584" y="1084"/>
                  </a:lnTo>
                  <a:lnTo>
                    <a:pt x="584" y="1084"/>
                  </a:lnTo>
                  <a:lnTo>
                    <a:pt x="579" y="1084"/>
                  </a:lnTo>
                  <a:lnTo>
                    <a:pt x="579" y="1084"/>
                  </a:lnTo>
                  <a:lnTo>
                    <a:pt x="576" y="1084"/>
                  </a:lnTo>
                  <a:lnTo>
                    <a:pt x="576" y="1081"/>
                  </a:lnTo>
                  <a:lnTo>
                    <a:pt x="574" y="1081"/>
                  </a:lnTo>
                  <a:lnTo>
                    <a:pt x="574" y="1079"/>
                  </a:lnTo>
                  <a:lnTo>
                    <a:pt x="574" y="1079"/>
                  </a:lnTo>
                  <a:lnTo>
                    <a:pt x="572" y="1077"/>
                  </a:lnTo>
                  <a:lnTo>
                    <a:pt x="572" y="1077"/>
                  </a:lnTo>
                  <a:lnTo>
                    <a:pt x="572" y="1077"/>
                  </a:lnTo>
                  <a:lnTo>
                    <a:pt x="572" y="1077"/>
                  </a:lnTo>
                  <a:lnTo>
                    <a:pt x="572" y="1074"/>
                  </a:lnTo>
                  <a:lnTo>
                    <a:pt x="569" y="1074"/>
                  </a:lnTo>
                  <a:lnTo>
                    <a:pt x="569" y="1077"/>
                  </a:lnTo>
                  <a:lnTo>
                    <a:pt x="569" y="1074"/>
                  </a:lnTo>
                  <a:lnTo>
                    <a:pt x="567" y="1074"/>
                  </a:lnTo>
                  <a:lnTo>
                    <a:pt x="567" y="1074"/>
                  </a:lnTo>
                  <a:lnTo>
                    <a:pt x="565" y="1074"/>
                  </a:lnTo>
                  <a:lnTo>
                    <a:pt x="562" y="1072"/>
                  </a:lnTo>
                  <a:lnTo>
                    <a:pt x="562" y="1074"/>
                  </a:lnTo>
                  <a:lnTo>
                    <a:pt x="560" y="1072"/>
                  </a:lnTo>
                  <a:lnTo>
                    <a:pt x="560" y="1072"/>
                  </a:lnTo>
                  <a:lnTo>
                    <a:pt x="560" y="1072"/>
                  </a:lnTo>
                  <a:lnTo>
                    <a:pt x="560" y="1072"/>
                  </a:lnTo>
                  <a:lnTo>
                    <a:pt x="558" y="1070"/>
                  </a:lnTo>
                  <a:lnTo>
                    <a:pt x="558" y="1070"/>
                  </a:lnTo>
                  <a:lnTo>
                    <a:pt x="558" y="1067"/>
                  </a:lnTo>
                  <a:lnTo>
                    <a:pt x="558" y="1065"/>
                  </a:lnTo>
                  <a:lnTo>
                    <a:pt x="558" y="1065"/>
                  </a:lnTo>
                  <a:lnTo>
                    <a:pt x="555" y="1065"/>
                  </a:lnTo>
                  <a:lnTo>
                    <a:pt x="555" y="1063"/>
                  </a:lnTo>
                  <a:lnTo>
                    <a:pt x="553" y="1063"/>
                  </a:lnTo>
                  <a:lnTo>
                    <a:pt x="553" y="1063"/>
                  </a:lnTo>
                  <a:lnTo>
                    <a:pt x="553" y="1063"/>
                  </a:lnTo>
                  <a:lnTo>
                    <a:pt x="553" y="1060"/>
                  </a:lnTo>
                  <a:lnTo>
                    <a:pt x="553" y="1060"/>
                  </a:lnTo>
                  <a:lnTo>
                    <a:pt x="553" y="1060"/>
                  </a:lnTo>
                  <a:lnTo>
                    <a:pt x="553" y="1058"/>
                  </a:lnTo>
                  <a:lnTo>
                    <a:pt x="550" y="1058"/>
                  </a:lnTo>
                  <a:lnTo>
                    <a:pt x="550" y="1058"/>
                  </a:lnTo>
                  <a:lnTo>
                    <a:pt x="550" y="1058"/>
                  </a:lnTo>
                  <a:lnTo>
                    <a:pt x="550" y="1055"/>
                  </a:lnTo>
                  <a:lnTo>
                    <a:pt x="550" y="1055"/>
                  </a:lnTo>
                  <a:lnTo>
                    <a:pt x="553" y="1055"/>
                  </a:lnTo>
                  <a:lnTo>
                    <a:pt x="550" y="1053"/>
                  </a:lnTo>
                  <a:lnTo>
                    <a:pt x="553" y="1053"/>
                  </a:lnTo>
                  <a:lnTo>
                    <a:pt x="550" y="1051"/>
                  </a:lnTo>
                  <a:lnTo>
                    <a:pt x="550" y="1051"/>
                  </a:lnTo>
                  <a:lnTo>
                    <a:pt x="553" y="1051"/>
                  </a:lnTo>
                  <a:lnTo>
                    <a:pt x="553" y="1048"/>
                  </a:lnTo>
                  <a:lnTo>
                    <a:pt x="553" y="1048"/>
                  </a:lnTo>
                  <a:lnTo>
                    <a:pt x="553" y="1046"/>
                  </a:lnTo>
                  <a:lnTo>
                    <a:pt x="555" y="1046"/>
                  </a:lnTo>
                  <a:lnTo>
                    <a:pt x="555" y="1044"/>
                  </a:lnTo>
                  <a:lnTo>
                    <a:pt x="558" y="1041"/>
                  </a:lnTo>
                  <a:lnTo>
                    <a:pt x="555" y="1039"/>
                  </a:lnTo>
                  <a:lnTo>
                    <a:pt x="558" y="1039"/>
                  </a:lnTo>
                  <a:lnTo>
                    <a:pt x="558" y="1039"/>
                  </a:lnTo>
                  <a:lnTo>
                    <a:pt x="560" y="1039"/>
                  </a:lnTo>
                  <a:lnTo>
                    <a:pt x="560" y="1037"/>
                  </a:lnTo>
                  <a:lnTo>
                    <a:pt x="562" y="1037"/>
                  </a:lnTo>
                  <a:lnTo>
                    <a:pt x="565" y="1034"/>
                  </a:lnTo>
                  <a:lnTo>
                    <a:pt x="565" y="1034"/>
                  </a:lnTo>
                  <a:lnTo>
                    <a:pt x="562" y="1034"/>
                  </a:lnTo>
                  <a:lnTo>
                    <a:pt x="562" y="1032"/>
                  </a:lnTo>
                  <a:lnTo>
                    <a:pt x="560" y="1029"/>
                  </a:lnTo>
                  <a:lnTo>
                    <a:pt x="560" y="1027"/>
                  </a:lnTo>
                  <a:lnTo>
                    <a:pt x="558" y="1029"/>
                  </a:lnTo>
                  <a:lnTo>
                    <a:pt x="555" y="1027"/>
                  </a:lnTo>
                  <a:lnTo>
                    <a:pt x="553" y="1027"/>
                  </a:lnTo>
                  <a:lnTo>
                    <a:pt x="553" y="1027"/>
                  </a:lnTo>
                  <a:lnTo>
                    <a:pt x="553" y="1027"/>
                  </a:lnTo>
                  <a:lnTo>
                    <a:pt x="550" y="1027"/>
                  </a:lnTo>
                  <a:lnTo>
                    <a:pt x="550" y="1027"/>
                  </a:lnTo>
                  <a:lnTo>
                    <a:pt x="550" y="1027"/>
                  </a:lnTo>
                  <a:lnTo>
                    <a:pt x="550" y="1027"/>
                  </a:lnTo>
                  <a:lnTo>
                    <a:pt x="550" y="1025"/>
                  </a:lnTo>
                  <a:lnTo>
                    <a:pt x="550" y="1025"/>
                  </a:lnTo>
                  <a:lnTo>
                    <a:pt x="550" y="1027"/>
                  </a:lnTo>
                  <a:lnTo>
                    <a:pt x="553" y="1025"/>
                  </a:lnTo>
                  <a:lnTo>
                    <a:pt x="555" y="1025"/>
                  </a:lnTo>
                  <a:lnTo>
                    <a:pt x="558" y="1025"/>
                  </a:lnTo>
                  <a:lnTo>
                    <a:pt x="558" y="1025"/>
                  </a:lnTo>
                  <a:lnTo>
                    <a:pt x="555" y="1022"/>
                  </a:lnTo>
                  <a:lnTo>
                    <a:pt x="553" y="1022"/>
                  </a:lnTo>
                  <a:lnTo>
                    <a:pt x="555" y="1020"/>
                  </a:lnTo>
                  <a:lnTo>
                    <a:pt x="555" y="1020"/>
                  </a:lnTo>
                  <a:lnTo>
                    <a:pt x="555" y="1018"/>
                  </a:lnTo>
                  <a:lnTo>
                    <a:pt x="558" y="1020"/>
                  </a:lnTo>
                  <a:lnTo>
                    <a:pt x="558" y="1018"/>
                  </a:lnTo>
                  <a:lnTo>
                    <a:pt x="558" y="1018"/>
                  </a:lnTo>
                  <a:lnTo>
                    <a:pt x="560" y="1018"/>
                  </a:lnTo>
                  <a:lnTo>
                    <a:pt x="560" y="1018"/>
                  </a:lnTo>
                  <a:lnTo>
                    <a:pt x="562" y="1018"/>
                  </a:lnTo>
                  <a:lnTo>
                    <a:pt x="562" y="1018"/>
                  </a:lnTo>
                  <a:lnTo>
                    <a:pt x="562" y="1018"/>
                  </a:lnTo>
                  <a:lnTo>
                    <a:pt x="562" y="1018"/>
                  </a:lnTo>
                  <a:lnTo>
                    <a:pt x="562" y="1015"/>
                  </a:lnTo>
                  <a:lnTo>
                    <a:pt x="562" y="1015"/>
                  </a:lnTo>
                  <a:lnTo>
                    <a:pt x="562" y="1013"/>
                  </a:lnTo>
                  <a:lnTo>
                    <a:pt x="560" y="1013"/>
                  </a:lnTo>
                  <a:lnTo>
                    <a:pt x="560" y="1013"/>
                  </a:lnTo>
                  <a:lnTo>
                    <a:pt x="558" y="1011"/>
                  </a:lnTo>
                  <a:lnTo>
                    <a:pt x="558" y="1008"/>
                  </a:lnTo>
                  <a:lnTo>
                    <a:pt x="558" y="1008"/>
                  </a:lnTo>
                  <a:lnTo>
                    <a:pt x="558" y="1006"/>
                  </a:lnTo>
                  <a:lnTo>
                    <a:pt x="555" y="1003"/>
                  </a:lnTo>
                  <a:lnTo>
                    <a:pt x="558" y="1003"/>
                  </a:lnTo>
                  <a:lnTo>
                    <a:pt x="558" y="1003"/>
                  </a:lnTo>
                  <a:lnTo>
                    <a:pt x="558" y="1003"/>
                  </a:lnTo>
                  <a:lnTo>
                    <a:pt x="560" y="1001"/>
                  </a:lnTo>
                  <a:lnTo>
                    <a:pt x="558" y="999"/>
                  </a:lnTo>
                  <a:lnTo>
                    <a:pt x="558" y="999"/>
                  </a:lnTo>
                  <a:lnTo>
                    <a:pt x="558" y="996"/>
                  </a:lnTo>
                  <a:lnTo>
                    <a:pt x="555" y="996"/>
                  </a:lnTo>
                  <a:lnTo>
                    <a:pt x="555" y="996"/>
                  </a:lnTo>
                  <a:lnTo>
                    <a:pt x="553" y="994"/>
                  </a:lnTo>
                  <a:lnTo>
                    <a:pt x="555" y="994"/>
                  </a:lnTo>
                  <a:lnTo>
                    <a:pt x="558" y="992"/>
                  </a:lnTo>
                  <a:lnTo>
                    <a:pt x="558" y="992"/>
                  </a:lnTo>
                  <a:lnTo>
                    <a:pt x="560" y="989"/>
                  </a:lnTo>
                  <a:lnTo>
                    <a:pt x="558" y="987"/>
                  </a:lnTo>
                  <a:lnTo>
                    <a:pt x="560" y="987"/>
                  </a:lnTo>
                  <a:lnTo>
                    <a:pt x="560" y="987"/>
                  </a:lnTo>
                  <a:lnTo>
                    <a:pt x="562" y="987"/>
                  </a:lnTo>
                  <a:lnTo>
                    <a:pt x="562" y="985"/>
                  </a:lnTo>
                  <a:lnTo>
                    <a:pt x="562" y="982"/>
                  </a:lnTo>
                  <a:lnTo>
                    <a:pt x="562" y="982"/>
                  </a:lnTo>
                  <a:lnTo>
                    <a:pt x="562" y="980"/>
                  </a:lnTo>
                  <a:lnTo>
                    <a:pt x="562" y="980"/>
                  </a:lnTo>
                  <a:lnTo>
                    <a:pt x="562" y="978"/>
                  </a:lnTo>
                  <a:lnTo>
                    <a:pt x="562" y="978"/>
                  </a:lnTo>
                  <a:lnTo>
                    <a:pt x="562" y="975"/>
                  </a:lnTo>
                  <a:lnTo>
                    <a:pt x="562" y="973"/>
                  </a:lnTo>
                  <a:lnTo>
                    <a:pt x="567" y="975"/>
                  </a:lnTo>
                  <a:lnTo>
                    <a:pt x="569" y="973"/>
                  </a:lnTo>
                  <a:lnTo>
                    <a:pt x="569" y="970"/>
                  </a:lnTo>
                  <a:lnTo>
                    <a:pt x="572" y="970"/>
                  </a:lnTo>
                  <a:lnTo>
                    <a:pt x="572" y="970"/>
                  </a:lnTo>
                  <a:lnTo>
                    <a:pt x="572" y="968"/>
                  </a:lnTo>
                  <a:lnTo>
                    <a:pt x="572" y="968"/>
                  </a:lnTo>
                  <a:lnTo>
                    <a:pt x="574" y="968"/>
                  </a:lnTo>
                  <a:lnTo>
                    <a:pt x="574" y="966"/>
                  </a:lnTo>
                  <a:lnTo>
                    <a:pt x="576" y="966"/>
                  </a:lnTo>
                  <a:lnTo>
                    <a:pt x="576" y="963"/>
                  </a:lnTo>
                  <a:lnTo>
                    <a:pt x="574" y="963"/>
                  </a:lnTo>
                  <a:lnTo>
                    <a:pt x="576" y="963"/>
                  </a:lnTo>
                  <a:lnTo>
                    <a:pt x="576" y="961"/>
                  </a:lnTo>
                  <a:lnTo>
                    <a:pt x="576" y="961"/>
                  </a:lnTo>
                  <a:lnTo>
                    <a:pt x="576" y="959"/>
                  </a:lnTo>
                  <a:lnTo>
                    <a:pt x="576" y="959"/>
                  </a:lnTo>
                  <a:lnTo>
                    <a:pt x="579" y="959"/>
                  </a:lnTo>
                  <a:lnTo>
                    <a:pt x="579" y="959"/>
                  </a:lnTo>
                  <a:lnTo>
                    <a:pt x="576" y="956"/>
                  </a:lnTo>
                  <a:lnTo>
                    <a:pt x="576" y="954"/>
                  </a:lnTo>
                  <a:lnTo>
                    <a:pt x="574" y="954"/>
                  </a:lnTo>
                  <a:lnTo>
                    <a:pt x="576" y="952"/>
                  </a:lnTo>
                  <a:lnTo>
                    <a:pt x="576" y="952"/>
                  </a:lnTo>
                  <a:lnTo>
                    <a:pt x="576" y="949"/>
                  </a:lnTo>
                  <a:lnTo>
                    <a:pt x="576" y="949"/>
                  </a:lnTo>
                  <a:lnTo>
                    <a:pt x="576" y="947"/>
                  </a:lnTo>
                  <a:lnTo>
                    <a:pt x="576" y="944"/>
                  </a:lnTo>
                  <a:lnTo>
                    <a:pt x="576" y="944"/>
                  </a:lnTo>
                  <a:lnTo>
                    <a:pt x="576" y="944"/>
                  </a:lnTo>
                  <a:lnTo>
                    <a:pt x="574" y="944"/>
                  </a:lnTo>
                  <a:lnTo>
                    <a:pt x="574" y="944"/>
                  </a:lnTo>
                  <a:lnTo>
                    <a:pt x="572" y="942"/>
                  </a:lnTo>
                  <a:lnTo>
                    <a:pt x="569" y="942"/>
                  </a:lnTo>
                  <a:lnTo>
                    <a:pt x="569" y="942"/>
                  </a:lnTo>
                  <a:lnTo>
                    <a:pt x="569" y="942"/>
                  </a:lnTo>
                  <a:lnTo>
                    <a:pt x="565" y="942"/>
                  </a:lnTo>
                  <a:lnTo>
                    <a:pt x="565" y="944"/>
                  </a:lnTo>
                  <a:lnTo>
                    <a:pt x="562" y="942"/>
                  </a:lnTo>
                  <a:lnTo>
                    <a:pt x="562" y="942"/>
                  </a:lnTo>
                  <a:lnTo>
                    <a:pt x="562" y="942"/>
                  </a:lnTo>
                  <a:lnTo>
                    <a:pt x="562" y="942"/>
                  </a:lnTo>
                  <a:lnTo>
                    <a:pt x="562" y="940"/>
                  </a:lnTo>
                  <a:lnTo>
                    <a:pt x="562" y="940"/>
                  </a:lnTo>
                  <a:lnTo>
                    <a:pt x="560" y="940"/>
                  </a:lnTo>
                  <a:lnTo>
                    <a:pt x="560" y="937"/>
                  </a:lnTo>
                  <a:lnTo>
                    <a:pt x="560" y="937"/>
                  </a:lnTo>
                  <a:lnTo>
                    <a:pt x="560" y="935"/>
                  </a:lnTo>
                  <a:lnTo>
                    <a:pt x="560" y="935"/>
                  </a:lnTo>
                  <a:lnTo>
                    <a:pt x="560" y="935"/>
                  </a:lnTo>
                  <a:lnTo>
                    <a:pt x="560" y="933"/>
                  </a:lnTo>
                  <a:lnTo>
                    <a:pt x="558" y="933"/>
                  </a:lnTo>
                  <a:lnTo>
                    <a:pt x="558" y="933"/>
                  </a:lnTo>
                  <a:lnTo>
                    <a:pt x="555" y="935"/>
                  </a:lnTo>
                  <a:lnTo>
                    <a:pt x="555" y="935"/>
                  </a:lnTo>
                  <a:lnTo>
                    <a:pt x="553" y="935"/>
                  </a:lnTo>
                  <a:lnTo>
                    <a:pt x="553" y="935"/>
                  </a:lnTo>
                  <a:lnTo>
                    <a:pt x="550" y="940"/>
                  </a:lnTo>
                  <a:lnTo>
                    <a:pt x="550" y="937"/>
                  </a:lnTo>
                  <a:lnTo>
                    <a:pt x="550" y="935"/>
                  </a:lnTo>
                  <a:lnTo>
                    <a:pt x="550" y="937"/>
                  </a:lnTo>
                  <a:lnTo>
                    <a:pt x="548" y="937"/>
                  </a:lnTo>
                  <a:lnTo>
                    <a:pt x="546" y="935"/>
                  </a:lnTo>
                  <a:lnTo>
                    <a:pt x="543" y="935"/>
                  </a:lnTo>
                  <a:lnTo>
                    <a:pt x="546" y="933"/>
                  </a:lnTo>
                  <a:lnTo>
                    <a:pt x="543" y="933"/>
                  </a:lnTo>
                  <a:lnTo>
                    <a:pt x="543" y="933"/>
                  </a:lnTo>
                  <a:lnTo>
                    <a:pt x="541" y="933"/>
                  </a:lnTo>
                  <a:lnTo>
                    <a:pt x="541" y="935"/>
                  </a:lnTo>
                  <a:lnTo>
                    <a:pt x="539" y="933"/>
                  </a:lnTo>
                  <a:lnTo>
                    <a:pt x="536" y="933"/>
                  </a:lnTo>
                  <a:lnTo>
                    <a:pt x="534" y="935"/>
                  </a:lnTo>
                  <a:lnTo>
                    <a:pt x="534" y="935"/>
                  </a:lnTo>
                  <a:lnTo>
                    <a:pt x="534" y="935"/>
                  </a:lnTo>
                  <a:lnTo>
                    <a:pt x="532" y="935"/>
                  </a:lnTo>
                  <a:lnTo>
                    <a:pt x="532" y="937"/>
                  </a:lnTo>
                  <a:lnTo>
                    <a:pt x="532" y="937"/>
                  </a:lnTo>
                  <a:lnTo>
                    <a:pt x="532" y="937"/>
                  </a:lnTo>
                  <a:lnTo>
                    <a:pt x="529" y="940"/>
                  </a:lnTo>
                  <a:lnTo>
                    <a:pt x="529" y="940"/>
                  </a:lnTo>
                  <a:lnTo>
                    <a:pt x="527" y="940"/>
                  </a:lnTo>
                  <a:lnTo>
                    <a:pt x="527" y="940"/>
                  </a:lnTo>
                  <a:lnTo>
                    <a:pt x="524" y="940"/>
                  </a:lnTo>
                  <a:lnTo>
                    <a:pt x="524" y="942"/>
                  </a:lnTo>
                  <a:lnTo>
                    <a:pt x="524" y="940"/>
                  </a:lnTo>
                  <a:lnTo>
                    <a:pt x="522" y="942"/>
                  </a:lnTo>
                  <a:lnTo>
                    <a:pt x="522" y="940"/>
                  </a:lnTo>
                  <a:lnTo>
                    <a:pt x="520" y="942"/>
                  </a:lnTo>
                  <a:lnTo>
                    <a:pt x="520" y="940"/>
                  </a:lnTo>
                  <a:lnTo>
                    <a:pt x="520" y="940"/>
                  </a:lnTo>
                  <a:lnTo>
                    <a:pt x="517" y="940"/>
                  </a:lnTo>
                  <a:lnTo>
                    <a:pt x="515" y="942"/>
                  </a:lnTo>
                  <a:lnTo>
                    <a:pt x="515" y="940"/>
                  </a:lnTo>
                  <a:lnTo>
                    <a:pt x="515" y="942"/>
                  </a:lnTo>
                  <a:lnTo>
                    <a:pt x="515" y="940"/>
                  </a:lnTo>
                  <a:lnTo>
                    <a:pt x="513" y="940"/>
                  </a:lnTo>
                  <a:lnTo>
                    <a:pt x="513" y="940"/>
                  </a:lnTo>
                  <a:lnTo>
                    <a:pt x="513" y="940"/>
                  </a:lnTo>
                  <a:lnTo>
                    <a:pt x="513" y="940"/>
                  </a:lnTo>
                  <a:lnTo>
                    <a:pt x="513" y="937"/>
                  </a:lnTo>
                  <a:lnTo>
                    <a:pt x="513" y="937"/>
                  </a:lnTo>
                  <a:lnTo>
                    <a:pt x="515" y="935"/>
                  </a:lnTo>
                  <a:lnTo>
                    <a:pt x="513" y="933"/>
                  </a:lnTo>
                  <a:lnTo>
                    <a:pt x="515" y="933"/>
                  </a:lnTo>
                  <a:lnTo>
                    <a:pt x="515" y="933"/>
                  </a:lnTo>
                  <a:lnTo>
                    <a:pt x="515" y="930"/>
                  </a:lnTo>
                  <a:lnTo>
                    <a:pt x="513" y="930"/>
                  </a:lnTo>
                  <a:lnTo>
                    <a:pt x="513" y="928"/>
                  </a:lnTo>
                  <a:lnTo>
                    <a:pt x="513" y="928"/>
                  </a:lnTo>
                  <a:lnTo>
                    <a:pt x="510" y="926"/>
                  </a:lnTo>
                  <a:lnTo>
                    <a:pt x="510" y="926"/>
                  </a:lnTo>
                  <a:lnTo>
                    <a:pt x="510" y="926"/>
                  </a:lnTo>
                  <a:lnTo>
                    <a:pt x="510" y="923"/>
                  </a:lnTo>
                  <a:lnTo>
                    <a:pt x="510" y="923"/>
                  </a:lnTo>
                  <a:lnTo>
                    <a:pt x="510" y="921"/>
                  </a:lnTo>
                  <a:lnTo>
                    <a:pt x="508" y="918"/>
                  </a:lnTo>
                  <a:lnTo>
                    <a:pt x="508" y="918"/>
                  </a:lnTo>
                  <a:lnTo>
                    <a:pt x="508" y="918"/>
                  </a:lnTo>
                  <a:lnTo>
                    <a:pt x="506" y="916"/>
                  </a:lnTo>
                  <a:lnTo>
                    <a:pt x="506" y="916"/>
                  </a:lnTo>
                  <a:lnTo>
                    <a:pt x="506" y="916"/>
                  </a:lnTo>
                  <a:lnTo>
                    <a:pt x="506" y="914"/>
                  </a:lnTo>
                  <a:lnTo>
                    <a:pt x="506" y="914"/>
                  </a:lnTo>
                  <a:lnTo>
                    <a:pt x="506" y="914"/>
                  </a:lnTo>
                  <a:lnTo>
                    <a:pt x="506" y="914"/>
                  </a:lnTo>
                  <a:lnTo>
                    <a:pt x="503" y="914"/>
                  </a:lnTo>
                  <a:lnTo>
                    <a:pt x="503" y="914"/>
                  </a:lnTo>
                  <a:lnTo>
                    <a:pt x="503" y="914"/>
                  </a:lnTo>
                  <a:lnTo>
                    <a:pt x="501" y="911"/>
                  </a:lnTo>
                  <a:lnTo>
                    <a:pt x="501" y="909"/>
                  </a:lnTo>
                  <a:lnTo>
                    <a:pt x="501" y="909"/>
                  </a:lnTo>
                  <a:lnTo>
                    <a:pt x="499" y="907"/>
                  </a:lnTo>
                  <a:lnTo>
                    <a:pt x="501" y="904"/>
                  </a:lnTo>
                  <a:lnTo>
                    <a:pt x="496" y="902"/>
                  </a:lnTo>
                  <a:lnTo>
                    <a:pt x="499" y="902"/>
                  </a:lnTo>
                  <a:lnTo>
                    <a:pt x="499" y="902"/>
                  </a:lnTo>
                  <a:lnTo>
                    <a:pt x="499" y="900"/>
                  </a:lnTo>
                  <a:lnTo>
                    <a:pt x="501" y="900"/>
                  </a:lnTo>
                  <a:lnTo>
                    <a:pt x="501" y="900"/>
                  </a:lnTo>
                  <a:lnTo>
                    <a:pt x="499" y="897"/>
                  </a:lnTo>
                  <a:lnTo>
                    <a:pt x="496" y="897"/>
                  </a:lnTo>
                  <a:lnTo>
                    <a:pt x="496" y="897"/>
                  </a:lnTo>
                  <a:lnTo>
                    <a:pt x="496" y="895"/>
                  </a:lnTo>
                  <a:lnTo>
                    <a:pt x="496" y="892"/>
                  </a:lnTo>
                  <a:lnTo>
                    <a:pt x="496" y="890"/>
                  </a:lnTo>
                  <a:lnTo>
                    <a:pt x="494" y="888"/>
                  </a:lnTo>
                  <a:lnTo>
                    <a:pt x="496" y="888"/>
                  </a:lnTo>
                  <a:lnTo>
                    <a:pt x="496" y="885"/>
                  </a:lnTo>
                  <a:lnTo>
                    <a:pt x="496" y="883"/>
                  </a:lnTo>
                  <a:lnTo>
                    <a:pt x="496" y="881"/>
                  </a:lnTo>
                  <a:lnTo>
                    <a:pt x="494" y="881"/>
                  </a:lnTo>
                  <a:lnTo>
                    <a:pt x="494" y="878"/>
                  </a:lnTo>
                  <a:lnTo>
                    <a:pt x="491" y="878"/>
                  </a:lnTo>
                  <a:lnTo>
                    <a:pt x="491" y="878"/>
                  </a:lnTo>
                  <a:lnTo>
                    <a:pt x="491" y="876"/>
                  </a:lnTo>
                  <a:lnTo>
                    <a:pt x="487" y="876"/>
                  </a:lnTo>
                  <a:lnTo>
                    <a:pt x="487" y="874"/>
                  </a:lnTo>
                  <a:lnTo>
                    <a:pt x="484" y="871"/>
                  </a:lnTo>
                  <a:lnTo>
                    <a:pt x="487" y="866"/>
                  </a:lnTo>
                  <a:lnTo>
                    <a:pt x="487" y="862"/>
                  </a:lnTo>
                  <a:lnTo>
                    <a:pt x="487" y="859"/>
                  </a:lnTo>
                  <a:lnTo>
                    <a:pt x="487" y="859"/>
                  </a:lnTo>
                  <a:lnTo>
                    <a:pt x="489" y="857"/>
                  </a:lnTo>
                  <a:lnTo>
                    <a:pt x="489" y="857"/>
                  </a:lnTo>
                  <a:lnTo>
                    <a:pt x="491" y="855"/>
                  </a:lnTo>
                  <a:lnTo>
                    <a:pt x="491" y="852"/>
                  </a:lnTo>
                  <a:lnTo>
                    <a:pt x="491" y="852"/>
                  </a:lnTo>
                  <a:lnTo>
                    <a:pt x="491" y="850"/>
                  </a:lnTo>
                  <a:lnTo>
                    <a:pt x="494" y="848"/>
                  </a:lnTo>
                  <a:lnTo>
                    <a:pt x="494" y="848"/>
                  </a:lnTo>
                  <a:lnTo>
                    <a:pt x="494" y="848"/>
                  </a:lnTo>
                  <a:lnTo>
                    <a:pt x="496" y="848"/>
                  </a:lnTo>
                  <a:lnTo>
                    <a:pt x="501" y="848"/>
                  </a:lnTo>
                  <a:lnTo>
                    <a:pt x="501" y="848"/>
                  </a:lnTo>
                  <a:lnTo>
                    <a:pt x="501" y="845"/>
                  </a:lnTo>
                  <a:lnTo>
                    <a:pt x="501" y="843"/>
                  </a:lnTo>
                  <a:lnTo>
                    <a:pt x="501" y="843"/>
                  </a:lnTo>
                  <a:lnTo>
                    <a:pt x="503" y="840"/>
                  </a:lnTo>
                  <a:lnTo>
                    <a:pt x="503" y="840"/>
                  </a:lnTo>
                  <a:lnTo>
                    <a:pt x="503" y="838"/>
                  </a:lnTo>
                  <a:lnTo>
                    <a:pt x="501" y="838"/>
                  </a:lnTo>
                  <a:lnTo>
                    <a:pt x="501" y="836"/>
                  </a:lnTo>
                  <a:lnTo>
                    <a:pt x="501" y="836"/>
                  </a:lnTo>
                  <a:lnTo>
                    <a:pt x="499" y="833"/>
                  </a:lnTo>
                  <a:lnTo>
                    <a:pt x="499" y="833"/>
                  </a:lnTo>
                  <a:lnTo>
                    <a:pt x="499" y="833"/>
                  </a:lnTo>
                  <a:lnTo>
                    <a:pt x="499" y="831"/>
                  </a:lnTo>
                  <a:lnTo>
                    <a:pt x="499" y="831"/>
                  </a:lnTo>
                  <a:lnTo>
                    <a:pt x="496" y="829"/>
                  </a:lnTo>
                  <a:lnTo>
                    <a:pt x="496" y="829"/>
                  </a:lnTo>
                  <a:lnTo>
                    <a:pt x="496" y="826"/>
                  </a:lnTo>
                  <a:lnTo>
                    <a:pt x="496" y="824"/>
                  </a:lnTo>
                  <a:lnTo>
                    <a:pt x="496" y="824"/>
                  </a:lnTo>
                  <a:lnTo>
                    <a:pt x="494" y="822"/>
                  </a:lnTo>
                  <a:lnTo>
                    <a:pt x="491" y="822"/>
                  </a:lnTo>
                  <a:lnTo>
                    <a:pt x="489" y="822"/>
                  </a:lnTo>
                  <a:lnTo>
                    <a:pt x="487" y="822"/>
                  </a:lnTo>
                  <a:lnTo>
                    <a:pt x="484" y="819"/>
                  </a:lnTo>
                  <a:lnTo>
                    <a:pt x="482" y="817"/>
                  </a:lnTo>
                  <a:lnTo>
                    <a:pt x="482" y="815"/>
                  </a:lnTo>
                  <a:lnTo>
                    <a:pt x="480" y="815"/>
                  </a:lnTo>
                  <a:lnTo>
                    <a:pt x="477" y="815"/>
                  </a:lnTo>
                  <a:lnTo>
                    <a:pt x="477" y="812"/>
                  </a:lnTo>
                  <a:lnTo>
                    <a:pt x="477" y="812"/>
                  </a:lnTo>
                  <a:lnTo>
                    <a:pt x="477" y="812"/>
                  </a:lnTo>
                  <a:lnTo>
                    <a:pt x="477" y="812"/>
                  </a:lnTo>
                  <a:lnTo>
                    <a:pt x="477" y="810"/>
                  </a:lnTo>
                  <a:lnTo>
                    <a:pt x="477" y="810"/>
                  </a:lnTo>
                  <a:lnTo>
                    <a:pt x="477" y="810"/>
                  </a:lnTo>
                  <a:lnTo>
                    <a:pt x="477" y="807"/>
                  </a:lnTo>
                  <a:lnTo>
                    <a:pt x="477" y="807"/>
                  </a:lnTo>
                  <a:lnTo>
                    <a:pt x="477" y="807"/>
                  </a:lnTo>
                  <a:lnTo>
                    <a:pt x="477" y="807"/>
                  </a:lnTo>
                  <a:lnTo>
                    <a:pt x="477" y="805"/>
                  </a:lnTo>
                  <a:lnTo>
                    <a:pt x="477" y="805"/>
                  </a:lnTo>
                  <a:lnTo>
                    <a:pt x="477" y="805"/>
                  </a:lnTo>
                  <a:lnTo>
                    <a:pt x="477" y="803"/>
                  </a:lnTo>
                  <a:lnTo>
                    <a:pt x="477" y="803"/>
                  </a:lnTo>
                  <a:lnTo>
                    <a:pt x="477" y="800"/>
                  </a:lnTo>
                  <a:lnTo>
                    <a:pt x="477" y="798"/>
                  </a:lnTo>
                  <a:lnTo>
                    <a:pt x="477" y="798"/>
                  </a:lnTo>
                  <a:lnTo>
                    <a:pt x="477" y="798"/>
                  </a:lnTo>
                  <a:lnTo>
                    <a:pt x="477" y="798"/>
                  </a:lnTo>
                  <a:lnTo>
                    <a:pt x="477" y="796"/>
                  </a:lnTo>
                  <a:lnTo>
                    <a:pt x="480" y="796"/>
                  </a:lnTo>
                  <a:lnTo>
                    <a:pt x="480" y="793"/>
                  </a:lnTo>
                  <a:lnTo>
                    <a:pt x="480" y="791"/>
                  </a:lnTo>
                  <a:lnTo>
                    <a:pt x="480" y="791"/>
                  </a:lnTo>
                  <a:lnTo>
                    <a:pt x="482" y="789"/>
                  </a:lnTo>
                  <a:lnTo>
                    <a:pt x="484" y="789"/>
                  </a:lnTo>
                  <a:lnTo>
                    <a:pt x="484" y="784"/>
                  </a:lnTo>
                  <a:lnTo>
                    <a:pt x="484" y="784"/>
                  </a:lnTo>
                  <a:lnTo>
                    <a:pt x="484" y="781"/>
                  </a:lnTo>
                  <a:lnTo>
                    <a:pt x="482" y="779"/>
                  </a:lnTo>
                  <a:lnTo>
                    <a:pt x="482" y="779"/>
                  </a:lnTo>
                  <a:lnTo>
                    <a:pt x="482" y="777"/>
                  </a:lnTo>
                  <a:lnTo>
                    <a:pt x="480" y="774"/>
                  </a:lnTo>
                  <a:lnTo>
                    <a:pt x="480" y="774"/>
                  </a:lnTo>
                  <a:lnTo>
                    <a:pt x="477" y="774"/>
                  </a:lnTo>
                  <a:lnTo>
                    <a:pt x="475" y="770"/>
                  </a:lnTo>
                  <a:lnTo>
                    <a:pt x="473" y="770"/>
                  </a:lnTo>
                  <a:lnTo>
                    <a:pt x="470" y="767"/>
                  </a:lnTo>
                  <a:lnTo>
                    <a:pt x="468" y="767"/>
                  </a:lnTo>
                  <a:lnTo>
                    <a:pt x="468" y="765"/>
                  </a:lnTo>
                  <a:lnTo>
                    <a:pt x="463" y="765"/>
                  </a:lnTo>
                  <a:lnTo>
                    <a:pt x="463" y="765"/>
                  </a:lnTo>
                  <a:lnTo>
                    <a:pt x="461" y="763"/>
                  </a:lnTo>
                  <a:lnTo>
                    <a:pt x="458" y="760"/>
                  </a:lnTo>
                  <a:lnTo>
                    <a:pt x="458" y="760"/>
                  </a:lnTo>
                  <a:lnTo>
                    <a:pt x="458" y="758"/>
                  </a:lnTo>
                  <a:lnTo>
                    <a:pt x="461" y="758"/>
                  </a:lnTo>
                  <a:lnTo>
                    <a:pt x="461" y="758"/>
                  </a:lnTo>
                  <a:lnTo>
                    <a:pt x="461" y="755"/>
                  </a:lnTo>
                  <a:lnTo>
                    <a:pt x="458" y="755"/>
                  </a:lnTo>
                  <a:lnTo>
                    <a:pt x="458" y="753"/>
                  </a:lnTo>
                  <a:lnTo>
                    <a:pt x="456" y="751"/>
                  </a:lnTo>
                  <a:lnTo>
                    <a:pt x="456" y="748"/>
                  </a:lnTo>
                  <a:lnTo>
                    <a:pt x="454" y="751"/>
                  </a:lnTo>
                  <a:lnTo>
                    <a:pt x="454" y="751"/>
                  </a:lnTo>
                  <a:lnTo>
                    <a:pt x="451" y="751"/>
                  </a:lnTo>
                  <a:lnTo>
                    <a:pt x="449" y="753"/>
                  </a:lnTo>
                  <a:lnTo>
                    <a:pt x="447" y="753"/>
                  </a:lnTo>
                  <a:lnTo>
                    <a:pt x="444" y="753"/>
                  </a:lnTo>
                  <a:lnTo>
                    <a:pt x="444" y="755"/>
                  </a:lnTo>
                  <a:lnTo>
                    <a:pt x="442" y="755"/>
                  </a:lnTo>
                  <a:lnTo>
                    <a:pt x="439" y="755"/>
                  </a:lnTo>
                  <a:lnTo>
                    <a:pt x="439" y="758"/>
                  </a:lnTo>
                  <a:lnTo>
                    <a:pt x="437" y="760"/>
                  </a:lnTo>
                  <a:lnTo>
                    <a:pt x="435" y="760"/>
                  </a:lnTo>
                  <a:lnTo>
                    <a:pt x="432" y="760"/>
                  </a:lnTo>
                  <a:lnTo>
                    <a:pt x="432" y="760"/>
                  </a:lnTo>
                  <a:lnTo>
                    <a:pt x="430" y="758"/>
                  </a:lnTo>
                  <a:lnTo>
                    <a:pt x="430" y="758"/>
                  </a:lnTo>
                  <a:lnTo>
                    <a:pt x="430" y="755"/>
                  </a:lnTo>
                  <a:lnTo>
                    <a:pt x="430" y="755"/>
                  </a:lnTo>
                  <a:lnTo>
                    <a:pt x="425" y="751"/>
                  </a:lnTo>
                  <a:lnTo>
                    <a:pt x="423" y="751"/>
                  </a:lnTo>
                  <a:lnTo>
                    <a:pt x="421" y="753"/>
                  </a:lnTo>
                  <a:lnTo>
                    <a:pt x="421" y="753"/>
                  </a:lnTo>
                  <a:lnTo>
                    <a:pt x="418" y="753"/>
                  </a:lnTo>
                  <a:lnTo>
                    <a:pt x="413" y="753"/>
                  </a:lnTo>
                  <a:lnTo>
                    <a:pt x="409" y="755"/>
                  </a:lnTo>
                  <a:lnTo>
                    <a:pt x="406" y="753"/>
                  </a:lnTo>
                  <a:lnTo>
                    <a:pt x="406" y="753"/>
                  </a:lnTo>
                  <a:lnTo>
                    <a:pt x="404" y="755"/>
                  </a:lnTo>
                  <a:lnTo>
                    <a:pt x="404" y="758"/>
                  </a:lnTo>
                  <a:lnTo>
                    <a:pt x="404" y="758"/>
                  </a:lnTo>
                  <a:lnTo>
                    <a:pt x="404" y="758"/>
                  </a:lnTo>
                  <a:lnTo>
                    <a:pt x="404" y="760"/>
                  </a:lnTo>
                  <a:lnTo>
                    <a:pt x="404" y="760"/>
                  </a:lnTo>
                  <a:lnTo>
                    <a:pt x="404" y="760"/>
                  </a:lnTo>
                  <a:lnTo>
                    <a:pt x="404" y="760"/>
                  </a:lnTo>
                  <a:lnTo>
                    <a:pt x="404" y="763"/>
                  </a:lnTo>
                  <a:lnTo>
                    <a:pt x="404" y="765"/>
                  </a:lnTo>
                  <a:lnTo>
                    <a:pt x="404" y="767"/>
                  </a:lnTo>
                  <a:lnTo>
                    <a:pt x="404" y="767"/>
                  </a:lnTo>
                  <a:lnTo>
                    <a:pt x="402" y="770"/>
                  </a:lnTo>
                  <a:lnTo>
                    <a:pt x="399" y="770"/>
                  </a:lnTo>
                  <a:lnTo>
                    <a:pt x="397" y="770"/>
                  </a:lnTo>
                  <a:lnTo>
                    <a:pt x="395" y="767"/>
                  </a:lnTo>
                  <a:lnTo>
                    <a:pt x="395" y="763"/>
                  </a:lnTo>
                  <a:lnTo>
                    <a:pt x="390" y="760"/>
                  </a:lnTo>
                  <a:lnTo>
                    <a:pt x="390" y="760"/>
                  </a:lnTo>
                  <a:lnTo>
                    <a:pt x="387" y="760"/>
                  </a:lnTo>
                  <a:lnTo>
                    <a:pt x="387" y="765"/>
                  </a:lnTo>
                  <a:lnTo>
                    <a:pt x="387" y="767"/>
                  </a:lnTo>
                  <a:lnTo>
                    <a:pt x="387" y="767"/>
                  </a:lnTo>
                  <a:lnTo>
                    <a:pt x="385" y="770"/>
                  </a:lnTo>
                  <a:lnTo>
                    <a:pt x="383" y="770"/>
                  </a:lnTo>
                  <a:lnTo>
                    <a:pt x="383" y="772"/>
                  </a:lnTo>
                  <a:lnTo>
                    <a:pt x="378" y="774"/>
                  </a:lnTo>
                  <a:lnTo>
                    <a:pt x="376" y="774"/>
                  </a:lnTo>
                  <a:lnTo>
                    <a:pt x="373" y="774"/>
                  </a:lnTo>
                  <a:lnTo>
                    <a:pt x="371" y="772"/>
                  </a:lnTo>
                  <a:lnTo>
                    <a:pt x="369" y="770"/>
                  </a:lnTo>
                  <a:lnTo>
                    <a:pt x="369" y="767"/>
                  </a:lnTo>
                  <a:lnTo>
                    <a:pt x="366" y="767"/>
                  </a:lnTo>
                  <a:lnTo>
                    <a:pt x="366" y="767"/>
                  </a:lnTo>
                  <a:lnTo>
                    <a:pt x="366" y="767"/>
                  </a:lnTo>
                  <a:lnTo>
                    <a:pt x="364" y="765"/>
                  </a:lnTo>
                  <a:lnTo>
                    <a:pt x="361" y="760"/>
                  </a:lnTo>
                  <a:lnTo>
                    <a:pt x="359" y="760"/>
                  </a:lnTo>
                  <a:lnTo>
                    <a:pt x="359" y="758"/>
                  </a:lnTo>
                  <a:lnTo>
                    <a:pt x="357" y="758"/>
                  </a:lnTo>
                  <a:lnTo>
                    <a:pt x="357" y="760"/>
                  </a:lnTo>
                  <a:lnTo>
                    <a:pt x="357" y="760"/>
                  </a:lnTo>
                  <a:lnTo>
                    <a:pt x="357" y="765"/>
                  </a:lnTo>
                  <a:lnTo>
                    <a:pt x="357" y="765"/>
                  </a:lnTo>
                  <a:lnTo>
                    <a:pt x="359" y="770"/>
                  </a:lnTo>
                  <a:lnTo>
                    <a:pt x="359" y="770"/>
                  </a:lnTo>
                  <a:lnTo>
                    <a:pt x="359" y="772"/>
                  </a:lnTo>
                  <a:lnTo>
                    <a:pt x="359" y="772"/>
                  </a:lnTo>
                  <a:lnTo>
                    <a:pt x="357" y="774"/>
                  </a:lnTo>
                  <a:lnTo>
                    <a:pt x="354" y="774"/>
                  </a:lnTo>
                  <a:lnTo>
                    <a:pt x="354" y="774"/>
                  </a:lnTo>
                  <a:lnTo>
                    <a:pt x="352" y="774"/>
                  </a:lnTo>
                  <a:lnTo>
                    <a:pt x="352" y="772"/>
                  </a:lnTo>
                  <a:lnTo>
                    <a:pt x="350" y="770"/>
                  </a:lnTo>
                  <a:lnTo>
                    <a:pt x="347" y="770"/>
                  </a:lnTo>
                  <a:lnTo>
                    <a:pt x="345" y="770"/>
                  </a:lnTo>
                  <a:lnTo>
                    <a:pt x="343" y="770"/>
                  </a:lnTo>
                  <a:lnTo>
                    <a:pt x="343" y="770"/>
                  </a:lnTo>
                  <a:lnTo>
                    <a:pt x="340" y="770"/>
                  </a:lnTo>
                  <a:lnTo>
                    <a:pt x="340" y="770"/>
                  </a:lnTo>
                  <a:lnTo>
                    <a:pt x="336" y="770"/>
                  </a:lnTo>
                  <a:lnTo>
                    <a:pt x="331" y="770"/>
                  </a:lnTo>
                  <a:lnTo>
                    <a:pt x="331" y="770"/>
                  </a:lnTo>
                  <a:lnTo>
                    <a:pt x="326" y="772"/>
                  </a:lnTo>
                  <a:lnTo>
                    <a:pt x="321" y="772"/>
                  </a:lnTo>
                  <a:lnTo>
                    <a:pt x="319" y="772"/>
                  </a:lnTo>
                  <a:lnTo>
                    <a:pt x="317" y="772"/>
                  </a:lnTo>
                  <a:lnTo>
                    <a:pt x="314" y="772"/>
                  </a:lnTo>
                  <a:lnTo>
                    <a:pt x="312" y="772"/>
                  </a:lnTo>
                  <a:lnTo>
                    <a:pt x="310" y="777"/>
                  </a:lnTo>
                  <a:lnTo>
                    <a:pt x="305" y="777"/>
                  </a:lnTo>
                  <a:lnTo>
                    <a:pt x="302" y="777"/>
                  </a:lnTo>
                  <a:lnTo>
                    <a:pt x="302" y="777"/>
                  </a:lnTo>
                  <a:lnTo>
                    <a:pt x="300" y="777"/>
                  </a:lnTo>
                  <a:lnTo>
                    <a:pt x="295" y="774"/>
                  </a:lnTo>
                  <a:lnTo>
                    <a:pt x="295" y="774"/>
                  </a:lnTo>
                  <a:lnTo>
                    <a:pt x="293" y="774"/>
                  </a:lnTo>
                  <a:lnTo>
                    <a:pt x="288" y="777"/>
                  </a:lnTo>
                  <a:lnTo>
                    <a:pt x="284" y="777"/>
                  </a:lnTo>
                  <a:lnTo>
                    <a:pt x="284" y="777"/>
                  </a:lnTo>
                  <a:lnTo>
                    <a:pt x="281" y="777"/>
                  </a:lnTo>
                  <a:lnTo>
                    <a:pt x="279" y="779"/>
                  </a:lnTo>
                  <a:lnTo>
                    <a:pt x="279" y="781"/>
                  </a:lnTo>
                  <a:lnTo>
                    <a:pt x="279" y="784"/>
                  </a:lnTo>
                  <a:lnTo>
                    <a:pt x="279" y="784"/>
                  </a:lnTo>
                  <a:lnTo>
                    <a:pt x="279" y="784"/>
                  </a:lnTo>
                  <a:lnTo>
                    <a:pt x="276" y="786"/>
                  </a:lnTo>
                  <a:lnTo>
                    <a:pt x="274" y="789"/>
                  </a:lnTo>
                  <a:lnTo>
                    <a:pt x="274" y="793"/>
                  </a:lnTo>
                  <a:lnTo>
                    <a:pt x="274" y="793"/>
                  </a:lnTo>
                  <a:lnTo>
                    <a:pt x="276" y="796"/>
                  </a:lnTo>
                  <a:lnTo>
                    <a:pt x="276" y="800"/>
                  </a:lnTo>
                  <a:lnTo>
                    <a:pt x="276" y="805"/>
                  </a:lnTo>
                  <a:lnTo>
                    <a:pt x="276" y="805"/>
                  </a:lnTo>
                  <a:lnTo>
                    <a:pt x="276" y="807"/>
                  </a:lnTo>
                  <a:lnTo>
                    <a:pt x="276" y="807"/>
                  </a:lnTo>
                  <a:lnTo>
                    <a:pt x="276" y="812"/>
                  </a:lnTo>
                  <a:lnTo>
                    <a:pt x="274" y="812"/>
                  </a:lnTo>
                  <a:lnTo>
                    <a:pt x="274" y="812"/>
                  </a:lnTo>
                  <a:lnTo>
                    <a:pt x="265" y="807"/>
                  </a:lnTo>
                  <a:lnTo>
                    <a:pt x="265" y="805"/>
                  </a:lnTo>
                  <a:lnTo>
                    <a:pt x="265" y="791"/>
                  </a:lnTo>
                  <a:lnTo>
                    <a:pt x="265" y="789"/>
                  </a:lnTo>
                  <a:lnTo>
                    <a:pt x="265" y="781"/>
                  </a:lnTo>
                  <a:lnTo>
                    <a:pt x="262" y="777"/>
                  </a:lnTo>
                  <a:lnTo>
                    <a:pt x="262" y="777"/>
                  </a:lnTo>
                  <a:lnTo>
                    <a:pt x="258" y="774"/>
                  </a:lnTo>
                  <a:lnTo>
                    <a:pt x="258" y="774"/>
                  </a:lnTo>
                  <a:lnTo>
                    <a:pt x="253" y="774"/>
                  </a:lnTo>
                  <a:lnTo>
                    <a:pt x="253" y="774"/>
                  </a:lnTo>
                  <a:lnTo>
                    <a:pt x="248" y="781"/>
                  </a:lnTo>
                  <a:lnTo>
                    <a:pt x="246" y="789"/>
                  </a:lnTo>
                  <a:lnTo>
                    <a:pt x="243" y="791"/>
                  </a:lnTo>
                  <a:lnTo>
                    <a:pt x="239" y="796"/>
                  </a:lnTo>
                  <a:lnTo>
                    <a:pt x="239" y="796"/>
                  </a:lnTo>
                  <a:lnTo>
                    <a:pt x="239" y="796"/>
                  </a:lnTo>
                  <a:lnTo>
                    <a:pt x="236" y="796"/>
                  </a:lnTo>
                  <a:lnTo>
                    <a:pt x="232" y="793"/>
                  </a:lnTo>
                  <a:lnTo>
                    <a:pt x="232" y="793"/>
                  </a:lnTo>
                  <a:lnTo>
                    <a:pt x="227" y="789"/>
                  </a:lnTo>
                  <a:lnTo>
                    <a:pt x="227" y="786"/>
                  </a:lnTo>
                  <a:lnTo>
                    <a:pt x="227" y="784"/>
                  </a:lnTo>
                  <a:lnTo>
                    <a:pt x="222" y="777"/>
                  </a:lnTo>
                  <a:lnTo>
                    <a:pt x="222" y="770"/>
                  </a:lnTo>
                  <a:lnTo>
                    <a:pt x="222" y="767"/>
                  </a:lnTo>
                  <a:lnTo>
                    <a:pt x="222" y="767"/>
                  </a:lnTo>
                  <a:lnTo>
                    <a:pt x="222" y="765"/>
                  </a:lnTo>
                  <a:lnTo>
                    <a:pt x="224" y="758"/>
                  </a:lnTo>
                  <a:lnTo>
                    <a:pt x="224" y="755"/>
                  </a:lnTo>
                  <a:lnTo>
                    <a:pt x="227" y="755"/>
                  </a:lnTo>
                  <a:lnTo>
                    <a:pt x="229" y="755"/>
                  </a:lnTo>
                  <a:lnTo>
                    <a:pt x="229" y="753"/>
                  </a:lnTo>
                  <a:lnTo>
                    <a:pt x="229" y="751"/>
                  </a:lnTo>
                  <a:lnTo>
                    <a:pt x="229" y="751"/>
                  </a:lnTo>
                  <a:lnTo>
                    <a:pt x="227" y="751"/>
                  </a:lnTo>
                  <a:lnTo>
                    <a:pt x="224" y="748"/>
                  </a:lnTo>
                  <a:lnTo>
                    <a:pt x="220" y="751"/>
                  </a:lnTo>
                  <a:lnTo>
                    <a:pt x="217" y="751"/>
                  </a:lnTo>
                  <a:lnTo>
                    <a:pt x="215" y="753"/>
                  </a:lnTo>
                  <a:lnTo>
                    <a:pt x="206" y="751"/>
                  </a:lnTo>
                  <a:lnTo>
                    <a:pt x="203" y="751"/>
                  </a:lnTo>
                  <a:lnTo>
                    <a:pt x="199" y="748"/>
                  </a:lnTo>
                  <a:lnTo>
                    <a:pt x="199" y="748"/>
                  </a:lnTo>
                  <a:lnTo>
                    <a:pt x="196" y="744"/>
                  </a:lnTo>
                  <a:lnTo>
                    <a:pt x="194" y="744"/>
                  </a:lnTo>
                  <a:lnTo>
                    <a:pt x="191" y="741"/>
                  </a:lnTo>
                  <a:lnTo>
                    <a:pt x="189" y="744"/>
                  </a:lnTo>
                  <a:lnTo>
                    <a:pt x="187" y="744"/>
                  </a:lnTo>
                  <a:lnTo>
                    <a:pt x="184" y="744"/>
                  </a:lnTo>
                  <a:lnTo>
                    <a:pt x="182" y="746"/>
                  </a:lnTo>
                  <a:lnTo>
                    <a:pt x="182" y="746"/>
                  </a:lnTo>
                  <a:lnTo>
                    <a:pt x="180" y="746"/>
                  </a:lnTo>
                  <a:lnTo>
                    <a:pt x="170" y="746"/>
                  </a:lnTo>
                  <a:lnTo>
                    <a:pt x="165" y="746"/>
                  </a:lnTo>
                  <a:lnTo>
                    <a:pt x="165" y="746"/>
                  </a:lnTo>
                  <a:lnTo>
                    <a:pt x="161" y="746"/>
                  </a:lnTo>
                  <a:lnTo>
                    <a:pt x="161" y="746"/>
                  </a:lnTo>
                  <a:lnTo>
                    <a:pt x="156" y="746"/>
                  </a:lnTo>
                  <a:lnTo>
                    <a:pt x="154" y="748"/>
                  </a:lnTo>
                  <a:lnTo>
                    <a:pt x="151" y="748"/>
                  </a:lnTo>
                  <a:lnTo>
                    <a:pt x="147" y="748"/>
                  </a:lnTo>
                  <a:lnTo>
                    <a:pt x="147" y="746"/>
                  </a:lnTo>
                  <a:lnTo>
                    <a:pt x="139" y="744"/>
                  </a:lnTo>
                  <a:lnTo>
                    <a:pt x="132" y="746"/>
                  </a:lnTo>
                  <a:lnTo>
                    <a:pt x="130" y="744"/>
                  </a:lnTo>
                  <a:lnTo>
                    <a:pt x="128" y="744"/>
                  </a:lnTo>
                  <a:lnTo>
                    <a:pt x="128" y="744"/>
                  </a:lnTo>
                  <a:lnTo>
                    <a:pt x="125" y="739"/>
                  </a:lnTo>
                  <a:lnTo>
                    <a:pt x="123" y="739"/>
                  </a:lnTo>
                  <a:lnTo>
                    <a:pt x="121" y="739"/>
                  </a:lnTo>
                  <a:lnTo>
                    <a:pt x="121" y="739"/>
                  </a:lnTo>
                  <a:lnTo>
                    <a:pt x="116" y="739"/>
                  </a:lnTo>
                  <a:lnTo>
                    <a:pt x="113" y="739"/>
                  </a:lnTo>
                  <a:lnTo>
                    <a:pt x="113" y="739"/>
                  </a:lnTo>
                  <a:lnTo>
                    <a:pt x="111" y="739"/>
                  </a:lnTo>
                  <a:lnTo>
                    <a:pt x="109" y="737"/>
                  </a:lnTo>
                  <a:lnTo>
                    <a:pt x="106" y="737"/>
                  </a:lnTo>
                  <a:lnTo>
                    <a:pt x="102" y="739"/>
                  </a:lnTo>
                  <a:lnTo>
                    <a:pt x="97" y="737"/>
                  </a:lnTo>
                  <a:lnTo>
                    <a:pt x="95" y="739"/>
                  </a:lnTo>
                  <a:lnTo>
                    <a:pt x="92" y="739"/>
                  </a:lnTo>
                  <a:lnTo>
                    <a:pt x="92" y="737"/>
                  </a:lnTo>
                  <a:lnTo>
                    <a:pt x="90" y="737"/>
                  </a:lnTo>
                  <a:lnTo>
                    <a:pt x="90" y="737"/>
                  </a:lnTo>
                  <a:lnTo>
                    <a:pt x="87" y="734"/>
                  </a:lnTo>
                  <a:lnTo>
                    <a:pt x="80" y="729"/>
                  </a:lnTo>
                  <a:lnTo>
                    <a:pt x="78" y="727"/>
                  </a:lnTo>
                  <a:lnTo>
                    <a:pt x="76" y="727"/>
                  </a:lnTo>
                  <a:lnTo>
                    <a:pt x="73" y="727"/>
                  </a:lnTo>
                  <a:lnTo>
                    <a:pt x="73" y="727"/>
                  </a:lnTo>
                  <a:lnTo>
                    <a:pt x="71" y="727"/>
                  </a:lnTo>
                  <a:lnTo>
                    <a:pt x="69" y="727"/>
                  </a:lnTo>
                  <a:lnTo>
                    <a:pt x="66" y="729"/>
                  </a:lnTo>
                  <a:lnTo>
                    <a:pt x="64" y="729"/>
                  </a:lnTo>
                  <a:lnTo>
                    <a:pt x="61" y="729"/>
                  </a:lnTo>
                  <a:lnTo>
                    <a:pt x="61" y="729"/>
                  </a:lnTo>
                  <a:lnTo>
                    <a:pt x="59" y="732"/>
                  </a:lnTo>
                  <a:lnTo>
                    <a:pt x="57" y="737"/>
                  </a:lnTo>
                  <a:lnTo>
                    <a:pt x="54" y="737"/>
                  </a:lnTo>
                  <a:lnTo>
                    <a:pt x="54" y="739"/>
                  </a:lnTo>
                  <a:lnTo>
                    <a:pt x="52" y="741"/>
                  </a:lnTo>
                  <a:lnTo>
                    <a:pt x="50" y="741"/>
                  </a:lnTo>
                  <a:lnTo>
                    <a:pt x="47" y="744"/>
                  </a:lnTo>
                  <a:lnTo>
                    <a:pt x="47" y="744"/>
                  </a:lnTo>
                  <a:lnTo>
                    <a:pt x="43" y="746"/>
                  </a:lnTo>
                  <a:lnTo>
                    <a:pt x="36" y="746"/>
                  </a:lnTo>
                  <a:lnTo>
                    <a:pt x="33" y="746"/>
                  </a:lnTo>
                  <a:lnTo>
                    <a:pt x="33" y="748"/>
                  </a:lnTo>
                  <a:lnTo>
                    <a:pt x="31" y="748"/>
                  </a:lnTo>
                  <a:lnTo>
                    <a:pt x="26" y="751"/>
                  </a:lnTo>
                  <a:lnTo>
                    <a:pt x="26" y="751"/>
                  </a:lnTo>
                  <a:lnTo>
                    <a:pt x="24" y="753"/>
                  </a:lnTo>
                  <a:lnTo>
                    <a:pt x="21" y="753"/>
                  </a:lnTo>
                  <a:lnTo>
                    <a:pt x="19" y="753"/>
                  </a:lnTo>
                  <a:lnTo>
                    <a:pt x="19" y="753"/>
                  </a:lnTo>
                  <a:lnTo>
                    <a:pt x="19" y="755"/>
                  </a:lnTo>
                  <a:lnTo>
                    <a:pt x="17" y="758"/>
                  </a:lnTo>
                  <a:lnTo>
                    <a:pt x="14" y="758"/>
                  </a:lnTo>
                  <a:lnTo>
                    <a:pt x="14" y="758"/>
                  </a:lnTo>
                  <a:lnTo>
                    <a:pt x="12" y="758"/>
                  </a:lnTo>
                  <a:lnTo>
                    <a:pt x="12" y="760"/>
                  </a:lnTo>
                  <a:lnTo>
                    <a:pt x="7" y="765"/>
                  </a:lnTo>
                  <a:lnTo>
                    <a:pt x="7" y="765"/>
                  </a:lnTo>
                  <a:lnTo>
                    <a:pt x="5" y="760"/>
                  </a:lnTo>
                  <a:lnTo>
                    <a:pt x="5" y="760"/>
                  </a:lnTo>
                  <a:lnTo>
                    <a:pt x="7" y="758"/>
                  </a:lnTo>
                  <a:lnTo>
                    <a:pt x="7" y="755"/>
                  </a:lnTo>
                  <a:lnTo>
                    <a:pt x="5" y="751"/>
                  </a:lnTo>
                  <a:lnTo>
                    <a:pt x="7" y="744"/>
                  </a:lnTo>
                  <a:lnTo>
                    <a:pt x="7" y="744"/>
                  </a:lnTo>
                  <a:lnTo>
                    <a:pt x="7" y="741"/>
                  </a:lnTo>
                  <a:lnTo>
                    <a:pt x="7" y="741"/>
                  </a:lnTo>
                  <a:lnTo>
                    <a:pt x="5" y="739"/>
                  </a:lnTo>
                  <a:lnTo>
                    <a:pt x="5" y="737"/>
                  </a:lnTo>
                  <a:lnTo>
                    <a:pt x="5" y="734"/>
                  </a:lnTo>
                  <a:lnTo>
                    <a:pt x="5" y="729"/>
                  </a:lnTo>
                  <a:lnTo>
                    <a:pt x="2" y="727"/>
                  </a:lnTo>
                  <a:lnTo>
                    <a:pt x="2" y="727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 cap="flat">
              <a:solidFill>
                <a:schemeClr val="bg2">
                  <a:lumMod val="7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>
                <a:solidFill>
                  <a:srgbClr val="000000"/>
                </a:solidFill>
              </a:endParaRPr>
            </a:p>
          </p:txBody>
        </p:sp>
        <p:sp>
          <p:nvSpPr>
            <p:cNvPr id="86" name="Freeform 29"/>
            <p:cNvSpPr>
              <a:spLocks noEditPoints="1"/>
            </p:cNvSpPr>
            <p:nvPr/>
          </p:nvSpPr>
          <p:spPr bwMode="gray">
            <a:xfrm>
              <a:off x="3174560" y="5217274"/>
              <a:ext cx="402406" cy="297629"/>
            </a:xfrm>
            <a:custGeom>
              <a:avLst/>
              <a:gdLst/>
              <a:ahLst/>
              <a:cxnLst>
                <a:cxn ang="0">
                  <a:pos x="12" y="295"/>
                </a:cxn>
                <a:cxn ang="0">
                  <a:pos x="45" y="274"/>
                </a:cxn>
                <a:cxn ang="0">
                  <a:pos x="83" y="267"/>
                </a:cxn>
                <a:cxn ang="0">
                  <a:pos x="85" y="241"/>
                </a:cxn>
                <a:cxn ang="0">
                  <a:pos x="61" y="241"/>
                </a:cxn>
                <a:cxn ang="0">
                  <a:pos x="35" y="243"/>
                </a:cxn>
                <a:cxn ang="0">
                  <a:pos x="12" y="212"/>
                </a:cxn>
                <a:cxn ang="0">
                  <a:pos x="54" y="198"/>
                </a:cxn>
                <a:cxn ang="0">
                  <a:pos x="85" y="196"/>
                </a:cxn>
                <a:cxn ang="0">
                  <a:pos x="111" y="182"/>
                </a:cxn>
                <a:cxn ang="0">
                  <a:pos x="149" y="172"/>
                </a:cxn>
                <a:cxn ang="0">
                  <a:pos x="177" y="170"/>
                </a:cxn>
                <a:cxn ang="0">
                  <a:pos x="220" y="165"/>
                </a:cxn>
                <a:cxn ang="0">
                  <a:pos x="269" y="151"/>
                </a:cxn>
                <a:cxn ang="0">
                  <a:pos x="328" y="115"/>
                </a:cxn>
                <a:cxn ang="0">
                  <a:pos x="331" y="87"/>
                </a:cxn>
                <a:cxn ang="0">
                  <a:pos x="340" y="59"/>
                </a:cxn>
                <a:cxn ang="0">
                  <a:pos x="350" y="30"/>
                </a:cxn>
                <a:cxn ang="0">
                  <a:pos x="376" y="9"/>
                </a:cxn>
                <a:cxn ang="0">
                  <a:pos x="399" y="11"/>
                </a:cxn>
                <a:cxn ang="0">
                  <a:pos x="402" y="40"/>
                </a:cxn>
                <a:cxn ang="0">
                  <a:pos x="428" y="56"/>
                </a:cxn>
                <a:cxn ang="0">
                  <a:pos x="458" y="61"/>
                </a:cxn>
                <a:cxn ang="0">
                  <a:pos x="484" y="61"/>
                </a:cxn>
                <a:cxn ang="0">
                  <a:pos x="487" y="108"/>
                </a:cxn>
                <a:cxn ang="0">
                  <a:pos x="394" y="208"/>
                </a:cxn>
                <a:cxn ang="0">
                  <a:pos x="373" y="257"/>
                </a:cxn>
                <a:cxn ang="0">
                  <a:pos x="373" y="269"/>
                </a:cxn>
                <a:cxn ang="0">
                  <a:pos x="364" y="290"/>
                </a:cxn>
                <a:cxn ang="0">
                  <a:pos x="236" y="288"/>
                </a:cxn>
                <a:cxn ang="0">
                  <a:pos x="227" y="274"/>
                </a:cxn>
                <a:cxn ang="0">
                  <a:pos x="224" y="252"/>
                </a:cxn>
                <a:cxn ang="0">
                  <a:pos x="210" y="274"/>
                </a:cxn>
                <a:cxn ang="0">
                  <a:pos x="215" y="269"/>
                </a:cxn>
                <a:cxn ang="0">
                  <a:pos x="217" y="278"/>
                </a:cxn>
                <a:cxn ang="0">
                  <a:pos x="203" y="293"/>
                </a:cxn>
                <a:cxn ang="0">
                  <a:pos x="198" y="293"/>
                </a:cxn>
                <a:cxn ang="0">
                  <a:pos x="111" y="304"/>
                </a:cxn>
                <a:cxn ang="0">
                  <a:pos x="168" y="300"/>
                </a:cxn>
                <a:cxn ang="0">
                  <a:pos x="137" y="281"/>
                </a:cxn>
                <a:cxn ang="0">
                  <a:pos x="128" y="283"/>
                </a:cxn>
                <a:cxn ang="0">
                  <a:pos x="102" y="293"/>
                </a:cxn>
                <a:cxn ang="0">
                  <a:pos x="80" y="290"/>
                </a:cxn>
                <a:cxn ang="0">
                  <a:pos x="73" y="288"/>
                </a:cxn>
                <a:cxn ang="0">
                  <a:pos x="66" y="288"/>
                </a:cxn>
                <a:cxn ang="0">
                  <a:pos x="54" y="293"/>
                </a:cxn>
                <a:cxn ang="0">
                  <a:pos x="26" y="302"/>
                </a:cxn>
                <a:cxn ang="0">
                  <a:pos x="24" y="323"/>
                </a:cxn>
                <a:cxn ang="0">
                  <a:pos x="33" y="321"/>
                </a:cxn>
                <a:cxn ang="0">
                  <a:pos x="31" y="330"/>
                </a:cxn>
                <a:cxn ang="0">
                  <a:pos x="43" y="335"/>
                </a:cxn>
                <a:cxn ang="0">
                  <a:pos x="19" y="340"/>
                </a:cxn>
                <a:cxn ang="0">
                  <a:pos x="406" y="215"/>
                </a:cxn>
                <a:cxn ang="0">
                  <a:pos x="206" y="297"/>
                </a:cxn>
                <a:cxn ang="0">
                  <a:pos x="43" y="300"/>
                </a:cxn>
                <a:cxn ang="0">
                  <a:pos x="118" y="295"/>
                </a:cxn>
                <a:cxn ang="0">
                  <a:pos x="38" y="319"/>
                </a:cxn>
                <a:cxn ang="0">
                  <a:pos x="220" y="300"/>
                </a:cxn>
                <a:cxn ang="0">
                  <a:pos x="106" y="293"/>
                </a:cxn>
                <a:cxn ang="0">
                  <a:pos x="73" y="316"/>
                </a:cxn>
                <a:cxn ang="0">
                  <a:pos x="76" y="309"/>
                </a:cxn>
                <a:cxn ang="0">
                  <a:pos x="92" y="309"/>
                </a:cxn>
                <a:cxn ang="0">
                  <a:pos x="87" y="316"/>
                </a:cxn>
              </a:cxnLst>
              <a:rect l="0" t="0" r="r" b="b"/>
              <a:pathLst>
                <a:path w="498" h="340">
                  <a:moveTo>
                    <a:pt x="0" y="319"/>
                  </a:moveTo>
                  <a:lnTo>
                    <a:pt x="2" y="319"/>
                  </a:lnTo>
                  <a:lnTo>
                    <a:pt x="2" y="316"/>
                  </a:lnTo>
                  <a:lnTo>
                    <a:pt x="2" y="316"/>
                  </a:lnTo>
                  <a:lnTo>
                    <a:pt x="5" y="316"/>
                  </a:lnTo>
                  <a:lnTo>
                    <a:pt x="5" y="316"/>
                  </a:lnTo>
                  <a:lnTo>
                    <a:pt x="5" y="314"/>
                  </a:lnTo>
                  <a:lnTo>
                    <a:pt x="5" y="314"/>
                  </a:lnTo>
                  <a:lnTo>
                    <a:pt x="7" y="314"/>
                  </a:lnTo>
                  <a:lnTo>
                    <a:pt x="7" y="314"/>
                  </a:lnTo>
                  <a:lnTo>
                    <a:pt x="9" y="314"/>
                  </a:lnTo>
                  <a:lnTo>
                    <a:pt x="7" y="311"/>
                  </a:lnTo>
                  <a:lnTo>
                    <a:pt x="9" y="309"/>
                  </a:lnTo>
                  <a:lnTo>
                    <a:pt x="9" y="309"/>
                  </a:lnTo>
                  <a:lnTo>
                    <a:pt x="9" y="309"/>
                  </a:lnTo>
                  <a:lnTo>
                    <a:pt x="9" y="307"/>
                  </a:lnTo>
                  <a:lnTo>
                    <a:pt x="9" y="307"/>
                  </a:lnTo>
                  <a:lnTo>
                    <a:pt x="9" y="307"/>
                  </a:lnTo>
                  <a:lnTo>
                    <a:pt x="9" y="304"/>
                  </a:lnTo>
                  <a:lnTo>
                    <a:pt x="9" y="304"/>
                  </a:lnTo>
                  <a:lnTo>
                    <a:pt x="9" y="304"/>
                  </a:lnTo>
                  <a:lnTo>
                    <a:pt x="9" y="304"/>
                  </a:lnTo>
                  <a:lnTo>
                    <a:pt x="9" y="304"/>
                  </a:lnTo>
                  <a:lnTo>
                    <a:pt x="9" y="302"/>
                  </a:lnTo>
                  <a:lnTo>
                    <a:pt x="9" y="302"/>
                  </a:lnTo>
                  <a:lnTo>
                    <a:pt x="9" y="300"/>
                  </a:lnTo>
                  <a:lnTo>
                    <a:pt x="9" y="300"/>
                  </a:lnTo>
                  <a:lnTo>
                    <a:pt x="9" y="300"/>
                  </a:lnTo>
                  <a:lnTo>
                    <a:pt x="12" y="297"/>
                  </a:lnTo>
                  <a:lnTo>
                    <a:pt x="12" y="297"/>
                  </a:lnTo>
                  <a:lnTo>
                    <a:pt x="12" y="295"/>
                  </a:lnTo>
                  <a:lnTo>
                    <a:pt x="12" y="295"/>
                  </a:lnTo>
                  <a:lnTo>
                    <a:pt x="12" y="295"/>
                  </a:lnTo>
                  <a:lnTo>
                    <a:pt x="12" y="293"/>
                  </a:lnTo>
                  <a:lnTo>
                    <a:pt x="12" y="293"/>
                  </a:lnTo>
                  <a:lnTo>
                    <a:pt x="12" y="290"/>
                  </a:lnTo>
                  <a:lnTo>
                    <a:pt x="12" y="290"/>
                  </a:lnTo>
                  <a:lnTo>
                    <a:pt x="12" y="290"/>
                  </a:lnTo>
                  <a:lnTo>
                    <a:pt x="14" y="290"/>
                  </a:lnTo>
                  <a:lnTo>
                    <a:pt x="14" y="290"/>
                  </a:lnTo>
                  <a:lnTo>
                    <a:pt x="17" y="290"/>
                  </a:lnTo>
                  <a:lnTo>
                    <a:pt x="17" y="290"/>
                  </a:lnTo>
                  <a:lnTo>
                    <a:pt x="17" y="290"/>
                  </a:lnTo>
                  <a:lnTo>
                    <a:pt x="17" y="288"/>
                  </a:lnTo>
                  <a:lnTo>
                    <a:pt x="19" y="288"/>
                  </a:lnTo>
                  <a:lnTo>
                    <a:pt x="17" y="288"/>
                  </a:lnTo>
                  <a:lnTo>
                    <a:pt x="19" y="285"/>
                  </a:lnTo>
                  <a:lnTo>
                    <a:pt x="21" y="283"/>
                  </a:lnTo>
                  <a:lnTo>
                    <a:pt x="24" y="283"/>
                  </a:lnTo>
                  <a:lnTo>
                    <a:pt x="24" y="283"/>
                  </a:lnTo>
                  <a:lnTo>
                    <a:pt x="24" y="283"/>
                  </a:lnTo>
                  <a:lnTo>
                    <a:pt x="26" y="283"/>
                  </a:lnTo>
                  <a:lnTo>
                    <a:pt x="26" y="283"/>
                  </a:lnTo>
                  <a:lnTo>
                    <a:pt x="28" y="281"/>
                  </a:lnTo>
                  <a:lnTo>
                    <a:pt x="28" y="283"/>
                  </a:lnTo>
                  <a:lnTo>
                    <a:pt x="33" y="281"/>
                  </a:lnTo>
                  <a:lnTo>
                    <a:pt x="33" y="281"/>
                  </a:lnTo>
                  <a:lnTo>
                    <a:pt x="33" y="278"/>
                  </a:lnTo>
                  <a:lnTo>
                    <a:pt x="35" y="278"/>
                  </a:lnTo>
                  <a:lnTo>
                    <a:pt x="38" y="278"/>
                  </a:lnTo>
                  <a:lnTo>
                    <a:pt x="40" y="276"/>
                  </a:lnTo>
                  <a:lnTo>
                    <a:pt x="43" y="278"/>
                  </a:lnTo>
                  <a:lnTo>
                    <a:pt x="45" y="276"/>
                  </a:lnTo>
                  <a:lnTo>
                    <a:pt x="45" y="274"/>
                  </a:lnTo>
                  <a:lnTo>
                    <a:pt x="47" y="274"/>
                  </a:lnTo>
                  <a:lnTo>
                    <a:pt x="50" y="271"/>
                  </a:lnTo>
                  <a:lnTo>
                    <a:pt x="50" y="271"/>
                  </a:lnTo>
                  <a:lnTo>
                    <a:pt x="52" y="271"/>
                  </a:lnTo>
                  <a:lnTo>
                    <a:pt x="52" y="274"/>
                  </a:lnTo>
                  <a:lnTo>
                    <a:pt x="52" y="274"/>
                  </a:lnTo>
                  <a:lnTo>
                    <a:pt x="52" y="274"/>
                  </a:lnTo>
                  <a:lnTo>
                    <a:pt x="52" y="276"/>
                  </a:lnTo>
                  <a:lnTo>
                    <a:pt x="54" y="276"/>
                  </a:lnTo>
                  <a:lnTo>
                    <a:pt x="54" y="276"/>
                  </a:lnTo>
                  <a:lnTo>
                    <a:pt x="57" y="276"/>
                  </a:lnTo>
                  <a:lnTo>
                    <a:pt x="57" y="276"/>
                  </a:lnTo>
                  <a:lnTo>
                    <a:pt x="59" y="274"/>
                  </a:lnTo>
                  <a:lnTo>
                    <a:pt x="59" y="274"/>
                  </a:lnTo>
                  <a:lnTo>
                    <a:pt x="59" y="271"/>
                  </a:lnTo>
                  <a:lnTo>
                    <a:pt x="61" y="271"/>
                  </a:lnTo>
                  <a:lnTo>
                    <a:pt x="61" y="271"/>
                  </a:lnTo>
                  <a:lnTo>
                    <a:pt x="61" y="274"/>
                  </a:lnTo>
                  <a:lnTo>
                    <a:pt x="64" y="274"/>
                  </a:lnTo>
                  <a:lnTo>
                    <a:pt x="64" y="274"/>
                  </a:lnTo>
                  <a:lnTo>
                    <a:pt x="66" y="274"/>
                  </a:lnTo>
                  <a:lnTo>
                    <a:pt x="71" y="271"/>
                  </a:lnTo>
                  <a:lnTo>
                    <a:pt x="73" y="271"/>
                  </a:lnTo>
                  <a:lnTo>
                    <a:pt x="71" y="271"/>
                  </a:lnTo>
                  <a:lnTo>
                    <a:pt x="73" y="271"/>
                  </a:lnTo>
                  <a:lnTo>
                    <a:pt x="73" y="271"/>
                  </a:lnTo>
                  <a:lnTo>
                    <a:pt x="76" y="269"/>
                  </a:lnTo>
                  <a:lnTo>
                    <a:pt x="78" y="269"/>
                  </a:lnTo>
                  <a:lnTo>
                    <a:pt x="78" y="271"/>
                  </a:lnTo>
                  <a:lnTo>
                    <a:pt x="78" y="269"/>
                  </a:lnTo>
                  <a:lnTo>
                    <a:pt x="80" y="267"/>
                  </a:lnTo>
                  <a:lnTo>
                    <a:pt x="83" y="267"/>
                  </a:lnTo>
                  <a:lnTo>
                    <a:pt x="83" y="264"/>
                  </a:lnTo>
                  <a:lnTo>
                    <a:pt x="83" y="264"/>
                  </a:lnTo>
                  <a:lnTo>
                    <a:pt x="80" y="264"/>
                  </a:lnTo>
                  <a:lnTo>
                    <a:pt x="80" y="264"/>
                  </a:lnTo>
                  <a:lnTo>
                    <a:pt x="80" y="262"/>
                  </a:lnTo>
                  <a:lnTo>
                    <a:pt x="80" y="262"/>
                  </a:lnTo>
                  <a:lnTo>
                    <a:pt x="80" y="260"/>
                  </a:lnTo>
                  <a:lnTo>
                    <a:pt x="83" y="260"/>
                  </a:lnTo>
                  <a:lnTo>
                    <a:pt x="83" y="260"/>
                  </a:lnTo>
                  <a:lnTo>
                    <a:pt x="85" y="257"/>
                  </a:lnTo>
                  <a:lnTo>
                    <a:pt x="87" y="257"/>
                  </a:lnTo>
                  <a:lnTo>
                    <a:pt x="87" y="255"/>
                  </a:lnTo>
                  <a:lnTo>
                    <a:pt x="87" y="255"/>
                  </a:lnTo>
                  <a:lnTo>
                    <a:pt x="87" y="255"/>
                  </a:lnTo>
                  <a:lnTo>
                    <a:pt x="87" y="255"/>
                  </a:lnTo>
                  <a:lnTo>
                    <a:pt x="90" y="255"/>
                  </a:lnTo>
                  <a:lnTo>
                    <a:pt x="90" y="252"/>
                  </a:lnTo>
                  <a:lnTo>
                    <a:pt x="90" y="252"/>
                  </a:lnTo>
                  <a:lnTo>
                    <a:pt x="92" y="252"/>
                  </a:lnTo>
                  <a:lnTo>
                    <a:pt x="92" y="250"/>
                  </a:lnTo>
                  <a:lnTo>
                    <a:pt x="92" y="250"/>
                  </a:lnTo>
                  <a:lnTo>
                    <a:pt x="92" y="250"/>
                  </a:lnTo>
                  <a:lnTo>
                    <a:pt x="90" y="248"/>
                  </a:lnTo>
                  <a:lnTo>
                    <a:pt x="90" y="245"/>
                  </a:lnTo>
                  <a:lnTo>
                    <a:pt x="90" y="245"/>
                  </a:lnTo>
                  <a:lnTo>
                    <a:pt x="90" y="243"/>
                  </a:lnTo>
                  <a:lnTo>
                    <a:pt x="87" y="243"/>
                  </a:lnTo>
                  <a:lnTo>
                    <a:pt x="87" y="243"/>
                  </a:lnTo>
                  <a:lnTo>
                    <a:pt x="87" y="241"/>
                  </a:lnTo>
                  <a:lnTo>
                    <a:pt x="87" y="241"/>
                  </a:lnTo>
                  <a:lnTo>
                    <a:pt x="85" y="243"/>
                  </a:lnTo>
                  <a:lnTo>
                    <a:pt x="85" y="241"/>
                  </a:lnTo>
                  <a:lnTo>
                    <a:pt x="83" y="241"/>
                  </a:lnTo>
                  <a:lnTo>
                    <a:pt x="83" y="241"/>
                  </a:lnTo>
                  <a:lnTo>
                    <a:pt x="80" y="241"/>
                  </a:lnTo>
                  <a:lnTo>
                    <a:pt x="78" y="241"/>
                  </a:lnTo>
                  <a:lnTo>
                    <a:pt x="78" y="241"/>
                  </a:lnTo>
                  <a:lnTo>
                    <a:pt x="78" y="241"/>
                  </a:lnTo>
                  <a:lnTo>
                    <a:pt x="76" y="241"/>
                  </a:lnTo>
                  <a:lnTo>
                    <a:pt x="76" y="241"/>
                  </a:lnTo>
                  <a:lnTo>
                    <a:pt x="73" y="241"/>
                  </a:lnTo>
                  <a:lnTo>
                    <a:pt x="73" y="238"/>
                  </a:lnTo>
                  <a:lnTo>
                    <a:pt x="73" y="241"/>
                  </a:lnTo>
                  <a:lnTo>
                    <a:pt x="71" y="238"/>
                  </a:lnTo>
                  <a:lnTo>
                    <a:pt x="71" y="238"/>
                  </a:lnTo>
                  <a:lnTo>
                    <a:pt x="68" y="238"/>
                  </a:lnTo>
                  <a:lnTo>
                    <a:pt x="68" y="238"/>
                  </a:lnTo>
                  <a:lnTo>
                    <a:pt x="68" y="241"/>
                  </a:lnTo>
                  <a:lnTo>
                    <a:pt x="68" y="238"/>
                  </a:lnTo>
                  <a:lnTo>
                    <a:pt x="68" y="241"/>
                  </a:lnTo>
                  <a:lnTo>
                    <a:pt x="68" y="241"/>
                  </a:lnTo>
                  <a:lnTo>
                    <a:pt x="68" y="241"/>
                  </a:lnTo>
                  <a:lnTo>
                    <a:pt x="68" y="241"/>
                  </a:lnTo>
                  <a:lnTo>
                    <a:pt x="68" y="238"/>
                  </a:lnTo>
                  <a:lnTo>
                    <a:pt x="66" y="238"/>
                  </a:lnTo>
                  <a:lnTo>
                    <a:pt x="68" y="236"/>
                  </a:lnTo>
                  <a:lnTo>
                    <a:pt x="66" y="236"/>
                  </a:lnTo>
                  <a:lnTo>
                    <a:pt x="66" y="236"/>
                  </a:lnTo>
                  <a:lnTo>
                    <a:pt x="64" y="236"/>
                  </a:lnTo>
                  <a:lnTo>
                    <a:pt x="64" y="236"/>
                  </a:lnTo>
                  <a:lnTo>
                    <a:pt x="64" y="236"/>
                  </a:lnTo>
                  <a:lnTo>
                    <a:pt x="61" y="238"/>
                  </a:lnTo>
                  <a:lnTo>
                    <a:pt x="61" y="238"/>
                  </a:lnTo>
                  <a:lnTo>
                    <a:pt x="61" y="241"/>
                  </a:lnTo>
                  <a:lnTo>
                    <a:pt x="61" y="241"/>
                  </a:lnTo>
                  <a:lnTo>
                    <a:pt x="61" y="241"/>
                  </a:lnTo>
                  <a:lnTo>
                    <a:pt x="61" y="241"/>
                  </a:lnTo>
                  <a:lnTo>
                    <a:pt x="59" y="241"/>
                  </a:lnTo>
                  <a:lnTo>
                    <a:pt x="57" y="241"/>
                  </a:lnTo>
                  <a:lnTo>
                    <a:pt x="57" y="241"/>
                  </a:lnTo>
                  <a:lnTo>
                    <a:pt x="54" y="241"/>
                  </a:lnTo>
                  <a:lnTo>
                    <a:pt x="54" y="243"/>
                  </a:lnTo>
                  <a:lnTo>
                    <a:pt x="52" y="241"/>
                  </a:lnTo>
                  <a:lnTo>
                    <a:pt x="52" y="241"/>
                  </a:lnTo>
                  <a:lnTo>
                    <a:pt x="52" y="241"/>
                  </a:lnTo>
                  <a:lnTo>
                    <a:pt x="52" y="241"/>
                  </a:lnTo>
                  <a:lnTo>
                    <a:pt x="50" y="245"/>
                  </a:lnTo>
                  <a:lnTo>
                    <a:pt x="50" y="245"/>
                  </a:lnTo>
                  <a:lnTo>
                    <a:pt x="47" y="243"/>
                  </a:lnTo>
                  <a:lnTo>
                    <a:pt x="45" y="243"/>
                  </a:lnTo>
                  <a:lnTo>
                    <a:pt x="45" y="243"/>
                  </a:lnTo>
                  <a:lnTo>
                    <a:pt x="45" y="245"/>
                  </a:lnTo>
                  <a:lnTo>
                    <a:pt x="45" y="245"/>
                  </a:lnTo>
                  <a:lnTo>
                    <a:pt x="45" y="243"/>
                  </a:lnTo>
                  <a:lnTo>
                    <a:pt x="47" y="243"/>
                  </a:lnTo>
                  <a:lnTo>
                    <a:pt x="45" y="243"/>
                  </a:lnTo>
                  <a:lnTo>
                    <a:pt x="45" y="243"/>
                  </a:lnTo>
                  <a:lnTo>
                    <a:pt x="43" y="241"/>
                  </a:lnTo>
                  <a:lnTo>
                    <a:pt x="43" y="241"/>
                  </a:lnTo>
                  <a:lnTo>
                    <a:pt x="40" y="241"/>
                  </a:lnTo>
                  <a:lnTo>
                    <a:pt x="38" y="243"/>
                  </a:lnTo>
                  <a:lnTo>
                    <a:pt x="38" y="243"/>
                  </a:lnTo>
                  <a:lnTo>
                    <a:pt x="38" y="241"/>
                  </a:lnTo>
                  <a:lnTo>
                    <a:pt x="35" y="241"/>
                  </a:lnTo>
                  <a:lnTo>
                    <a:pt x="35" y="241"/>
                  </a:lnTo>
                  <a:lnTo>
                    <a:pt x="35" y="243"/>
                  </a:lnTo>
                  <a:lnTo>
                    <a:pt x="33" y="241"/>
                  </a:lnTo>
                  <a:lnTo>
                    <a:pt x="33" y="241"/>
                  </a:lnTo>
                  <a:lnTo>
                    <a:pt x="33" y="241"/>
                  </a:lnTo>
                  <a:lnTo>
                    <a:pt x="31" y="241"/>
                  </a:lnTo>
                  <a:lnTo>
                    <a:pt x="31" y="238"/>
                  </a:lnTo>
                  <a:lnTo>
                    <a:pt x="31" y="236"/>
                  </a:lnTo>
                  <a:lnTo>
                    <a:pt x="33" y="234"/>
                  </a:lnTo>
                  <a:lnTo>
                    <a:pt x="31" y="234"/>
                  </a:lnTo>
                  <a:lnTo>
                    <a:pt x="31" y="234"/>
                  </a:lnTo>
                  <a:lnTo>
                    <a:pt x="28" y="234"/>
                  </a:lnTo>
                  <a:lnTo>
                    <a:pt x="26" y="234"/>
                  </a:lnTo>
                  <a:lnTo>
                    <a:pt x="26" y="234"/>
                  </a:lnTo>
                  <a:lnTo>
                    <a:pt x="28" y="231"/>
                  </a:lnTo>
                  <a:lnTo>
                    <a:pt x="26" y="231"/>
                  </a:lnTo>
                  <a:lnTo>
                    <a:pt x="26" y="229"/>
                  </a:lnTo>
                  <a:lnTo>
                    <a:pt x="26" y="229"/>
                  </a:lnTo>
                  <a:lnTo>
                    <a:pt x="24" y="229"/>
                  </a:lnTo>
                  <a:lnTo>
                    <a:pt x="24" y="229"/>
                  </a:lnTo>
                  <a:lnTo>
                    <a:pt x="24" y="226"/>
                  </a:lnTo>
                  <a:lnTo>
                    <a:pt x="24" y="226"/>
                  </a:lnTo>
                  <a:lnTo>
                    <a:pt x="21" y="226"/>
                  </a:lnTo>
                  <a:lnTo>
                    <a:pt x="21" y="224"/>
                  </a:lnTo>
                  <a:lnTo>
                    <a:pt x="21" y="224"/>
                  </a:lnTo>
                  <a:lnTo>
                    <a:pt x="21" y="222"/>
                  </a:lnTo>
                  <a:lnTo>
                    <a:pt x="21" y="219"/>
                  </a:lnTo>
                  <a:lnTo>
                    <a:pt x="19" y="217"/>
                  </a:lnTo>
                  <a:lnTo>
                    <a:pt x="17" y="215"/>
                  </a:lnTo>
                  <a:lnTo>
                    <a:pt x="17" y="215"/>
                  </a:lnTo>
                  <a:lnTo>
                    <a:pt x="14" y="215"/>
                  </a:lnTo>
                  <a:lnTo>
                    <a:pt x="9" y="215"/>
                  </a:lnTo>
                  <a:lnTo>
                    <a:pt x="12" y="212"/>
                  </a:lnTo>
                  <a:lnTo>
                    <a:pt x="12" y="212"/>
                  </a:lnTo>
                  <a:lnTo>
                    <a:pt x="14" y="212"/>
                  </a:lnTo>
                  <a:lnTo>
                    <a:pt x="14" y="210"/>
                  </a:lnTo>
                  <a:lnTo>
                    <a:pt x="14" y="210"/>
                  </a:lnTo>
                  <a:lnTo>
                    <a:pt x="17" y="210"/>
                  </a:lnTo>
                  <a:lnTo>
                    <a:pt x="19" y="210"/>
                  </a:lnTo>
                  <a:lnTo>
                    <a:pt x="19" y="208"/>
                  </a:lnTo>
                  <a:lnTo>
                    <a:pt x="21" y="208"/>
                  </a:lnTo>
                  <a:lnTo>
                    <a:pt x="24" y="210"/>
                  </a:lnTo>
                  <a:lnTo>
                    <a:pt x="26" y="210"/>
                  </a:lnTo>
                  <a:lnTo>
                    <a:pt x="26" y="210"/>
                  </a:lnTo>
                  <a:lnTo>
                    <a:pt x="28" y="210"/>
                  </a:lnTo>
                  <a:lnTo>
                    <a:pt x="28" y="210"/>
                  </a:lnTo>
                  <a:lnTo>
                    <a:pt x="28" y="210"/>
                  </a:lnTo>
                  <a:lnTo>
                    <a:pt x="31" y="208"/>
                  </a:lnTo>
                  <a:lnTo>
                    <a:pt x="31" y="208"/>
                  </a:lnTo>
                  <a:lnTo>
                    <a:pt x="33" y="208"/>
                  </a:lnTo>
                  <a:lnTo>
                    <a:pt x="33" y="205"/>
                  </a:lnTo>
                  <a:lnTo>
                    <a:pt x="35" y="205"/>
                  </a:lnTo>
                  <a:lnTo>
                    <a:pt x="38" y="203"/>
                  </a:lnTo>
                  <a:lnTo>
                    <a:pt x="38" y="203"/>
                  </a:lnTo>
                  <a:lnTo>
                    <a:pt x="38" y="205"/>
                  </a:lnTo>
                  <a:lnTo>
                    <a:pt x="40" y="203"/>
                  </a:lnTo>
                  <a:lnTo>
                    <a:pt x="43" y="205"/>
                  </a:lnTo>
                  <a:lnTo>
                    <a:pt x="45" y="203"/>
                  </a:lnTo>
                  <a:lnTo>
                    <a:pt x="45" y="205"/>
                  </a:lnTo>
                  <a:lnTo>
                    <a:pt x="45" y="205"/>
                  </a:lnTo>
                  <a:lnTo>
                    <a:pt x="45" y="203"/>
                  </a:lnTo>
                  <a:lnTo>
                    <a:pt x="47" y="203"/>
                  </a:lnTo>
                  <a:lnTo>
                    <a:pt x="47" y="200"/>
                  </a:lnTo>
                  <a:lnTo>
                    <a:pt x="50" y="200"/>
                  </a:lnTo>
                  <a:lnTo>
                    <a:pt x="54" y="198"/>
                  </a:lnTo>
                  <a:lnTo>
                    <a:pt x="54" y="198"/>
                  </a:lnTo>
                  <a:lnTo>
                    <a:pt x="54" y="198"/>
                  </a:lnTo>
                  <a:lnTo>
                    <a:pt x="54" y="196"/>
                  </a:lnTo>
                  <a:lnTo>
                    <a:pt x="54" y="196"/>
                  </a:lnTo>
                  <a:lnTo>
                    <a:pt x="57" y="196"/>
                  </a:lnTo>
                  <a:lnTo>
                    <a:pt x="57" y="196"/>
                  </a:lnTo>
                  <a:lnTo>
                    <a:pt x="59" y="193"/>
                  </a:lnTo>
                  <a:lnTo>
                    <a:pt x="59" y="196"/>
                  </a:lnTo>
                  <a:lnTo>
                    <a:pt x="61" y="196"/>
                  </a:lnTo>
                  <a:lnTo>
                    <a:pt x="64" y="196"/>
                  </a:lnTo>
                  <a:lnTo>
                    <a:pt x="64" y="196"/>
                  </a:lnTo>
                  <a:lnTo>
                    <a:pt x="64" y="196"/>
                  </a:lnTo>
                  <a:lnTo>
                    <a:pt x="64" y="196"/>
                  </a:lnTo>
                  <a:lnTo>
                    <a:pt x="66" y="196"/>
                  </a:lnTo>
                  <a:lnTo>
                    <a:pt x="68" y="193"/>
                  </a:lnTo>
                  <a:lnTo>
                    <a:pt x="68" y="196"/>
                  </a:lnTo>
                  <a:lnTo>
                    <a:pt x="71" y="196"/>
                  </a:lnTo>
                  <a:lnTo>
                    <a:pt x="71" y="196"/>
                  </a:lnTo>
                  <a:lnTo>
                    <a:pt x="73" y="196"/>
                  </a:lnTo>
                  <a:lnTo>
                    <a:pt x="73" y="196"/>
                  </a:lnTo>
                  <a:lnTo>
                    <a:pt x="76" y="196"/>
                  </a:lnTo>
                  <a:lnTo>
                    <a:pt x="76" y="193"/>
                  </a:lnTo>
                  <a:lnTo>
                    <a:pt x="76" y="193"/>
                  </a:lnTo>
                  <a:lnTo>
                    <a:pt x="78" y="193"/>
                  </a:lnTo>
                  <a:lnTo>
                    <a:pt x="78" y="193"/>
                  </a:lnTo>
                  <a:lnTo>
                    <a:pt x="78" y="193"/>
                  </a:lnTo>
                  <a:lnTo>
                    <a:pt x="80" y="193"/>
                  </a:lnTo>
                  <a:lnTo>
                    <a:pt x="80" y="193"/>
                  </a:lnTo>
                  <a:lnTo>
                    <a:pt x="80" y="196"/>
                  </a:lnTo>
                  <a:lnTo>
                    <a:pt x="80" y="196"/>
                  </a:lnTo>
                  <a:lnTo>
                    <a:pt x="83" y="196"/>
                  </a:lnTo>
                  <a:lnTo>
                    <a:pt x="83" y="196"/>
                  </a:lnTo>
                  <a:lnTo>
                    <a:pt x="85" y="196"/>
                  </a:lnTo>
                  <a:lnTo>
                    <a:pt x="85" y="193"/>
                  </a:lnTo>
                  <a:lnTo>
                    <a:pt x="87" y="193"/>
                  </a:lnTo>
                  <a:lnTo>
                    <a:pt x="87" y="193"/>
                  </a:lnTo>
                  <a:lnTo>
                    <a:pt x="87" y="193"/>
                  </a:lnTo>
                  <a:lnTo>
                    <a:pt x="90" y="193"/>
                  </a:lnTo>
                  <a:lnTo>
                    <a:pt x="90" y="191"/>
                  </a:lnTo>
                  <a:lnTo>
                    <a:pt x="90" y="191"/>
                  </a:lnTo>
                  <a:lnTo>
                    <a:pt x="92" y="191"/>
                  </a:lnTo>
                  <a:lnTo>
                    <a:pt x="92" y="191"/>
                  </a:lnTo>
                  <a:lnTo>
                    <a:pt x="92" y="191"/>
                  </a:lnTo>
                  <a:lnTo>
                    <a:pt x="94" y="189"/>
                  </a:lnTo>
                  <a:lnTo>
                    <a:pt x="94" y="189"/>
                  </a:lnTo>
                  <a:lnTo>
                    <a:pt x="97" y="189"/>
                  </a:lnTo>
                  <a:lnTo>
                    <a:pt x="97" y="189"/>
                  </a:lnTo>
                  <a:lnTo>
                    <a:pt x="97" y="189"/>
                  </a:lnTo>
                  <a:lnTo>
                    <a:pt x="97" y="186"/>
                  </a:lnTo>
                  <a:lnTo>
                    <a:pt x="97" y="186"/>
                  </a:lnTo>
                  <a:lnTo>
                    <a:pt x="97" y="186"/>
                  </a:lnTo>
                  <a:lnTo>
                    <a:pt x="99" y="186"/>
                  </a:lnTo>
                  <a:lnTo>
                    <a:pt x="99" y="186"/>
                  </a:lnTo>
                  <a:lnTo>
                    <a:pt x="99" y="184"/>
                  </a:lnTo>
                  <a:lnTo>
                    <a:pt x="99" y="184"/>
                  </a:lnTo>
                  <a:lnTo>
                    <a:pt x="102" y="184"/>
                  </a:lnTo>
                  <a:lnTo>
                    <a:pt x="102" y="186"/>
                  </a:lnTo>
                  <a:lnTo>
                    <a:pt x="102" y="184"/>
                  </a:lnTo>
                  <a:lnTo>
                    <a:pt x="104" y="184"/>
                  </a:lnTo>
                  <a:lnTo>
                    <a:pt x="104" y="182"/>
                  </a:lnTo>
                  <a:lnTo>
                    <a:pt x="104" y="182"/>
                  </a:lnTo>
                  <a:lnTo>
                    <a:pt x="109" y="182"/>
                  </a:lnTo>
                  <a:lnTo>
                    <a:pt x="109" y="182"/>
                  </a:lnTo>
                  <a:lnTo>
                    <a:pt x="111" y="182"/>
                  </a:lnTo>
                  <a:lnTo>
                    <a:pt x="111" y="182"/>
                  </a:lnTo>
                  <a:lnTo>
                    <a:pt x="113" y="182"/>
                  </a:lnTo>
                  <a:lnTo>
                    <a:pt x="113" y="182"/>
                  </a:lnTo>
                  <a:lnTo>
                    <a:pt x="116" y="182"/>
                  </a:lnTo>
                  <a:lnTo>
                    <a:pt x="116" y="182"/>
                  </a:lnTo>
                  <a:lnTo>
                    <a:pt x="116" y="179"/>
                  </a:lnTo>
                  <a:lnTo>
                    <a:pt x="118" y="179"/>
                  </a:lnTo>
                  <a:lnTo>
                    <a:pt x="118" y="179"/>
                  </a:lnTo>
                  <a:lnTo>
                    <a:pt x="120" y="179"/>
                  </a:lnTo>
                  <a:lnTo>
                    <a:pt x="125" y="177"/>
                  </a:lnTo>
                  <a:lnTo>
                    <a:pt x="128" y="177"/>
                  </a:lnTo>
                  <a:lnTo>
                    <a:pt x="128" y="177"/>
                  </a:lnTo>
                  <a:lnTo>
                    <a:pt x="128" y="174"/>
                  </a:lnTo>
                  <a:lnTo>
                    <a:pt x="130" y="174"/>
                  </a:lnTo>
                  <a:lnTo>
                    <a:pt x="130" y="174"/>
                  </a:lnTo>
                  <a:lnTo>
                    <a:pt x="130" y="174"/>
                  </a:lnTo>
                  <a:lnTo>
                    <a:pt x="132" y="172"/>
                  </a:lnTo>
                  <a:lnTo>
                    <a:pt x="132" y="174"/>
                  </a:lnTo>
                  <a:lnTo>
                    <a:pt x="135" y="172"/>
                  </a:lnTo>
                  <a:lnTo>
                    <a:pt x="137" y="172"/>
                  </a:lnTo>
                  <a:lnTo>
                    <a:pt x="137" y="172"/>
                  </a:lnTo>
                  <a:lnTo>
                    <a:pt x="137" y="172"/>
                  </a:lnTo>
                  <a:lnTo>
                    <a:pt x="142" y="170"/>
                  </a:lnTo>
                  <a:lnTo>
                    <a:pt x="142" y="170"/>
                  </a:lnTo>
                  <a:lnTo>
                    <a:pt x="144" y="170"/>
                  </a:lnTo>
                  <a:lnTo>
                    <a:pt x="144" y="170"/>
                  </a:lnTo>
                  <a:lnTo>
                    <a:pt x="144" y="172"/>
                  </a:lnTo>
                  <a:lnTo>
                    <a:pt x="144" y="172"/>
                  </a:lnTo>
                  <a:lnTo>
                    <a:pt x="144" y="172"/>
                  </a:lnTo>
                  <a:lnTo>
                    <a:pt x="144" y="172"/>
                  </a:lnTo>
                  <a:lnTo>
                    <a:pt x="146" y="172"/>
                  </a:lnTo>
                  <a:lnTo>
                    <a:pt x="146" y="174"/>
                  </a:lnTo>
                  <a:lnTo>
                    <a:pt x="149" y="172"/>
                  </a:lnTo>
                  <a:lnTo>
                    <a:pt x="151" y="172"/>
                  </a:lnTo>
                  <a:lnTo>
                    <a:pt x="151" y="172"/>
                  </a:lnTo>
                  <a:lnTo>
                    <a:pt x="151" y="170"/>
                  </a:lnTo>
                  <a:lnTo>
                    <a:pt x="154" y="170"/>
                  </a:lnTo>
                  <a:lnTo>
                    <a:pt x="154" y="172"/>
                  </a:lnTo>
                  <a:lnTo>
                    <a:pt x="154" y="172"/>
                  </a:lnTo>
                  <a:lnTo>
                    <a:pt x="156" y="172"/>
                  </a:lnTo>
                  <a:lnTo>
                    <a:pt x="156" y="170"/>
                  </a:lnTo>
                  <a:lnTo>
                    <a:pt x="156" y="170"/>
                  </a:lnTo>
                  <a:lnTo>
                    <a:pt x="156" y="170"/>
                  </a:lnTo>
                  <a:lnTo>
                    <a:pt x="158" y="170"/>
                  </a:lnTo>
                  <a:lnTo>
                    <a:pt x="158" y="170"/>
                  </a:lnTo>
                  <a:lnTo>
                    <a:pt x="161" y="172"/>
                  </a:lnTo>
                  <a:lnTo>
                    <a:pt x="161" y="170"/>
                  </a:lnTo>
                  <a:lnTo>
                    <a:pt x="161" y="172"/>
                  </a:lnTo>
                  <a:lnTo>
                    <a:pt x="163" y="172"/>
                  </a:lnTo>
                  <a:lnTo>
                    <a:pt x="163" y="172"/>
                  </a:lnTo>
                  <a:lnTo>
                    <a:pt x="163" y="170"/>
                  </a:lnTo>
                  <a:lnTo>
                    <a:pt x="163" y="170"/>
                  </a:lnTo>
                  <a:lnTo>
                    <a:pt x="163" y="170"/>
                  </a:lnTo>
                  <a:lnTo>
                    <a:pt x="165" y="170"/>
                  </a:lnTo>
                  <a:lnTo>
                    <a:pt x="165" y="167"/>
                  </a:lnTo>
                  <a:lnTo>
                    <a:pt x="165" y="170"/>
                  </a:lnTo>
                  <a:lnTo>
                    <a:pt x="168" y="172"/>
                  </a:lnTo>
                  <a:lnTo>
                    <a:pt x="168" y="172"/>
                  </a:lnTo>
                  <a:lnTo>
                    <a:pt x="170" y="172"/>
                  </a:lnTo>
                  <a:lnTo>
                    <a:pt x="172" y="170"/>
                  </a:lnTo>
                  <a:lnTo>
                    <a:pt x="175" y="170"/>
                  </a:lnTo>
                  <a:lnTo>
                    <a:pt x="175" y="170"/>
                  </a:lnTo>
                  <a:lnTo>
                    <a:pt x="175" y="170"/>
                  </a:lnTo>
                  <a:lnTo>
                    <a:pt x="175" y="170"/>
                  </a:lnTo>
                  <a:lnTo>
                    <a:pt x="177" y="170"/>
                  </a:lnTo>
                  <a:lnTo>
                    <a:pt x="180" y="170"/>
                  </a:lnTo>
                  <a:lnTo>
                    <a:pt x="182" y="170"/>
                  </a:lnTo>
                  <a:lnTo>
                    <a:pt x="184" y="170"/>
                  </a:lnTo>
                  <a:lnTo>
                    <a:pt x="184" y="167"/>
                  </a:lnTo>
                  <a:lnTo>
                    <a:pt x="187" y="167"/>
                  </a:lnTo>
                  <a:lnTo>
                    <a:pt x="191" y="165"/>
                  </a:lnTo>
                  <a:lnTo>
                    <a:pt x="194" y="163"/>
                  </a:lnTo>
                  <a:lnTo>
                    <a:pt x="194" y="163"/>
                  </a:lnTo>
                  <a:lnTo>
                    <a:pt x="194" y="163"/>
                  </a:lnTo>
                  <a:lnTo>
                    <a:pt x="196" y="163"/>
                  </a:lnTo>
                  <a:lnTo>
                    <a:pt x="196" y="163"/>
                  </a:lnTo>
                  <a:lnTo>
                    <a:pt x="198" y="163"/>
                  </a:lnTo>
                  <a:lnTo>
                    <a:pt x="198" y="163"/>
                  </a:lnTo>
                  <a:lnTo>
                    <a:pt x="201" y="163"/>
                  </a:lnTo>
                  <a:lnTo>
                    <a:pt x="201" y="163"/>
                  </a:lnTo>
                  <a:lnTo>
                    <a:pt x="203" y="163"/>
                  </a:lnTo>
                  <a:lnTo>
                    <a:pt x="206" y="163"/>
                  </a:lnTo>
                  <a:lnTo>
                    <a:pt x="208" y="163"/>
                  </a:lnTo>
                  <a:lnTo>
                    <a:pt x="208" y="163"/>
                  </a:lnTo>
                  <a:lnTo>
                    <a:pt x="208" y="163"/>
                  </a:lnTo>
                  <a:lnTo>
                    <a:pt x="210" y="163"/>
                  </a:lnTo>
                  <a:lnTo>
                    <a:pt x="210" y="163"/>
                  </a:lnTo>
                  <a:lnTo>
                    <a:pt x="210" y="165"/>
                  </a:lnTo>
                  <a:lnTo>
                    <a:pt x="210" y="165"/>
                  </a:lnTo>
                  <a:lnTo>
                    <a:pt x="213" y="165"/>
                  </a:lnTo>
                  <a:lnTo>
                    <a:pt x="213" y="165"/>
                  </a:lnTo>
                  <a:lnTo>
                    <a:pt x="215" y="165"/>
                  </a:lnTo>
                  <a:lnTo>
                    <a:pt x="215" y="165"/>
                  </a:lnTo>
                  <a:lnTo>
                    <a:pt x="215" y="167"/>
                  </a:lnTo>
                  <a:lnTo>
                    <a:pt x="217" y="163"/>
                  </a:lnTo>
                  <a:lnTo>
                    <a:pt x="220" y="163"/>
                  </a:lnTo>
                  <a:lnTo>
                    <a:pt x="220" y="165"/>
                  </a:lnTo>
                  <a:lnTo>
                    <a:pt x="220" y="165"/>
                  </a:lnTo>
                  <a:lnTo>
                    <a:pt x="222" y="165"/>
                  </a:lnTo>
                  <a:lnTo>
                    <a:pt x="224" y="165"/>
                  </a:lnTo>
                  <a:lnTo>
                    <a:pt x="224" y="167"/>
                  </a:lnTo>
                  <a:lnTo>
                    <a:pt x="224" y="170"/>
                  </a:lnTo>
                  <a:lnTo>
                    <a:pt x="220" y="170"/>
                  </a:lnTo>
                  <a:lnTo>
                    <a:pt x="220" y="172"/>
                  </a:lnTo>
                  <a:lnTo>
                    <a:pt x="222" y="174"/>
                  </a:lnTo>
                  <a:lnTo>
                    <a:pt x="222" y="177"/>
                  </a:lnTo>
                  <a:lnTo>
                    <a:pt x="224" y="174"/>
                  </a:lnTo>
                  <a:lnTo>
                    <a:pt x="224" y="172"/>
                  </a:lnTo>
                  <a:lnTo>
                    <a:pt x="227" y="172"/>
                  </a:lnTo>
                  <a:lnTo>
                    <a:pt x="229" y="172"/>
                  </a:lnTo>
                  <a:lnTo>
                    <a:pt x="229" y="172"/>
                  </a:lnTo>
                  <a:lnTo>
                    <a:pt x="229" y="172"/>
                  </a:lnTo>
                  <a:lnTo>
                    <a:pt x="234" y="172"/>
                  </a:lnTo>
                  <a:lnTo>
                    <a:pt x="236" y="170"/>
                  </a:lnTo>
                  <a:lnTo>
                    <a:pt x="236" y="170"/>
                  </a:lnTo>
                  <a:lnTo>
                    <a:pt x="236" y="167"/>
                  </a:lnTo>
                  <a:lnTo>
                    <a:pt x="236" y="167"/>
                  </a:lnTo>
                  <a:lnTo>
                    <a:pt x="236" y="167"/>
                  </a:lnTo>
                  <a:lnTo>
                    <a:pt x="239" y="165"/>
                  </a:lnTo>
                  <a:lnTo>
                    <a:pt x="241" y="165"/>
                  </a:lnTo>
                  <a:lnTo>
                    <a:pt x="243" y="163"/>
                  </a:lnTo>
                  <a:lnTo>
                    <a:pt x="246" y="163"/>
                  </a:lnTo>
                  <a:lnTo>
                    <a:pt x="246" y="163"/>
                  </a:lnTo>
                  <a:lnTo>
                    <a:pt x="253" y="160"/>
                  </a:lnTo>
                  <a:lnTo>
                    <a:pt x="255" y="158"/>
                  </a:lnTo>
                  <a:lnTo>
                    <a:pt x="255" y="156"/>
                  </a:lnTo>
                  <a:lnTo>
                    <a:pt x="260" y="153"/>
                  </a:lnTo>
                  <a:lnTo>
                    <a:pt x="267" y="153"/>
                  </a:lnTo>
                  <a:lnTo>
                    <a:pt x="269" y="151"/>
                  </a:lnTo>
                  <a:lnTo>
                    <a:pt x="272" y="151"/>
                  </a:lnTo>
                  <a:lnTo>
                    <a:pt x="276" y="148"/>
                  </a:lnTo>
                  <a:lnTo>
                    <a:pt x="281" y="146"/>
                  </a:lnTo>
                  <a:lnTo>
                    <a:pt x="281" y="144"/>
                  </a:lnTo>
                  <a:lnTo>
                    <a:pt x="283" y="144"/>
                  </a:lnTo>
                  <a:lnTo>
                    <a:pt x="288" y="144"/>
                  </a:lnTo>
                  <a:lnTo>
                    <a:pt x="291" y="141"/>
                  </a:lnTo>
                  <a:lnTo>
                    <a:pt x="291" y="141"/>
                  </a:lnTo>
                  <a:lnTo>
                    <a:pt x="291" y="141"/>
                  </a:lnTo>
                  <a:lnTo>
                    <a:pt x="293" y="141"/>
                  </a:lnTo>
                  <a:lnTo>
                    <a:pt x="293" y="139"/>
                  </a:lnTo>
                  <a:lnTo>
                    <a:pt x="300" y="137"/>
                  </a:lnTo>
                  <a:lnTo>
                    <a:pt x="307" y="134"/>
                  </a:lnTo>
                  <a:lnTo>
                    <a:pt x="309" y="132"/>
                  </a:lnTo>
                  <a:lnTo>
                    <a:pt x="317" y="130"/>
                  </a:lnTo>
                  <a:lnTo>
                    <a:pt x="319" y="127"/>
                  </a:lnTo>
                  <a:lnTo>
                    <a:pt x="319" y="127"/>
                  </a:lnTo>
                  <a:lnTo>
                    <a:pt x="321" y="127"/>
                  </a:lnTo>
                  <a:lnTo>
                    <a:pt x="324" y="127"/>
                  </a:lnTo>
                  <a:lnTo>
                    <a:pt x="328" y="127"/>
                  </a:lnTo>
                  <a:lnTo>
                    <a:pt x="328" y="125"/>
                  </a:lnTo>
                  <a:lnTo>
                    <a:pt x="333" y="125"/>
                  </a:lnTo>
                  <a:lnTo>
                    <a:pt x="333" y="123"/>
                  </a:lnTo>
                  <a:lnTo>
                    <a:pt x="333" y="123"/>
                  </a:lnTo>
                  <a:lnTo>
                    <a:pt x="333" y="123"/>
                  </a:lnTo>
                  <a:lnTo>
                    <a:pt x="333" y="120"/>
                  </a:lnTo>
                  <a:lnTo>
                    <a:pt x="331" y="118"/>
                  </a:lnTo>
                  <a:lnTo>
                    <a:pt x="331" y="120"/>
                  </a:lnTo>
                  <a:lnTo>
                    <a:pt x="331" y="118"/>
                  </a:lnTo>
                  <a:lnTo>
                    <a:pt x="331" y="118"/>
                  </a:lnTo>
                  <a:lnTo>
                    <a:pt x="331" y="118"/>
                  </a:lnTo>
                  <a:lnTo>
                    <a:pt x="328" y="115"/>
                  </a:lnTo>
                  <a:lnTo>
                    <a:pt x="328" y="115"/>
                  </a:lnTo>
                  <a:lnTo>
                    <a:pt x="326" y="115"/>
                  </a:lnTo>
                  <a:lnTo>
                    <a:pt x="326" y="115"/>
                  </a:lnTo>
                  <a:lnTo>
                    <a:pt x="326" y="118"/>
                  </a:lnTo>
                  <a:lnTo>
                    <a:pt x="324" y="118"/>
                  </a:lnTo>
                  <a:lnTo>
                    <a:pt x="324" y="115"/>
                  </a:lnTo>
                  <a:lnTo>
                    <a:pt x="324" y="115"/>
                  </a:lnTo>
                  <a:lnTo>
                    <a:pt x="321" y="115"/>
                  </a:lnTo>
                  <a:lnTo>
                    <a:pt x="321" y="115"/>
                  </a:lnTo>
                  <a:lnTo>
                    <a:pt x="319" y="113"/>
                  </a:lnTo>
                  <a:lnTo>
                    <a:pt x="321" y="113"/>
                  </a:lnTo>
                  <a:lnTo>
                    <a:pt x="321" y="113"/>
                  </a:lnTo>
                  <a:lnTo>
                    <a:pt x="319" y="111"/>
                  </a:lnTo>
                  <a:lnTo>
                    <a:pt x="321" y="108"/>
                  </a:lnTo>
                  <a:lnTo>
                    <a:pt x="324" y="106"/>
                  </a:lnTo>
                  <a:lnTo>
                    <a:pt x="326" y="106"/>
                  </a:lnTo>
                  <a:lnTo>
                    <a:pt x="326" y="104"/>
                  </a:lnTo>
                  <a:lnTo>
                    <a:pt x="326" y="104"/>
                  </a:lnTo>
                  <a:lnTo>
                    <a:pt x="328" y="104"/>
                  </a:lnTo>
                  <a:lnTo>
                    <a:pt x="328" y="101"/>
                  </a:lnTo>
                  <a:lnTo>
                    <a:pt x="328" y="101"/>
                  </a:lnTo>
                  <a:lnTo>
                    <a:pt x="328" y="99"/>
                  </a:lnTo>
                  <a:lnTo>
                    <a:pt x="328" y="99"/>
                  </a:lnTo>
                  <a:lnTo>
                    <a:pt x="331" y="99"/>
                  </a:lnTo>
                  <a:lnTo>
                    <a:pt x="331" y="97"/>
                  </a:lnTo>
                  <a:lnTo>
                    <a:pt x="333" y="97"/>
                  </a:lnTo>
                  <a:lnTo>
                    <a:pt x="335" y="94"/>
                  </a:lnTo>
                  <a:lnTo>
                    <a:pt x="333" y="92"/>
                  </a:lnTo>
                  <a:lnTo>
                    <a:pt x="333" y="92"/>
                  </a:lnTo>
                  <a:lnTo>
                    <a:pt x="331" y="89"/>
                  </a:lnTo>
                  <a:lnTo>
                    <a:pt x="331" y="89"/>
                  </a:lnTo>
                  <a:lnTo>
                    <a:pt x="331" y="87"/>
                  </a:lnTo>
                  <a:lnTo>
                    <a:pt x="331" y="87"/>
                  </a:lnTo>
                  <a:lnTo>
                    <a:pt x="331" y="87"/>
                  </a:lnTo>
                  <a:lnTo>
                    <a:pt x="331" y="85"/>
                  </a:lnTo>
                  <a:lnTo>
                    <a:pt x="333" y="82"/>
                  </a:lnTo>
                  <a:lnTo>
                    <a:pt x="333" y="85"/>
                  </a:lnTo>
                  <a:lnTo>
                    <a:pt x="335" y="85"/>
                  </a:lnTo>
                  <a:lnTo>
                    <a:pt x="335" y="82"/>
                  </a:lnTo>
                  <a:lnTo>
                    <a:pt x="338" y="82"/>
                  </a:lnTo>
                  <a:lnTo>
                    <a:pt x="335" y="80"/>
                  </a:lnTo>
                  <a:lnTo>
                    <a:pt x="335" y="80"/>
                  </a:lnTo>
                  <a:lnTo>
                    <a:pt x="335" y="80"/>
                  </a:lnTo>
                  <a:lnTo>
                    <a:pt x="335" y="80"/>
                  </a:lnTo>
                  <a:lnTo>
                    <a:pt x="338" y="78"/>
                  </a:lnTo>
                  <a:lnTo>
                    <a:pt x="338" y="78"/>
                  </a:lnTo>
                  <a:lnTo>
                    <a:pt x="338" y="75"/>
                  </a:lnTo>
                  <a:lnTo>
                    <a:pt x="338" y="75"/>
                  </a:lnTo>
                  <a:lnTo>
                    <a:pt x="338" y="75"/>
                  </a:lnTo>
                  <a:lnTo>
                    <a:pt x="338" y="73"/>
                  </a:lnTo>
                  <a:lnTo>
                    <a:pt x="338" y="73"/>
                  </a:lnTo>
                  <a:lnTo>
                    <a:pt x="338" y="73"/>
                  </a:lnTo>
                  <a:lnTo>
                    <a:pt x="338" y="71"/>
                  </a:lnTo>
                  <a:lnTo>
                    <a:pt x="338" y="68"/>
                  </a:lnTo>
                  <a:lnTo>
                    <a:pt x="338" y="66"/>
                  </a:lnTo>
                  <a:lnTo>
                    <a:pt x="340" y="66"/>
                  </a:lnTo>
                  <a:lnTo>
                    <a:pt x="340" y="66"/>
                  </a:lnTo>
                  <a:lnTo>
                    <a:pt x="343" y="63"/>
                  </a:lnTo>
                  <a:lnTo>
                    <a:pt x="343" y="63"/>
                  </a:lnTo>
                  <a:lnTo>
                    <a:pt x="343" y="61"/>
                  </a:lnTo>
                  <a:lnTo>
                    <a:pt x="343" y="61"/>
                  </a:lnTo>
                  <a:lnTo>
                    <a:pt x="343" y="59"/>
                  </a:lnTo>
                  <a:lnTo>
                    <a:pt x="343" y="61"/>
                  </a:lnTo>
                  <a:lnTo>
                    <a:pt x="340" y="59"/>
                  </a:lnTo>
                  <a:lnTo>
                    <a:pt x="340" y="59"/>
                  </a:lnTo>
                  <a:lnTo>
                    <a:pt x="343" y="56"/>
                  </a:lnTo>
                  <a:lnTo>
                    <a:pt x="340" y="54"/>
                  </a:lnTo>
                  <a:lnTo>
                    <a:pt x="340" y="54"/>
                  </a:lnTo>
                  <a:lnTo>
                    <a:pt x="340" y="52"/>
                  </a:lnTo>
                  <a:lnTo>
                    <a:pt x="343" y="52"/>
                  </a:lnTo>
                  <a:lnTo>
                    <a:pt x="343" y="52"/>
                  </a:lnTo>
                  <a:lnTo>
                    <a:pt x="343" y="49"/>
                  </a:lnTo>
                  <a:lnTo>
                    <a:pt x="345" y="49"/>
                  </a:lnTo>
                  <a:lnTo>
                    <a:pt x="345" y="47"/>
                  </a:lnTo>
                  <a:lnTo>
                    <a:pt x="345" y="47"/>
                  </a:lnTo>
                  <a:lnTo>
                    <a:pt x="345" y="47"/>
                  </a:lnTo>
                  <a:lnTo>
                    <a:pt x="345" y="45"/>
                  </a:lnTo>
                  <a:lnTo>
                    <a:pt x="350" y="45"/>
                  </a:lnTo>
                  <a:lnTo>
                    <a:pt x="350" y="42"/>
                  </a:lnTo>
                  <a:lnTo>
                    <a:pt x="350" y="42"/>
                  </a:lnTo>
                  <a:lnTo>
                    <a:pt x="350" y="40"/>
                  </a:lnTo>
                  <a:lnTo>
                    <a:pt x="352" y="40"/>
                  </a:lnTo>
                  <a:lnTo>
                    <a:pt x="352" y="40"/>
                  </a:lnTo>
                  <a:lnTo>
                    <a:pt x="354" y="37"/>
                  </a:lnTo>
                  <a:lnTo>
                    <a:pt x="354" y="35"/>
                  </a:lnTo>
                  <a:lnTo>
                    <a:pt x="354" y="35"/>
                  </a:lnTo>
                  <a:lnTo>
                    <a:pt x="354" y="35"/>
                  </a:lnTo>
                  <a:lnTo>
                    <a:pt x="354" y="35"/>
                  </a:lnTo>
                  <a:lnTo>
                    <a:pt x="357" y="35"/>
                  </a:lnTo>
                  <a:lnTo>
                    <a:pt x="357" y="35"/>
                  </a:lnTo>
                  <a:lnTo>
                    <a:pt x="357" y="33"/>
                  </a:lnTo>
                  <a:lnTo>
                    <a:pt x="354" y="33"/>
                  </a:lnTo>
                  <a:lnTo>
                    <a:pt x="354" y="33"/>
                  </a:lnTo>
                  <a:lnTo>
                    <a:pt x="352" y="33"/>
                  </a:lnTo>
                  <a:lnTo>
                    <a:pt x="352" y="30"/>
                  </a:lnTo>
                  <a:lnTo>
                    <a:pt x="350" y="30"/>
                  </a:lnTo>
                  <a:lnTo>
                    <a:pt x="350" y="30"/>
                  </a:lnTo>
                  <a:lnTo>
                    <a:pt x="350" y="28"/>
                  </a:lnTo>
                  <a:lnTo>
                    <a:pt x="347" y="28"/>
                  </a:lnTo>
                  <a:lnTo>
                    <a:pt x="347" y="26"/>
                  </a:lnTo>
                  <a:lnTo>
                    <a:pt x="350" y="26"/>
                  </a:lnTo>
                  <a:lnTo>
                    <a:pt x="350" y="23"/>
                  </a:lnTo>
                  <a:lnTo>
                    <a:pt x="352" y="26"/>
                  </a:lnTo>
                  <a:lnTo>
                    <a:pt x="352" y="26"/>
                  </a:lnTo>
                  <a:lnTo>
                    <a:pt x="352" y="23"/>
                  </a:lnTo>
                  <a:lnTo>
                    <a:pt x="354" y="23"/>
                  </a:lnTo>
                  <a:lnTo>
                    <a:pt x="354" y="21"/>
                  </a:lnTo>
                  <a:lnTo>
                    <a:pt x="357" y="23"/>
                  </a:lnTo>
                  <a:lnTo>
                    <a:pt x="359" y="23"/>
                  </a:lnTo>
                  <a:lnTo>
                    <a:pt x="361" y="21"/>
                  </a:lnTo>
                  <a:lnTo>
                    <a:pt x="361" y="21"/>
                  </a:lnTo>
                  <a:lnTo>
                    <a:pt x="364" y="21"/>
                  </a:lnTo>
                  <a:lnTo>
                    <a:pt x="366" y="21"/>
                  </a:lnTo>
                  <a:lnTo>
                    <a:pt x="366" y="21"/>
                  </a:lnTo>
                  <a:lnTo>
                    <a:pt x="368" y="21"/>
                  </a:lnTo>
                  <a:lnTo>
                    <a:pt x="368" y="21"/>
                  </a:lnTo>
                  <a:lnTo>
                    <a:pt x="371" y="19"/>
                  </a:lnTo>
                  <a:lnTo>
                    <a:pt x="371" y="21"/>
                  </a:lnTo>
                  <a:lnTo>
                    <a:pt x="371" y="19"/>
                  </a:lnTo>
                  <a:lnTo>
                    <a:pt x="371" y="16"/>
                  </a:lnTo>
                  <a:lnTo>
                    <a:pt x="371" y="16"/>
                  </a:lnTo>
                  <a:lnTo>
                    <a:pt x="371" y="14"/>
                  </a:lnTo>
                  <a:lnTo>
                    <a:pt x="373" y="14"/>
                  </a:lnTo>
                  <a:lnTo>
                    <a:pt x="373" y="14"/>
                  </a:lnTo>
                  <a:lnTo>
                    <a:pt x="373" y="11"/>
                  </a:lnTo>
                  <a:lnTo>
                    <a:pt x="376" y="11"/>
                  </a:lnTo>
                  <a:lnTo>
                    <a:pt x="376" y="11"/>
                  </a:lnTo>
                  <a:lnTo>
                    <a:pt x="376" y="9"/>
                  </a:lnTo>
                  <a:lnTo>
                    <a:pt x="376" y="7"/>
                  </a:lnTo>
                  <a:lnTo>
                    <a:pt x="376" y="4"/>
                  </a:lnTo>
                  <a:lnTo>
                    <a:pt x="376" y="4"/>
                  </a:lnTo>
                  <a:lnTo>
                    <a:pt x="378" y="4"/>
                  </a:lnTo>
                  <a:lnTo>
                    <a:pt x="378" y="4"/>
                  </a:lnTo>
                  <a:lnTo>
                    <a:pt x="380" y="4"/>
                  </a:lnTo>
                  <a:lnTo>
                    <a:pt x="380" y="2"/>
                  </a:lnTo>
                  <a:lnTo>
                    <a:pt x="383" y="2"/>
                  </a:lnTo>
                  <a:lnTo>
                    <a:pt x="383" y="2"/>
                  </a:lnTo>
                  <a:lnTo>
                    <a:pt x="383" y="2"/>
                  </a:lnTo>
                  <a:lnTo>
                    <a:pt x="383" y="0"/>
                  </a:lnTo>
                  <a:lnTo>
                    <a:pt x="383" y="0"/>
                  </a:lnTo>
                  <a:lnTo>
                    <a:pt x="385" y="0"/>
                  </a:lnTo>
                  <a:lnTo>
                    <a:pt x="385" y="2"/>
                  </a:lnTo>
                  <a:lnTo>
                    <a:pt x="387" y="2"/>
                  </a:lnTo>
                  <a:lnTo>
                    <a:pt x="390" y="2"/>
                  </a:lnTo>
                  <a:lnTo>
                    <a:pt x="390" y="4"/>
                  </a:lnTo>
                  <a:lnTo>
                    <a:pt x="390" y="4"/>
                  </a:lnTo>
                  <a:lnTo>
                    <a:pt x="392" y="4"/>
                  </a:lnTo>
                  <a:lnTo>
                    <a:pt x="390" y="4"/>
                  </a:lnTo>
                  <a:lnTo>
                    <a:pt x="392" y="4"/>
                  </a:lnTo>
                  <a:lnTo>
                    <a:pt x="392" y="4"/>
                  </a:lnTo>
                  <a:lnTo>
                    <a:pt x="394" y="4"/>
                  </a:lnTo>
                  <a:lnTo>
                    <a:pt x="397" y="4"/>
                  </a:lnTo>
                  <a:lnTo>
                    <a:pt x="397" y="4"/>
                  </a:lnTo>
                  <a:lnTo>
                    <a:pt x="399" y="4"/>
                  </a:lnTo>
                  <a:lnTo>
                    <a:pt x="399" y="7"/>
                  </a:lnTo>
                  <a:lnTo>
                    <a:pt x="399" y="7"/>
                  </a:lnTo>
                  <a:lnTo>
                    <a:pt x="399" y="7"/>
                  </a:lnTo>
                  <a:lnTo>
                    <a:pt x="399" y="7"/>
                  </a:lnTo>
                  <a:lnTo>
                    <a:pt x="399" y="9"/>
                  </a:lnTo>
                  <a:lnTo>
                    <a:pt x="399" y="11"/>
                  </a:lnTo>
                  <a:lnTo>
                    <a:pt x="399" y="14"/>
                  </a:lnTo>
                  <a:lnTo>
                    <a:pt x="399" y="14"/>
                  </a:lnTo>
                  <a:lnTo>
                    <a:pt x="402" y="14"/>
                  </a:lnTo>
                  <a:lnTo>
                    <a:pt x="404" y="14"/>
                  </a:lnTo>
                  <a:lnTo>
                    <a:pt x="402" y="14"/>
                  </a:lnTo>
                  <a:lnTo>
                    <a:pt x="402" y="16"/>
                  </a:lnTo>
                  <a:lnTo>
                    <a:pt x="402" y="16"/>
                  </a:lnTo>
                  <a:lnTo>
                    <a:pt x="402" y="16"/>
                  </a:lnTo>
                  <a:lnTo>
                    <a:pt x="402" y="21"/>
                  </a:lnTo>
                  <a:lnTo>
                    <a:pt x="402" y="21"/>
                  </a:lnTo>
                  <a:lnTo>
                    <a:pt x="399" y="21"/>
                  </a:lnTo>
                  <a:lnTo>
                    <a:pt x="402" y="23"/>
                  </a:lnTo>
                  <a:lnTo>
                    <a:pt x="402" y="23"/>
                  </a:lnTo>
                  <a:lnTo>
                    <a:pt x="402" y="28"/>
                  </a:lnTo>
                  <a:lnTo>
                    <a:pt x="404" y="28"/>
                  </a:lnTo>
                  <a:lnTo>
                    <a:pt x="404" y="30"/>
                  </a:lnTo>
                  <a:lnTo>
                    <a:pt x="402" y="30"/>
                  </a:lnTo>
                  <a:lnTo>
                    <a:pt x="402" y="30"/>
                  </a:lnTo>
                  <a:lnTo>
                    <a:pt x="402" y="33"/>
                  </a:lnTo>
                  <a:lnTo>
                    <a:pt x="404" y="33"/>
                  </a:lnTo>
                  <a:lnTo>
                    <a:pt x="402" y="33"/>
                  </a:lnTo>
                  <a:lnTo>
                    <a:pt x="402" y="33"/>
                  </a:lnTo>
                  <a:lnTo>
                    <a:pt x="402" y="35"/>
                  </a:lnTo>
                  <a:lnTo>
                    <a:pt x="402" y="35"/>
                  </a:lnTo>
                  <a:lnTo>
                    <a:pt x="402" y="37"/>
                  </a:lnTo>
                  <a:lnTo>
                    <a:pt x="402" y="37"/>
                  </a:lnTo>
                  <a:lnTo>
                    <a:pt x="402" y="37"/>
                  </a:lnTo>
                  <a:lnTo>
                    <a:pt x="402" y="37"/>
                  </a:lnTo>
                  <a:lnTo>
                    <a:pt x="402" y="40"/>
                  </a:lnTo>
                  <a:lnTo>
                    <a:pt x="402" y="40"/>
                  </a:lnTo>
                  <a:lnTo>
                    <a:pt x="402" y="40"/>
                  </a:lnTo>
                  <a:lnTo>
                    <a:pt x="402" y="40"/>
                  </a:lnTo>
                  <a:lnTo>
                    <a:pt x="402" y="42"/>
                  </a:lnTo>
                  <a:lnTo>
                    <a:pt x="402" y="45"/>
                  </a:lnTo>
                  <a:lnTo>
                    <a:pt x="402" y="45"/>
                  </a:lnTo>
                  <a:lnTo>
                    <a:pt x="402" y="45"/>
                  </a:lnTo>
                  <a:lnTo>
                    <a:pt x="404" y="45"/>
                  </a:lnTo>
                  <a:lnTo>
                    <a:pt x="404" y="45"/>
                  </a:lnTo>
                  <a:lnTo>
                    <a:pt x="402" y="47"/>
                  </a:lnTo>
                  <a:lnTo>
                    <a:pt x="402" y="47"/>
                  </a:lnTo>
                  <a:lnTo>
                    <a:pt x="404" y="47"/>
                  </a:lnTo>
                  <a:lnTo>
                    <a:pt x="404" y="47"/>
                  </a:lnTo>
                  <a:lnTo>
                    <a:pt x="406" y="47"/>
                  </a:lnTo>
                  <a:lnTo>
                    <a:pt x="406" y="47"/>
                  </a:lnTo>
                  <a:lnTo>
                    <a:pt x="409" y="47"/>
                  </a:lnTo>
                  <a:lnTo>
                    <a:pt x="409" y="47"/>
                  </a:lnTo>
                  <a:lnTo>
                    <a:pt x="409" y="47"/>
                  </a:lnTo>
                  <a:lnTo>
                    <a:pt x="409" y="47"/>
                  </a:lnTo>
                  <a:lnTo>
                    <a:pt x="409" y="47"/>
                  </a:lnTo>
                  <a:lnTo>
                    <a:pt x="411" y="49"/>
                  </a:lnTo>
                  <a:lnTo>
                    <a:pt x="411" y="49"/>
                  </a:lnTo>
                  <a:lnTo>
                    <a:pt x="411" y="49"/>
                  </a:lnTo>
                  <a:lnTo>
                    <a:pt x="413" y="49"/>
                  </a:lnTo>
                  <a:lnTo>
                    <a:pt x="413" y="49"/>
                  </a:lnTo>
                  <a:lnTo>
                    <a:pt x="416" y="52"/>
                  </a:lnTo>
                  <a:lnTo>
                    <a:pt x="418" y="49"/>
                  </a:lnTo>
                  <a:lnTo>
                    <a:pt x="420" y="52"/>
                  </a:lnTo>
                  <a:lnTo>
                    <a:pt x="420" y="52"/>
                  </a:lnTo>
                  <a:lnTo>
                    <a:pt x="420" y="54"/>
                  </a:lnTo>
                  <a:lnTo>
                    <a:pt x="423" y="54"/>
                  </a:lnTo>
                  <a:lnTo>
                    <a:pt x="423" y="52"/>
                  </a:lnTo>
                  <a:lnTo>
                    <a:pt x="423" y="54"/>
                  </a:lnTo>
                  <a:lnTo>
                    <a:pt x="428" y="54"/>
                  </a:lnTo>
                  <a:lnTo>
                    <a:pt x="428" y="56"/>
                  </a:lnTo>
                  <a:lnTo>
                    <a:pt x="428" y="54"/>
                  </a:lnTo>
                  <a:lnTo>
                    <a:pt x="430" y="54"/>
                  </a:lnTo>
                  <a:lnTo>
                    <a:pt x="430" y="54"/>
                  </a:lnTo>
                  <a:lnTo>
                    <a:pt x="432" y="54"/>
                  </a:lnTo>
                  <a:lnTo>
                    <a:pt x="432" y="54"/>
                  </a:lnTo>
                  <a:lnTo>
                    <a:pt x="432" y="56"/>
                  </a:lnTo>
                  <a:lnTo>
                    <a:pt x="435" y="56"/>
                  </a:lnTo>
                  <a:lnTo>
                    <a:pt x="437" y="59"/>
                  </a:lnTo>
                  <a:lnTo>
                    <a:pt x="437" y="59"/>
                  </a:lnTo>
                  <a:lnTo>
                    <a:pt x="439" y="59"/>
                  </a:lnTo>
                  <a:lnTo>
                    <a:pt x="439" y="56"/>
                  </a:lnTo>
                  <a:lnTo>
                    <a:pt x="442" y="56"/>
                  </a:lnTo>
                  <a:lnTo>
                    <a:pt x="442" y="56"/>
                  </a:lnTo>
                  <a:lnTo>
                    <a:pt x="442" y="56"/>
                  </a:lnTo>
                  <a:lnTo>
                    <a:pt x="442" y="56"/>
                  </a:lnTo>
                  <a:lnTo>
                    <a:pt x="444" y="56"/>
                  </a:lnTo>
                  <a:lnTo>
                    <a:pt x="444" y="56"/>
                  </a:lnTo>
                  <a:lnTo>
                    <a:pt x="446" y="56"/>
                  </a:lnTo>
                  <a:lnTo>
                    <a:pt x="446" y="56"/>
                  </a:lnTo>
                  <a:lnTo>
                    <a:pt x="446" y="56"/>
                  </a:lnTo>
                  <a:lnTo>
                    <a:pt x="446" y="56"/>
                  </a:lnTo>
                  <a:lnTo>
                    <a:pt x="451" y="59"/>
                  </a:lnTo>
                  <a:lnTo>
                    <a:pt x="451" y="59"/>
                  </a:lnTo>
                  <a:lnTo>
                    <a:pt x="451" y="59"/>
                  </a:lnTo>
                  <a:lnTo>
                    <a:pt x="454" y="59"/>
                  </a:lnTo>
                  <a:lnTo>
                    <a:pt x="454" y="59"/>
                  </a:lnTo>
                  <a:lnTo>
                    <a:pt x="454" y="59"/>
                  </a:lnTo>
                  <a:lnTo>
                    <a:pt x="456" y="61"/>
                  </a:lnTo>
                  <a:lnTo>
                    <a:pt x="456" y="61"/>
                  </a:lnTo>
                  <a:lnTo>
                    <a:pt x="458" y="61"/>
                  </a:lnTo>
                  <a:lnTo>
                    <a:pt x="458" y="61"/>
                  </a:lnTo>
                  <a:lnTo>
                    <a:pt x="458" y="61"/>
                  </a:lnTo>
                  <a:lnTo>
                    <a:pt x="458" y="61"/>
                  </a:lnTo>
                  <a:lnTo>
                    <a:pt x="461" y="61"/>
                  </a:lnTo>
                  <a:lnTo>
                    <a:pt x="461" y="59"/>
                  </a:lnTo>
                  <a:lnTo>
                    <a:pt x="463" y="59"/>
                  </a:lnTo>
                  <a:lnTo>
                    <a:pt x="463" y="59"/>
                  </a:lnTo>
                  <a:lnTo>
                    <a:pt x="465" y="59"/>
                  </a:lnTo>
                  <a:lnTo>
                    <a:pt x="465" y="61"/>
                  </a:lnTo>
                  <a:lnTo>
                    <a:pt x="465" y="61"/>
                  </a:lnTo>
                  <a:lnTo>
                    <a:pt x="465" y="61"/>
                  </a:lnTo>
                  <a:lnTo>
                    <a:pt x="468" y="61"/>
                  </a:lnTo>
                  <a:lnTo>
                    <a:pt x="468" y="61"/>
                  </a:lnTo>
                  <a:lnTo>
                    <a:pt x="468" y="61"/>
                  </a:lnTo>
                  <a:lnTo>
                    <a:pt x="470" y="61"/>
                  </a:lnTo>
                  <a:lnTo>
                    <a:pt x="470" y="63"/>
                  </a:lnTo>
                  <a:lnTo>
                    <a:pt x="470" y="61"/>
                  </a:lnTo>
                  <a:lnTo>
                    <a:pt x="470" y="61"/>
                  </a:lnTo>
                  <a:lnTo>
                    <a:pt x="470" y="61"/>
                  </a:lnTo>
                  <a:lnTo>
                    <a:pt x="470" y="61"/>
                  </a:lnTo>
                  <a:lnTo>
                    <a:pt x="472" y="61"/>
                  </a:lnTo>
                  <a:lnTo>
                    <a:pt x="470" y="61"/>
                  </a:lnTo>
                  <a:lnTo>
                    <a:pt x="472" y="61"/>
                  </a:lnTo>
                  <a:lnTo>
                    <a:pt x="472" y="61"/>
                  </a:lnTo>
                  <a:lnTo>
                    <a:pt x="475" y="61"/>
                  </a:lnTo>
                  <a:lnTo>
                    <a:pt x="475" y="61"/>
                  </a:lnTo>
                  <a:lnTo>
                    <a:pt x="477" y="61"/>
                  </a:lnTo>
                  <a:lnTo>
                    <a:pt x="477" y="61"/>
                  </a:lnTo>
                  <a:lnTo>
                    <a:pt x="482" y="59"/>
                  </a:lnTo>
                  <a:lnTo>
                    <a:pt x="482" y="59"/>
                  </a:lnTo>
                  <a:lnTo>
                    <a:pt x="482" y="59"/>
                  </a:lnTo>
                  <a:lnTo>
                    <a:pt x="484" y="59"/>
                  </a:lnTo>
                  <a:lnTo>
                    <a:pt x="484" y="61"/>
                  </a:lnTo>
                  <a:lnTo>
                    <a:pt x="484" y="61"/>
                  </a:lnTo>
                  <a:lnTo>
                    <a:pt x="487" y="61"/>
                  </a:lnTo>
                  <a:lnTo>
                    <a:pt x="489" y="63"/>
                  </a:lnTo>
                  <a:lnTo>
                    <a:pt x="491" y="63"/>
                  </a:lnTo>
                  <a:lnTo>
                    <a:pt x="491" y="63"/>
                  </a:lnTo>
                  <a:lnTo>
                    <a:pt x="494" y="63"/>
                  </a:lnTo>
                  <a:lnTo>
                    <a:pt x="494" y="66"/>
                  </a:lnTo>
                  <a:lnTo>
                    <a:pt x="494" y="68"/>
                  </a:lnTo>
                  <a:lnTo>
                    <a:pt x="494" y="68"/>
                  </a:lnTo>
                  <a:lnTo>
                    <a:pt x="496" y="68"/>
                  </a:lnTo>
                  <a:lnTo>
                    <a:pt x="496" y="68"/>
                  </a:lnTo>
                  <a:lnTo>
                    <a:pt x="496" y="68"/>
                  </a:lnTo>
                  <a:lnTo>
                    <a:pt x="496" y="68"/>
                  </a:lnTo>
                  <a:lnTo>
                    <a:pt x="496" y="68"/>
                  </a:lnTo>
                  <a:lnTo>
                    <a:pt x="498" y="68"/>
                  </a:lnTo>
                  <a:lnTo>
                    <a:pt x="498" y="71"/>
                  </a:lnTo>
                  <a:lnTo>
                    <a:pt x="498" y="71"/>
                  </a:lnTo>
                  <a:lnTo>
                    <a:pt x="498" y="71"/>
                  </a:lnTo>
                  <a:lnTo>
                    <a:pt x="498" y="75"/>
                  </a:lnTo>
                  <a:lnTo>
                    <a:pt x="498" y="78"/>
                  </a:lnTo>
                  <a:lnTo>
                    <a:pt x="498" y="78"/>
                  </a:lnTo>
                  <a:lnTo>
                    <a:pt x="496" y="82"/>
                  </a:lnTo>
                  <a:lnTo>
                    <a:pt x="496" y="82"/>
                  </a:lnTo>
                  <a:lnTo>
                    <a:pt x="494" y="82"/>
                  </a:lnTo>
                  <a:lnTo>
                    <a:pt x="494" y="85"/>
                  </a:lnTo>
                  <a:lnTo>
                    <a:pt x="491" y="89"/>
                  </a:lnTo>
                  <a:lnTo>
                    <a:pt x="489" y="89"/>
                  </a:lnTo>
                  <a:lnTo>
                    <a:pt x="487" y="92"/>
                  </a:lnTo>
                  <a:lnTo>
                    <a:pt x="484" y="94"/>
                  </a:lnTo>
                  <a:lnTo>
                    <a:pt x="484" y="97"/>
                  </a:lnTo>
                  <a:lnTo>
                    <a:pt x="484" y="101"/>
                  </a:lnTo>
                  <a:lnTo>
                    <a:pt x="487" y="106"/>
                  </a:lnTo>
                  <a:lnTo>
                    <a:pt x="487" y="108"/>
                  </a:lnTo>
                  <a:lnTo>
                    <a:pt x="489" y="108"/>
                  </a:lnTo>
                  <a:lnTo>
                    <a:pt x="491" y="108"/>
                  </a:lnTo>
                  <a:lnTo>
                    <a:pt x="491" y="111"/>
                  </a:lnTo>
                  <a:lnTo>
                    <a:pt x="491" y="108"/>
                  </a:lnTo>
                  <a:lnTo>
                    <a:pt x="491" y="111"/>
                  </a:lnTo>
                  <a:lnTo>
                    <a:pt x="491" y="120"/>
                  </a:lnTo>
                  <a:lnTo>
                    <a:pt x="491" y="125"/>
                  </a:lnTo>
                  <a:lnTo>
                    <a:pt x="494" y="134"/>
                  </a:lnTo>
                  <a:lnTo>
                    <a:pt x="496" y="151"/>
                  </a:lnTo>
                  <a:lnTo>
                    <a:pt x="496" y="153"/>
                  </a:lnTo>
                  <a:lnTo>
                    <a:pt x="496" y="158"/>
                  </a:lnTo>
                  <a:lnTo>
                    <a:pt x="496" y="160"/>
                  </a:lnTo>
                  <a:lnTo>
                    <a:pt x="494" y="163"/>
                  </a:lnTo>
                  <a:lnTo>
                    <a:pt x="494" y="163"/>
                  </a:lnTo>
                  <a:lnTo>
                    <a:pt x="487" y="167"/>
                  </a:lnTo>
                  <a:lnTo>
                    <a:pt x="484" y="170"/>
                  </a:lnTo>
                  <a:lnTo>
                    <a:pt x="477" y="172"/>
                  </a:lnTo>
                  <a:lnTo>
                    <a:pt x="475" y="177"/>
                  </a:lnTo>
                  <a:lnTo>
                    <a:pt x="468" y="179"/>
                  </a:lnTo>
                  <a:lnTo>
                    <a:pt x="463" y="179"/>
                  </a:lnTo>
                  <a:lnTo>
                    <a:pt x="456" y="182"/>
                  </a:lnTo>
                  <a:lnTo>
                    <a:pt x="439" y="186"/>
                  </a:lnTo>
                  <a:lnTo>
                    <a:pt x="432" y="189"/>
                  </a:lnTo>
                  <a:lnTo>
                    <a:pt x="425" y="191"/>
                  </a:lnTo>
                  <a:lnTo>
                    <a:pt x="420" y="193"/>
                  </a:lnTo>
                  <a:lnTo>
                    <a:pt x="418" y="196"/>
                  </a:lnTo>
                  <a:lnTo>
                    <a:pt x="413" y="196"/>
                  </a:lnTo>
                  <a:lnTo>
                    <a:pt x="406" y="200"/>
                  </a:lnTo>
                  <a:lnTo>
                    <a:pt x="399" y="205"/>
                  </a:lnTo>
                  <a:lnTo>
                    <a:pt x="399" y="205"/>
                  </a:lnTo>
                  <a:lnTo>
                    <a:pt x="397" y="208"/>
                  </a:lnTo>
                  <a:lnTo>
                    <a:pt x="394" y="208"/>
                  </a:lnTo>
                  <a:lnTo>
                    <a:pt x="394" y="210"/>
                  </a:lnTo>
                  <a:lnTo>
                    <a:pt x="397" y="210"/>
                  </a:lnTo>
                  <a:lnTo>
                    <a:pt x="394" y="210"/>
                  </a:lnTo>
                  <a:lnTo>
                    <a:pt x="397" y="212"/>
                  </a:lnTo>
                  <a:lnTo>
                    <a:pt x="394" y="215"/>
                  </a:lnTo>
                  <a:lnTo>
                    <a:pt x="392" y="215"/>
                  </a:lnTo>
                  <a:lnTo>
                    <a:pt x="390" y="215"/>
                  </a:lnTo>
                  <a:lnTo>
                    <a:pt x="387" y="217"/>
                  </a:lnTo>
                  <a:lnTo>
                    <a:pt x="385" y="219"/>
                  </a:lnTo>
                  <a:lnTo>
                    <a:pt x="385" y="222"/>
                  </a:lnTo>
                  <a:lnTo>
                    <a:pt x="385" y="224"/>
                  </a:lnTo>
                  <a:lnTo>
                    <a:pt x="383" y="224"/>
                  </a:lnTo>
                  <a:lnTo>
                    <a:pt x="383" y="224"/>
                  </a:lnTo>
                  <a:lnTo>
                    <a:pt x="380" y="224"/>
                  </a:lnTo>
                  <a:lnTo>
                    <a:pt x="380" y="226"/>
                  </a:lnTo>
                  <a:lnTo>
                    <a:pt x="378" y="229"/>
                  </a:lnTo>
                  <a:lnTo>
                    <a:pt x="376" y="231"/>
                  </a:lnTo>
                  <a:lnTo>
                    <a:pt x="376" y="231"/>
                  </a:lnTo>
                  <a:lnTo>
                    <a:pt x="376" y="231"/>
                  </a:lnTo>
                  <a:lnTo>
                    <a:pt x="373" y="231"/>
                  </a:lnTo>
                  <a:lnTo>
                    <a:pt x="373" y="231"/>
                  </a:lnTo>
                  <a:lnTo>
                    <a:pt x="371" y="234"/>
                  </a:lnTo>
                  <a:lnTo>
                    <a:pt x="368" y="234"/>
                  </a:lnTo>
                  <a:lnTo>
                    <a:pt x="368" y="241"/>
                  </a:lnTo>
                  <a:lnTo>
                    <a:pt x="366" y="241"/>
                  </a:lnTo>
                  <a:lnTo>
                    <a:pt x="366" y="245"/>
                  </a:lnTo>
                  <a:lnTo>
                    <a:pt x="366" y="248"/>
                  </a:lnTo>
                  <a:lnTo>
                    <a:pt x="366" y="248"/>
                  </a:lnTo>
                  <a:lnTo>
                    <a:pt x="368" y="255"/>
                  </a:lnTo>
                  <a:lnTo>
                    <a:pt x="368" y="257"/>
                  </a:lnTo>
                  <a:lnTo>
                    <a:pt x="373" y="257"/>
                  </a:lnTo>
                  <a:lnTo>
                    <a:pt x="373" y="257"/>
                  </a:lnTo>
                  <a:lnTo>
                    <a:pt x="373" y="260"/>
                  </a:lnTo>
                  <a:lnTo>
                    <a:pt x="376" y="262"/>
                  </a:lnTo>
                  <a:lnTo>
                    <a:pt x="378" y="262"/>
                  </a:lnTo>
                  <a:lnTo>
                    <a:pt x="378" y="262"/>
                  </a:lnTo>
                  <a:lnTo>
                    <a:pt x="378" y="260"/>
                  </a:lnTo>
                  <a:lnTo>
                    <a:pt x="380" y="260"/>
                  </a:lnTo>
                  <a:lnTo>
                    <a:pt x="380" y="260"/>
                  </a:lnTo>
                  <a:lnTo>
                    <a:pt x="380" y="260"/>
                  </a:lnTo>
                  <a:lnTo>
                    <a:pt x="383" y="260"/>
                  </a:lnTo>
                  <a:lnTo>
                    <a:pt x="383" y="257"/>
                  </a:lnTo>
                  <a:lnTo>
                    <a:pt x="383" y="260"/>
                  </a:lnTo>
                  <a:lnTo>
                    <a:pt x="383" y="257"/>
                  </a:lnTo>
                  <a:lnTo>
                    <a:pt x="383" y="260"/>
                  </a:lnTo>
                  <a:lnTo>
                    <a:pt x="383" y="260"/>
                  </a:lnTo>
                  <a:lnTo>
                    <a:pt x="385" y="260"/>
                  </a:lnTo>
                  <a:lnTo>
                    <a:pt x="383" y="262"/>
                  </a:lnTo>
                  <a:lnTo>
                    <a:pt x="383" y="262"/>
                  </a:lnTo>
                  <a:lnTo>
                    <a:pt x="383" y="262"/>
                  </a:lnTo>
                  <a:lnTo>
                    <a:pt x="383" y="262"/>
                  </a:lnTo>
                  <a:lnTo>
                    <a:pt x="380" y="262"/>
                  </a:lnTo>
                  <a:lnTo>
                    <a:pt x="383" y="264"/>
                  </a:lnTo>
                  <a:lnTo>
                    <a:pt x="380" y="262"/>
                  </a:lnTo>
                  <a:lnTo>
                    <a:pt x="380" y="264"/>
                  </a:lnTo>
                  <a:lnTo>
                    <a:pt x="380" y="264"/>
                  </a:lnTo>
                  <a:lnTo>
                    <a:pt x="378" y="262"/>
                  </a:lnTo>
                  <a:lnTo>
                    <a:pt x="376" y="264"/>
                  </a:lnTo>
                  <a:lnTo>
                    <a:pt x="376" y="264"/>
                  </a:lnTo>
                  <a:lnTo>
                    <a:pt x="376" y="267"/>
                  </a:lnTo>
                  <a:lnTo>
                    <a:pt x="376" y="267"/>
                  </a:lnTo>
                  <a:lnTo>
                    <a:pt x="376" y="269"/>
                  </a:lnTo>
                  <a:lnTo>
                    <a:pt x="373" y="267"/>
                  </a:lnTo>
                  <a:lnTo>
                    <a:pt x="373" y="269"/>
                  </a:lnTo>
                  <a:lnTo>
                    <a:pt x="371" y="269"/>
                  </a:lnTo>
                  <a:lnTo>
                    <a:pt x="368" y="271"/>
                  </a:lnTo>
                  <a:lnTo>
                    <a:pt x="368" y="274"/>
                  </a:lnTo>
                  <a:lnTo>
                    <a:pt x="368" y="274"/>
                  </a:lnTo>
                  <a:lnTo>
                    <a:pt x="368" y="274"/>
                  </a:lnTo>
                  <a:lnTo>
                    <a:pt x="368" y="274"/>
                  </a:lnTo>
                  <a:lnTo>
                    <a:pt x="368" y="276"/>
                  </a:lnTo>
                  <a:lnTo>
                    <a:pt x="368" y="276"/>
                  </a:lnTo>
                  <a:lnTo>
                    <a:pt x="366" y="276"/>
                  </a:lnTo>
                  <a:lnTo>
                    <a:pt x="366" y="278"/>
                  </a:lnTo>
                  <a:lnTo>
                    <a:pt x="366" y="276"/>
                  </a:lnTo>
                  <a:lnTo>
                    <a:pt x="366" y="276"/>
                  </a:lnTo>
                  <a:lnTo>
                    <a:pt x="364" y="278"/>
                  </a:lnTo>
                  <a:lnTo>
                    <a:pt x="364" y="278"/>
                  </a:lnTo>
                  <a:lnTo>
                    <a:pt x="361" y="281"/>
                  </a:lnTo>
                  <a:lnTo>
                    <a:pt x="361" y="283"/>
                  </a:lnTo>
                  <a:lnTo>
                    <a:pt x="364" y="285"/>
                  </a:lnTo>
                  <a:lnTo>
                    <a:pt x="364" y="285"/>
                  </a:lnTo>
                  <a:lnTo>
                    <a:pt x="364" y="285"/>
                  </a:lnTo>
                  <a:lnTo>
                    <a:pt x="364" y="288"/>
                  </a:lnTo>
                  <a:lnTo>
                    <a:pt x="366" y="285"/>
                  </a:lnTo>
                  <a:lnTo>
                    <a:pt x="366" y="285"/>
                  </a:lnTo>
                  <a:lnTo>
                    <a:pt x="366" y="285"/>
                  </a:lnTo>
                  <a:lnTo>
                    <a:pt x="366" y="288"/>
                  </a:lnTo>
                  <a:lnTo>
                    <a:pt x="366" y="288"/>
                  </a:lnTo>
                  <a:lnTo>
                    <a:pt x="366" y="288"/>
                  </a:lnTo>
                  <a:lnTo>
                    <a:pt x="366" y="288"/>
                  </a:lnTo>
                  <a:lnTo>
                    <a:pt x="366" y="288"/>
                  </a:lnTo>
                  <a:lnTo>
                    <a:pt x="364" y="288"/>
                  </a:lnTo>
                  <a:lnTo>
                    <a:pt x="366" y="288"/>
                  </a:lnTo>
                  <a:lnTo>
                    <a:pt x="364" y="288"/>
                  </a:lnTo>
                  <a:lnTo>
                    <a:pt x="364" y="290"/>
                  </a:lnTo>
                  <a:lnTo>
                    <a:pt x="366" y="290"/>
                  </a:lnTo>
                  <a:lnTo>
                    <a:pt x="366" y="290"/>
                  </a:lnTo>
                  <a:lnTo>
                    <a:pt x="366" y="293"/>
                  </a:lnTo>
                  <a:lnTo>
                    <a:pt x="364" y="290"/>
                  </a:lnTo>
                  <a:lnTo>
                    <a:pt x="361" y="290"/>
                  </a:lnTo>
                  <a:lnTo>
                    <a:pt x="364" y="288"/>
                  </a:lnTo>
                  <a:lnTo>
                    <a:pt x="361" y="288"/>
                  </a:lnTo>
                  <a:lnTo>
                    <a:pt x="357" y="285"/>
                  </a:lnTo>
                  <a:lnTo>
                    <a:pt x="331" y="283"/>
                  </a:lnTo>
                  <a:lnTo>
                    <a:pt x="321" y="283"/>
                  </a:lnTo>
                  <a:lnTo>
                    <a:pt x="312" y="283"/>
                  </a:lnTo>
                  <a:lnTo>
                    <a:pt x="307" y="283"/>
                  </a:lnTo>
                  <a:lnTo>
                    <a:pt x="305" y="283"/>
                  </a:lnTo>
                  <a:lnTo>
                    <a:pt x="302" y="283"/>
                  </a:lnTo>
                  <a:lnTo>
                    <a:pt x="293" y="283"/>
                  </a:lnTo>
                  <a:lnTo>
                    <a:pt x="286" y="283"/>
                  </a:lnTo>
                  <a:lnTo>
                    <a:pt x="281" y="283"/>
                  </a:lnTo>
                  <a:lnTo>
                    <a:pt x="281" y="285"/>
                  </a:lnTo>
                  <a:lnTo>
                    <a:pt x="281" y="288"/>
                  </a:lnTo>
                  <a:lnTo>
                    <a:pt x="279" y="288"/>
                  </a:lnTo>
                  <a:lnTo>
                    <a:pt x="279" y="288"/>
                  </a:lnTo>
                  <a:lnTo>
                    <a:pt x="276" y="285"/>
                  </a:lnTo>
                  <a:lnTo>
                    <a:pt x="265" y="288"/>
                  </a:lnTo>
                  <a:lnTo>
                    <a:pt x="255" y="288"/>
                  </a:lnTo>
                  <a:lnTo>
                    <a:pt x="250" y="288"/>
                  </a:lnTo>
                  <a:lnTo>
                    <a:pt x="246" y="288"/>
                  </a:lnTo>
                  <a:lnTo>
                    <a:pt x="241" y="288"/>
                  </a:lnTo>
                  <a:lnTo>
                    <a:pt x="239" y="288"/>
                  </a:lnTo>
                  <a:lnTo>
                    <a:pt x="239" y="288"/>
                  </a:lnTo>
                  <a:lnTo>
                    <a:pt x="236" y="288"/>
                  </a:lnTo>
                  <a:lnTo>
                    <a:pt x="236" y="290"/>
                  </a:lnTo>
                  <a:lnTo>
                    <a:pt x="236" y="288"/>
                  </a:lnTo>
                  <a:lnTo>
                    <a:pt x="234" y="288"/>
                  </a:lnTo>
                  <a:lnTo>
                    <a:pt x="234" y="290"/>
                  </a:lnTo>
                  <a:lnTo>
                    <a:pt x="234" y="288"/>
                  </a:lnTo>
                  <a:lnTo>
                    <a:pt x="234" y="288"/>
                  </a:lnTo>
                  <a:lnTo>
                    <a:pt x="234" y="288"/>
                  </a:lnTo>
                  <a:lnTo>
                    <a:pt x="229" y="285"/>
                  </a:lnTo>
                  <a:lnTo>
                    <a:pt x="227" y="285"/>
                  </a:lnTo>
                  <a:lnTo>
                    <a:pt x="224" y="285"/>
                  </a:lnTo>
                  <a:lnTo>
                    <a:pt x="224" y="283"/>
                  </a:lnTo>
                  <a:lnTo>
                    <a:pt x="222" y="283"/>
                  </a:lnTo>
                  <a:lnTo>
                    <a:pt x="224" y="283"/>
                  </a:lnTo>
                  <a:lnTo>
                    <a:pt x="224" y="281"/>
                  </a:lnTo>
                  <a:lnTo>
                    <a:pt x="224" y="283"/>
                  </a:lnTo>
                  <a:lnTo>
                    <a:pt x="227" y="283"/>
                  </a:lnTo>
                  <a:lnTo>
                    <a:pt x="224" y="283"/>
                  </a:lnTo>
                  <a:lnTo>
                    <a:pt x="227" y="283"/>
                  </a:lnTo>
                  <a:lnTo>
                    <a:pt x="227" y="283"/>
                  </a:lnTo>
                  <a:lnTo>
                    <a:pt x="227" y="283"/>
                  </a:lnTo>
                  <a:lnTo>
                    <a:pt x="227" y="281"/>
                  </a:lnTo>
                  <a:lnTo>
                    <a:pt x="227" y="281"/>
                  </a:lnTo>
                  <a:lnTo>
                    <a:pt x="224" y="281"/>
                  </a:lnTo>
                  <a:lnTo>
                    <a:pt x="224" y="281"/>
                  </a:lnTo>
                  <a:lnTo>
                    <a:pt x="224" y="281"/>
                  </a:lnTo>
                  <a:lnTo>
                    <a:pt x="222" y="278"/>
                  </a:lnTo>
                  <a:lnTo>
                    <a:pt x="224" y="278"/>
                  </a:lnTo>
                  <a:lnTo>
                    <a:pt x="224" y="278"/>
                  </a:lnTo>
                  <a:lnTo>
                    <a:pt x="222" y="276"/>
                  </a:lnTo>
                  <a:lnTo>
                    <a:pt x="224" y="276"/>
                  </a:lnTo>
                  <a:lnTo>
                    <a:pt x="224" y="276"/>
                  </a:lnTo>
                  <a:lnTo>
                    <a:pt x="224" y="276"/>
                  </a:lnTo>
                  <a:lnTo>
                    <a:pt x="227" y="274"/>
                  </a:lnTo>
                  <a:lnTo>
                    <a:pt x="227" y="274"/>
                  </a:lnTo>
                  <a:lnTo>
                    <a:pt x="229" y="271"/>
                  </a:lnTo>
                  <a:lnTo>
                    <a:pt x="227" y="271"/>
                  </a:lnTo>
                  <a:lnTo>
                    <a:pt x="227" y="269"/>
                  </a:lnTo>
                  <a:lnTo>
                    <a:pt x="229" y="269"/>
                  </a:lnTo>
                  <a:lnTo>
                    <a:pt x="231" y="267"/>
                  </a:lnTo>
                  <a:lnTo>
                    <a:pt x="229" y="264"/>
                  </a:lnTo>
                  <a:lnTo>
                    <a:pt x="229" y="264"/>
                  </a:lnTo>
                  <a:lnTo>
                    <a:pt x="231" y="262"/>
                  </a:lnTo>
                  <a:lnTo>
                    <a:pt x="231" y="262"/>
                  </a:lnTo>
                  <a:lnTo>
                    <a:pt x="231" y="262"/>
                  </a:lnTo>
                  <a:lnTo>
                    <a:pt x="236" y="260"/>
                  </a:lnTo>
                  <a:lnTo>
                    <a:pt x="236" y="257"/>
                  </a:lnTo>
                  <a:lnTo>
                    <a:pt x="236" y="255"/>
                  </a:lnTo>
                  <a:lnTo>
                    <a:pt x="236" y="255"/>
                  </a:lnTo>
                  <a:lnTo>
                    <a:pt x="236" y="255"/>
                  </a:lnTo>
                  <a:lnTo>
                    <a:pt x="236" y="252"/>
                  </a:lnTo>
                  <a:lnTo>
                    <a:pt x="236" y="252"/>
                  </a:lnTo>
                  <a:lnTo>
                    <a:pt x="236" y="252"/>
                  </a:lnTo>
                  <a:lnTo>
                    <a:pt x="236" y="252"/>
                  </a:lnTo>
                  <a:lnTo>
                    <a:pt x="234" y="252"/>
                  </a:lnTo>
                  <a:lnTo>
                    <a:pt x="234" y="250"/>
                  </a:lnTo>
                  <a:lnTo>
                    <a:pt x="234" y="252"/>
                  </a:lnTo>
                  <a:lnTo>
                    <a:pt x="234" y="250"/>
                  </a:lnTo>
                  <a:lnTo>
                    <a:pt x="231" y="250"/>
                  </a:lnTo>
                  <a:lnTo>
                    <a:pt x="229" y="250"/>
                  </a:lnTo>
                  <a:lnTo>
                    <a:pt x="229" y="250"/>
                  </a:lnTo>
                  <a:lnTo>
                    <a:pt x="227" y="250"/>
                  </a:lnTo>
                  <a:lnTo>
                    <a:pt x="227" y="250"/>
                  </a:lnTo>
                  <a:lnTo>
                    <a:pt x="227" y="252"/>
                  </a:lnTo>
                  <a:lnTo>
                    <a:pt x="227" y="252"/>
                  </a:lnTo>
                  <a:lnTo>
                    <a:pt x="224" y="252"/>
                  </a:lnTo>
                  <a:lnTo>
                    <a:pt x="224" y="252"/>
                  </a:lnTo>
                  <a:lnTo>
                    <a:pt x="224" y="255"/>
                  </a:lnTo>
                  <a:lnTo>
                    <a:pt x="224" y="255"/>
                  </a:lnTo>
                  <a:lnTo>
                    <a:pt x="222" y="255"/>
                  </a:lnTo>
                  <a:lnTo>
                    <a:pt x="220" y="252"/>
                  </a:lnTo>
                  <a:lnTo>
                    <a:pt x="220" y="255"/>
                  </a:lnTo>
                  <a:lnTo>
                    <a:pt x="220" y="255"/>
                  </a:lnTo>
                  <a:lnTo>
                    <a:pt x="217" y="255"/>
                  </a:lnTo>
                  <a:lnTo>
                    <a:pt x="213" y="255"/>
                  </a:lnTo>
                  <a:lnTo>
                    <a:pt x="213" y="257"/>
                  </a:lnTo>
                  <a:lnTo>
                    <a:pt x="213" y="257"/>
                  </a:lnTo>
                  <a:lnTo>
                    <a:pt x="210" y="257"/>
                  </a:lnTo>
                  <a:lnTo>
                    <a:pt x="210" y="257"/>
                  </a:lnTo>
                  <a:lnTo>
                    <a:pt x="210" y="260"/>
                  </a:lnTo>
                  <a:lnTo>
                    <a:pt x="208" y="260"/>
                  </a:lnTo>
                  <a:lnTo>
                    <a:pt x="210" y="260"/>
                  </a:lnTo>
                  <a:lnTo>
                    <a:pt x="208" y="260"/>
                  </a:lnTo>
                  <a:lnTo>
                    <a:pt x="208" y="260"/>
                  </a:lnTo>
                  <a:lnTo>
                    <a:pt x="208" y="260"/>
                  </a:lnTo>
                  <a:lnTo>
                    <a:pt x="206" y="262"/>
                  </a:lnTo>
                  <a:lnTo>
                    <a:pt x="206" y="262"/>
                  </a:lnTo>
                  <a:lnTo>
                    <a:pt x="203" y="264"/>
                  </a:lnTo>
                  <a:lnTo>
                    <a:pt x="206" y="264"/>
                  </a:lnTo>
                  <a:lnTo>
                    <a:pt x="203" y="267"/>
                  </a:lnTo>
                  <a:lnTo>
                    <a:pt x="203" y="267"/>
                  </a:lnTo>
                  <a:lnTo>
                    <a:pt x="203" y="269"/>
                  </a:lnTo>
                  <a:lnTo>
                    <a:pt x="206" y="267"/>
                  </a:lnTo>
                  <a:lnTo>
                    <a:pt x="206" y="269"/>
                  </a:lnTo>
                  <a:lnTo>
                    <a:pt x="206" y="269"/>
                  </a:lnTo>
                  <a:lnTo>
                    <a:pt x="208" y="271"/>
                  </a:lnTo>
                  <a:lnTo>
                    <a:pt x="208" y="271"/>
                  </a:lnTo>
                  <a:lnTo>
                    <a:pt x="210" y="274"/>
                  </a:lnTo>
                  <a:lnTo>
                    <a:pt x="210" y="274"/>
                  </a:lnTo>
                  <a:lnTo>
                    <a:pt x="210" y="271"/>
                  </a:lnTo>
                  <a:lnTo>
                    <a:pt x="208" y="269"/>
                  </a:lnTo>
                  <a:lnTo>
                    <a:pt x="208" y="269"/>
                  </a:lnTo>
                  <a:lnTo>
                    <a:pt x="208" y="269"/>
                  </a:lnTo>
                  <a:lnTo>
                    <a:pt x="206" y="267"/>
                  </a:lnTo>
                  <a:lnTo>
                    <a:pt x="208" y="267"/>
                  </a:lnTo>
                  <a:lnTo>
                    <a:pt x="208" y="267"/>
                  </a:lnTo>
                  <a:lnTo>
                    <a:pt x="208" y="267"/>
                  </a:lnTo>
                  <a:lnTo>
                    <a:pt x="208" y="267"/>
                  </a:lnTo>
                  <a:lnTo>
                    <a:pt x="210" y="264"/>
                  </a:lnTo>
                  <a:lnTo>
                    <a:pt x="210" y="264"/>
                  </a:lnTo>
                  <a:lnTo>
                    <a:pt x="213" y="264"/>
                  </a:lnTo>
                  <a:lnTo>
                    <a:pt x="215" y="264"/>
                  </a:lnTo>
                  <a:lnTo>
                    <a:pt x="215" y="264"/>
                  </a:lnTo>
                  <a:lnTo>
                    <a:pt x="217" y="264"/>
                  </a:lnTo>
                  <a:lnTo>
                    <a:pt x="215" y="264"/>
                  </a:lnTo>
                  <a:lnTo>
                    <a:pt x="217" y="264"/>
                  </a:lnTo>
                  <a:lnTo>
                    <a:pt x="217" y="264"/>
                  </a:lnTo>
                  <a:lnTo>
                    <a:pt x="217" y="262"/>
                  </a:lnTo>
                  <a:lnTo>
                    <a:pt x="217" y="264"/>
                  </a:lnTo>
                  <a:lnTo>
                    <a:pt x="220" y="262"/>
                  </a:lnTo>
                  <a:lnTo>
                    <a:pt x="220" y="262"/>
                  </a:lnTo>
                  <a:lnTo>
                    <a:pt x="220" y="264"/>
                  </a:lnTo>
                  <a:lnTo>
                    <a:pt x="220" y="264"/>
                  </a:lnTo>
                  <a:lnTo>
                    <a:pt x="217" y="267"/>
                  </a:lnTo>
                  <a:lnTo>
                    <a:pt x="217" y="267"/>
                  </a:lnTo>
                  <a:lnTo>
                    <a:pt x="217" y="269"/>
                  </a:lnTo>
                  <a:lnTo>
                    <a:pt x="220" y="269"/>
                  </a:lnTo>
                  <a:lnTo>
                    <a:pt x="217" y="269"/>
                  </a:lnTo>
                  <a:lnTo>
                    <a:pt x="217" y="269"/>
                  </a:lnTo>
                  <a:lnTo>
                    <a:pt x="217" y="271"/>
                  </a:lnTo>
                  <a:lnTo>
                    <a:pt x="215" y="269"/>
                  </a:lnTo>
                  <a:lnTo>
                    <a:pt x="215" y="269"/>
                  </a:lnTo>
                  <a:lnTo>
                    <a:pt x="213" y="269"/>
                  </a:lnTo>
                  <a:lnTo>
                    <a:pt x="210" y="269"/>
                  </a:lnTo>
                  <a:lnTo>
                    <a:pt x="210" y="271"/>
                  </a:lnTo>
                  <a:lnTo>
                    <a:pt x="210" y="271"/>
                  </a:lnTo>
                  <a:lnTo>
                    <a:pt x="210" y="271"/>
                  </a:lnTo>
                  <a:lnTo>
                    <a:pt x="210" y="271"/>
                  </a:lnTo>
                  <a:lnTo>
                    <a:pt x="213" y="271"/>
                  </a:lnTo>
                  <a:lnTo>
                    <a:pt x="210" y="271"/>
                  </a:lnTo>
                  <a:lnTo>
                    <a:pt x="210" y="271"/>
                  </a:lnTo>
                  <a:lnTo>
                    <a:pt x="210" y="271"/>
                  </a:lnTo>
                  <a:lnTo>
                    <a:pt x="210" y="274"/>
                  </a:lnTo>
                  <a:lnTo>
                    <a:pt x="215" y="274"/>
                  </a:lnTo>
                  <a:lnTo>
                    <a:pt x="213" y="274"/>
                  </a:lnTo>
                  <a:lnTo>
                    <a:pt x="213" y="274"/>
                  </a:lnTo>
                  <a:lnTo>
                    <a:pt x="213" y="274"/>
                  </a:lnTo>
                  <a:lnTo>
                    <a:pt x="210" y="274"/>
                  </a:lnTo>
                  <a:lnTo>
                    <a:pt x="210" y="276"/>
                  </a:lnTo>
                  <a:lnTo>
                    <a:pt x="213" y="276"/>
                  </a:lnTo>
                  <a:lnTo>
                    <a:pt x="215" y="274"/>
                  </a:lnTo>
                  <a:lnTo>
                    <a:pt x="215" y="276"/>
                  </a:lnTo>
                  <a:lnTo>
                    <a:pt x="213" y="278"/>
                  </a:lnTo>
                  <a:lnTo>
                    <a:pt x="215" y="278"/>
                  </a:lnTo>
                  <a:lnTo>
                    <a:pt x="215" y="278"/>
                  </a:lnTo>
                  <a:lnTo>
                    <a:pt x="217" y="278"/>
                  </a:lnTo>
                  <a:lnTo>
                    <a:pt x="217" y="278"/>
                  </a:lnTo>
                  <a:lnTo>
                    <a:pt x="217" y="278"/>
                  </a:lnTo>
                  <a:lnTo>
                    <a:pt x="217" y="278"/>
                  </a:lnTo>
                  <a:lnTo>
                    <a:pt x="217" y="278"/>
                  </a:lnTo>
                  <a:lnTo>
                    <a:pt x="220" y="278"/>
                  </a:lnTo>
                  <a:lnTo>
                    <a:pt x="217" y="278"/>
                  </a:lnTo>
                  <a:lnTo>
                    <a:pt x="217" y="278"/>
                  </a:lnTo>
                  <a:lnTo>
                    <a:pt x="217" y="278"/>
                  </a:lnTo>
                  <a:lnTo>
                    <a:pt x="220" y="278"/>
                  </a:lnTo>
                  <a:lnTo>
                    <a:pt x="220" y="281"/>
                  </a:lnTo>
                  <a:lnTo>
                    <a:pt x="217" y="281"/>
                  </a:lnTo>
                  <a:lnTo>
                    <a:pt x="217" y="281"/>
                  </a:lnTo>
                  <a:lnTo>
                    <a:pt x="217" y="281"/>
                  </a:lnTo>
                  <a:lnTo>
                    <a:pt x="220" y="281"/>
                  </a:lnTo>
                  <a:lnTo>
                    <a:pt x="217" y="283"/>
                  </a:lnTo>
                  <a:lnTo>
                    <a:pt x="220" y="283"/>
                  </a:lnTo>
                  <a:lnTo>
                    <a:pt x="217" y="283"/>
                  </a:lnTo>
                  <a:lnTo>
                    <a:pt x="217" y="283"/>
                  </a:lnTo>
                  <a:lnTo>
                    <a:pt x="217" y="285"/>
                  </a:lnTo>
                  <a:lnTo>
                    <a:pt x="217" y="285"/>
                  </a:lnTo>
                  <a:lnTo>
                    <a:pt x="220" y="283"/>
                  </a:lnTo>
                  <a:lnTo>
                    <a:pt x="220" y="283"/>
                  </a:lnTo>
                  <a:lnTo>
                    <a:pt x="220" y="283"/>
                  </a:lnTo>
                  <a:lnTo>
                    <a:pt x="220" y="285"/>
                  </a:lnTo>
                  <a:lnTo>
                    <a:pt x="220" y="285"/>
                  </a:lnTo>
                  <a:lnTo>
                    <a:pt x="220" y="285"/>
                  </a:lnTo>
                  <a:lnTo>
                    <a:pt x="220" y="288"/>
                  </a:lnTo>
                  <a:lnTo>
                    <a:pt x="220" y="288"/>
                  </a:lnTo>
                  <a:lnTo>
                    <a:pt x="217" y="288"/>
                  </a:lnTo>
                  <a:lnTo>
                    <a:pt x="217" y="290"/>
                  </a:lnTo>
                  <a:lnTo>
                    <a:pt x="217" y="290"/>
                  </a:lnTo>
                  <a:lnTo>
                    <a:pt x="217" y="290"/>
                  </a:lnTo>
                  <a:lnTo>
                    <a:pt x="215" y="290"/>
                  </a:lnTo>
                  <a:lnTo>
                    <a:pt x="213" y="290"/>
                  </a:lnTo>
                  <a:lnTo>
                    <a:pt x="208" y="293"/>
                  </a:lnTo>
                  <a:lnTo>
                    <a:pt x="206" y="293"/>
                  </a:lnTo>
                  <a:lnTo>
                    <a:pt x="203" y="293"/>
                  </a:lnTo>
                  <a:lnTo>
                    <a:pt x="203" y="293"/>
                  </a:lnTo>
                  <a:lnTo>
                    <a:pt x="203" y="293"/>
                  </a:lnTo>
                  <a:lnTo>
                    <a:pt x="201" y="293"/>
                  </a:lnTo>
                  <a:lnTo>
                    <a:pt x="201" y="293"/>
                  </a:lnTo>
                  <a:lnTo>
                    <a:pt x="198" y="290"/>
                  </a:lnTo>
                  <a:lnTo>
                    <a:pt x="198" y="290"/>
                  </a:lnTo>
                  <a:lnTo>
                    <a:pt x="198" y="290"/>
                  </a:lnTo>
                  <a:lnTo>
                    <a:pt x="196" y="290"/>
                  </a:lnTo>
                  <a:lnTo>
                    <a:pt x="194" y="288"/>
                  </a:lnTo>
                  <a:lnTo>
                    <a:pt x="191" y="288"/>
                  </a:lnTo>
                  <a:lnTo>
                    <a:pt x="191" y="288"/>
                  </a:lnTo>
                  <a:lnTo>
                    <a:pt x="189" y="290"/>
                  </a:lnTo>
                  <a:lnTo>
                    <a:pt x="189" y="288"/>
                  </a:lnTo>
                  <a:lnTo>
                    <a:pt x="189" y="290"/>
                  </a:lnTo>
                  <a:lnTo>
                    <a:pt x="189" y="290"/>
                  </a:lnTo>
                  <a:lnTo>
                    <a:pt x="189" y="290"/>
                  </a:lnTo>
                  <a:lnTo>
                    <a:pt x="187" y="290"/>
                  </a:lnTo>
                  <a:lnTo>
                    <a:pt x="189" y="290"/>
                  </a:lnTo>
                  <a:lnTo>
                    <a:pt x="189" y="290"/>
                  </a:lnTo>
                  <a:lnTo>
                    <a:pt x="191" y="290"/>
                  </a:lnTo>
                  <a:lnTo>
                    <a:pt x="191" y="290"/>
                  </a:lnTo>
                  <a:lnTo>
                    <a:pt x="191" y="290"/>
                  </a:lnTo>
                  <a:lnTo>
                    <a:pt x="191" y="290"/>
                  </a:lnTo>
                  <a:lnTo>
                    <a:pt x="191" y="290"/>
                  </a:lnTo>
                  <a:lnTo>
                    <a:pt x="194" y="290"/>
                  </a:lnTo>
                  <a:lnTo>
                    <a:pt x="196" y="290"/>
                  </a:lnTo>
                  <a:lnTo>
                    <a:pt x="194" y="290"/>
                  </a:lnTo>
                  <a:lnTo>
                    <a:pt x="196" y="290"/>
                  </a:lnTo>
                  <a:lnTo>
                    <a:pt x="196" y="290"/>
                  </a:lnTo>
                  <a:lnTo>
                    <a:pt x="194" y="290"/>
                  </a:lnTo>
                  <a:lnTo>
                    <a:pt x="194" y="290"/>
                  </a:lnTo>
                  <a:lnTo>
                    <a:pt x="198" y="290"/>
                  </a:lnTo>
                  <a:lnTo>
                    <a:pt x="198" y="290"/>
                  </a:lnTo>
                  <a:lnTo>
                    <a:pt x="198" y="293"/>
                  </a:lnTo>
                  <a:lnTo>
                    <a:pt x="201" y="293"/>
                  </a:lnTo>
                  <a:lnTo>
                    <a:pt x="201" y="293"/>
                  </a:lnTo>
                  <a:lnTo>
                    <a:pt x="203" y="293"/>
                  </a:lnTo>
                  <a:lnTo>
                    <a:pt x="201" y="293"/>
                  </a:lnTo>
                  <a:lnTo>
                    <a:pt x="194" y="293"/>
                  </a:lnTo>
                  <a:lnTo>
                    <a:pt x="184" y="295"/>
                  </a:lnTo>
                  <a:lnTo>
                    <a:pt x="182" y="295"/>
                  </a:lnTo>
                  <a:lnTo>
                    <a:pt x="180" y="297"/>
                  </a:lnTo>
                  <a:lnTo>
                    <a:pt x="180" y="297"/>
                  </a:lnTo>
                  <a:lnTo>
                    <a:pt x="180" y="297"/>
                  </a:lnTo>
                  <a:lnTo>
                    <a:pt x="177" y="297"/>
                  </a:lnTo>
                  <a:lnTo>
                    <a:pt x="175" y="297"/>
                  </a:lnTo>
                  <a:lnTo>
                    <a:pt x="175" y="297"/>
                  </a:lnTo>
                  <a:lnTo>
                    <a:pt x="172" y="300"/>
                  </a:lnTo>
                  <a:lnTo>
                    <a:pt x="170" y="300"/>
                  </a:lnTo>
                  <a:lnTo>
                    <a:pt x="170" y="302"/>
                  </a:lnTo>
                  <a:lnTo>
                    <a:pt x="170" y="302"/>
                  </a:lnTo>
                  <a:lnTo>
                    <a:pt x="170" y="302"/>
                  </a:lnTo>
                  <a:lnTo>
                    <a:pt x="168" y="302"/>
                  </a:lnTo>
                  <a:lnTo>
                    <a:pt x="168" y="302"/>
                  </a:lnTo>
                  <a:lnTo>
                    <a:pt x="168" y="302"/>
                  </a:lnTo>
                  <a:lnTo>
                    <a:pt x="168" y="300"/>
                  </a:lnTo>
                  <a:lnTo>
                    <a:pt x="165" y="300"/>
                  </a:lnTo>
                  <a:lnTo>
                    <a:pt x="165" y="300"/>
                  </a:lnTo>
                  <a:lnTo>
                    <a:pt x="156" y="300"/>
                  </a:lnTo>
                  <a:lnTo>
                    <a:pt x="142" y="300"/>
                  </a:lnTo>
                  <a:lnTo>
                    <a:pt x="132" y="302"/>
                  </a:lnTo>
                  <a:lnTo>
                    <a:pt x="118" y="304"/>
                  </a:lnTo>
                  <a:lnTo>
                    <a:pt x="116" y="304"/>
                  </a:lnTo>
                  <a:lnTo>
                    <a:pt x="113" y="304"/>
                  </a:lnTo>
                  <a:lnTo>
                    <a:pt x="113" y="304"/>
                  </a:lnTo>
                  <a:lnTo>
                    <a:pt x="111" y="304"/>
                  </a:lnTo>
                  <a:lnTo>
                    <a:pt x="111" y="302"/>
                  </a:lnTo>
                  <a:lnTo>
                    <a:pt x="111" y="302"/>
                  </a:lnTo>
                  <a:lnTo>
                    <a:pt x="111" y="302"/>
                  </a:lnTo>
                  <a:lnTo>
                    <a:pt x="113" y="302"/>
                  </a:lnTo>
                  <a:lnTo>
                    <a:pt x="113" y="300"/>
                  </a:lnTo>
                  <a:lnTo>
                    <a:pt x="113" y="300"/>
                  </a:lnTo>
                  <a:lnTo>
                    <a:pt x="116" y="300"/>
                  </a:lnTo>
                  <a:lnTo>
                    <a:pt x="116" y="297"/>
                  </a:lnTo>
                  <a:lnTo>
                    <a:pt x="118" y="297"/>
                  </a:lnTo>
                  <a:lnTo>
                    <a:pt x="120" y="297"/>
                  </a:lnTo>
                  <a:lnTo>
                    <a:pt x="120" y="300"/>
                  </a:lnTo>
                  <a:lnTo>
                    <a:pt x="123" y="300"/>
                  </a:lnTo>
                  <a:lnTo>
                    <a:pt x="125" y="300"/>
                  </a:lnTo>
                  <a:lnTo>
                    <a:pt x="128" y="300"/>
                  </a:lnTo>
                  <a:lnTo>
                    <a:pt x="128" y="300"/>
                  </a:lnTo>
                  <a:lnTo>
                    <a:pt x="128" y="297"/>
                  </a:lnTo>
                  <a:lnTo>
                    <a:pt x="128" y="297"/>
                  </a:lnTo>
                  <a:lnTo>
                    <a:pt x="128" y="297"/>
                  </a:lnTo>
                  <a:lnTo>
                    <a:pt x="125" y="295"/>
                  </a:lnTo>
                  <a:lnTo>
                    <a:pt x="125" y="295"/>
                  </a:lnTo>
                  <a:lnTo>
                    <a:pt x="125" y="295"/>
                  </a:lnTo>
                  <a:lnTo>
                    <a:pt x="128" y="297"/>
                  </a:lnTo>
                  <a:lnTo>
                    <a:pt x="130" y="297"/>
                  </a:lnTo>
                  <a:lnTo>
                    <a:pt x="135" y="300"/>
                  </a:lnTo>
                  <a:lnTo>
                    <a:pt x="139" y="300"/>
                  </a:lnTo>
                  <a:lnTo>
                    <a:pt x="151" y="300"/>
                  </a:lnTo>
                  <a:lnTo>
                    <a:pt x="156" y="297"/>
                  </a:lnTo>
                  <a:lnTo>
                    <a:pt x="163" y="297"/>
                  </a:lnTo>
                  <a:lnTo>
                    <a:pt x="163" y="297"/>
                  </a:lnTo>
                  <a:lnTo>
                    <a:pt x="163" y="297"/>
                  </a:lnTo>
                  <a:lnTo>
                    <a:pt x="168" y="300"/>
                  </a:lnTo>
                  <a:lnTo>
                    <a:pt x="168" y="300"/>
                  </a:lnTo>
                  <a:lnTo>
                    <a:pt x="170" y="300"/>
                  </a:lnTo>
                  <a:lnTo>
                    <a:pt x="170" y="297"/>
                  </a:lnTo>
                  <a:lnTo>
                    <a:pt x="168" y="297"/>
                  </a:lnTo>
                  <a:lnTo>
                    <a:pt x="168" y="300"/>
                  </a:lnTo>
                  <a:lnTo>
                    <a:pt x="168" y="297"/>
                  </a:lnTo>
                  <a:lnTo>
                    <a:pt x="165" y="297"/>
                  </a:lnTo>
                  <a:lnTo>
                    <a:pt x="165" y="297"/>
                  </a:lnTo>
                  <a:lnTo>
                    <a:pt x="165" y="297"/>
                  </a:lnTo>
                  <a:lnTo>
                    <a:pt x="163" y="295"/>
                  </a:lnTo>
                  <a:lnTo>
                    <a:pt x="161" y="293"/>
                  </a:lnTo>
                  <a:lnTo>
                    <a:pt x="161" y="293"/>
                  </a:lnTo>
                  <a:lnTo>
                    <a:pt x="158" y="293"/>
                  </a:lnTo>
                  <a:lnTo>
                    <a:pt x="158" y="293"/>
                  </a:lnTo>
                  <a:lnTo>
                    <a:pt x="156" y="293"/>
                  </a:lnTo>
                  <a:lnTo>
                    <a:pt x="156" y="290"/>
                  </a:lnTo>
                  <a:lnTo>
                    <a:pt x="154" y="290"/>
                  </a:lnTo>
                  <a:lnTo>
                    <a:pt x="154" y="290"/>
                  </a:lnTo>
                  <a:lnTo>
                    <a:pt x="154" y="290"/>
                  </a:lnTo>
                  <a:lnTo>
                    <a:pt x="151" y="290"/>
                  </a:lnTo>
                  <a:lnTo>
                    <a:pt x="151" y="290"/>
                  </a:lnTo>
                  <a:lnTo>
                    <a:pt x="149" y="288"/>
                  </a:lnTo>
                  <a:lnTo>
                    <a:pt x="149" y="288"/>
                  </a:lnTo>
                  <a:lnTo>
                    <a:pt x="149" y="288"/>
                  </a:lnTo>
                  <a:lnTo>
                    <a:pt x="146" y="285"/>
                  </a:lnTo>
                  <a:lnTo>
                    <a:pt x="144" y="283"/>
                  </a:lnTo>
                  <a:lnTo>
                    <a:pt x="144" y="283"/>
                  </a:lnTo>
                  <a:lnTo>
                    <a:pt x="142" y="283"/>
                  </a:lnTo>
                  <a:lnTo>
                    <a:pt x="142" y="283"/>
                  </a:lnTo>
                  <a:lnTo>
                    <a:pt x="142" y="281"/>
                  </a:lnTo>
                  <a:lnTo>
                    <a:pt x="142" y="281"/>
                  </a:lnTo>
                  <a:lnTo>
                    <a:pt x="139" y="281"/>
                  </a:lnTo>
                  <a:lnTo>
                    <a:pt x="137" y="281"/>
                  </a:lnTo>
                  <a:lnTo>
                    <a:pt x="137" y="281"/>
                  </a:lnTo>
                  <a:lnTo>
                    <a:pt x="137" y="281"/>
                  </a:lnTo>
                  <a:lnTo>
                    <a:pt x="135" y="281"/>
                  </a:lnTo>
                  <a:lnTo>
                    <a:pt x="137" y="281"/>
                  </a:lnTo>
                  <a:lnTo>
                    <a:pt x="135" y="283"/>
                  </a:lnTo>
                  <a:lnTo>
                    <a:pt x="132" y="283"/>
                  </a:lnTo>
                  <a:lnTo>
                    <a:pt x="132" y="281"/>
                  </a:lnTo>
                  <a:lnTo>
                    <a:pt x="135" y="281"/>
                  </a:lnTo>
                  <a:lnTo>
                    <a:pt x="135" y="281"/>
                  </a:lnTo>
                  <a:lnTo>
                    <a:pt x="135" y="278"/>
                  </a:lnTo>
                  <a:lnTo>
                    <a:pt x="132" y="278"/>
                  </a:lnTo>
                  <a:lnTo>
                    <a:pt x="130" y="281"/>
                  </a:lnTo>
                  <a:lnTo>
                    <a:pt x="128" y="281"/>
                  </a:lnTo>
                  <a:lnTo>
                    <a:pt x="128" y="281"/>
                  </a:lnTo>
                  <a:lnTo>
                    <a:pt x="130" y="283"/>
                  </a:lnTo>
                  <a:lnTo>
                    <a:pt x="128" y="283"/>
                  </a:lnTo>
                  <a:lnTo>
                    <a:pt x="128" y="285"/>
                  </a:lnTo>
                  <a:lnTo>
                    <a:pt x="130" y="285"/>
                  </a:lnTo>
                  <a:lnTo>
                    <a:pt x="128" y="285"/>
                  </a:lnTo>
                  <a:lnTo>
                    <a:pt x="128" y="285"/>
                  </a:lnTo>
                  <a:lnTo>
                    <a:pt x="125" y="288"/>
                  </a:lnTo>
                  <a:lnTo>
                    <a:pt x="125" y="288"/>
                  </a:lnTo>
                  <a:lnTo>
                    <a:pt x="125" y="285"/>
                  </a:lnTo>
                  <a:lnTo>
                    <a:pt x="125" y="285"/>
                  </a:lnTo>
                  <a:lnTo>
                    <a:pt x="125" y="283"/>
                  </a:lnTo>
                  <a:lnTo>
                    <a:pt x="123" y="283"/>
                  </a:lnTo>
                  <a:lnTo>
                    <a:pt x="123" y="285"/>
                  </a:lnTo>
                  <a:lnTo>
                    <a:pt x="123" y="283"/>
                  </a:lnTo>
                  <a:lnTo>
                    <a:pt x="125" y="283"/>
                  </a:lnTo>
                  <a:lnTo>
                    <a:pt x="125" y="283"/>
                  </a:lnTo>
                  <a:lnTo>
                    <a:pt x="125" y="283"/>
                  </a:lnTo>
                  <a:lnTo>
                    <a:pt x="128" y="283"/>
                  </a:lnTo>
                  <a:lnTo>
                    <a:pt x="128" y="283"/>
                  </a:lnTo>
                  <a:lnTo>
                    <a:pt x="128" y="283"/>
                  </a:lnTo>
                  <a:lnTo>
                    <a:pt x="128" y="281"/>
                  </a:lnTo>
                  <a:lnTo>
                    <a:pt x="128" y="281"/>
                  </a:lnTo>
                  <a:lnTo>
                    <a:pt x="125" y="283"/>
                  </a:lnTo>
                  <a:lnTo>
                    <a:pt x="120" y="283"/>
                  </a:lnTo>
                  <a:lnTo>
                    <a:pt x="120" y="283"/>
                  </a:lnTo>
                  <a:lnTo>
                    <a:pt x="118" y="283"/>
                  </a:lnTo>
                  <a:lnTo>
                    <a:pt x="118" y="283"/>
                  </a:lnTo>
                  <a:lnTo>
                    <a:pt x="116" y="283"/>
                  </a:lnTo>
                  <a:lnTo>
                    <a:pt x="116" y="283"/>
                  </a:lnTo>
                  <a:lnTo>
                    <a:pt x="113" y="283"/>
                  </a:lnTo>
                  <a:lnTo>
                    <a:pt x="113" y="283"/>
                  </a:lnTo>
                  <a:lnTo>
                    <a:pt x="111" y="285"/>
                  </a:lnTo>
                  <a:lnTo>
                    <a:pt x="111" y="285"/>
                  </a:lnTo>
                  <a:lnTo>
                    <a:pt x="111" y="288"/>
                  </a:lnTo>
                  <a:lnTo>
                    <a:pt x="109" y="288"/>
                  </a:lnTo>
                  <a:lnTo>
                    <a:pt x="109" y="290"/>
                  </a:lnTo>
                  <a:lnTo>
                    <a:pt x="106" y="290"/>
                  </a:lnTo>
                  <a:lnTo>
                    <a:pt x="106" y="290"/>
                  </a:lnTo>
                  <a:lnTo>
                    <a:pt x="109" y="288"/>
                  </a:lnTo>
                  <a:lnTo>
                    <a:pt x="106" y="285"/>
                  </a:lnTo>
                  <a:lnTo>
                    <a:pt x="109" y="285"/>
                  </a:lnTo>
                  <a:lnTo>
                    <a:pt x="106" y="283"/>
                  </a:lnTo>
                  <a:lnTo>
                    <a:pt x="106" y="285"/>
                  </a:lnTo>
                  <a:lnTo>
                    <a:pt x="104" y="285"/>
                  </a:lnTo>
                  <a:lnTo>
                    <a:pt x="102" y="288"/>
                  </a:lnTo>
                  <a:lnTo>
                    <a:pt x="102" y="288"/>
                  </a:lnTo>
                  <a:lnTo>
                    <a:pt x="104" y="288"/>
                  </a:lnTo>
                  <a:lnTo>
                    <a:pt x="102" y="290"/>
                  </a:lnTo>
                  <a:lnTo>
                    <a:pt x="102" y="290"/>
                  </a:lnTo>
                  <a:lnTo>
                    <a:pt x="102" y="293"/>
                  </a:lnTo>
                  <a:lnTo>
                    <a:pt x="99" y="295"/>
                  </a:lnTo>
                  <a:lnTo>
                    <a:pt x="94" y="297"/>
                  </a:lnTo>
                  <a:lnTo>
                    <a:pt x="94" y="297"/>
                  </a:lnTo>
                  <a:lnTo>
                    <a:pt x="94" y="297"/>
                  </a:lnTo>
                  <a:lnTo>
                    <a:pt x="92" y="297"/>
                  </a:lnTo>
                  <a:lnTo>
                    <a:pt x="92" y="297"/>
                  </a:lnTo>
                  <a:lnTo>
                    <a:pt x="92" y="297"/>
                  </a:lnTo>
                  <a:lnTo>
                    <a:pt x="92" y="297"/>
                  </a:lnTo>
                  <a:lnTo>
                    <a:pt x="92" y="297"/>
                  </a:lnTo>
                  <a:lnTo>
                    <a:pt x="90" y="297"/>
                  </a:lnTo>
                  <a:lnTo>
                    <a:pt x="92" y="297"/>
                  </a:lnTo>
                  <a:lnTo>
                    <a:pt x="92" y="297"/>
                  </a:lnTo>
                  <a:lnTo>
                    <a:pt x="90" y="300"/>
                  </a:lnTo>
                  <a:lnTo>
                    <a:pt x="90" y="297"/>
                  </a:lnTo>
                  <a:lnTo>
                    <a:pt x="90" y="300"/>
                  </a:lnTo>
                  <a:lnTo>
                    <a:pt x="87" y="300"/>
                  </a:lnTo>
                  <a:lnTo>
                    <a:pt x="90" y="297"/>
                  </a:lnTo>
                  <a:lnTo>
                    <a:pt x="87" y="297"/>
                  </a:lnTo>
                  <a:lnTo>
                    <a:pt x="83" y="300"/>
                  </a:lnTo>
                  <a:lnTo>
                    <a:pt x="83" y="300"/>
                  </a:lnTo>
                  <a:lnTo>
                    <a:pt x="83" y="300"/>
                  </a:lnTo>
                  <a:lnTo>
                    <a:pt x="83" y="297"/>
                  </a:lnTo>
                  <a:lnTo>
                    <a:pt x="80" y="300"/>
                  </a:lnTo>
                  <a:lnTo>
                    <a:pt x="80" y="297"/>
                  </a:lnTo>
                  <a:lnTo>
                    <a:pt x="83" y="297"/>
                  </a:lnTo>
                  <a:lnTo>
                    <a:pt x="83" y="295"/>
                  </a:lnTo>
                  <a:lnTo>
                    <a:pt x="85" y="295"/>
                  </a:lnTo>
                  <a:lnTo>
                    <a:pt x="85" y="293"/>
                  </a:lnTo>
                  <a:lnTo>
                    <a:pt x="83" y="293"/>
                  </a:lnTo>
                  <a:lnTo>
                    <a:pt x="83" y="293"/>
                  </a:lnTo>
                  <a:lnTo>
                    <a:pt x="80" y="293"/>
                  </a:lnTo>
                  <a:lnTo>
                    <a:pt x="80" y="290"/>
                  </a:lnTo>
                  <a:lnTo>
                    <a:pt x="80" y="293"/>
                  </a:lnTo>
                  <a:lnTo>
                    <a:pt x="80" y="293"/>
                  </a:lnTo>
                  <a:lnTo>
                    <a:pt x="78" y="293"/>
                  </a:lnTo>
                  <a:lnTo>
                    <a:pt x="78" y="293"/>
                  </a:lnTo>
                  <a:lnTo>
                    <a:pt x="78" y="295"/>
                  </a:lnTo>
                  <a:lnTo>
                    <a:pt x="78" y="293"/>
                  </a:lnTo>
                  <a:lnTo>
                    <a:pt x="76" y="295"/>
                  </a:lnTo>
                  <a:lnTo>
                    <a:pt x="76" y="295"/>
                  </a:lnTo>
                  <a:lnTo>
                    <a:pt x="76" y="295"/>
                  </a:lnTo>
                  <a:lnTo>
                    <a:pt x="73" y="295"/>
                  </a:lnTo>
                  <a:lnTo>
                    <a:pt x="76" y="293"/>
                  </a:lnTo>
                  <a:lnTo>
                    <a:pt x="73" y="293"/>
                  </a:lnTo>
                  <a:lnTo>
                    <a:pt x="73" y="293"/>
                  </a:lnTo>
                  <a:lnTo>
                    <a:pt x="73" y="293"/>
                  </a:lnTo>
                  <a:lnTo>
                    <a:pt x="73" y="293"/>
                  </a:lnTo>
                  <a:lnTo>
                    <a:pt x="73" y="293"/>
                  </a:lnTo>
                  <a:lnTo>
                    <a:pt x="71" y="293"/>
                  </a:lnTo>
                  <a:lnTo>
                    <a:pt x="71" y="295"/>
                  </a:lnTo>
                  <a:lnTo>
                    <a:pt x="71" y="295"/>
                  </a:lnTo>
                  <a:lnTo>
                    <a:pt x="71" y="295"/>
                  </a:lnTo>
                  <a:lnTo>
                    <a:pt x="71" y="295"/>
                  </a:lnTo>
                  <a:lnTo>
                    <a:pt x="68" y="297"/>
                  </a:lnTo>
                  <a:lnTo>
                    <a:pt x="68" y="295"/>
                  </a:lnTo>
                  <a:lnTo>
                    <a:pt x="68" y="295"/>
                  </a:lnTo>
                  <a:lnTo>
                    <a:pt x="68" y="293"/>
                  </a:lnTo>
                  <a:lnTo>
                    <a:pt x="68" y="293"/>
                  </a:lnTo>
                  <a:lnTo>
                    <a:pt x="68" y="290"/>
                  </a:lnTo>
                  <a:lnTo>
                    <a:pt x="71" y="290"/>
                  </a:lnTo>
                  <a:lnTo>
                    <a:pt x="71" y="290"/>
                  </a:lnTo>
                  <a:lnTo>
                    <a:pt x="73" y="290"/>
                  </a:lnTo>
                  <a:lnTo>
                    <a:pt x="73" y="290"/>
                  </a:lnTo>
                  <a:lnTo>
                    <a:pt x="73" y="288"/>
                  </a:lnTo>
                  <a:lnTo>
                    <a:pt x="73" y="288"/>
                  </a:lnTo>
                  <a:lnTo>
                    <a:pt x="76" y="288"/>
                  </a:lnTo>
                  <a:lnTo>
                    <a:pt x="76" y="285"/>
                  </a:lnTo>
                  <a:lnTo>
                    <a:pt x="73" y="288"/>
                  </a:lnTo>
                  <a:lnTo>
                    <a:pt x="73" y="285"/>
                  </a:lnTo>
                  <a:lnTo>
                    <a:pt x="71" y="288"/>
                  </a:lnTo>
                  <a:lnTo>
                    <a:pt x="71" y="288"/>
                  </a:lnTo>
                  <a:lnTo>
                    <a:pt x="71" y="288"/>
                  </a:lnTo>
                  <a:lnTo>
                    <a:pt x="71" y="285"/>
                  </a:lnTo>
                  <a:lnTo>
                    <a:pt x="71" y="285"/>
                  </a:lnTo>
                  <a:lnTo>
                    <a:pt x="71" y="285"/>
                  </a:lnTo>
                  <a:lnTo>
                    <a:pt x="71" y="285"/>
                  </a:lnTo>
                  <a:lnTo>
                    <a:pt x="71" y="283"/>
                  </a:lnTo>
                  <a:lnTo>
                    <a:pt x="73" y="283"/>
                  </a:lnTo>
                  <a:lnTo>
                    <a:pt x="71" y="283"/>
                  </a:lnTo>
                  <a:lnTo>
                    <a:pt x="71" y="283"/>
                  </a:lnTo>
                  <a:lnTo>
                    <a:pt x="71" y="281"/>
                  </a:lnTo>
                  <a:lnTo>
                    <a:pt x="71" y="283"/>
                  </a:lnTo>
                  <a:lnTo>
                    <a:pt x="71" y="281"/>
                  </a:lnTo>
                  <a:lnTo>
                    <a:pt x="68" y="281"/>
                  </a:lnTo>
                  <a:lnTo>
                    <a:pt x="68" y="283"/>
                  </a:lnTo>
                  <a:lnTo>
                    <a:pt x="68" y="281"/>
                  </a:lnTo>
                  <a:lnTo>
                    <a:pt x="66" y="281"/>
                  </a:lnTo>
                  <a:lnTo>
                    <a:pt x="68" y="283"/>
                  </a:lnTo>
                  <a:lnTo>
                    <a:pt x="66" y="283"/>
                  </a:lnTo>
                  <a:lnTo>
                    <a:pt x="68" y="283"/>
                  </a:lnTo>
                  <a:lnTo>
                    <a:pt x="66" y="283"/>
                  </a:lnTo>
                  <a:lnTo>
                    <a:pt x="66" y="285"/>
                  </a:lnTo>
                  <a:lnTo>
                    <a:pt x="66" y="283"/>
                  </a:lnTo>
                  <a:lnTo>
                    <a:pt x="68" y="285"/>
                  </a:lnTo>
                  <a:lnTo>
                    <a:pt x="68" y="285"/>
                  </a:lnTo>
                  <a:lnTo>
                    <a:pt x="66" y="288"/>
                  </a:lnTo>
                  <a:lnTo>
                    <a:pt x="66" y="288"/>
                  </a:lnTo>
                  <a:lnTo>
                    <a:pt x="66" y="288"/>
                  </a:lnTo>
                  <a:lnTo>
                    <a:pt x="64" y="288"/>
                  </a:lnTo>
                  <a:lnTo>
                    <a:pt x="64" y="288"/>
                  </a:lnTo>
                  <a:lnTo>
                    <a:pt x="64" y="288"/>
                  </a:lnTo>
                  <a:lnTo>
                    <a:pt x="64" y="288"/>
                  </a:lnTo>
                  <a:lnTo>
                    <a:pt x="64" y="285"/>
                  </a:lnTo>
                  <a:lnTo>
                    <a:pt x="61" y="285"/>
                  </a:lnTo>
                  <a:lnTo>
                    <a:pt x="61" y="283"/>
                  </a:lnTo>
                  <a:lnTo>
                    <a:pt x="61" y="285"/>
                  </a:lnTo>
                  <a:lnTo>
                    <a:pt x="59" y="285"/>
                  </a:lnTo>
                  <a:lnTo>
                    <a:pt x="59" y="288"/>
                  </a:lnTo>
                  <a:lnTo>
                    <a:pt x="59" y="285"/>
                  </a:lnTo>
                  <a:lnTo>
                    <a:pt x="59" y="288"/>
                  </a:lnTo>
                  <a:lnTo>
                    <a:pt x="59" y="288"/>
                  </a:lnTo>
                  <a:lnTo>
                    <a:pt x="59" y="288"/>
                  </a:lnTo>
                  <a:lnTo>
                    <a:pt x="59" y="290"/>
                  </a:lnTo>
                  <a:lnTo>
                    <a:pt x="59" y="290"/>
                  </a:lnTo>
                  <a:lnTo>
                    <a:pt x="59" y="290"/>
                  </a:lnTo>
                  <a:lnTo>
                    <a:pt x="57" y="290"/>
                  </a:lnTo>
                  <a:lnTo>
                    <a:pt x="59" y="290"/>
                  </a:lnTo>
                  <a:lnTo>
                    <a:pt x="59" y="293"/>
                  </a:lnTo>
                  <a:lnTo>
                    <a:pt x="57" y="293"/>
                  </a:lnTo>
                  <a:lnTo>
                    <a:pt x="57" y="293"/>
                  </a:lnTo>
                  <a:lnTo>
                    <a:pt x="57" y="295"/>
                  </a:lnTo>
                  <a:lnTo>
                    <a:pt x="59" y="295"/>
                  </a:lnTo>
                  <a:lnTo>
                    <a:pt x="57" y="295"/>
                  </a:lnTo>
                  <a:lnTo>
                    <a:pt x="54" y="293"/>
                  </a:lnTo>
                  <a:lnTo>
                    <a:pt x="54" y="295"/>
                  </a:lnTo>
                  <a:lnTo>
                    <a:pt x="54" y="293"/>
                  </a:lnTo>
                  <a:lnTo>
                    <a:pt x="54" y="293"/>
                  </a:lnTo>
                  <a:lnTo>
                    <a:pt x="54" y="293"/>
                  </a:lnTo>
                  <a:lnTo>
                    <a:pt x="54" y="293"/>
                  </a:lnTo>
                  <a:lnTo>
                    <a:pt x="52" y="293"/>
                  </a:lnTo>
                  <a:lnTo>
                    <a:pt x="52" y="293"/>
                  </a:lnTo>
                  <a:lnTo>
                    <a:pt x="52" y="295"/>
                  </a:lnTo>
                  <a:lnTo>
                    <a:pt x="50" y="297"/>
                  </a:lnTo>
                  <a:lnTo>
                    <a:pt x="50" y="295"/>
                  </a:lnTo>
                  <a:lnTo>
                    <a:pt x="47" y="295"/>
                  </a:lnTo>
                  <a:lnTo>
                    <a:pt x="45" y="295"/>
                  </a:lnTo>
                  <a:lnTo>
                    <a:pt x="43" y="297"/>
                  </a:lnTo>
                  <a:lnTo>
                    <a:pt x="43" y="297"/>
                  </a:lnTo>
                  <a:lnTo>
                    <a:pt x="40" y="297"/>
                  </a:lnTo>
                  <a:lnTo>
                    <a:pt x="40" y="297"/>
                  </a:lnTo>
                  <a:lnTo>
                    <a:pt x="40" y="300"/>
                  </a:lnTo>
                  <a:lnTo>
                    <a:pt x="38" y="300"/>
                  </a:lnTo>
                  <a:lnTo>
                    <a:pt x="38" y="300"/>
                  </a:lnTo>
                  <a:lnTo>
                    <a:pt x="38" y="300"/>
                  </a:lnTo>
                  <a:lnTo>
                    <a:pt x="38" y="297"/>
                  </a:lnTo>
                  <a:lnTo>
                    <a:pt x="38" y="297"/>
                  </a:lnTo>
                  <a:lnTo>
                    <a:pt x="35" y="300"/>
                  </a:lnTo>
                  <a:lnTo>
                    <a:pt x="35" y="297"/>
                  </a:lnTo>
                  <a:lnTo>
                    <a:pt x="35" y="300"/>
                  </a:lnTo>
                  <a:lnTo>
                    <a:pt x="35" y="297"/>
                  </a:lnTo>
                  <a:lnTo>
                    <a:pt x="35" y="297"/>
                  </a:lnTo>
                  <a:lnTo>
                    <a:pt x="33" y="300"/>
                  </a:lnTo>
                  <a:lnTo>
                    <a:pt x="33" y="297"/>
                  </a:lnTo>
                  <a:lnTo>
                    <a:pt x="31" y="297"/>
                  </a:lnTo>
                  <a:lnTo>
                    <a:pt x="31" y="300"/>
                  </a:lnTo>
                  <a:lnTo>
                    <a:pt x="28" y="300"/>
                  </a:lnTo>
                  <a:lnTo>
                    <a:pt x="28" y="300"/>
                  </a:lnTo>
                  <a:lnTo>
                    <a:pt x="28" y="300"/>
                  </a:lnTo>
                  <a:lnTo>
                    <a:pt x="26" y="300"/>
                  </a:lnTo>
                  <a:lnTo>
                    <a:pt x="26" y="302"/>
                  </a:lnTo>
                  <a:lnTo>
                    <a:pt x="26" y="302"/>
                  </a:lnTo>
                  <a:lnTo>
                    <a:pt x="26" y="302"/>
                  </a:lnTo>
                  <a:lnTo>
                    <a:pt x="26" y="304"/>
                  </a:lnTo>
                  <a:lnTo>
                    <a:pt x="26" y="304"/>
                  </a:lnTo>
                  <a:lnTo>
                    <a:pt x="26" y="304"/>
                  </a:lnTo>
                  <a:lnTo>
                    <a:pt x="24" y="304"/>
                  </a:lnTo>
                  <a:lnTo>
                    <a:pt x="24" y="307"/>
                  </a:lnTo>
                  <a:lnTo>
                    <a:pt x="26" y="309"/>
                  </a:lnTo>
                  <a:lnTo>
                    <a:pt x="26" y="309"/>
                  </a:lnTo>
                  <a:lnTo>
                    <a:pt x="26" y="309"/>
                  </a:lnTo>
                  <a:lnTo>
                    <a:pt x="26" y="309"/>
                  </a:lnTo>
                  <a:lnTo>
                    <a:pt x="24" y="309"/>
                  </a:lnTo>
                  <a:lnTo>
                    <a:pt x="24" y="309"/>
                  </a:lnTo>
                  <a:lnTo>
                    <a:pt x="24" y="311"/>
                  </a:lnTo>
                  <a:lnTo>
                    <a:pt x="26" y="311"/>
                  </a:lnTo>
                  <a:lnTo>
                    <a:pt x="24" y="314"/>
                  </a:lnTo>
                  <a:lnTo>
                    <a:pt x="24" y="314"/>
                  </a:lnTo>
                  <a:lnTo>
                    <a:pt x="24" y="314"/>
                  </a:lnTo>
                  <a:lnTo>
                    <a:pt x="24" y="314"/>
                  </a:lnTo>
                  <a:lnTo>
                    <a:pt x="24" y="316"/>
                  </a:lnTo>
                  <a:lnTo>
                    <a:pt x="24" y="316"/>
                  </a:lnTo>
                  <a:lnTo>
                    <a:pt x="21" y="316"/>
                  </a:lnTo>
                  <a:lnTo>
                    <a:pt x="24" y="316"/>
                  </a:lnTo>
                  <a:lnTo>
                    <a:pt x="24" y="316"/>
                  </a:lnTo>
                  <a:lnTo>
                    <a:pt x="24" y="316"/>
                  </a:lnTo>
                  <a:lnTo>
                    <a:pt x="21" y="316"/>
                  </a:lnTo>
                  <a:lnTo>
                    <a:pt x="21" y="319"/>
                  </a:lnTo>
                  <a:lnTo>
                    <a:pt x="24" y="319"/>
                  </a:lnTo>
                  <a:lnTo>
                    <a:pt x="24" y="321"/>
                  </a:lnTo>
                  <a:lnTo>
                    <a:pt x="24" y="321"/>
                  </a:lnTo>
                  <a:lnTo>
                    <a:pt x="24" y="321"/>
                  </a:lnTo>
                  <a:lnTo>
                    <a:pt x="24" y="323"/>
                  </a:lnTo>
                  <a:lnTo>
                    <a:pt x="24" y="323"/>
                  </a:lnTo>
                  <a:lnTo>
                    <a:pt x="24" y="323"/>
                  </a:lnTo>
                  <a:lnTo>
                    <a:pt x="26" y="323"/>
                  </a:lnTo>
                  <a:lnTo>
                    <a:pt x="26" y="321"/>
                  </a:lnTo>
                  <a:lnTo>
                    <a:pt x="26" y="321"/>
                  </a:lnTo>
                  <a:lnTo>
                    <a:pt x="26" y="321"/>
                  </a:lnTo>
                  <a:lnTo>
                    <a:pt x="28" y="321"/>
                  </a:lnTo>
                  <a:lnTo>
                    <a:pt x="26" y="319"/>
                  </a:lnTo>
                  <a:lnTo>
                    <a:pt x="28" y="319"/>
                  </a:lnTo>
                  <a:lnTo>
                    <a:pt x="28" y="319"/>
                  </a:lnTo>
                  <a:lnTo>
                    <a:pt x="28" y="319"/>
                  </a:lnTo>
                  <a:lnTo>
                    <a:pt x="28" y="319"/>
                  </a:lnTo>
                  <a:lnTo>
                    <a:pt x="28" y="319"/>
                  </a:lnTo>
                  <a:lnTo>
                    <a:pt x="31" y="316"/>
                  </a:lnTo>
                  <a:lnTo>
                    <a:pt x="31" y="316"/>
                  </a:lnTo>
                  <a:lnTo>
                    <a:pt x="31" y="319"/>
                  </a:lnTo>
                  <a:lnTo>
                    <a:pt x="33" y="319"/>
                  </a:lnTo>
                  <a:lnTo>
                    <a:pt x="33" y="319"/>
                  </a:lnTo>
                  <a:lnTo>
                    <a:pt x="35" y="319"/>
                  </a:lnTo>
                  <a:lnTo>
                    <a:pt x="33" y="319"/>
                  </a:lnTo>
                  <a:lnTo>
                    <a:pt x="33" y="321"/>
                  </a:lnTo>
                  <a:lnTo>
                    <a:pt x="33" y="321"/>
                  </a:lnTo>
                  <a:lnTo>
                    <a:pt x="33" y="321"/>
                  </a:lnTo>
                  <a:lnTo>
                    <a:pt x="33" y="323"/>
                  </a:lnTo>
                  <a:lnTo>
                    <a:pt x="31" y="323"/>
                  </a:lnTo>
                  <a:lnTo>
                    <a:pt x="31" y="323"/>
                  </a:lnTo>
                  <a:lnTo>
                    <a:pt x="31" y="323"/>
                  </a:lnTo>
                  <a:lnTo>
                    <a:pt x="31" y="321"/>
                  </a:lnTo>
                  <a:lnTo>
                    <a:pt x="33" y="323"/>
                  </a:lnTo>
                  <a:lnTo>
                    <a:pt x="33" y="321"/>
                  </a:lnTo>
                  <a:lnTo>
                    <a:pt x="33" y="321"/>
                  </a:lnTo>
                  <a:lnTo>
                    <a:pt x="33" y="321"/>
                  </a:lnTo>
                  <a:lnTo>
                    <a:pt x="33" y="321"/>
                  </a:lnTo>
                  <a:lnTo>
                    <a:pt x="33" y="319"/>
                  </a:lnTo>
                  <a:lnTo>
                    <a:pt x="31" y="321"/>
                  </a:lnTo>
                  <a:lnTo>
                    <a:pt x="31" y="321"/>
                  </a:lnTo>
                  <a:lnTo>
                    <a:pt x="28" y="319"/>
                  </a:lnTo>
                  <a:lnTo>
                    <a:pt x="28" y="321"/>
                  </a:lnTo>
                  <a:lnTo>
                    <a:pt x="28" y="323"/>
                  </a:lnTo>
                  <a:lnTo>
                    <a:pt x="28" y="321"/>
                  </a:lnTo>
                  <a:lnTo>
                    <a:pt x="31" y="321"/>
                  </a:lnTo>
                  <a:lnTo>
                    <a:pt x="28" y="323"/>
                  </a:lnTo>
                  <a:lnTo>
                    <a:pt x="28" y="323"/>
                  </a:lnTo>
                  <a:lnTo>
                    <a:pt x="26" y="323"/>
                  </a:lnTo>
                  <a:lnTo>
                    <a:pt x="26" y="323"/>
                  </a:lnTo>
                  <a:lnTo>
                    <a:pt x="26" y="323"/>
                  </a:lnTo>
                  <a:lnTo>
                    <a:pt x="26" y="323"/>
                  </a:lnTo>
                  <a:lnTo>
                    <a:pt x="26" y="326"/>
                  </a:lnTo>
                  <a:lnTo>
                    <a:pt x="26" y="326"/>
                  </a:lnTo>
                  <a:lnTo>
                    <a:pt x="28" y="323"/>
                  </a:lnTo>
                  <a:lnTo>
                    <a:pt x="28" y="326"/>
                  </a:lnTo>
                  <a:lnTo>
                    <a:pt x="28" y="326"/>
                  </a:lnTo>
                  <a:lnTo>
                    <a:pt x="28" y="323"/>
                  </a:lnTo>
                  <a:lnTo>
                    <a:pt x="31" y="323"/>
                  </a:lnTo>
                  <a:lnTo>
                    <a:pt x="33" y="323"/>
                  </a:lnTo>
                  <a:lnTo>
                    <a:pt x="33" y="323"/>
                  </a:lnTo>
                  <a:lnTo>
                    <a:pt x="35" y="323"/>
                  </a:lnTo>
                  <a:lnTo>
                    <a:pt x="33" y="323"/>
                  </a:lnTo>
                  <a:lnTo>
                    <a:pt x="33" y="328"/>
                  </a:lnTo>
                  <a:lnTo>
                    <a:pt x="28" y="330"/>
                  </a:lnTo>
                  <a:lnTo>
                    <a:pt x="28" y="330"/>
                  </a:lnTo>
                  <a:lnTo>
                    <a:pt x="33" y="333"/>
                  </a:lnTo>
                  <a:lnTo>
                    <a:pt x="31" y="330"/>
                  </a:lnTo>
                  <a:lnTo>
                    <a:pt x="31" y="330"/>
                  </a:lnTo>
                  <a:lnTo>
                    <a:pt x="33" y="330"/>
                  </a:lnTo>
                  <a:lnTo>
                    <a:pt x="33" y="328"/>
                  </a:lnTo>
                  <a:lnTo>
                    <a:pt x="35" y="326"/>
                  </a:lnTo>
                  <a:lnTo>
                    <a:pt x="38" y="323"/>
                  </a:lnTo>
                  <a:lnTo>
                    <a:pt x="38" y="323"/>
                  </a:lnTo>
                  <a:lnTo>
                    <a:pt x="40" y="323"/>
                  </a:lnTo>
                  <a:lnTo>
                    <a:pt x="43" y="321"/>
                  </a:lnTo>
                  <a:lnTo>
                    <a:pt x="43" y="321"/>
                  </a:lnTo>
                  <a:lnTo>
                    <a:pt x="43" y="321"/>
                  </a:lnTo>
                  <a:lnTo>
                    <a:pt x="43" y="323"/>
                  </a:lnTo>
                  <a:lnTo>
                    <a:pt x="40" y="323"/>
                  </a:lnTo>
                  <a:lnTo>
                    <a:pt x="40" y="326"/>
                  </a:lnTo>
                  <a:lnTo>
                    <a:pt x="38" y="326"/>
                  </a:lnTo>
                  <a:lnTo>
                    <a:pt x="40" y="328"/>
                  </a:lnTo>
                  <a:lnTo>
                    <a:pt x="43" y="328"/>
                  </a:lnTo>
                  <a:lnTo>
                    <a:pt x="43" y="328"/>
                  </a:lnTo>
                  <a:lnTo>
                    <a:pt x="43" y="328"/>
                  </a:lnTo>
                  <a:lnTo>
                    <a:pt x="45" y="328"/>
                  </a:lnTo>
                  <a:lnTo>
                    <a:pt x="47" y="328"/>
                  </a:lnTo>
                  <a:lnTo>
                    <a:pt x="47" y="328"/>
                  </a:lnTo>
                  <a:lnTo>
                    <a:pt x="47" y="328"/>
                  </a:lnTo>
                  <a:lnTo>
                    <a:pt x="50" y="330"/>
                  </a:lnTo>
                  <a:lnTo>
                    <a:pt x="50" y="330"/>
                  </a:lnTo>
                  <a:lnTo>
                    <a:pt x="50" y="330"/>
                  </a:lnTo>
                  <a:lnTo>
                    <a:pt x="50" y="333"/>
                  </a:lnTo>
                  <a:lnTo>
                    <a:pt x="47" y="330"/>
                  </a:lnTo>
                  <a:lnTo>
                    <a:pt x="45" y="330"/>
                  </a:lnTo>
                  <a:lnTo>
                    <a:pt x="45" y="330"/>
                  </a:lnTo>
                  <a:lnTo>
                    <a:pt x="45" y="333"/>
                  </a:lnTo>
                  <a:lnTo>
                    <a:pt x="43" y="333"/>
                  </a:lnTo>
                  <a:lnTo>
                    <a:pt x="43" y="333"/>
                  </a:lnTo>
                  <a:lnTo>
                    <a:pt x="43" y="335"/>
                  </a:lnTo>
                  <a:lnTo>
                    <a:pt x="43" y="335"/>
                  </a:lnTo>
                  <a:lnTo>
                    <a:pt x="38" y="337"/>
                  </a:lnTo>
                  <a:lnTo>
                    <a:pt x="38" y="340"/>
                  </a:lnTo>
                  <a:lnTo>
                    <a:pt x="38" y="340"/>
                  </a:lnTo>
                  <a:lnTo>
                    <a:pt x="35" y="340"/>
                  </a:lnTo>
                  <a:lnTo>
                    <a:pt x="35" y="337"/>
                  </a:lnTo>
                  <a:lnTo>
                    <a:pt x="35" y="337"/>
                  </a:lnTo>
                  <a:lnTo>
                    <a:pt x="35" y="337"/>
                  </a:lnTo>
                  <a:lnTo>
                    <a:pt x="35" y="337"/>
                  </a:lnTo>
                  <a:lnTo>
                    <a:pt x="33" y="337"/>
                  </a:lnTo>
                  <a:lnTo>
                    <a:pt x="33" y="337"/>
                  </a:lnTo>
                  <a:lnTo>
                    <a:pt x="33" y="337"/>
                  </a:lnTo>
                  <a:lnTo>
                    <a:pt x="33" y="335"/>
                  </a:lnTo>
                  <a:lnTo>
                    <a:pt x="33" y="335"/>
                  </a:lnTo>
                  <a:lnTo>
                    <a:pt x="31" y="335"/>
                  </a:lnTo>
                  <a:lnTo>
                    <a:pt x="31" y="337"/>
                  </a:lnTo>
                  <a:lnTo>
                    <a:pt x="28" y="337"/>
                  </a:lnTo>
                  <a:lnTo>
                    <a:pt x="28" y="337"/>
                  </a:lnTo>
                  <a:lnTo>
                    <a:pt x="28" y="337"/>
                  </a:lnTo>
                  <a:lnTo>
                    <a:pt x="26" y="335"/>
                  </a:lnTo>
                  <a:lnTo>
                    <a:pt x="26" y="337"/>
                  </a:lnTo>
                  <a:lnTo>
                    <a:pt x="26" y="337"/>
                  </a:lnTo>
                  <a:lnTo>
                    <a:pt x="26" y="337"/>
                  </a:lnTo>
                  <a:lnTo>
                    <a:pt x="24" y="337"/>
                  </a:lnTo>
                  <a:lnTo>
                    <a:pt x="21" y="337"/>
                  </a:lnTo>
                  <a:lnTo>
                    <a:pt x="21" y="337"/>
                  </a:lnTo>
                  <a:lnTo>
                    <a:pt x="21" y="340"/>
                  </a:lnTo>
                  <a:lnTo>
                    <a:pt x="21" y="337"/>
                  </a:lnTo>
                  <a:lnTo>
                    <a:pt x="21" y="337"/>
                  </a:lnTo>
                  <a:lnTo>
                    <a:pt x="19" y="340"/>
                  </a:lnTo>
                  <a:lnTo>
                    <a:pt x="21" y="340"/>
                  </a:lnTo>
                  <a:lnTo>
                    <a:pt x="19" y="340"/>
                  </a:lnTo>
                  <a:lnTo>
                    <a:pt x="19" y="337"/>
                  </a:lnTo>
                  <a:lnTo>
                    <a:pt x="19" y="337"/>
                  </a:lnTo>
                  <a:lnTo>
                    <a:pt x="17" y="337"/>
                  </a:lnTo>
                  <a:lnTo>
                    <a:pt x="14" y="335"/>
                  </a:lnTo>
                  <a:lnTo>
                    <a:pt x="14" y="335"/>
                  </a:lnTo>
                  <a:lnTo>
                    <a:pt x="14" y="335"/>
                  </a:lnTo>
                  <a:lnTo>
                    <a:pt x="14" y="333"/>
                  </a:lnTo>
                  <a:lnTo>
                    <a:pt x="14" y="333"/>
                  </a:lnTo>
                  <a:lnTo>
                    <a:pt x="14" y="330"/>
                  </a:lnTo>
                  <a:lnTo>
                    <a:pt x="9" y="330"/>
                  </a:lnTo>
                  <a:lnTo>
                    <a:pt x="9" y="328"/>
                  </a:lnTo>
                  <a:lnTo>
                    <a:pt x="7" y="330"/>
                  </a:lnTo>
                  <a:lnTo>
                    <a:pt x="9" y="328"/>
                  </a:lnTo>
                  <a:lnTo>
                    <a:pt x="7" y="328"/>
                  </a:lnTo>
                  <a:lnTo>
                    <a:pt x="7" y="328"/>
                  </a:lnTo>
                  <a:lnTo>
                    <a:pt x="7" y="326"/>
                  </a:lnTo>
                  <a:lnTo>
                    <a:pt x="7" y="326"/>
                  </a:lnTo>
                  <a:lnTo>
                    <a:pt x="5" y="326"/>
                  </a:lnTo>
                  <a:lnTo>
                    <a:pt x="2" y="326"/>
                  </a:lnTo>
                  <a:lnTo>
                    <a:pt x="2" y="323"/>
                  </a:lnTo>
                  <a:lnTo>
                    <a:pt x="0" y="323"/>
                  </a:lnTo>
                  <a:lnTo>
                    <a:pt x="0" y="321"/>
                  </a:lnTo>
                  <a:lnTo>
                    <a:pt x="0" y="321"/>
                  </a:lnTo>
                  <a:lnTo>
                    <a:pt x="0" y="319"/>
                  </a:lnTo>
                  <a:close/>
                  <a:moveTo>
                    <a:pt x="406" y="215"/>
                  </a:moveTo>
                  <a:lnTo>
                    <a:pt x="406" y="212"/>
                  </a:lnTo>
                  <a:lnTo>
                    <a:pt x="406" y="212"/>
                  </a:lnTo>
                  <a:lnTo>
                    <a:pt x="406" y="215"/>
                  </a:lnTo>
                  <a:lnTo>
                    <a:pt x="406" y="215"/>
                  </a:lnTo>
                  <a:close/>
                  <a:moveTo>
                    <a:pt x="404" y="215"/>
                  </a:moveTo>
                  <a:lnTo>
                    <a:pt x="404" y="215"/>
                  </a:lnTo>
                  <a:lnTo>
                    <a:pt x="406" y="215"/>
                  </a:lnTo>
                  <a:lnTo>
                    <a:pt x="404" y="215"/>
                  </a:lnTo>
                  <a:lnTo>
                    <a:pt x="406" y="215"/>
                  </a:lnTo>
                  <a:lnTo>
                    <a:pt x="404" y="215"/>
                  </a:lnTo>
                  <a:lnTo>
                    <a:pt x="404" y="215"/>
                  </a:lnTo>
                  <a:close/>
                  <a:moveTo>
                    <a:pt x="215" y="297"/>
                  </a:moveTo>
                  <a:lnTo>
                    <a:pt x="215" y="295"/>
                  </a:lnTo>
                  <a:lnTo>
                    <a:pt x="215" y="297"/>
                  </a:lnTo>
                  <a:close/>
                  <a:moveTo>
                    <a:pt x="175" y="300"/>
                  </a:moveTo>
                  <a:lnTo>
                    <a:pt x="175" y="300"/>
                  </a:lnTo>
                  <a:lnTo>
                    <a:pt x="175" y="300"/>
                  </a:lnTo>
                  <a:close/>
                  <a:moveTo>
                    <a:pt x="99" y="295"/>
                  </a:moveTo>
                  <a:lnTo>
                    <a:pt x="99" y="295"/>
                  </a:lnTo>
                  <a:lnTo>
                    <a:pt x="99" y="295"/>
                  </a:lnTo>
                  <a:close/>
                  <a:moveTo>
                    <a:pt x="26" y="307"/>
                  </a:moveTo>
                  <a:lnTo>
                    <a:pt x="26" y="307"/>
                  </a:lnTo>
                  <a:lnTo>
                    <a:pt x="28" y="307"/>
                  </a:lnTo>
                  <a:lnTo>
                    <a:pt x="26" y="307"/>
                  </a:lnTo>
                  <a:lnTo>
                    <a:pt x="26" y="307"/>
                  </a:lnTo>
                  <a:close/>
                  <a:moveTo>
                    <a:pt x="130" y="285"/>
                  </a:moveTo>
                  <a:lnTo>
                    <a:pt x="130" y="283"/>
                  </a:lnTo>
                  <a:lnTo>
                    <a:pt x="130" y="285"/>
                  </a:lnTo>
                  <a:lnTo>
                    <a:pt x="132" y="285"/>
                  </a:lnTo>
                  <a:lnTo>
                    <a:pt x="132" y="285"/>
                  </a:lnTo>
                  <a:lnTo>
                    <a:pt x="130" y="285"/>
                  </a:lnTo>
                  <a:lnTo>
                    <a:pt x="132" y="285"/>
                  </a:lnTo>
                  <a:lnTo>
                    <a:pt x="130" y="285"/>
                  </a:lnTo>
                  <a:lnTo>
                    <a:pt x="130" y="285"/>
                  </a:lnTo>
                  <a:close/>
                  <a:moveTo>
                    <a:pt x="118" y="285"/>
                  </a:moveTo>
                  <a:lnTo>
                    <a:pt x="118" y="283"/>
                  </a:lnTo>
                  <a:lnTo>
                    <a:pt x="118" y="283"/>
                  </a:lnTo>
                  <a:lnTo>
                    <a:pt x="118" y="285"/>
                  </a:lnTo>
                  <a:close/>
                  <a:moveTo>
                    <a:pt x="206" y="297"/>
                  </a:moveTo>
                  <a:lnTo>
                    <a:pt x="203" y="297"/>
                  </a:lnTo>
                  <a:lnTo>
                    <a:pt x="203" y="295"/>
                  </a:lnTo>
                  <a:lnTo>
                    <a:pt x="206" y="295"/>
                  </a:lnTo>
                  <a:lnTo>
                    <a:pt x="206" y="297"/>
                  </a:lnTo>
                  <a:close/>
                  <a:moveTo>
                    <a:pt x="26" y="307"/>
                  </a:moveTo>
                  <a:lnTo>
                    <a:pt x="26" y="307"/>
                  </a:lnTo>
                  <a:lnTo>
                    <a:pt x="26" y="307"/>
                  </a:lnTo>
                  <a:close/>
                  <a:moveTo>
                    <a:pt x="28" y="323"/>
                  </a:moveTo>
                  <a:lnTo>
                    <a:pt x="28" y="323"/>
                  </a:lnTo>
                  <a:lnTo>
                    <a:pt x="26" y="323"/>
                  </a:lnTo>
                  <a:lnTo>
                    <a:pt x="28" y="323"/>
                  </a:lnTo>
                  <a:lnTo>
                    <a:pt x="28" y="323"/>
                  </a:lnTo>
                  <a:close/>
                  <a:moveTo>
                    <a:pt x="26" y="316"/>
                  </a:moveTo>
                  <a:lnTo>
                    <a:pt x="26" y="316"/>
                  </a:lnTo>
                  <a:lnTo>
                    <a:pt x="26" y="316"/>
                  </a:lnTo>
                  <a:close/>
                  <a:moveTo>
                    <a:pt x="40" y="328"/>
                  </a:moveTo>
                  <a:lnTo>
                    <a:pt x="40" y="326"/>
                  </a:lnTo>
                  <a:lnTo>
                    <a:pt x="40" y="328"/>
                  </a:lnTo>
                  <a:close/>
                  <a:moveTo>
                    <a:pt x="38" y="304"/>
                  </a:moveTo>
                  <a:lnTo>
                    <a:pt x="38" y="304"/>
                  </a:lnTo>
                  <a:lnTo>
                    <a:pt x="38" y="304"/>
                  </a:lnTo>
                  <a:lnTo>
                    <a:pt x="38" y="304"/>
                  </a:lnTo>
                  <a:lnTo>
                    <a:pt x="38" y="304"/>
                  </a:lnTo>
                  <a:close/>
                  <a:moveTo>
                    <a:pt x="43" y="300"/>
                  </a:moveTo>
                  <a:lnTo>
                    <a:pt x="43" y="300"/>
                  </a:lnTo>
                  <a:lnTo>
                    <a:pt x="43" y="300"/>
                  </a:lnTo>
                  <a:lnTo>
                    <a:pt x="43" y="300"/>
                  </a:lnTo>
                  <a:lnTo>
                    <a:pt x="43" y="300"/>
                  </a:lnTo>
                  <a:lnTo>
                    <a:pt x="43" y="300"/>
                  </a:lnTo>
                  <a:lnTo>
                    <a:pt x="43" y="300"/>
                  </a:lnTo>
                  <a:lnTo>
                    <a:pt x="43" y="300"/>
                  </a:lnTo>
                  <a:lnTo>
                    <a:pt x="43" y="300"/>
                  </a:lnTo>
                  <a:lnTo>
                    <a:pt x="43" y="300"/>
                  </a:lnTo>
                  <a:lnTo>
                    <a:pt x="43" y="300"/>
                  </a:lnTo>
                  <a:lnTo>
                    <a:pt x="43" y="300"/>
                  </a:lnTo>
                  <a:lnTo>
                    <a:pt x="43" y="300"/>
                  </a:lnTo>
                  <a:close/>
                  <a:moveTo>
                    <a:pt x="118" y="288"/>
                  </a:moveTo>
                  <a:lnTo>
                    <a:pt x="120" y="288"/>
                  </a:lnTo>
                  <a:lnTo>
                    <a:pt x="118" y="288"/>
                  </a:lnTo>
                  <a:close/>
                  <a:moveTo>
                    <a:pt x="33" y="300"/>
                  </a:moveTo>
                  <a:lnTo>
                    <a:pt x="33" y="300"/>
                  </a:lnTo>
                  <a:lnTo>
                    <a:pt x="35" y="300"/>
                  </a:lnTo>
                  <a:lnTo>
                    <a:pt x="33" y="300"/>
                  </a:lnTo>
                  <a:lnTo>
                    <a:pt x="33" y="300"/>
                  </a:lnTo>
                  <a:lnTo>
                    <a:pt x="33" y="300"/>
                  </a:lnTo>
                  <a:lnTo>
                    <a:pt x="33" y="302"/>
                  </a:lnTo>
                  <a:lnTo>
                    <a:pt x="33" y="300"/>
                  </a:lnTo>
                  <a:lnTo>
                    <a:pt x="33" y="300"/>
                  </a:lnTo>
                  <a:close/>
                  <a:moveTo>
                    <a:pt x="168" y="302"/>
                  </a:moveTo>
                  <a:lnTo>
                    <a:pt x="170" y="302"/>
                  </a:lnTo>
                  <a:lnTo>
                    <a:pt x="168" y="302"/>
                  </a:lnTo>
                  <a:close/>
                  <a:moveTo>
                    <a:pt x="97" y="297"/>
                  </a:moveTo>
                  <a:lnTo>
                    <a:pt x="97" y="297"/>
                  </a:lnTo>
                  <a:lnTo>
                    <a:pt x="97" y="297"/>
                  </a:lnTo>
                  <a:lnTo>
                    <a:pt x="97" y="297"/>
                  </a:lnTo>
                  <a:lnTo>
                    <a:pt x="97" y="297"/>
                  </a:lnTo>
                  <a:close/>
                  <a:moveTo>
                    <a:pt x="201" y="297"/>
                  </a:moveTo>
                  <a:lnTo>
                    <a:pt x="201" y="297"/>
                  </a:lnTo>
                  <a:lnTo>
                    <a:pt x="201" y="297"/>
                  </a:lnTo>
                  <a:lnTo>
                    <a:pt x="201" y="297"/>
                  </a:lnTo>
                  <a:lnTo>
                    <a:pt x="201" y="297"/>
                  </a:lnTo>
                  <a:close/>
                  <a:moveTo>
                    <a:pt x="118" y="295"/>
                  </a:moveTo>
                  <a:lnTo>
                    <a:pt x="118" y="295"/>
                  </a:lnTo>
                  <a:lnTo>
                    <a:pt x="118" y="295"/>
                  </a:lnTo>
                  <a:close/>
                  <a:moveTo>
                    <a:pt x="215" y="295"/>
                  </a:moveTo>
                  <a:lnTo>
                    <a:pt x="215" y="295"/>
                  </a:lnTo>
                  <a:lnTo>
                    <a:pt x="215" y="295"/>
                  </a:lnTo>
                  <a:close/>
                  <a:moveTo>
                    <a:pt x="40" y="337"/>
                  </a:moveTo>
                  <a:lnTo>
                    <a:pt x="40" y="337"/>
                  </a:lnTo>
                  <a:lnTo>
                    <a:pt x="43" y="337"/>
                  </a:lnTo>
                  <a:lnTo>
                    <a:pt x="40" y="337"/>
                  </a:lnTo>
                  <a:lnTo>
                    <a:pt x="40" y="337"/>
                  </a:lnTo>
                  <a:close/>
                  <a:moveTo>
                    <a:pt x="28" y="314"/>
                  </a:moveTo>
                  <a:lnTo>
                    <a:pt x="28" y="314"/>
                  </a:lnTo>
                  <a:lnTo>
                    <a:pt x="28" y="314"/>
                  </a:lnTo>
                  <a:lnTo>
                    <a:pt x="28" y="314"/>
                  </a:lnTo>
                  <a:lnTo>
                    <a:pt x="28" y="314"/>
                  </a:lnTo>
                  <a:close/>
                  <a:moveTo>
                    <a:pt x="120" y="295"/>
                  </a:moveTo>
                  <a:lnTo>
                    <a:pt x="120" y="295"/>
                  </a:lnTo>
                  <a:lnTo>
                    <a:pt x="120" y="295"/>
                  </a:lnTo>
                  <a:close/>
                  <a:moveTo>
                    <a:pt x="125" y="290"/>
                  </a:moveTo>
                  <a:lnTo>
                    <a:pt x="125" y="290"/>
                  </a:lnTo>
                  <a:lnTo>
                    <a:pt x="125" y="290"/>
                  </a:lnTo>
                  <a:lnTo>
                    <a:pt x="125" y="290"/>
                  </a:lnTo>
                  <a:lnTo>
                    <a:pt x="125" y="290"/>
                  </a:lnTo>
                  <a:close/>
                  <a:moveTo>
                    <a:pt x="215" y="297"/>
                  </a:moveTo>
                  <a:lnTo>
                    <a:pt x="215" y="297"/>
                  </a:lnTo>
                  <a:lnTo>
                    <a:pt x="215" y="297"/>
                  </a:lnTo>
                  <a:lnTo>
                    <a:pt x="215" y="297"/>
                  </a:lnTo>
                  <a:lnTo>
                    <a:pt x="215" y="297"/>
                  </a:lnTo>
                  <a:close/>
                  <a:moveTo>
                    <a:pt x="28" y="316"/>
                  </a:moveTo>
                  <a:lnTo>
                    <a:pt x="28" y="316"/>
                  </a:lnTo>
                  <a:lnTo>
                    <a:pt x="28" y="316"/>
                  </a:lnTo>
                  <a:lnTo>
                    <a:pt x="28" y="316"/>
                  </a:lnTo>
                  <a:lnTo>
                    <a:pt x="28" y="316"/>
                  </a:lnTo>
                  <a:close/>
                  <a:moveTo>
                    <a:pt x="38" y="319"/>
                  </a:moveTo>
                  <a:lnTo>
                    <a:pt x="40" y="319"/>
                  </a:lnTo>
                  <a:lnTo>
                    <a:pt x="40" y="319"/>
                  </a:lnTo>
                  <a:lnTo>
                    <a:pt x="38" y="319"/>
                  </a:lnTo>
                  <a:lnTo>
                    <a:pt x="38" y="319"/>
                  </a:lnTo>
                  <a:lnTo>
                    <a:pt x="38" y="321"/>
                  </a:lnTo>
                  <a:lnTo>
                    <a:pt x="35" y="321"/>
                  </a:lnTo>
                  <a:lnTo>
                    <a:pt x="35" y="321"/>
                  </a:lnTo>
                  <a:lnTo>
                    <a:pt x="35" y="321"/>
                  </a:lnTo>
                  <a:lnTo>
                    <a:pt x="38" y="319"/>
                  </a:lnTo>
                  <a:lnTo>
                    <a:pt x="38" y="319"/>
                  </a:lnTo>
                  <a:lnTo>
                    <a:pt x="38" y="319"/>
                  </a:lnTo>
                  <a:close/>
                  <a:moveTo>
                    <a:pt x="35" y="300"/>
                  </a:moveTo>
                  <a:lnTo>
                    <a:pt x="35" y="300"/>
                  </a:lnTo>
                  <a:lnTo>
                    <a:pt x="35" y="300"/>
                  </a:lnTo>
                  <a:lnTo>
                    <a:pt x="35" y="300"/>
                  </a:lnTo>
                  <a:lnTo>
                    <a:pt x="38" y="300"/>
                  </a:lnTo>
                  <a:lnTo>
                    <a:pt x="35" y="300"/>
                  </a:lnTo>
                  <a:lnTo>
                    <a:pt x="35" y="300"/>
                  </a:lnTo>
                  <a:lnTo>
                    <a:pt x="35" y="300"/>
                  </a:lnTo>
                  <a:close/>
                  <a:moveTo>
                    <a:pt x="175" y="300"/>
                  </a:moveTo>
                  <a:lnTo>
                    <a:pt x="175" y="300"/>
                  </a:lnTo>
                  <a:lnTo>
                    <a:pt x="175" y="300"/>
                  </a:lnTo>
                  <a:close/>
                  <a:moveTo>
                    <a:pt x="40" y="316"/>
                  </a:moveTo>
                  <a:lnTo>
                    <a:pt x="40" y="316"/>
                  </a:lnTo>
                  <a:lnTo>
                    <a:pt x="40" y="316"/>
                  </a:lnTo>
                  <a:lnTo>
                    <a:pt x="40" y="316"/>
                  </a:lnTo>
                  <a:lnTo>
                    <a:pt x="40" y="316"/>
                  </a:lnTo>
                  <a:close/>
                  <a:moveTo>
                    <a:pt x="220" y="300"/>
                  </a:moveTo>
                  <a:lnTo>
                    <a:pt x="222" y="300"/>
                  </a:lnTo>
                  <a:lnTo>
                    <a:pt x="222" y="300"/>
                  </a:lnTo>
                  <a:lnTo>
                    <a:pt x="222" y="300"/>
                  </a:lnTo>
                  <a:lnTo>
                    <a:pt x="220" y="300"/>
                  </a:lnTo>
                  <a:close/>
                  <a:moveTo>
                    <a:pt x="125" y="290"/>
                  </a:moveTo>
                  <a:lnTo>
                    <a:pt x="125" y="290"/>
                  </a:lnTo>
                  <a:lnTo>
                    <a:pt x="125" y="290"/>
                  </a:lnTo>
                  <a:close/>
                  <a:moveTo>
                    <a:pt x="97" y="297"/>
                  </a:moveTo>
                  <a:lnTo>
                    <a:pt x="97" y="297"/>
                  </a:lnTo>
                  <a:lnTo>
                    <a:pt x="97" y="297"/>
                  </a:lnTo>
                  <a:lnTo>
                    <a:pt x="97" y="297"/>
                  </a:lnTo>
                  <a:close/>
                  <a:moveTo>
                    <a:pt x="215" y="300"/>
                  </a:moveTo>
                  <a:lnTo>
                    <a:pt x="215" y="300"/>
                  </a:lnTo>
                  <a:lnTo>
                    <a:pt x="215" y="302"/>
                  </a:lnTo>
                  <a:lnTo>
                    <a:pt x="215" y="302"/>
                  </a:lnTo>
                  <a:lnTo>
                    <a:pt x="215" y="300"/>
                  </a:lnTo>
                  <a:close/>
                  <a:moveTo>
                    <a:pt x="31" y="302"/>
                  </a:moveTo>
                  <a:lnTo>
                    <a:pt x="31" y="300"/>
                  </a:lnTo>
                  <a:lnTo>
                    <a:pt x="33" y="300"/>
                  </a:lnTo>
                  <a:lnTo>
                    <a:pt x="33" y="302"/>
                  </a:lnTo>
                  <a:lnTo>
                    <a:pt x="33" y="300"/>
                  </a:lnTo>
                  <a:lnTo>
                    <a:pt x="33" y="302"/>
                  </a:lnTo>
                  <a:lnTo>
                    <a:pt x="31" y="302"/>
                  </a:lnTo>
                  <a:close/>
                  <a:moveTo>
                    <a:pt x="227" y="262"/>
                  </a:moveTo>
                  <a:lnTo>
                    <a:pt x="227" y="260"/>
                  </a:lnTo>
                  <a:lnTo>
                    <a:pt x="227" y="260"/>
                  </a:lnTo>
                  <a:lnTo>
                    <a:pt x="227" y="260"/>
                  </a:lnTo>
                  <a:lnTo>
                    <a:pt x="227" y="260"/>
                  </a:lnTo>
                  <a:lnTo>
                    <a:pt x="227" y="262"/>
                  </a:lnTo>
                  <a:lnTo>
                    <a:pt x="227" y="262"/>
                  </a:lnTo>
                  <a:close/>
                  <a:moveTo>
                    <a:pt x="26" y="314"/>
                  </a:moveTo>
                  <a:lnTo>
                    <a:pt x="26" y="311"/>
                  </a:lnTo>
                  <a:lnTo>
                    <a:pt x="26" y="314"/>
                  </a:lnTo>
                  <a:lnTo>
                    <a:pt x="26" y="314"/>
                  </a:lnTo>
                  <a:lnTo>
                    <a:pt x="26" y="314"/>
                  </a:lnTo>
                  <a:close/>
                  <a:moveTo>
                    <a:pt x="106" y="293"/>
                  </a:moveTo>
                  <a:lnTo>
                    <a:pt x="106" y="293"/>
                  </a:lnTo>
                  <a:lnTo>
                    <a:pt x="109" y="290"/>
                  </a:lnTo>
                  <a:lnTo>
                    <a:pt x="109" y="293"/>
                  </a:lnTo>
                  <a:lnTo>
                    <a:pt x="109" y="293"/>
                  </a:lnTo>
                  <a:lnTo>
                    <a:pt x="109" y="293"/>
                  </a:lnTo>
                  <a:lnTo>
                    <a:pt x="106" y="293"/>
                  </a:lnTo>
                  <a:lnTo>
                    <a:pt x="106" y="293"/>
                  </a:lnTo>
                  <a:close/>
                  <a:moveTo>
                    <a:pt x="120" y="293"/>
                  </a:moveTo>
                  <a:lnTo>
                    <a:pt x="120" y="293"/>
                  </a:lnTo>
                  <a:lnTo>
                    <a:pt x="120" y="290"/>
                  </a:lnTo>
                  <a:lnTo>
                    <a:pt x="123" y="290"/>
                  </a:lnTo>
                  <a:lnTo>
                    <a:pt x="123" y="290"/>
                  </a:lnTo>
                  <a:lnTo>
                    <a:pt x="123" y="290"/>
                  </a:lnTo>
                  <a:lnTo>
                    <a:pt x="123" y="293"/>
                  </a:lnTo>
                  <a:lnTo>
                    <a:pt x="120" y="293"/>
                  </a:lnTo>
                  <a:lnTo>
                    <a:pt x="120" y="293"/>
                  </a:lnTo>
                  <a:close/>
                  <a:moveTo>
                    <a:pt x="210" y="274"/>
                  </a:moveTo>
                  <a:lnTo>
                    <a:pt x="210" y="274"/>
                  </a:lnTo>
                  <a:lnTo>
                    <a:pt x="210" y="276"/>
                  </a:lnTo>
                  <a:lnTo>
                    <a:pt x="210" y="274"/>
                  </a:lnTo>
                  <a:lnTo>
                    <a:pt x="210" y="274"/>
                  </a:lnTo>
                  <a:lnTo>
                    <a:pt x="210" y="274"/>
                  </a:lnTo>
                  <a:close/>
                  <a:moveTo>
                    <a:pt x="80" y="319"/>
                  </a:moveTo>
                  <a:lnTo>
                    <a:pt x="80" y="319"/>
                  </a:lnTo>
                  <a:lnTo>
                    <a:pt x="80" y="319"/>
                  </a:lnTo>
                  <a:lnTo>
                    <a:pt x="80" y="316"/>
                  </a:lnTo>
                  <a:lnTo>
                    <a:pt x="78" y="319"/>
                  </a:lnTo>
                  <a:lnTo>
                    <a:pt x="80" y="316"/>
                  </a:lnTo>
                  <a:lnTo>
                    <a:pt x="78" y="316"/>
                  </a:lnTo>
                  <a:lnTo>
                    <a:pt x="78" y="316"/>
                  </a:lnTo>
                  <a:lnTo>
                    <a:pt x="73" y="316"/>
                  </a:lnTo>
                  <a:lnTo>
                    <a:pt x="73" y="316"/>
                  </a:lnTo>
                  <a:lnTo>
                    <a:pt x="73" y="316"/>
                  </a:lnTo>
                  <a:lnTo>
                    <a:pt x="71" y="319"/>
                  </a:lnTo>
                  <a:lnTo>
                    <a:pt x="71" y="321"/>
                  </a:lnTo>
                  <a:lnTo>
                    <a:pt x="68" y="321"/>
                  </a:lnTo>
                  <a:lnTo>
                    <a:pt x="71" y="321"/>
                  </a:lnTo>
                  <a:lnTo>
                    <a:pt x="68" y="321"/>
                  </a:lnTo>
                  <a:lnTo>
                    <a:pt x="68" y="319"/>
                  </a:lnTo>
                  <a:lnTo>
                    <a:pt x="68" y="319"/>
                  </a:lnTo>
                  <a:lnTo>
                    <a:pt x="71" y="316"/>
                  </a:lnTo>
                  <a:lnTo>
                    <a:pt x="71" y="316"/>
                  </a:lnTo>
                  <a:lnTo>
                    <a:pt x="68" y="316"/>
                  </a:lnTo>
                  <a:lnTo>
                    <a:pt x="68" y="316"/>
                  </a:lnTo>
                  <a:lnTo>
                    <a:pt x="68" y="316"/>
                  </a:lnTo>
                  <a:lnTo>
                    <a:pt x="66" y="316"/>
                  </a:lnTo>
                  <a:lnTo>
                    <a:pt x="64" y="316"/>
                  </a:lnTo>
                  <a:lnTo>
                    <a:pt x="64" y="314"/>
                  </a:lnTo>
                  <a:lnTo>
                    <a:pt x="66" y="314"/>
                  </a:lnTo>
                  <a:lnTo>
                    <a:pt x="68" y="314"/>
                  </a:lnTo>
                  <a:lnTo>
                    <a:pt x="68" y="314"/>
                  </a:lnTo>
                  <a:lnTo>
                    <a:pt x="68" y="314"/>
                  </a:lnTo>
                  <a:lnTo>
                    <a:pt x="71" y="311"/>
                  </a:lnTo>
                  <a:lnTo>
                    <a:pt x="71" y="311"/>
                  </a:lnTo>
                  <a:lnTo>
                    <a:pt x="73" y="311"/>
                  </a:lnTo>
                  <a:lnTo>
                    <a:pt x="71" y="309"/>
                  </a:lnTo>
                  <a:lnTo>
                    <a:pt x="73" y="309"/>
                  </a:lnTo>
                  <a:lnTo>
                    <a:pt x="73" y="309"/>
                  </a:lnTo>
                  <a:lnTo>
                    <a:pt x="73" y="309"/>
                  </a:lnTo>
                  <a:lnTo>
                    <a:pt x="73" y="309"/>
                  </a:lnTo>
                  <a:lnTo>
                    <a:pt x="76" y="307"/>
                  </a:lnTo>
                  <a:lnTo>
                    <a:pt x="76" y="309"/>
                  </a:lnTo>
                  <a:lnTo>
                    <a:pt x="76" y="309"/>
                  </a:lnTo>
                  <a:lnTo>
                    <a:pt x="76" y="309"/>
                  </a:lnTo>
                  <a:lnTo>
                    <a:pt x="78" y="309"/>
                  </a:lnTo>
                  <a:lnTo>
                    <a:pt x="78" y="309"/>
                  </a:lnTo>
                  <a:lnTo>
                    <a:pt x="78" y="309"/>
                  </a:lnTo>
                  <a:lnTo>
                    <a:pt x="78" y="307"/>
                  </a:lnTo>
                  <a:lnTo>
                    <a:pt x="80" y="307"/>
                  </a:lnTo>
                  <a:lnTo>
                    <a:pt x="80" y="307"/>
                  </a:lnTo>
                  <a:lnTo>
                    <a:pt x="80" y="307"/>
                  </a:lnTo>
                  <a:lnTo>
                    <a:pt x="80" y="304"/>
                  </a:lnTo>
                  <a:lnTo>
                    <a:pt x="80" y="304"/>
                  </a:lnTo>
                  <a:lnTo>
                    <a:pt x="83" y="304"/>
                  </a:lnTo>
                  <a:lnTo>
                    <a:pt x="83" y="304"/>
                  </a:lnTo>
                  <a:lnTo>
                    <a:pt x="83" y="304"/>
                  </a:lnTo>
                  <a:lnTo>
                    <a:pt x="83" y="304"/>
                  </a:lnTo>
                  <a:lnTo>
                    <a:pt x="87" y="304"/>
                  </a:lnTo>
                  <a:lnTo>
                    <a:pt x="87" y="304"/>
                  </a:lnTo>
                  <a:lnTo>
                    <a:pt x="87" y="304"/>
                  </a:lnTo>
                  <a:lnTo>
                    <a:pt x="87" y="307"/>
                  </a:lnTo>
                  <a:lnTo>
                    <a:pt x="90" y="307"/>
                  </a:lnTo>
                  <a:lnTo>
                    <a:pt x="87" y="307"/>
                  </a:lnTo>
                  <a:lnTo>
                    <a:pt x="87" y="307"/>
                  </a:lnTo>
                  <a:lnTo>
                    <a:pt x="85" y="307"/>
                  </a:lnTo>
                  <a:lnTo>
                    <a:pt x="85" y="307"/>
                  </a:lnTo>
                  <a:lnTo>
                    <a:pt x="87" y="307"/>
                  </a:lnTo>
                  <a:lnTo>
                    <a:pt x="87" y="307"/>
                  </a:lnTo>
                  <a:lnTo>
                    <a:pt x="87" y="307"/>
                  </a:lnTo>
                  <a:lnTo>
                    <a:pt x="87" y="307"/>
                  </a:lnTo>
                  <a:lnTo>
                    <a:pt x="90" y="307"/>
                  </a:lnTo>
                  <a:lnTo>
                    <a:pt x="92" y="307"/>
                  </a:lnTo>
                  <a:lnTo>
                    <a:pt x="92" y="309"/>
                  </a:lnTo>
                  <a:lnTo>
                    <a:pt x="92" y="309"/>
                  </a:lnTo>
                  <a:lnTo>
                    <a:pt x="92" y="309"/>
                  </a:lnTo>
                  <a:lnTo>
                    <a:pt x="92" y="309"/>
                  </a:lnTo>
                  <a:lnTo>
                    <a:pt x="92" y="309"/>
                  </a:lnTo>
                  <a:lnTo>
                    <a:pt x="94" y="309"/>
                  </a:lnTo>
                  <a:lnTo>
                    <a:pt x="94" y="309"/>
                  </a:lnTo>
                  <a:lnTo>
                    <a:pt x="97" y="307"/>
                  </a:lnTo>
                  <a:lnTo>
                    <a:pt x="97" y="309"/>
                  </a:lnTo>
                  <a:lnTo>
                    <a:pt x="97" y="309"/>
                  </a:lnTo>
                  <a:lnTo>
                    <a:pt x="94" y="309"/>
                  </a:lnTo>
                  <a:lnTo>
                    <a:pt x="97" y="311"/>
                  </a:lnTo>
                  <a:lnTo>
                    <a:pt x="94" y="314"/>
                  </a:lnTo>
                  <a:lnTo>
                    <a:pt x="97" y="314"/>
                  </a:lnTo>
                  <a:lnTo>
                    <a:pt x="97" y="314"/>
                  </a:lnTo>
                  <a:lnTo>
                    <a:pt x="99" y="311"/>
                  </a:lnTo>
                  <a:lnTo>
                    <a:pt x="99" y="311"/>
                  </a:lnTo>
                  <a:lnTo>
                    <a:pt x="99" y="314"/>
                  </a:lnTo>
                  <a:lnTo>
                    <a:pt x="102" y="314"/>
                  </a:lnTo>
                  <a:lnTo>
                    <a:pt x="102" y="316"/>
                  </a:lnTo>
                  <a:lnTo>
                    <a:pt x="99" y="316"/>
                  </a:lnTo>
                  <a:lnTo>
                    <a:pt x="99" y="316"/>
                  </a:lnTo>
                  <a:lnTo>
                    <a:pt x="97" y="316"/>
                  </a:lnTo>
                  <a:lnTo>
                    <a:pt x="97" y="316"/>
                  </a:lnTo>
                  <a:lnTo>
                    <a:pt x="97" y="314"/>
                  </a:lnTo>
                  <a:lnTo>
                    <a:pt x="97" y="314"/>
                  </a:lnTo>
                  <a:lnTo>
                    <a:pt x="92" y="314"/>
                  </a:lnTo>
                  <a:lnTo>
                    <a:pt x="92" y="316"/>
                  </a:lnTo>
                  <a:lnTo>
                    <a:pt x="90" y="316"/>
                  </a:lnTo>
                  <a:lnTo>
                    <a:pt x="90" y="316"/>
                  </a:lnTo>
                  <a:lnTo>
                    <a:pt x="90" y="316"/>
                  </a:lnTo>
                  <a:lnTo>
                    <a:pt x="90" y="316"/>
                  </a:lnTo>
                  <a:lnTo>
                    <a:pt x="90" y="319"/>
                  </a:lnTo>
                  <a:lnTo>
                    <a:pt x="87" y="319"/>
                  </a:lnTo>
                  <a:lnTo>
                    <a:pt x="87" y="319"/>
                  </a:lnTo>
                  <a:lnTo>
                    <a:pt x="87" y="316"/>
                  </a:lnTo>
                  <a:lnTo>
                    <a:pt x="85" y="319"/>
                  </a:lnTo>
                  <a:lnTo>
                    <a:pt x="83" y="319"/>
                  </a:lnTo>
                  <a:lnTo>
                    <a:pt x="83" y="319"/>
                  </a:lnTo>
                  <a:lnTo>
                    <a:pt x="80" y="319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 cap="flat">
              <a:solidFill>
                <a:schemeClr val="bg2">
                  <a:lumMod val="7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>
                <a:solidFill>
                  <a:srgbClr val="000000"/>
                </a:solidFill>
              </a:endParaRPr>
            </a:p>
          </p:txBody>
        </p:sp>
        <p:sp>
          <p:nvSpPr>
            <p:cNvPr id="87" name="Freeform 19"/>
            <p:cNvSpPr>
              <a:spLocks/>
            </p:cNvSpPr>
            <p:nvPr/>
          </p:nvSpPr>
          <p:spPr bwMode="gray">
            <a:xfrm>
              <a:off x="2311018" y="4260261"/>
              <a:ext cx="752289" cy="814103"/>
            </a:xfrm>
            <a:custGeom>
              <a:avLst/>
              <a:gdLst/>
              <a:ahLst/>
              <a:cxnLst>
                <a:cxn ang="0">
                  <a:pos x="7" y="640"/>
                </a:cxn>
                <a:cxn ang="0">
                  <a:pos x="24" y="607"/>
                </a:cxn>
                <a:cxn ang="0">
                  <a:pos x="40" y="583"/>
                </a:cxn>
                <a:cxn ang="0">
                  <a:pos x="66" y="552"/>
                </a:cxn>
                <a:cxn ang="0">
                  <a:pos x="71" y="519"/>
                </a:cxn>
                <a:cxn ang="0">
                  <a:pos x="118" y="477"/>
                </a:cxn>
                <a:cxn ang="0">
                  <a:pos x="192" y="413"/>
                </a:cxn>
                <a:cxn ang="0">
                  <a:pos x="248" y="340"/>
                </a:cxn>
                <a:cxn ang="0">
                  <a:pos x="291" y="243"/>
                </a:cxn>
                <a:cxn ang="0">
                  <a:pos x="329" y="130"/>
                </a:cxn>
                <a:cxn ang="0">
                  <a:pos x="352" y="49"/>
                </a:cxn>
                <a:cxn ang="0">
                  <a:pos x="371" y="16"/>
                </a:cxn>
                <a:cxn ang="0">
                  <a:pos x="385" y="26"/>
                </a:cxn>
                <a:cxn ang="0">
                  <a:pos x="381" y="61"/>
                </a:cxn>
                <a:cxn ang="0">
                  <a:pos x="496" y="104"/>
                </a:cxn>
                <a:cxn ang="0">
                  <a:pos x="534" y="68"/>
                </a:cxn>
                <a:cxn ang="0">
                  <a:pos x="577" y="80"/>
                </a:cxn>
                <a:cxn ang="0">
                  <a:pos x="591" y="118"/>
                </a:cxn>
                <a:cxn ang="0">
                  <a:pos x="612" y="115"/>
                </a:cxn>
                <a:cxn ang="0">
                  <a:pos x="643" y="101"/>
                </a:cxn>
                <a:cxn ang="0">
                  <a:pos x="659" y="111"/>
                </a:cxn>
                <a:cxn ang="0">
                  <a:pos x="711" y="127"/>
                </a:cxn>
                <a:cxn ang="0">
                  <a:pos x="730" y="104"/>
                </a:cxn>
                <a:cxn ang="0">
                  <a:pos x="775" y="108"/>
                </a:cxn>
                <a:cxn ang="0">
                  <a:pos x="813" y="87"/>
                </a:cxn>
                <a:cxn ang="0">
                  <a:pos x="884" y="78"/>
                </a:cxn>
                <a:cxn ang="0">
                  <a:pos x="881" y="104"/>
                </a:cxn>
                <a:cxn ang="0">
                  <a:pos x="893" y="141"/>
                </a:cxn>
                <a:cxn ang="0">
                  <a:pos x="893" y="207"/>
                </a:cxn>
                <a:cxn ang="0">
                  <a:pos x="929" y="257"/>
                </a:cxn>
                <a:cxn ang="0">
                  <a:pos x="922" y="295"/>
                </a:cxn>
                <a:cxn ang="0">
                  <a:pos x="893" y="333"/>
                </a:cxn>
                <a:cxn ang="0">
                  <a:pos x="853" y="319"/>
                </a:cxn>
                <a:cxn ang="0">
                  <a:pos x="806" y="359"/>
                </a:cxn>
                <a:cxn ang="0">
                  <a:pos x="818" y="456"/>
                </a:cxn>
                <a:cxn ang="0">
                  <a:pos x="761" y="474"/>
                </a:cxn>
                <a:cxn ang="0">
                  <a:pos x="747" y="458"/>
                </a:cxn>
                <a:cxn ang="0">
                  <a:pos x="740" y="408"/>
                </a:cxn>
                <a:cxn ang="0">
                  <a:pos x="631" y="479"/>
                </a:cxn>
                <a:cxn ang="0">
                  <a:pos x="752" y="505"/>
                </a:cxn>
                <a:cxn ang="0">
                  <a:pos x="747" y="550"/>
                </a:cxn>
                <a:cxn ang="0">
                  <a:pos x="766" y="574"/>
                </a:cxn>
                <a:cxn ang="0">
                  <a:pos x="775" y="604"/>
                </a:cxn>
                <a:cxn ang="0">
                  <a:pos x="759" y="616"/>
                </a:cxn>
                <a:cxn ang="0">
                  <a:pos x="740" y="640"/>
                </a:cxn>
                <a:cxn ang="0">
                  <a:pos x="726" y="661"/>
                </a:cxn>
                <a:cxn ang="0">
                  <a:pos x="752" y="704"/>
                </a:cxn>
                <a:cxn ang="0">
                  <a:pos x="756" y="741"/>
                </a:cxn>
                <a:cxn ang="0">
                  <a:pos x="726" y="763"/>
                </a:cxn>
                <a:cxn ang="0">
                  <a:pos x="700" y="789"/>
                </a:cxn>
                <a:cxn ang="0">
                  <a:pos x="662" y="789"/>
                </a:cxn>
                <a:cxn ang="0">
                  <a:pos x="600" y="779"/>
                </a:cxn>
                <a:cxn ang="0">
                  <a:pos x="525" y="786"/>
                </a:cxn>
                <a:cxn ang="0">
                  <a:pos x="470" y="805"/>
                </a:cxn>
                <a:cxn ang="0">
                  <a:pos x="376" y="824"/>
                </a:cxn>
                <a:cxn ang="0">
                  <a:pos x="303" y="919"/>
                </a:cxn>
                <a:cxn ang="0">
                  <a:pos x="258" y="900"/>
                </a:cxn>
                <a:cxn ang="0">
                  <a:pos x="208" y="883"/>
                </a:cxn>
                <a:cxn ang="0">
                  <a:pos x="166" y="862"/>
                </a:cxn>
                <a:cxn ang="0">
                  <a:pos x="137" y="845"/>
                </a:cxn>
                <a:cxn ang="0">
                  <a:pos x="78" y="824"/>
                </a:cxn>
                <a:cxn ang="0">
                  <a:pos x="36" y="774"/>
                </a:cxn>
                <a:cxn ang="0">
                  <a:pos x="5" y="699"/>
                </a:cxn>
              </a:cxnLst>
              <a:rect l="0" t="0" r="r" b="b"/>
              <a:pathLst>
                <a:path w="931" h="930">
                  <a:moveTo>
                    <a:pt x="3" y="668"/>
                  </a:moveTo>
                  <a:lnTo>
                    <a:pt x="3" y="668"/>
                  </a:lnTo>
                  <a:lnTo>
                    <a:pt x="3" y="666"/>
                  </a:lnTo>
                  <a:lnTo>
                    <a:pt x="3" y="666"/>
                  </a:lnTo>
                  <a:lnTo>
                    <a:pt x="3" y="663"/>
                  </a:lnTo>
                  <a:lnTo>
                    <a:pt x="3" y="666"/>
                  </a:lnTo>
                  <a:lnTo>
                    <a:pt x="3" y="663"/>
                  </a:lnTo>
                  <a:lnTo>
                    <a:pt x="3" y="663"/>
                  </a:lnTo>
                  <a:lnTo>
                    <a:pt x="3" y="661"/>
                  </a:lnTo>
                  <a:lnTo>
                    <a:pt x="3" y="661"/>
                  </a:lnTo>
                  <a:lnTo>
                    <a:pt x="3" y="661"/>
                  </a:lnTo>
                  <a:lnTo>
                    <a:pt x="3" y="659"/>
                  </a:lnTo>
                  <a:lnTo>
                    <a:pt x="3" y="659"/>
                  </a:lnTo>
                  <a:lnTo>
                    <a:pt x="5" y="659"/>
                  </a:lnTo>
                  <a:lnTo>
                    <a:pt x="5" y="656"/>
                  </a:lnTo>
                  <a:lnTo>
                    <a:pt x="5" y="656"/>
                  </a:lnTo>
                  <a:lnTo>
                    <a:pt x="5" y="656"/>
                  </a:lnTo>
                  <a:lnTo>
                    <a:pt x="7" y="656"/>
                  </a:lnTo>
                  <a:lnTo>
                    <a:pt x="7" y="656"/>
                  </a:lnTo>
                  <a:lnTo>
                    <a:pt x="5" y="656"/>
                  </a:lnTo>
                  <a:lnTo>
                    <a:pt x="7" y="654"/>
                  </a:lnTo>
                  <a:lnTo>
                    <a:pt x="7" y="654"/>
                  </a:lnTo>
                  <a:lnTo>
                    <a:pt x="7" y="654"/>
                  </a:lnTo>
                  <a:lnTo>
                    <a:pt x="7" y="654"/>
                  </a:lnTo>
                  <a:lnTo>
                    <a:pt x="7" y="652"/>
                  </a:lnTo>
                  <a:lnTo>
                    <a:pt x="7" y="652"/>
                  </a:lnTo>
                  <a:lnTo>
                    <a:pt x="7" y="652"/>
                  </a:lnTo>
                  <a:lnTo>
                    <a:pt x="7" y="652"/>
                  </a:lnTo>
                  <a:lnTo>
                    <a:pt x="7" y="652"/>
                  </a:lnTo>
                  <a:lnTo>
                    <a:pt x="7" y="649"/>
                  </a:lnTo>
                  <a:lnTo>
                    <a:pt x="7" y="649"/>
                  </a:lnTo>
                  <a:lnTo>
                    <a:pt x="7" y="649"/>
                  </a:lnTo>
                  <a:lnTo>
                    <a:pt x="7" y="649"/>
                  </a:lnTo>
                  <a:lnTo>
                    <a:pt x="7" y="649"/>
                  </a:lnTo>
                  <a:lnTo>
                    <a:pt x="7" y="647"/>
                  </a:lnTo>
                  <a:lnTo>
                    <a:pt x="7" y="647"/>
                  </a:lnTo>
                  <a:lnTo>
                    <a:pt x="5" y="647"/>
                  </a:lnTo>
                  <a:lnTo>
                    <a:pt x="5" y="647"/>
                  </a:lnTo>
                  <a:lnTo>
                    <a:pt x="5" y="644"/>
                  </a:lnTo>
                  <a:lnTo>
                    <a:pt x="7" y="644"/>
                  </a:lnTo>
                  <a:lnTo>
                    <a:pt x="5" y="644"/>
                  </a:lnTo>
                  <a:lnTo>
                    <a:pt x="5" y="642"/>
                  </a:lnTo>
                  <a:lnTo>
                    <a:pt x="5" y="644"/>
                  </a:lnTo>
                  <a:lnTo>
                    <a:pt x="5" y="642"/>
                  </a:lnTo>
                  <a:lnTo>
                    <a:pt x="5" y="642"/>
                  </a:lnTo>
                  <a:lnTo>
                    <a:pt x="7" y="642"/>
                  </a:lnTo>
                  <a:lnTo>
                    <a:pt x="7" y="640"/>
                  </a:lnTo>
                  <a:lnTo>
                    <a:pt x="7" y="640"/>
                  </a:lnTo>
                  <a:lnTo>
                    <a:pt x="7" y="637"/>
                  </a:lnTo>
                  <a:lnTo>
                    <a:pt x="10" y="637"/>
                  </a:lnTo>
                  <a:lnTo>
                    <a:pt x="10" y="635"/>
                  </a:lnTo>
                  <a:lnTo>
                    <a:pt x="10" y="635"/>
                  </a:lnTo>
                  <a:lnTo>
                    <a:pt x="10" y="633"/>
                  </a:lnTo>
                  <a:lnTo>
                    <a:pt x="12" y="633"/>
                  </a:lnTo>
                  <a:lnTo>
                    <a:pt x="12" y="630"/>
                  </a:lnTo>
                  <a:lnTo>
                    <a:pt x="12" y="630"/>
                  </a:lnTo>
                  <a:lnTo>
                    <a:pt x="12" y="628"/>
                  </a:lnTo>
                  <a:lnTo>
                    <a:pt x="12" y="626"/>
                  </a:lnTo>
                  <a:lnTo>
                    <a:pt x="12" y="626"/>
                  </a:lnTo>
                  <a:lnTo>
                    <a:pt x="14" y="626"/>
                  </a:lnTo>
                  <a:lnTo>
                    <a:pt x="14" y="623"/>
                  </a:lnTo>
                  <a:lnTo>
                    <a:pt x="17" y="623"/>
                  </a:lnTo>
                  <a:lnTo>
                    <a:pt x="17" y="623"/>
                  </a:lnTo>
                  <a:lnTo>
                    <a:pt x="17" y="623"/>
                  </a:lnTo>
                  <a:lnTo>
                    <a:pt x="17" y="621"/>
                  </a:lnTo>
                  <a:lnTo>
                    <a:pt x="17" y="619"/>
                  </a:lnTo>
                  <a:lnTo>
                    <a:pt x="17" y="619"/>
                  </a:lnTo>
                  <a:lnTo>
                    <a:pt x="19" y="616"/>
                  </a:lnTo>
                  <a:lnTo>
                    <a:pt x="19" y="616"/>
                  </a:lnTo>
                  <a:lnTo>
                    <a:pt x="19" y="616"/>
                  </a:lnTo>
                  <a:lnTo>
                    <a:pt x="19" y="616"/>
                  </a:lnTo>
                  <a:lnTo>
                    <a:pt x="19" y="616"/>
                  </a:lnTo>
                  <a:lnTo>
                    <a:pt x="22" y="616"/>
                  </a:lnTo>
                  <a:lnTo>
                    <a:pt x="22" y="616"/>
                  </a:lnTo>
                  <a:lnTo>
                    <a:pt x="22" y="616"/>
                  </a:lnTo>
                  <a:lnTo>
                    <a:pt x="22" y="614"/>
                  </a:lnTo>
                  <a:lnTo>
                    <a:pt x="22" y="614"/>
                  </a:lnTo>
                  <a:lnTo>
                    <a:pt x="22" y="614"/>
                  </a:lnTo>
                  <a:lnTo>
                    <a:pt x="22" y="614"/>
                  </a:lnTo>
                  <a:lnTo>
                    <a:pt x="24" y="614"/>
                  </a:lnTo>
                  <a:lnTo>
                    <a:pt x="24" y="614"/>
                  </a:lnTo>
                  <a:lnTo>
                    <a:pt x="24" y="614"/>
                  </a:lnTo>
                  <a:lnTo>
                    <a:pt x="24" y="614"/>
                  </a:lnTo>
                  <a:lnTo>
                    <a:pt x="24" y="614"/>
                  </a:lnTo>
                  <a:lnTo>
                    <a:pt x="26" y="611"/>
                  </a:lnTo>
                  <a:lnTo>
                    <a:pt x="26" y="611"/>
                  </a:lnTo>
                  <a:lnTo>
                    <a:pt x="24" y="611"/>
                  </a:lnTo>
                  <a:lnTo>
                    <a:pt x="24" y="611"/>
                  </a:lnTo>
                  <a:lnTo>
                    <a:pt x="24" y="611"/>
                  </a:lnTo>
                  <a:lnTo>
                    <a:pt x="24" y="609"/>
                  </a:lnTo>
                  <a:lnTo>
                    <a:pt x="24" y="609"/>
                  </a:lnTo>
                  <a:lnTo>
                    <a:pt x="24" y="609"/>
                  </a:lnTo>
                  <a:lnTo>
                    <a:pt x="24" y="609"/>
                  </a:lnTo>
                  <a:lnTo>
                    <a:pt x="24" y="607"/>
                  </a:lnTo>
                  <a:lnTo>
                    <a:pt x="24" y="607"/>
                  </a:lnTo>
                  <a:lnTo>
                    <a:pt x="24" y="607"/>
                  </a:lnTo>
                  <a:lnTo>
                    <a:pt x="26" y="607"/>
                  </a:lnTo>
                  <a:lnTo>
                    <a:pt x="24" y="604"/>
                  </a:lnTo>
                  <a:lnTo>
                    <a:pt x="26" y="604"/>
                  </a:lnTo>
                  <a:lnTo>
                    <a:pt x="26" y="604"/>
                  </a:lnTo>
                  <a:lnTo>
                    <a:pt x="26" y="604"/>
                  </a:lnTo>
                  <a:lnTo>
                    <a:pt x="26" y="602"/>
                  </a:lnTo>
                  <a:lnTo>
                    <a:pt x="26" y="602"/>
                  </a:lnTo>
                  <a:lnTo>
                    <a:pt x="26" y="597"/>
                  </a:lnTo>
                  <a:lnTo>
                    <a:pt x="26" y="597"/>
                  </a:lnTo>
                  <a:lnTo>
                    <a:pt x="26" y="600"/>
                  </a:lnTo>
                  <a:lnTo>
                    <a:pt x="26" y="597"/>
                  </a:lnTo>
                  <a:lnTo>
                    <a:pt x="26" y="597"/>
                  </a:lnTo>
                  <a:lnTo>
                    <a:pt x="29" y="595"/>
                  </a:lnTo>
                  <a:lnTo>
                    <a:pt x="29" y="595"/>
                  </a:lnTo>
                  <a:lnTo>
                    <a:pt x="29" y="595"/>
                  </a:lnTo>
                  <a:lnTo>
                    <a:pt x="29" y="593"/>
                  </a:lnTo>
                  <a:lnTo>
                    <a:pt x="29" y="593"/>
                  </a:lnTo>
                  <a:lnTo>
                    <a:pt x="29" y="593"/>
                  </a:lnTo>
                  <a:lnTo>
                    <a:pt x="29" y="590"/>
                  </a:lnTo>
                  <a:lnTo>
                    <a:pt x="29" y="590"/>
                  </a:lnTo>
                  <a:lnTo>
                    <a:pt x="31" y="590"/>
                  </a:lnTo>
                  <a:lnTo>
                    <a:pt x="31" y="588"/>
                  </a:lnTo>
                  <a:lnTo>
                    <a:pt x="31" y="588"/>
                  </a:lnTo>
                  <a:lnTo>
                    <a:pt x="31" y="588"/>
                  </a:lnTo>
                  <a:lnTo>
                    <a:pt x="31" y="585"/>
                  </a:lnTo>
                  <a:lnTo>
                    <a:pt x="31" y="585"/>
                  </a:lnTo>
                  <a:lnTo>
                    <a:pt x="31" y="585"/>
                  </a:lnTo>
                  <a:lnTo>
                    <a:pt x="31" y="585"/>
                  </a:lnTo>
                  <a:lnTo>
                    <a:pt x="33" y="585"/>
                  </a:lnTo>
                  <a:lnTo>
                    <a:pt x="33" y="585"/>
                  </a:lnTo>
                  <a:lnTo>
                    <a:pt x="36" y="585"/>
                  </a:lnTo>
                  <a:lnTo>
                    <a:pt x="36" y="585"/>
                  </a:lnTo>
                  <a:lnTo>
                    <a:pt x="38" y="585"/>
                  </a:lnTo>
                  <a:lnTo>
                    <a:pt x="38" y="585"/>
                  </a:lnTo>
                  <a:lnTo>
                    <a:pt x="38" y="585"/>
                  </a:lnTo>
                  <a:lnTo>
                    <a:pt x="38" y="585"/>
                  </a:lnTo>
                  <a:lnTo>
                    <a:pt x="38" y="583"/>
                  </a:lnTo>
                  <a:lnTo>
                    <a:pt x="38" y="583"/>
                  </a:lnTo>
                  <a:lnTo>
                    <a:pt x="38" y="585"/>
                  </a:lnTo>
                  <a:lnTo>
                    <a:pt x="40" y="585"/>
                  </a:lnTo>
                  <a:lnTo>
                    <a:pt x="38" y="583"/>
                  </a:lnTo>
                  <a:lnTo>
                    <a:pt x="38" y="583"/>
                  </a:lnTo>
                  <a:lnTo>
                    <a:pt x="40" y="583"/>
                  </a:lnTo>
                  <a:lnTo>
                    <a:pt x="40" y="583"/>
                  </a:lnTo>
                  <a:lnTo>
                    <a:pt x="40" y="583"/>
                  </a:lnTo>
                  <a:lnTo>
                    <a:pt x="40" y="581"/>
                  </a:lnTo>
                  <a:lnTo>
                    <a:pt x="40" y="578"/>
                  </a:lnTo>
                  <a:lnTo>
                    <a:pt x="40" y="578"/>
                  </a:lnTo>
                  <a:lnTo>
                    <a:pt x="40" y="578"/>
                  </a:lnTo>
                  <a:lnTo>
                    <a:pt x="40" y="578"/>
                  </a:lnTo>
                  <a:lnTo>
                    <a:pt x="40" y="578"/>
                  </a:lnTo>
                  <a:lnTo>
                    <a:pt x="43" y="578"/>
                  </a:lnTo>
                  <a:lnTo>
                    <a:pt x="43" y="578"/>
                  </a:lnTo>
                  <a:lnTo>
                    <a:pt x="45" y="578"/>
                  </a:lnTo>
                  <a:lnTo>
                    <a:pt x="45" y="576"/>
                  </a:lnTo>
                  <a:lnTo>
                    <a:pt x="45" y="576"/>
                  </a:lnTo>
                  <a:lnTo>
                    <a:pt x="48" y="576"/>
                  </a:lnTo>
                  <a:lnTo>
                    <a:pt x="45" y="576"/>
                  </a:lnTo>
                  <a:lnTo>
                    <a:pt x="48" y="574"/>
                  </a:lnTo>
                  <a:lnTo>
                    <a:pt x="50" y="574"/>
                  </a:lnTo>
                  <a:lnTo>
                    <a:pt x="50" y="574"/>
                  </a:lnTo>
                  <a:lnTo>
                    <a:pt x="50" y="574"/>
                  </a:lnTo>
                  <a:lnTo>
                    <a:pt x="52" y="574"/>
                  </a:lnTo>
                  <a:lnTo>
                    <a:pt x="52" y="574"/>
                  </a:lnTo>
                  <a:lnTo>
                    <a:pt x="52" y="574"/>
                  </a:lnTo>
                  <a:lnTo>
                    <a:pt x="55" y="574"/>
                  </a:lnTo>
                  <a:lnTo>
                    <a:pt x="55" y="571"/>
                  </a:lnTo>
                  <a:lnTo>
                    <a:pt x="55" y="571"/>
                  </a:lnTo>
                  <a:lnTo>
                    <a:pt x="57" y="569"/>
                  </a:lnTo>
                  <a:lnTo>
                    <a:pt x="57" y="569"/>
                  </a:lnTo>
                  <a:lnTo>
                    <a:pt x="59" y="569"/>
                  </a:lnTo>
                  <a:lnTo>
                    <a:pt x="59" y="569"/>
                  </a:lnTo>
                  <a:lnTo>
                    <a:pt x="59" y="567"/>
                  </a:lnTo>
                  <a:lnTo>
                    <a:pt x="59" y="567"/>
                  </a:lnTo>
                  <a:lnTo>
                    <a:pt x="59" y="564"/>
                  </a:lnTo>
                  <a:lnTo>
                    <a:pt x="62" y="564"/>
                  </a:lnTo>
                  <a:lnTo>
                    <a:pt x="62" y="562"/>
                  </a:lnTo>
                  <a:lnTo>
                    <a:pt x="64" y="559"/>
                  </a:lnTo>
                  <a:lnTo>
                    <a:pt x="62" y="559"/>
                  </a:lnTo>
                  <a:lnTo>
                    <a:pt x="62" y="559"/>
                  </a:lnTo>
                  <a:lnTo>
                    <a:pt x="64" y="559"/>
                  </a:lnTo>
                  <a:lnTo>
                    <a:pt x="64" y="557"/>
                  </a:lnTo>
                  <a:lnTo>
                    <a:pt x="66" y="559"/>
                  </a:lnTo>
                  <a:lnTo>
                    <a:pt x="64" y="557"/>
                  </a:lnTo>
                  <a:lnTo>
                    <a:pt x="64" y="555"/>
                  </a:lnTo>
                  <a:lnTo>
                    <a:pt x="66" y="555"/>
                  </a:lnTo>
                  <a:lnTo>
                    <a:pt x="66" y="555"/>
                  </a:lnTo>
                  <a:lnTo>
                    <a:pt x="66" y="557"/>
                  </a:lnTo>
                  <a:lnTo>
                    <a:pt x="69" y="557"/>
                  </a:lnTo>
                  <a:lnTo>
                    <a:pt x="66" y="552"/>
                  </a:lnTo>
                  <a:lnTo>
                    <a:pt x="66" y="552"/>
                  </a:lnTo>
                  <a:lnTo>
                    <a:pt x="66" y="552"/>
                  </a:lnTo>
                  <a:lnTo>
                    <a:pt x="66" y="550"/>
                  </a:lnTo>
                  <a:lnTo>
                    <a:pt x="66" y="550"/>
                  </a:lnTo>
                  <a:lnTo>
                    <a:pt x="66" y="550"/>
                  </a:lnTo>
                  <a:lnTo>
                    <a:pt x="66" y="550"/>
                  </a:lnTo>
                  <a:lnTo>
                    <a:pt x="69" y="550"/>
                  </a:lnTo>
                  <a:lnTo>
                    <a:pt x="69" y="548"/>
                  </a:lnTo>
                  <a:lnTo>
                    <a:pt x="69" y="548"/>
                  </a:lnTo>
                  <a:lnTo>
                    <a:pt x="71" y="550"/>
                  </a:lnTo>
                  <a:lnTo>
                    <a:pt x="74" y="550"/>
                  </a:lnTo>
                  <a:lnTo>
                    <a:pt x="74" y="548"/>
                  </a:lnTo>
                  <a:lnTo>
                    <a:pt x="74" y="548"/>
                  </a:lnTo>
                  <a:lnTo>
                    <a:pt x="76" y="548"/>
                  </a:lnTo>
                  <a:lnTo>
                    <a:pt x="74" y="545"/>
                  </a:lnTo>
                  <a:lnTo>
                    <a:pt x="74" y="543"/>
                  </a:lnTo>
                  <a:lnTo>
                    <a:pt x="76" y="543"/>
                  </a:lnTo>
                  <a:lnTo>
                    <a:pt x="76" y="545"/>
                  </a:lnTo>
                  <a:lnTo>
                    <a:pt x="76" y="543"/>
                  </a:lnTo>
                  <a:lnTo>
                    <a:pt x="78" y="545"/>
                  </a:lnTo>
                  <a:lnTo>
                    <a:pt x="78" y="543"/>
                  </a:lnTo>
                  <a:lnTo>
                    <a:pt x="78" y="543"/>
                  </a:lnTo>
                  <a:lnTo>
                    <a:pt x="78" y="541"/>
                  </a:lnTo>
                  <a:lnTo>
                    <a:pt x="78" y="541"/>
                  </a:lnTo>
                  <a:lnTo>
                    <a:pt x="78" y="541"/>
                  </a:lnTo>
                  <a:lnTo>
                    <a:pt x="78" y="538"/>
                  </a:lnTo>
                  <a:lnTo>
                    <a:pt x="81" y="538"/>
                  </a:lnTo>
                  <a:lnTo>
                    <a:pt x="81" y="538"/>
                  </a:lnTo>
                  <a:lnTo>
                    <a:pt x="83" y="536"/>
                  </a:lnTo>
                  <a:lnTo>
                    <a:pt x="83" y="536"/>
                  </a:lnTo>
                  <a:lnTo>
                    <a:pt x="83" y="533"/>
                  </a:lnTo>
                  <a:lnTo>
                    <a:pt x="81" y="533"/>
                  </a:lnTo>
                  <a:lnTo>
                    <a:pt x="83" y="533"/>
                  </a:lnTo>
                  <a:lnTo>
                    <a:pt x="81" y="531"/>
                  </a:lnTo>
                  <a:lnTo>
                    <a:pt x="81" y="533"/>
                  </a:lnTo>
                  <a:lnTo>
                    <a:pt x="81" y="531"/>
                  </a:lnTo>
                  <a:lnTo>
                    <a:pt x="81" y="531"/>
                  </a:lnTo>
                  <a:lnTo>
                    <a:pt x="78" y="529"/>
                  </a:lnTo>
                  <a:lnTo>
                    <a:pt x="78" y="529"/>
                  </a:lnTo>
                  <a:lnTo>
                    <a:pt x="78" y="526"/>
                  </a:lnTo>
                  <a:lnTo>
                    <a:pt x="78" y="526"/>
                  </a:lnTo>
                  <a:lnTo>
                    <a:pt x="76" y="526"/>
                  </a:lnTo>
                  <a:lnTo>
                    <a:pt x="74" y="526"/>
                  </a:lnTo>
                  <a:lnTo>
                    <a:pt x="71" y="524"/>
                  </a:lnTo>
                  <a:lnTo>
                    <a:pt x="71" y="524"/>
                  </a:lnTo>
                  <a:lnTo>
                    <a:pt x="74" y="522"/>
                  </a:lnTo>
                  <a:lnTo>
                    <a:pt x="71" y="522"/>
                  </a:lnTo>
                  <a:lnTo>
                    <a:pt x="71" y="519"/>
                  </a:lnTo>
                  <a:lnTo>
                    <a:pt x="71" y="519"/>
                  </a:lnTo>
                  <a:lnTo>
                    <a:pt x="74" y="517"/>
                  </a:lnTo>
                  <a:lnTo>
                    <a:pt x="74" y="515"/>
                  </a:lnTo>
                  <a:lnTo>
                    <a:pt x="74" y="515"/>
                  </a:lnTo>
                  <a:lnTo>
                    <a:pt x="71" y="515"/>
                  </a:lnTo>
                  <a:lnTo>
                    <a:pt x="74" y="512"/>
                  </a:lnTo>
                  <a:lnTo>
                    <a:pt x="74" y="512"/>
                  </a:lnTo>
                  <a:lnTo>
                    <a:pt x="74" y="510"/>
                  </a:lnTo>
                  <a:lnTo>
                    <a:pt x="76" y="510"/>
                  </a:lnTo>
                  <a:lnTo>
                    <a:pt x="76" y="510"/>
                  </a:lnTo>
                  <a:lnTo>
                    <a:pt x="76" y="510"/>
                  </a:lnTo>
                  <a:lnTo>
                    <a:pt x="78" y="510"/>
                  </a:lnTo>
                  <a:lnTo>
                    <a:pt x="81" y="510"/>
                  </a:lnTo>
                  <a:lnTo>
                    <a:pt x="83" y="507"/>
                  </a:lnTo>
                  <a:lnTo>
                    <a:pt x="85" y="507"/>
                  </a:lnTo>
                  <a:lnTo>
                    <a:pt x="85" y="507"/>
                  </a:lnTo>
                  <a:lnTo>
                    <a:pt x="85" y="505"/>
                  </a:lnTo>
                  <a:lnTo>
                    <a:pt x="85" y="505"/>
                  </a:lnTo>
                  <a:lnTo>
                    <a:pt x="88" y="507"/>
                  </a:lnTo>
                  <a:lnTo>
                    <a:pt x="90" y="507"/>
                  </a:lnTo>
                  <a:lnTo>
                    <a:pt x="90" y="507"/>
                  </a:lnTo>
                  <a:lnTo>
                    <a:pt x="90" y="505"/>
                  </a:lnTo>
                  <a:lnTo>
                    <a:pt x="88" y="503"/>
                  </a:lnTo>
                  <a:lnTo>
                    <a:pt x="88" y="503"/>
                  </a:lnTo>
                  <a:lnTo>
                    <a:pt x="90" y="503"/>
                  </a:lnTo>
                  <a:lnTo>
                    <a:pt x="90" y="503"/>
                  </a:lnTo>
                  <a:lnTo>
                    <a:pt x="90" y="498"/>
                  </a:lnTo>
                  <a:lnTo>
                    <a:pt x="90" y="496"/>
                  </a:lnTo>
                  <a:lnTo>
                    <a:pt x="90" y="493"/>
                  </a:lnTo>
                  <a:lnTo>
                    <a:pt x="92" y="493"/>
                  </a:lnTo>
                  <a:lnTo>
                    <a:pt x="92" y="491"/>
                  </a:lnTo>
                  <a:lnTo>
                    <a:pt x="95" y="491"/>
                  </a:lnTo>
                  <a:lnTo>
                    <a:pt x="95" y="491"/>
                  </a:lnTo>
                  <a:lnTo>
                    <a:pt x="97" y="491"/>
                  </a:lnTo>
                  <a:lnTo>
                    <a:pt x="97" y="491"/>
                  </a:lnTo>
                  <a:lnTo>
                    <a:pt x="100" y="489"/>
                  </a:lnTo>
                  <a:lnTo>
                    <a:pt x="102" y="489"/>
                  </a:lnTo>
                  <a:lnTo>
                    <a:pt x="104" y="486"/>
                  </a:lnTo>
                  <a:lnTo>
                    <a:pt x="109" y="484"/>
                  </a:lnTo>
                  <a:lnTo>
                    <a:pt x="111" y="486"/>
                  </a:lnTo>
                  <a:lnTo>
                    <a:pt x="111" y="484"/>
                  </a:lnTo>
                  <a:lnTo>
                    <a:pt x="114" y="484"/>
                  </a:lnTo>
                  <a:lnTo>
                    <a:pt x="114" y="484"/>
                  </a:lnTo>
                  <a:lnTo>
                    <a:pt x="114" y="484"/>
                  </a:lnTo>
                  <a:lnTo>
                    <a:pt x="118" y="482"/>
                  </a:lnTo>
                  <a:lnTo>
                    <a:pt x="118" y="482"/>
                  </a:lnTo>
                  <a:lnTo>
                    <a:pt x="118" y="479"/>
                  </a:lnTo>
                  <a:lnTo>
                    <a:pt x="118" y="477"/>
                  </a:lnTo>
                  <a:lnTo>
                    <a:pt x="118" y="477"/>
                  </a:lnTo>
                  <a:lnTo>
                    <a:pt x="121" y="474"/>
                  </a:lnTo>
                  <a:lnTo>
                    <a:pt x="121" y="472"/>
                  </a:lnTo>
                  <a:lnTo>
                    <a:pt x="123" y="472"/>
                  </a:lnTo>
                  <a:lnTo>
                    <a:pt x="123" y="467"/>
                  </a:lnTo>
                  <a:lnTo>
                    <a:pt x="126" y="465"/>
                  </a:lnTo>
                  <a:lnTo>
                    <a:pt x="126" y="465"/>
                  </a:lnTo>
                  <a:lnTo>
                    <a:pt x="128" y="465"/>
                  </a:lnTo>
                  <a:lnTo>
                    <a:pt x="128" y="460"/>
                  </a:lnTo>
                  <a:lnTo>
                    <a:pt x="128" y="458"/>
                  </a:lnTo>
                  <a:lnTo>
                    <a:pt x="130" y="458"/>
                  </a:lnTo>
                  <a:lnTo>
                    <a:pt x="133" y="458"/>
                  </a:lnTo>
                  <a:lnTo>
                    <a:pt x="135" y="458"/>
                  </a:lnTo>
                  <a:lnTo>
                    <a:pt x="142" y="458"/>
                  </a:lnTo>
                  <a:lnTo>
                    <a:pt x="147" y="458"/>
                  </a:lnTo>
                  <a:lnTo>
                    <a:pt x="147" y="458"/>
                  </a:lnTo>
                  <a:lnTo>
                    <a:pt x="147" y="458"/>
                  </a:lnTo>
                  <a:lnTo>
                    <a:pt x="149" y="458"/>
                  </a:lnTo>
                  <a:lnTo>
                    <a:pt x="152" y="458"/>
                  </a:lnTo>
                  <a:lnTo>
                    <a:pt x="159" y="458"/>
                  </a:lnTo>
                  <a:lnTo>
                    <a:pt x="159" y="456"/>
                  </a:lnTo>
                  <a:lnTo>
                    <a:pt x="161" y="451"/>
                  </a:lnTo>
                  <a:lnTo>
                    <a:pt x="163" y="451"/>
                  </a:lnTo>
                  <a:lnTo>
                    <a:pt x="166" y="451"/>
                  </a:lnTo>
                  <a:lnTo>
                    <a:pt x="166" y="451"/>
                  </a:lnTo>
                  <a:lnTo>
                    <a:pt x="166" y="448"/>
                  </a:lnTo>
                  <a:lnTo>
                    <a:pt x="166" y="448"/>
                  </a:lnTo>
                  <a:lnTo>
                    <a:pt x="170" y="448"/>
                  </a:lnTo>
                  <a:lnTo>
                    <a:pt x="173" y="451"/>
                  </a:lnTo>
                  <a:lnTo>
                    <a:pt x="175" y="448"/>
                  </a:lnTo>
                  <a:lnTo>
                    <a:pt x="175" y="446"/>
                  </a:lnTo>
                  <a:lnTo>
                    <a:pt x="177" y="444"/>
                  </a:lnTo>
                  <a:lnTo>
                    <a:pt x="177" y="441"/>
                  </a:lnTo>
                  <a:lnTo>
                    <a:pt x="182" y="439"/>
                  </a:lnTo>
                  <a:lnTo>
                    <a:pt x="185" y="437"/>
                  </a:lnTo>
                  <a:lnTo>
                    <a:pt x="185" y="434"/>
                  </a:lnTo>
                  <a:lnTo>
                    <a:pt x="189" y="427"/>
                  </a:lnTo>
                  <a:lnTo>
                    <a:pt x="189" y="427"/>
                  </a:lnTo>
                  <a:lnTo>
                    <a:pt x="192" y="422"/>
                  </a:lnTo>
                  <a:lnTo>
                    <a:pt x="192" y="422"/>
                  </a:lnTo>
                  <a:lnTo>
                    <a:pt x="187" y="415"/>
                  </a:lnTo>
                  <a:lnTo>
                    <a:pt x="187" y="413"/>
                  </a:lnTo>
                  <a:lnTo>
                    <a:pt x="187" y="413"/>
                  </a:lnTo>
                  <a:lnTo>
                    <a:pt x="187" y="411"/>
                  </a:lnTo>
                  <a:lnTo>
                    <a:pt x="189" y="411"/>
                  </a:lnTo>
                  <a:lnTo>
                    <a:pt x="192" y="413"/>
                  </a:lnTo>
                  <a:lnTo>
                    <a:pt x="192" y="413"/>
                  </a:lnTo>
                  <a:lnTo>
                    <a:pt x="194" y="413"/>
                  </a:lnTo>
                  <a:lnTo>
                    <a:pt x="194" y="413"/>
                  </a:lnTo>
                  <a:lnTo>
                    <a:pt x="194" y="411"/>
                  </a:lnTo>
                  <a:lnTo>
                    <a:pt x="194" y="408"/>
                  </a:lnTo>
                  <a:lnTo>
                    <a:pt x="194" y="408"/>
                  </a:lnTo>
                  <a:lnTo>
                    <a:pt x="196" y="406"/>
                  </a:lnTo>
                  <a:lnTo>
                    <a:pt x="196" y="406"/>
                  </a:lnTo>
                  <a:lnTo>
                    <a:pt x="196" y="404"/>
                  </a:lnTo>
                  <a:lnTo>
                    <a:pt x="196" y="404"/>
                  </a:lnTo>
                  <a:lnTo>
                    <a:pt x="196" y="401"/>
                  </a:lnTo>
                  <a:lnTo>
                    <a:pt x="199" y="399"/>
                  </a:lnTo>
                  <a:lnTo>
                    <a:pt x="199" y="399"/>
                  </a:lnTo>
                  <a:lnTo>
                    <a:pt x="196" y="396"/>
                  </a:lnTo>
                  <a:lnTo>
                    <a:pt x="196" y="394"/>
                  </a:lnTo>
                  <a:lnTo>
                    <a:pt x="201" y="389"/>
                  </a:lnTo>
                  <a:lnTo>
                    <a:pt x="201" y="389"/>
                  </a:lnTo>
                  <a:lnTo>
                    <a:pt x="199" y="387"/>
                  </a:lnTo>
                  <a:lnTo>
                    <a:pt x="199" y="382"/>
                  </a:lnTo>
                  <a:lnTo>
                    <a:pt x="201" y="380"/>
                  </a:lnTo>
                  <a:lnTo>
                    <a:pt x="201" y="380"/>
                  </a:lnTo>
                  <a:lnTo>
                    <a:pt x="203" y="378"/>
                  </a:lnTo>
                  <a:lnTo>
                    <a:pt x="203" y="375"/>
                  </a:lnTo>
                  <a:lnTo>
                    <a:pt x="203" y="375"/>
                  </a:lnTo>
                  <a:lnTo>
                    <a:pt x="201" y="373"/>
                  </a:lnTo>
                  <a:lnTo>
                    <a:pt x="201" y="370"/>
                  </a:lnTo>
                  <a:lnTo>
                    <a:pt x="203" y="368"/>
                  </a:lnTo>
                  <a:lnTo>
                    <a:pt x="203" y="366"/>
                  </a:lnTo>
                  <a:lnTo>
                    <a:pt x="206" y="363"/>
                  </a:lnTo>
                  <a:lnTo>
                    <a:pt x="211" y="363"/>
                  </a:lnTo>
                  <a:lnTo>
                    <a:pt x="211" y="363"/>
                  </a:lnTo>
                  <a:lnTo>
                    <a:pt x="213" y="356"/>
                  </a:lnTo>
                  <a:lnTo>
                    <a:pt x="215" y="356"/>
                  </a:lnTo>
                  <a:lnTo>
                    <a:pt x="218" y="352"/>
                  </a:lnTo>
                  <a:lnTo>
                    <a:pt x="220" y="349"/>
                  </a:lnTo>
                  <a:lnTo>
                    <a:pt x="220" y="349"/>
                  </a:lnTo>
                  <a:lnTo>
                    <a:pt x="225" y="349"/>
                  </a:lnTo>
                  <a:lnTo>
                    <a:pt x="227" y="347"/>
                  </a:lnTo>
                  <a:lnTo>
                    <a:pt x="229" y="347"/>
                  </a:lnTo>
                  <a:lnTo>
                    <a:pt x="229" y="347"/>
                  </a:lnTo>
                  <a:lnTo>
                    <a:pt x="232" y="342"/>
                  </a:lnTo>
                  <a:lnTo>
                    <a:pt x="234" y="342"/>
                  </a:lnTo>
                  <a:lnTo>
                    <a:pt x="239" y="345"/>
                  </a:lnTo>
                  <a:lnTo>
                    <a:pt x="241" y="342"/>
                  </a:lnTo>
                  <a:lnTo>
                    <a:pt x="241" y="340"/>
                  </a:lnTo>
                  <a:lnTo>
                    <a:pt x="244" y="337"/>
                  </a:lnTo>
                  <a:lnTo>
                    <a:pt x="244" y="337"/>
                  </a:lnTo>
                  <a:lnTo>
                    <a:pt x="248" y="340"/>
                  </a:lnTo>
                  <a:lnTo>
                    <a:pt x="248" y="345"/>
                  </a:lnTo>
                  <a:lnTo>
                    <a:pt x="248" y="347"/>
                  </a:lnTo>
                  <a:lnTo>
                    <a:pt x="251" y="347"/>
                  </a:lnTo>
                  <a:lnTo>
                    <a:pt x="255" y="347"/>
                  </a:lnTo>
                  <a:lnTo>
                    <a:pt x="260" y="342"/>
                  </a:lnTo>
                  <a:lnTo>
                    <a:pt x="267" y="340"/>
                  </a:lnTo>
                  <a:lnTo>
                    <a:pt x="267" y="337"/>
                  </a:lnTo>
                  <a:lnTo>
                    <a:pt x="270" y="335"/>
                  </a:lnTo>
                  <a:lnTo>
                    <a:pt x="270" y="335"/>
                  </a:lnTo>
                  <a:lnTo>
                    <a:pt x="274" y="330"/>
                  </a:lnTo>
                  <a:lnTo>
                    <a:pt x="277" y="330"/>
                  </a:lnTo>
                  <a:lnTo>
                    <a:pt x="277" y="330"/>
                  </a:lnTo>
                  <a:lnTo>
                    <a:pt x="274" y="328"/>
                  </a:lnTo>
                  <a:lnTo>
                    <a:pt x="274" y="326"/>
                  </a:lnTo>
                  <a:lnTo>
                    <a:pt x="274" y="323"/>
                  </a:lnTo>
                  <a:lnTo>
                    <a:pt x="274" y="321"/>
                  </a:lnTo>
                  <a:lnTo>
                    <a:pt x="277" y="316"/>
                  </a:lnTo>
                  <a:lnTo>
                    <a:pt x="279" y="316"/>
                  </a:lnTo>
                  <a:lnTo>
                    <a:pt x="281" y="314"/>
                  </a:lnTo>
                  <a:lnTo>
                    <a:pt x="279" y="311"/>
                  </a:lnTo>
                  <a:lnTo>
                    <a:pt x="279" y="309"/>
                  </a:lnTo>
                  <a:lnTo>
                    <a:pt x="279" y="307"/>
                  </a:lnTo>
                  <a:lnTo>
                    <a:pt x="281" y="307"/>
                  </a:lnTo>
                  <a:lnTo>
                    <a:pt x="281" y="304"/>
                  </a:lnTo>
                  <a:lnTo>
                    <a:pt x="284" y="302"/>
                  </a:lnTo>
                  <a:lnTo>
                    <a:pt x="284" y="302"/>
                  </a:lnTo>
                  <a:lnTo>
                    <a:pt x="281" y="300"/>
                  </a:lnTo>
                  <a:lnTo>
                    <a:pt x="284" y="297"/>
                  </a:lnTo>
                  <a:lnTo>
                    <a:pt x="284" y="297"/>
                  </a:lnTo>
                  <a:lnTo>
                    <a:pt x="286" y="290"/>
                  </a:lnTo>
                  <a:lnTo>
                    <a:pt x="286" y="288"/>
                  </a:lnTo>
                  <a:lnTo>
                    <a:pt x="291" y="281"/>
                  </a:lnTo>
                  <a:lnTo>
                    <a:pt x="289" y="276"/>
                  </a:lnTo>
                  <a:lnTo>
                    <a:pt x="291" y="274"/>
                  </a:lnTo>
                  <a:lnTo>
                    <a:pt x="289" y="271"/>
                  </a:lnTo>
                  <a:lnTo>
                    <a:pt x="289" y="271"/>
                  </a:lnTo>
                  <a:lnTo>
                    <a:pt x="289" y="269"/>
                  </a:lnTo>
                  <a:lnTo>
                    <a:pt x="286" y="267"/>
                  </a:lnTo>
                  <a:lnTo>
                    <a:pt x="286" y="264"/>
                  </a:lnTo>
                  <a:lnTo>
                    <a:pt x="289" y="262"/>
                  </a:lnTo>
                  <a:lnTo>
                    <a:pt x="289" y="262"/>
                  </a:lnTo>
                  <a:lnTo>
                    <a:pt x="286" y="257"/>
                  </a:lnTo>
                  <a:lnTo>
                    <a:pt x="289" y="257"/>
                  </a:lnTo>
                  <a:lnTo>
                    <a:pt x="289" y="255"/>
                  </a:lnTo>
                  <a:lnTo>
                    <a:pt x="289" y="250"/>
                  </a:lnTo>
                  <a:lnTo>
                    <a:pt x="289" y="248"/>
                  </a:lnTo>
                  <a:lnTo>
                    <a:pt x="291" y="243"/>
                  </a:lnTo>
                  <a:lnTo>
                    <a:pt x="293" y="238"/>
                  </a:lnTo>
                  <a:lnTo>
                    <a:pt x="296" y="236"/>
                  </a:lnTo>
                  <a:lnTo>
                    <a:pt x="298" y="233"/>
                  </a:lnTo>
                  <a:lnTo>
                    <a:pt x="298" y="231"/>
                  </a:lnTo>
                  <a:lnTo>
                    <a:pt x="296" y="226"/>
                  </a:lnTo>
                  <a:lnTo>
                    <a:pt x="296" y="226"/>
                  </a:lnTo>
                  <a:lnTo>
                    <a:pt x="298" y="226"/>
                  </a:lnTo>
                  <a:lnTo>
                    <a:pt x="298" y="226"/>
                  </a:lnTo>
                  <a:lnTo>
                    <a:pt x="300" y="226"/>
                  </a:lnTo>
                  <a:lnTo>
                    <a:pt x="303" y="226"/>
                  </a:lnTo>
                  <a:lnTo>
                    <a:pt x="305" y="224"/>
                  </a:lnTo>
                  <a:lnTo>
                    <a:pt x="307" y="224"/>
                  </a:lnTo>
                  <a:lnTo>
                    <a:pt x="307" y="219"/>
                  </a:lnTo>
                  <a:lnTo>
                    <a:pt x="305" y="215"/>
                  </a:lnTo>
                  <a:lnTo>
                    <a:pt x="305" y="210"/>
                  </a:lnTo>
                  <a:lnTo>
                    <a:pt x="303" y="207"/>
                  </a:lnTo>
                  <a:lnTo>
                    <a:pt x="303" y="205"/>
                  </a:lnTo>
                  <a:lnTo>
                    <a:pt x="305" y="203"/>
                  </a:lnTo>
                  <a:lnTo>
                    <a:pt x="305" y="200"/>
                  </a:lnTo>
                  <a:lnTo>
                    <a:pt x="305" y="198"/>
                  </a:lnTo>
                  <a:lnTo>
                    <a:pt x="305" y="196"/>
                  </a:lnTo>
                  <a:lnTo>
                    <a:pt x="305" y="196"/>
                  </a:lnTo>
                  <a:lnTo>
                    <a:pt x="305" y="193"/>
                  </a:lnTo>
                  <a:lnTo>
                    <a:pt x="305" y="191"/>
                  </a:lnTo>
                  <a:lnTo>
                    <a:pt x="305" y="189"/>
                  </a:lnTo>
                  <a:lnTo>
                    <a:pt x="305" y="186"/>
                  </a:lnTo>
                  <a:lnTo>
                    <a:pt x="305" y="184"/>
                  </a:lnTo>
                  <a:lnTo>
                    <a:pt x="305" y="179"/>
                  </a:lnTo>
                  <a:lnTo>
                    <a:pt x="303" y="177"/>
                  </a:lnTo>
                  <a:lnTo>
                    <a:pt x="303" y="174"/>
                  </a:lnTo>
                  <a:lnTo>
                    <a:pt x="305" y="174"/>
                  </a:lnTo>
                  <a:lnTo>
                    <a:pt x="305" y="174"/>
                  </a:lnTo>
                  <a:lnTo>
                    <a:pt x="307" y="172"/>
                  </a:lnTo>
                  <a:lnTo>
                    <a:pt x="307" y="174"/>
                  </a:lnTo>
                  <a:lnTo>
                    <a:pt x="312" y="170"/>
                  </a:lnTo>
                  <a:lnTo>
                    <a:pt x="312" y="165"/>
                  </a:lnTo>
                  <a:lnTo>
                    <a:pt x="315" y="160"/>
                  </a:lnTo>
                  <a:lnTo>
                    <a:pt x="315" y="158"/>
                  </a:lnTo>
                  <a:lnTo>
                    <a:pt x="317" y="151"/>
                  </a:lnTo>
                  <a:lnTo>
                    <a:pt x="319" y="146"/>
                  </a:lnTo>
                  <a:lnTo>
                    <a:pt x="322" y="144"/>
                  </a:lnTo>
                  <a:lnTo>
                    <a:pt x="324" y="141"/>
                  </a:lnTo>
                  <a:lnTo>
                    <a:pt x="326" y="139"/>
                  </a:lnTo>
                  <a:lnTo>
                    <a:pt x="329" y="137"/>
                  </a:lnTo>
                  <a:lnTo>
                    <a:pt x="329" y="137"/>
                  </a:lnTo>
                  <a:lnTo>
                    <a:pt x="329" y="132"/>
                  </a:lnTo>
                  <a:lnTo>
                    <a:pt x="329" y="130"/>
                  </a:lnTo>
                  <a:lnTo>
                    <a:pt x="331" y="127"/>
                  </a:lnTo>
                  <a:lnTo>
                    <a:pt x="331" y="125"/>
                  </a:lnTo>
                  <a:lnTo>
                    <a:pt x="333" y="125"/>
                  </a:lnTo>
                  <a:lnTo>
                    <a:pt x="336" y="122"/>
                  </a:lnTo>
                  <a:lnTo>
                    <a:pt x="336" y="120"/>
                  </a:lnTo>
                  <a:lnTo>
                    <a:pt x="336" y="115"/>
                  </a:lnTo>
                  <a:lnTo>
                    <a:pt x="338" y="115"/>
                  </a:lnTo>
                  <a:lnTo>
                    <a:pt x="338" y="113"/>
                  </a:lnTo>
                  <a:lnTo>
                    <a:pt x="338" y="108"/>
                  </a:lnTo>
                  <a:lnTo>
                    <a:pt x="338" y="108"/>
                  </a:lnTo>
                  <a:lnTo>
                    <a:pt x="338" y="106"/>
                  </a:lnTo>
                  <a:lnTo>
                    <a:pt x="336" y="106"/>
                  </a:lnTo>
                  <a:lnTo>
                    <a:pt x="338" y="104"/>
                  </a:lnTo>
                  <a:lnTo>
                    <a:pt x="338" y="101"/>
                  </a:lnTo>
                  <a:lnTo>
                    <a:pt x="338" y="99"/>
                  </a:lnTo>
                  <a:lnTo>
                    <a:pt x="338" y="94"/>
                  </a:lnTo>
                  <a:lnTo>
                    <a:pt x="338" y="92"/>
                  </a:lnTo>
                  <a:lnTo>
                    <a:pt x="338" y="92"/>
                  </a:lnTo>
                  <a:lnTo>
                    <a:pt x="336" y="89"/>
                  </a:lnTo>
                  <a:lnTo>
                    <a:pt x="336" y="87"/>
                  </a:lnTo>
                  <a:lnTo>
                    <a:pt x="340" y="87"/>
                  </a:lnTo>
                  <a:lnTo>
                    <a:pt x="340" y="85"/>
                  </a:lnTo>
                  <a:lnTo>
                    <a:pt x="340" y="85"/>
                  </a:lnTo>
                  <a:lnTo>
                    <a:pt x="338" y="82"/>
                  </a:lnTo>
                  <a:lnTo>
                    <a:pt x="338" y="80"/>
                  </a:lnTo>
                  <a:lnTo>
                    <a:pt x="340" y="80"/>
                  </a:lnTo>
                  <a:lnTo>
                    <a:pt x="340" y="80"/>
                  </a:lnTo>
                  <a:lnTo>
                    <a:pt x="343" y="80"/>
                  </a:lnTo>
                  <a:lnTo>
                    <a:pt x="343" y="78"/>
                  </a:lnTo>
                  <a:lnTo>
                    <a:pt x="348" y="78"/>
                  </a:lnTo>
                  <a:lnTo>
                    <a:pt x="348" y="73"/>
                  </a:lnTo>
                  <a:lnTo>
                    <a:pt x="348" y="70"/>
                  </a:lnTo>
                  <a:lnTo>
                    <a:pt x="348" y="68"/>
                  </a:lnTo>
                  <a:lnTo>
                    <a:pt x="350" y="66"/>
                  </a:lnTo>
                  <a:lnTo>
                    <a:pt x="350" y="63"/>
                  </a:lnTo>
                  <a:lnTo>
                    <a:pt x="348" y="61"/>
                  </a:lnTo>
                  <a:lnTo>
                    <a:pt x="350" y="59"/>
                  </a:lnTo>
                  <a:lnTo>
                    <a:pt x="350" y="59"/>
                  </a:lnTo>
                  <a:lnTo>
                    <a:pt x="350" y="56"/>
                  </a:lnTo>
                  <a:lnTo>
                    <a:pt x="350" y="56"/>
                  </a:lnTo>
                  <a:lnTo>
                    <a:pt x="352" y="56"/>
                  </a:lnTo>
                  <a:lnTo>
                    <a:pt x="350" y="52"/>
                  </a:lnTo>
                  <a:lnTo>
                    <a:pt x="352" y="52"/>
                  </a:lnTo>
                  <a:lnTo>
                    <a:pt x="352" y="52"/>
                  </a:lnTo>
                  <a:lnTo>
                    <a:pt x="352" y="49"/>
                  </a:lnTo>
                  <a:lnTo>
                    <a:pt x="352" y="49"/>
                  </a:lnTo>
                  <a:lnTo>
                    <a:pt x="352" y="49"/>
                  </a:lnTo>
                  <a:lnTo>
                    <a:pt x="352" y="47"/>
                  </a:lnTo>
                  <a:lnTo>
                    <a:pt x="352" y="47"/>
                  </a:lnTo>
                  <a:lnTo>
                    <a:pt x="352" y="45"/>
                  </a:lnTo>
                  <a:lnTo>
                    <a:pt x="355" y="45"/>
                  </a:lnTo>
                  <a:lnTo>
                    <a:pt x="352" y="45"/>
                  </a:lnTo>
                  <a:lnTo>
                    <a:pt x="352" y="42"/>
                  </a:lnTo>
                  <a:lnTo>
                    <a:pt x="352" y="42"/>
                  </a:lnTo>
                  <a:lnTo>
                    <a:pt x="355" y="42"/>
                  </a:lnTo>
                  <a:lnTo>
                    <a:pt x="355" y="40"/>
                  </a:lnTo>
                  <a:lnTo>
                    <a:pt x="357" y="40"/>
                  </a:lnTo>
                  <a:lnTo>
                    <a:pt x="357" y="40"/>
                  </a:lnTo>
                  <a:lnTo>
                    <a:pt x="359" y="40"/>
                  </a:lnTo>
                  <a:lnTo>
                    <a:pt x="357" y="37"/>
                  </a:lnTo>
                  <a:lnTo>
                    <a:pt x="359" y="37"/>
                  </a:lnTo>
                  <a:lnTo>
                    <a:pt x="357" y="35"/>
                  </a:lnTo>
                  <a:lnTo>
                    <a:pt x="359" y="35"/>
                  </a:lnTo>
                  <a:lnTo>
                    <a:pt x="359" y="35"/>
                  </a:lnTo>
                  <a:lnTo>
                    <a:pt x="357" y="35"/>
                  </a:lnTo>
                  <a:lnTo>
                    <a:pt x="357" y="35"/>
                  </a:lnTo>
                  <a:lnTo>
                    <a:pt x="357" y="35"/>
                  </a:lnTo>
                  <a:lnTo>
                    <a:pt x="359" y="33"/>
                  </a:lnTo>
                  <a:lnTo>
                    <a:pt x="359" y="35"/>
                  </a:lnTo>
                  <a:lnTo>
                    <a:pt x="362" y="33"/>
                  </a:lnTo>
                  <a:lnTo>
                    <a:pt x="359" y="30"/>
                  </a:lnTo>
                  <a:lnTo>
                    <a:pt x="362" y="30"/>
                  </a:lnTo>
                  <a:lnTo>
                    <a:pt x="362" y="30"/>
                  </a:lnTo>
                  <a:lnTo>
                    <a:pt x="364" y="28"/>
                  </a:lnTo>
                  <a:lnTo>
                    <a:pt x="362" y="28"/>
                  </a:lnTo>
                  <a:lnTo>
                    <a:pt x="364" y="26"/>
                  </a:lnTo>
                  <a:lnTo>
                    <a:pt x="364" y="26"/>
                  </a:lnTo>
                  <a:lnTo>
                    <a:pt x="366" y="26"/>
                  </a:lnTo>
                  <a:lnTo>
                    <a:pt x="366" y="23"/>
                  </a:lnTo>
                  <a:lnTo>
                    <a:pt x="366" y="23"/>
                  </a:lnTo>
                  <a:lnTo>
                    <a:pt x="366" y="21"/>
                  </a:lnTo>
                  <a:lnTo>
                    <a:pt x="366" y="21"/>
                  </a:lnTo>
                  <a:lnTo>
                    <a:pt x="366" y="21"/>
                  </a:lnTo>
                  <a:lnTo>
                    <a:pt x="369" y="21"/>
                  </a:lnTo>
                  <a:lnTo>
                    <a:pt x="369" y="19"/>
                  </a:lnTo>
                  <a:lnTo>
                    <a:pt x="369" y="19"/>
                  </a:lnTo>
                  <a:lnTo>
                    <a:pt x="371" y="19"/>
                  </a:lnTo>
                  <a:lnTo>
                    <a:pt x="371" y="19"/>
                  </a:lnTo>
                  <a:lnTo>
                    <a:pt x="371" y="16"/>
                  </a:lnTo>
                  <a:lnTo>
                    <a:pt x="371" y="16"/>
                  </a:lnTo>
                  <a:lnTo>
                    <a:pt x="374" y="19"/>
                  </a:lnTo>
                  <a:lnTo>
                    <a:pt x="374" y="16"/>
                  </a:lnTo>
                  <a:lnTo>
                    <a:pt x="371" y="16"/>
                  </a:lnTo>
                  <a:lnTo>
                    <a:pt x="371" y="16"/>
                  </a:lnTo>
                  <a:lnTo>
                    <a:pt x="374" y="14"/>
                  </a:lnTo>
                  <a:lnTo>
                    <a:pt x="376" y="14"/>
                  </a:lnTo>
                  <a:lnTo>
                    <a:pt x="376" y="11"/>
                  </a:lnTo>
                  <a:lnTo>
                    <a:pt x="378" y="11"/>
                  </a:lnTo>
                  <a:lnTo>
                    <a:pt x="381" y="11"/>
                  </a:lnTo>
                  <a:lnTo>
                    <a:pt x="381" y="9"/>
                  </a:lnTo>
                  <a:lnTo>
                    <a:pt x="383" y="9"/>
                  </a:lnTo>
                  <a:lnTo>
                    <a:pt x="385" y="7"/>
                  </a:lnTo>
                  <a:lnTo>
                    <a:pt x="388" y="7"/>
                  </a:lnTo>
                  <a:lnTo>
                    <a:pt x="385" y="7"/>
                  </a:lnTo>
                  <a:lnTo>
                    <a:pt x="385" y="7"/>
                  </a:lnTo>
                  <a:lnTo>
                    <a:pt x="388" y="7"/>
                  </a:lnTo>
                  <a:lnTo>
                    <a:pt x="390" y="7"/>
                  </a:lnTo>
                  <a:lnTo>
                    <a:pt x="390" y="4"/>
                  </a:lnTo>
                  <a:lnTo>
                    <a:pt x="388" y="4"/>
                  </a:lnTo>
                  <a:lnTo>
                    <a:pt x="388" y="4"/>
                  </a:lnTo>
                  <a:lnTo>
                    <a:pt x="388" y="4"/>
                  </a:lnTo>
                  <a:lnTo>
                    <a:pt x="388" y="4"/>
                  </a:lnTo>
                  <a:lnTo>
                    <a:pt x="390" y="4"/>
                  </a:lnTo>
                  <a:lnTo>
                    <a:pt x="390" y="4"/>
                  </a:lnTo>
                  <a:lnTo>
                    <a:pt x="390" y="4"/>
                  </a:lnTo>
                  <a:lnTo>
                    <a:pt x="390" y="2"/>
                  </a:lnTo>
                  <a:lnTo>
                    <a:pt x="395" y="0"/>
                  </a:lnTo>
                  <a:lnTo>
                    <a:pt x="392" y="4"/>
                  </a:lnTo>
                  <a:lnTo>
                    <a:pt x="392" y="7"/>
                  </a:lnTo>
                  <a:lnTo>
                    <a:pt x="392" y="7"/>
                  </a:lnTo>
                  <a:lnTo>
                    <a:pt x="392" y="7"/>
                  </a:lnTo>
                  <a:lnTo>
                    <a:pt x="390" y="7"/>
                  </a:lnTo>
                  <a:lnTo>
                    <a:pt x="390" y="7"/>
                  </a:lnTo>
                  <a:lnTo>
                    <a:pt x="390" y="9"/>
                  </a:lnTo>
                  <a:lnTo>
                    <a:pt x="388" y="9"/>
                  </a:lnTo>
                  <a:lnTo>
                    <a:pt x="388" y="9"/>
                  </a:lnTo>
                  <a:lnTo>
                    <a:pt x="388" y="11"/>
                  </a:lnTo>
                  <a:lnTo>
                    <a:pt x="385" y="14"/>
                  </a:lnTo>
                  <a:lnTo>
                    <a:pt x="385" y="14"/>
                  </a:lnTo>
                  <a:lnTo>
                    <a:pt x="385" y="16"/>
                  </a:lnTo>
                  <a:lnTo>
                    <a:pt x="383" y="19"/>
                  </a:lnTo>
                  <a:lnTo>
                    <a:pt x="385" y="21"/>
                  </a:lnTo>
                  <a:lnTo>
                    <a:pt x="385" y="21"/>
                  </a:lnTo>
                  <a:lnTo>
                    <a:pt x="385" y="23"/>
                  </a:lnTo>
                  <a:lnTo>
                    <a:pt x="388" y="23"/>
                  </a:lnTo>
                  <a:lnTo>
                    <a:pt x="388" y="21"/>
                  </a:lnTo>
                  <a:lnTo>
                    <a:pt x="388" y="23"/>
                  </a:lnTo>
                  <a:lnTo>
                    <a:pt x="388" y="23"/>
                  </a:lnTo>
                  <a:lnTo>
                    <a:pt x="388" y="23"/>
                  </a:lnTo>
                  <a:lnTo>
                    <a:pt x="388" y="23"/>
                  </a:lnTo>
                  <a:lnTo>
                    <a:pt x="385" y="26"/>
                  </a:lnTo>
                  <a:lnTo>
                    <a:pt x="383" y="26"/>
                  </a:lnTo>
                  <a:lnTo>
                    <a:pt x="383" y="26"/>
                  </a:lnTo>
                  <a:lnTo>
                    <a:pt x="383" y="26"/>
                  </a:lnTo>
                  <a:lnTo>
                    <a:pt x="381" y="28"/>
                  </a:lnTo>
                  <a:lnTo>
                    <a:pt x="383" y="30"/>
                  </a:lnTo>
                  <a:lnTo>
                    <a:pt x="381" y="33"/>
                  </a:lnTo>
                  <a:lnTo>
                    <a:pt x="381" y="30"/>
                  </a:lnTo>
                  <a:lnTo>
                    <a:pt x="381" y="33"/>
                  </a:lnTo>
                  <a:lnTo>
                    <a:pt x="381" y="33"/>
                  </a:lnTo>
                  <a:lnTo>
                    <a:pt x="378" y="35"/>
                  </a:lnTo>
                  <a:lnTo>
                    <a:pt x="378" y="35"/>
                  </a:lnTo>
                  <a:lnTo>
                    <a:pt x="378" y="37"/>
                  </a:lnTo>
                  <a:lnTo>
                    <a:pt x="378" y="40"/>
                  </a:lnTo>
                  <a:lnTo>
                    <a:pt x="378" y="40"/>
                  </a:lnTo>
                  <a:lnTo>
                    <a:pt x="378" y="37"/>
                  </a:lnTo>
                  <a:lnTo>
                    <a:pt x="378" y="40"/>
                  </a:lnTo>
                  <a:lnTo>
                    <a:pt x="376" y="40"/>
                  </a:lnTo>
                  <a:lnTo>
                    <a:pt x="376" y="40"/>
                  </a:lnTo>
                  <a:lnTo>
                    <a:pt x="376" y="40"/>
                  </a:lnTo>
                  <a:lnTo>
                    <a:pt x="376" y="40"/>
                  </a:lnTo>
                  <a:lnTo>
                    <a:pt x="376" y="37"/>
                  </a:lnTo>
                  <a:lnTo>
                    <a:pt x="376" y="40"/>
                  </a:lnTo>
                  <a:lnTo>
                    <a:pt x="376" y="40"/>
                  </a:lnTo>
                  <a:lnTo>
                    <a:pt x="376" y="42"/>
                  </a:lnTo>
                  <a:lnTo>
                    <a:pt x="376" y="42"/>
                  </a:lnTo>
                  <a:lnTo>
                    <a:pt x="376" y="42"/>
                  </a:lnTo>
                  <a:lnTo>
                    <a:pt x="376" y="45"/>
                  </a:lnTo>
                  <a:lnTo>
                    <a:pt x="376" y="47"/>
                  </a:lnTo>
                  <a:lnTo>
                    <a:pt x="376" y="47"/>
                  </a:lnTo>
                  <a:lnTo>
                    <a:pt x="376" y="47"/>
                  </a:lnTo>
                  <a:lnTo>
                    <a:pt x="376" y="49"/>
                  </a:lnTo>
                  <a:lnTo>
                    <a:pt x="374" y="49"/>
                  </a:lnTo>
                  <a:lnTo>
                    <a:pt x="376" y="52"/>
                  </a:lnTo>
                  <a:lnTo>
                    <a:pt x="374" y="52"/>
                  </a:lnTo>
                  <a:lnTo>
                    <a:pt x="374" y="54"/>
                  </a:lnTo>
                  <a:lnTo>
                    <a:pt x="374" y="54"/>
                  </a:lnTo>
                  <a:lnTo>
                    <a:pt x="374" y="56"/>
                  </a:lnTo>
                  <a:lnTo>
                    <a:pt x="376" y="56"/>
                  </a:lnTo>
                  <a:lnTo>
                    <a:pt x="376" y="59"/>
                  </a:lnTo>
                  <a:lnTo>
                    <a:pt x="376" y="59"/>
                  </a:lnTo>
                  <a:lnTo>
                    <a:pt x="376" y="59"/>
                  </a:lnTo>
                  <a:lnTo>
                    <a:pt x="376" y="59"/>
                  </a:lnTo>
                  <a:lnTo>
                    <a:pt x="376" y="59"/>
                  </a:lnTo>
                  <a:lnTo>
                    <a:pt x="378" y="59"/>
                  </a:lnTo>
                  <a:lnTo>
                    <a:pt x="378" y="61"/>
                  </a:lnTo>
                  <a:lnTo>
                    <a:pt x="378" y="59"/>
                  </a:lnTo>
                  <a:lnTo>
                    <a:pt x="381" y="61"/>
                  </a:lnTo>
                  <a:lnTo>
                    <a:pt x="378" y="61"/>
                  </a:lnTo>
                  <a:lnTo>
                    <a:pt x="381" y="61"/>
                  </a:lnTo>
                  <a:lnTo>
                    <a:pt x="381" y="61"/>
                  </a:lnTo>
                  <a:lnTo>
                    <a:pt x="383" y="61"/>
                  </a:lnTo>
                  <a:lnTo>
                    <a:pt x="383" y="61"/>
                  </a:lnTo>
                  <a:lnTo>
                    <a:pt x="383" y="61"/>
                  </a:lnTo>
                  <a:lnTo>
                    <a:pt x="383" y="61"/>
                  </a:lnTo>
                  <a:lnTo>
                    <a:pt x="385" y="61"/>
                  </a:lnTo>
                  <a:lnTo>
                    <a:pt x="385" y="63"/>
                  </a:lnTo>
                  <a:lnTo>
                    <a:pt x="385" y="63"/>
                  </a:lnTo>
                  <a:lnTo>
                    <a:pt x="385" y="63"/>
                  </a:lnTo>
                  <a:lnTo>
                    <a:pt x="388" y="66"/>
                  </a:lnTo>
                  <a:lnTo>
                    <a:pt x="388" y="66"/>
                  </a:lnTo>
                  <a:lnTo>
                    <a:pt x="388" y="66"/>
                  </a:lnTo>
                  <a:lnTo>
                    <a:pt x="390" y="68"/>
                  </a:lnTo>
                  <a:lnTo>
                    <a:pt x="390" y="66"/>
                  </a:lnTo>
                  <a:lnTo>
                    <a:pt x="390" y="66"/>
                  </a:lnTo>
                  <a:lnTo>
                    <a:pt x="390" y="68"/>
                  </a:lnTo>
                  <a:lnTo>
                    <a:pt x="392" y="66"/>
                  </a:lnTo>
                  <a:lnTo>
                    <a:pt x="395" y="68"/>
                  </a:lnTo>
                  <a:lnTo>
                    <a:pt x="397" y="68"/>
                  </a:lnTo>
                  <a:lnTo>
                    <a:pt x="400" y="68"/>
                  </a:lnTo>
                  <a:lnTo>
                    <a:pt x="400" y="68"/>
                  </a:lnTo>
                  <a:lnTo>
                    <a:pt x="404" y="68"/>
                  </a:lnTo>
                  <a:lnTo>
                    <a:pt x="404" y="70"/>
                  </a:lnTo>
                  <a:lnTo>
                    <a:pt x="407" y="70"/>
                  </a:lnTo>
                  <a:lnTo>
                    <a:pt x="407" y="70"/>
                  </a:lnTo>
                  <a:lnTo>
                    <a:pt x="409" y="70"/>
                  </a:lnTo>
                  <a:lnTo>
                    <a:pt x="411" y="70"/>
                  </a:lnTo>
                  <a:lnTo>
                    <a:pt x="414" y="70"/>
                  </a:lnTo>
                  <a:lnTo>
                    <a:pt x="414" y="73"/>
                  </a:lnTo>
                  <a:lnTo>
                    <a:pt x="416" y="73"/>
                  </a:lnTo>
                  <a:lnTo>
                    <a:pt x="418" y="75"/>
                  </a:lnTo>
                  <a:lnTo>
                    <a:pt x="421" y="75"/>
                  </a:lnTo>
                  <a:lnTo>
                    <a:pt x="423" y="75"/>
                  </a:lnTo>
                  <a:lnTo>
                    <a:pt x="423" y="75"/>
                  </a:lnTo>
                  <a:lnTo>
                    <a:pt x="426" y="78"/>
                  </a:lnTo>
                  <a:lnTo>
                    <a:pt x="463" y="99"/>
                  </a:lnTo>
                  <a:lnTo>
                    <a:pt x="480" y="108"/>
                  </a:lnTo>
                  <a:lnTo>
                    <a:pt x="492" y="115"/>
                  </a:lnTo>
                  <a:lnTo>
                    <a:pt x="496" y="113"/>
                  </a:lnTo>
                  <a:lnTo>
                    <a:pt x="496" y="111"/>
                  </a:lnTo>
                  <a:lnTo>
                    <a:pt x="496" y="111"/>
                  </a:lnTo>
                  <a:lnTo>
                    <a:pt x="496" y="108"/>
                  </a:lnTo>
                  <a:lnTo>
                    <a:pt x="496" y="106"/>
                  </a:lnTo>
                  <a:lnTo>
                    <a:pt x="496" y="106"/>
                  </a:lnTo>
                  <a:lnTo>
                    <a:pt x="496" y="104"/>
                  </a:lnTo>
                  <a:lnTo>
                    <a:pt x="494" y="101"/>
                  </a:lnTo>
                  <a:lnTo>
                    <a:pt x="496" y="99"/>
                  </a:lnTo>
                  <a:lnTo>
                    <a:pt x="496" y="96"/>
                  </a:lnTo>
                  <a:lnTo>
                    <a:pt x="496" y="96"/>
                  </a:lnTo>
                  <a:lnTo>
                    <a:pt x="494" y="94"/>
                  </a:lnTo>
                  <a:lnTo>
                    <a:pt x="494" y="94"/>
                  </a:lnTo>
                  <a:lnTo>
                    <a:pt x="496" y="89"/>
                  </a:lnTo>
                  <a:lnTo>
                    <a:pt x="499" y="87"/>
                  </a:lnTo>
                  <a:lnTo>
                    <a:pt x="501" y="82"/>
                  </a:lnTo>
                  <a:lnTo>
                    <a:pt x="503" y="80"/>
                  </a:lnTo>
                  <a:lnTo>
                    <a:pt x="506" y="80"/>
                  </a:lnTo>
                  <a:lnTo>
                    <a:pt x="506" y="78"/>
                  </a:lnTo>
                  <a:lnTo>
                    <a:pt x="503" y="78"/>
                  </a:lnTo>
                  <a:lnTo>
                    <a:pt x="503" y="78"/>
                  </a:lnTo>
                  <a:lnTo>
                    <a:pt x="506" y="73"/>
                  </a:lnTo>
                  <a:lnTo>
                    <a:pt x="506" y="73"/>
                  </a:lnTo>
                  <a:lnTo>
                    <a:pt x="508" y="73"/>
                  </a:lnTo>
                  <a:lnTo>
                    <a:pt x="508" y="70"/>
                  </a:lnTo>
                  <a:lnTo>
                    <a:pt x="508" y="70"/>
                  </a:lnTo>
                  <a:lnTo>
                    <a:pt x="508" y="68"/>
                  </a:lnTo>
                  <a:lnTo>
                    <a:pt x="511" y="66"/>
                  </a:lnTo>
                  <a:lnTo>
                    <a:pt x="511" y="66"/>
                  </a:lnTo>
                  <a:lnTo>
                    <a:pt x="511" y="63"/>
                  </a:lnTo>
                  <a:lnTo>
                    <a:pt x="513" y="63"/>
                  </a:lnTo>
                  <a:lnTo>
                    <a:pt x="513" y="63"/>
                  </a:lnTo>
                  <a:lnTo>
                    <a:pt x="513" y="63"/>
                  </a:lnTo>
                  <a:lnTo>
                    <a:pt x="515" y="63"/>
                  </a:lnTo>
                  <a:lnTo>
                    <a:pt x="515" y="61"/>
                  </a:lnTo>
                  <a:lnTo>
                    <a:pt x="515" y="61"/>
                  </a:lnTo>
                  <a:lnTo>
                    <a:pt x="518" y="59"/>
                  </a:lnTo>
                  <a:lnTo>
                    <a:pt x="520" y="56"/>
                  </a:lnTo>
                  <a:lnTo>
                    <a:pt x="522" y="56"/>
                  </a:lnTo>
                  <a:lnTo>
                    <a:pt x="522" y="54"/>
                  </a:lnTo>
                  <a:lnTo>
                    <a:pt x="525" y="52"/>
                  </a:lnTo>
                  <a:lnTo>
                    <a:pt x="527" y="59"/>
                  </a:lnTo>
                  <a:lnTo>
                    <a:pt x="527" y="59"/>
                  </a:lnTo>
                  <a:lnTo>
                    <a:pt x="529" y="61"/>
                  </a:lnTo>
                  <a:lnTo>
                    <a:pt x="532" y="61"/>
                  </a:lnTo>
                  <a:lnTo>
                    <a:pt x="532" y="61"/>
                  </a:lnTo>
                  <a:lnTo>
                    <a:pt x="532" y="61"/>
                  </a:lnTo>
                  <a:lnTo>
                    <a:pt x="532" y="63"/>
                  </a:lnTo>
                  <a:lnTo>
                    <a:pt x="529" y="63"/>
                  </a:lnTo>
                  <a:lnTo>
                    <a:pt x="529" y="66"/>
                  </a:lnTo>
                  <a:lnTo>
                    <a:pt x="529" y="66"/>
                  </a:lnTo>
                  <a:lnTo>
                    <a:pt x="529" y="66"/>
                  </a:lnTo>
                  <a:lnTo>
                    <a:pt x="529" y="68"/>
                  </a:lnTo>
                  <a:lnTo>
                    <a:pt x="534" y="68"/>
                  </a:lnTo>
                  <a:lnTo>
                    <a:pt x="534" y="68"/>
                  </a:lnTo>
                  <a:lnTo>
                    <a:pt x="534" y="68"/>
                  </a:lnTo>
                  <a:lnTo>
                    <a:pt x="537" y="68"/>
                  </a:lnTo>
                  <a:lnTo>
                    <a:pt x="537" y="68"/>
                  </a:lnTo>
                  <a:lnTo>
                    <a:pt x="537" y="68"/>
                  </a:lnTo>
                  <a:lnTo>
                    <a:pt x="539" y="70"/>
                  </a:lnTo>
                  <a:lnTo>
                    <a:pt x="539" y="70"/>
                  </a:lnTo>
                  <a:lnTo>
                    <a:pt x="541" y="73"/>
                  </a:lnTo>
                  <a:lnTo>
                    <a:pt x="544" y="75"/>
                  </a:lnTo>
                  <a:lnTo>
                    <a:pt x="555" y="56"/>
                  </a:lnTo>
                  <a:lnTo>
                    <a:pt x="555" y="56"/>
                  </a:lnTo>
                  <a:lnTo>
                    <a:pt x="555" y="56"/>
                  </a:lnTo>
                  <a:lnTo>
                    <a:pt x="555" y="54"/>
                  </a:lnTo>
                  <a:lnTo>
                    <a:pt x="555" y="54"/>
                  </a:lnTo>
                  <a:lnTo>
                    <a:pt x="558" y="54"/>
                  </a:lnTo>
                  <a:lnTo>
                    <a:pt x="558" y="54"/>
                  </a:lnTo>
                  <a:lnTo>
                    <a:pt x="560" y="54"/>
                  </a:lnTo>
                  <a:lnTo>
                    <a:pt x="560" y="56"/>
                  </a:lnTo>
                  <a:lnTo>
                    <a:pt x="560" y="59"/>
                  </a:lnTo>
                  <a:lnTo>
                    <a:pt x="560" y="59"/>
                  </a:lnTo>
                  <a:lnTo>
                    <a:pt x="560" y="61"/>
                  </a:lnTo>
                  <a:lnTo>
                    <a:pt x="560" y="61"/>
                  </a:lnTo>
                  <a:lnTo>
                    <a:pt x="560" y="59"/>
                  </a:lnTo>
                  <a:lnTo>
                    <a:pt x="563" y="61"/>
                  </a:lnTo>
                  <a:lnTo>
                    <a:pt x="563" y="61"/>
                  </a:lnTo>
                  <a:lnTo>
                    <a:pt x="563" y="61"/>
                  </a:lnTo>
                  <a:lnTo>
                    <a:pt x="563" y="61"/>
                  </a:lnTo>
                  <a:lnTo>
                    <a:pt x="563" y="63"/>
                  </a:lnTo>
                  <a:lnTo>
                    <a:pt x="565" y="63"/>
                  </a:lnTo>
                  <a:lnTo>
                    <a:pt x="565" y="63"/>
                  </a:lnTo>
                  <a:lnTo>
                    <a:pt x="565" y="63"/>
                  </a:lnTo>
                  <a:lnTo>
                    <a:pt x="565" y="66"/>
                  </a:lnTo>
                  <a:lnTo>
                    <a:pt x="567" y="66"/>
                  </a:lnTo>
                  <a:lnTo>
                    <a:pt x="567" y="63"/>
                  </a:lnTo>
                  <a:lnTo>
                    <a:pt x="570" y="68"/>
                  </a:lnTo>
                  <a:lnTo>
                    <a:pt x="570" y="68"/>
                  </a:lnTo>
                  <a:lnTo>
                    <a:pt x="572" y="68"/>
                  </a:lnTo>
                  <a:lnTo>
                    <a:pt x="572" y="70"/>
                  </a:lnTo>
                  <a:lnTo>
                    <a:pt x="572" y="70"/>
                  </a:lnTo>
                  <a:lnTo>
                    <a:pt x="574" y="70"/>
                  </a:lnTo>
                  <a:lnTo>
                    <a:pt x="572" y="73"/>
                  </a:lnTo>
                  <a:lnTo>
                    <a:pt x="574" y="75"/>
                  </a:lnTo>
                  <a:lnTo>
                    <a:pt x="574" y="78"/>
                  </a:lnTo>
                  <a:lnTo>
                    <a:pt x="574" y="80"/>
                  </a:lnTo>
                  <a:lnTo>
                    <a:pt x="574" y="80"/>
                  </a:lnTo>
                  <a:lnTo>
                    <a:pt x="574" y="80"/>
                  </a:lnTo>
                  <a:lnTo>
                    <a:pt x="577" y="80"/>
                  </a:lnTo>
                  <a:lnTo>
                    <a:pt x="577" y="80"/>
                  </a:lnTo>
                  <a:lnTo>
                    <a:pt x="577" y="80"/>
                  </a:lnTo>
                  <a:lnTo>
                    <a:pt x="579" y="80"/>
                  </a:lnTo>
                  <a:lnTo>
                    <a:pt x="579" y="80"/>
                  </a:lnTo>
                  <a:lnTo>
                    <a:pt x="579" y="80"/>
                  </a:lnTo>
                  <a:lnTo>
                    <a:pt x="579" y="80"/>
                  </a:lnTo>
                  <a:lnTo>
                    <a:pt x="581" y="80"/>
                  </a:lnTo>
                  <a:lnTo>
                    <a:pt x="581" y="80"/>
                  </a:lnTo>
                  <a:lnTo>
                    <a:pt x="581" y="80"/>
                  </a:lnTo>
                  <a:lnTo>
                    <a:pt x="584" y="80"/>
                  </a:lnTo>
                  <a:lnTo>
                    <a:pt x="584" y="82"/>
                  </a:lnTo>
                  <a:lnTo>
                    <a:pt x="584" y="82"/>
                  </a:lnTo>
                  <a:lnTo>
                    <a:pt x="586" y="82"/>
                  </a:lnTo>
                  <a:lnTo>
                    <a:pt x="586" y="82"/>
                  </a:lnTo>
                  <a:lnTo>
                    <a:pt x="586" y="85"/>
                  </a:lnTo>
                  <a:lnTo>
                    <a:pt x="586" y="87"/>
                  </a:lnTo>
                  <a:lnTo>
                    <a:pt x="589" y="87"/>
                  </a:lnTo>
                  <a:lnTo>
                    <a:pt x="589" y="87"/>
                  </a:lnTo>
                  <a:lnTo>
                    <a:pt x="591" y="87"/>
                  </a:lnTo>
                  <a:lnTo>
                    <a:pt x="591" y="89"/>
                  </a:lnTo>
                  <a:lnTo>
                    <a:pt x="591" y="89"/>
                  </a:lnTo>
                  <a:lnTo>
                    <a:pt x="591" y="89"/>
                  </a:lnTo>
                  <a:lnTo>
                    <a:pt x="591" y="92"/>
                  </a:lnTo>
                  <a:lnTo>
                    <a:pt x="591" y="92"/>
                  </a:lnTo>
                  <a:lnTo>
                    <a:pt x="591" y="94"/>
                  </a:lnTo>
                  <a:lnTo>
                    <a:pt x="593" y="94"/>
                  </a:lnTo>
                  <a:lnTo>
                    <a:pt x="593" y="96"/>
                  </a:lnTo>
                  <a:lnTo>
                    <a:pt x="593" y="96"/>
                  </a:lnTo>
                  <a:lnTo>
                    <a:pt x="593" y="99"/>
                  </a:lnTo>
                  <a:lnTo>
                    <a:pt x="591" y="99"/>
                  </a:lnTo>
                  <a:lnTo>
                    <a:pt x="591" y="99"/>
                  </a:lnTo>
                  <a:lnTo>
                    <a:pt x="591" y="99"/>
                  </a:lnTo>
                  <a:lnTo>
                    <a:pt x="591" y="101"/>
                  </a:lnTo>
                  <a:lnTo>
                    <a:pt x="591" y="101"/>
                  </a:lnTo>
                  <a:lnTo>
                    <a:pt x="593" y="104"/>
                  </a:lnTo>
                  <a:lnTo>
                    <a:pt x="593" y="104"/>
                  </a:lnTo>
                  <a:lnTo>
                    <a:pt x="593" y="106"/>
                  </a:lnTo>
                  <a:lnTo>
                    <a:pt x="593" y="106"/>
                  </a:lnTo>
                  <a:lnTo>
                    <a:pt x="593" y="108"/>
                  </a:lnTo>
                  <a:lnTo>
                    <a:pt x="593" y="108"/>
                  </a:lnTo>
                  <a:lnTo>
                    <a:pt x="591" y="111"/>
                  </a:lnTo>
                  <a:lnTo>
                    <a:pt x="591" y="111"/>
                  </a:lnTo>
                  <a:lnTo>
                    <a:pt x="591" y="113"/>
                  </a:lnTo>
                  <a:lnTo>
                    <a:pt x="591" y="113"/>
                  </a:lnTo>
                  <a:lnTo>
                    <a:pt x="591" y="115"/>
                  </a:lnTo>
                  <a:lnTo>
                    <a:pt x="591" y="118"/>
                  </a:lnTo>
                  <a:lnTo>
                    <a:pt x="591" y="118"/>
                  </a:lnTo>
                  <a:lnTo>
                    <a:pt x="593" y="122"/>
                  </a:lnTo>
                  <a:lnTo>
                    <a:pt x="593" y="122"/>
                  </a:lnTo>
                  <a:lnTo>
                    <a:pt x="596" y="122"/>
                  </a:lnTo>
                  <a:lnTo>
                    <a:pt x="596" y="120"/>
                  </a:lnTo>
                  <a:lnTo>
                    <a:pt x="596" y="118"/>
                  </a:lnTo>
                  <a:lnTo>
                    <a:pt x="596" y="115"/>
                  </a:lnTo>
                  <a:lnTo>
                    <a:pt x="596" y="113"/>
                  </a:lnTo>
                  <a:lnTo>
                    <a:pt x="596" y="111"/>
                  </a:lnTo>
                  <a:lnTo>
                    <a:pt x="598" y="111"/>
                  </a:lnTo>
                  <a:lnTo>
                    <a:pt x="596" y="108"/>
                  </a:lnTo>
                  <a:lnTo>
                    <a:pt x="596" y="106"/>
                  </a:lnTo>
                  <a:lnTo>
                    <a:pt x="598" y="106"/>
                  </a:lnTo>
                  <a:lnTo>
                    <a:pt x="600" y="106"/>
                  </a:lnTo>
                  <a:lnTo>
                    <a:pt x="600" y="104"/>
                  </a:lnTo>
                  <a:lnTo>
                    <a:pt x="600" y="101"/>
                  </a:lnTo>
                  <a:lnTo>
                    <a:pt x="600" y="99"/>
                  </a:lnTo>
                  <a:lnTo>
                    <a:pt x="603" y="96"/>
                  </a:lnTo>
                  <a:lnTo>
                    <a:pt x="605" y="99"/>
                  </a:lnTo>
                  <a:lnTo>
                    <a:pt x="605" y="99"/>
                  </a:lnTo>
                  <a:lnTo>
                    <a:pt x="605" y="99"/>
                  </a:lnTo>
                  <a:lnTo>
                    <a:pt x="605" y="96"/>
                  </a:lnTo>
                  <a:lnTo>
                    <a:pt x="607" y="99"/>
                  </a:lnTo>
                  <a:lnTo>
                    <a:pt x="607" y="99"/>
                  </a:lnTo>
                  <a:lnTo>
                    <a:pt x="607" y="101"/>
                  </a:lnTo>
                  <a:lnTo>
                    <a:pt x="607" y="101"/>
                  </a:lnTo>
                  <a:lnTo>
                    <a:pt x="607" y="101"/>
                  </a:lnTo>
                  <a:lnTo>
                    <a:pt x="607" y="104"/>
                  </a:lnTo>
                  <a:lnTo>
                    <a:pt x="607" y="106"/>
                  </a:lnTo>
                  <a:lnTo>
                    <a:pt x="605" y="106"/>
                  </a:lnTo>
                  <a:lnTo>
                    <a:pt x="607" y="106"/>
                  </a:lnTo>
                  <a:lnTo>
                    <a:pt x="607" y="108"/>
                  </a:lnTo>
                  <a:lnTo>
                    <a:pt x="607" y="108"/>
                  </a:lnTo>
                  <a:lnTo>
                    <a:pt x="607" y="108"/>
                  </a:lnTo>
                  <a:lnTo>
                    <a:pt x="607" y="111"/>
                  </a:lnTo>
                  <a:lnTo>
                    <a:pt x="607" y="111"/>
                  </a:lnTo>
                  <a:lnTo>
                    <a:pt x="607" y="111"/>
                  </a:lnTo>
                  <a:lnTo>
                    <a:pt x="610" y="113"/>
                  </a:lnTo>
                  <a:lnTo>
                    <a:pt x="607" y="113"/>
                  </a:lnTo>
                  <a:lnTo>
                    <a:pt x="607" y="113"/>
                  </a:lnTo>
                  <a:lnTo>
                    <a:pt x="610" y="115"/>
                  </a:lnTo>
                  <a:lnTo>
                    <a:pt x="607" y="115"/>
                  </a:lnTo>
                  <a:lnTo>
                    <a:pt x="607" y="118"/>
                  </a:lnTo>
                  <a:lnTo>
                    <a:pt x="610" y="118"/>
                  </a:lnTo>
                  <a:lnTo>
                    <a:pt x="610" y="118"/>
                  </a:lnTo>
                  <a:lnTo>
                    <a:pt x="612" y="118"/>
                  </a:lnTo>
                  <a:lnTo>
                    <a:pt x="612" y="118"/>
                  </a:lnTo>
                  <a:lnTo>
                    <a:pt x="612" y="115"/>
                  </a:lnTo>
                  <a:lnTo>
                    <a:pt x="612" y="115"/>
                  </a:lnTo>
                  <a:lnTo>
                    <a:pt x="615" y="115"/>
                  </a:lnTo>
                  <a:lnTo>
                    <a:pt x="615" y="115"/>
                  </a:lnTo>
                  <a:lnTo>
                    <a:pt x="617" y="115"/>
                  </a:lnTo>
                  <a:lnTo>
                    <a:pt x="617" y="115"/>
                  </a:lnTo>
                  <a:lnTo>
                    <a:pt x="617" y="115"/>
                  </a:lnTo>
                  <a:lnTo>
                    <a:pt x="617" y="115"/>
                  </a:lnTo>
                  <a:lnTo>
                    <a:pt x="619" y="113"/>
                  </a:lnTo>
                  <a:lnTo>
                    <a:pt x="619" y="113"/>
                  </a:lnTo>
                  <a:lnTo>
                    <a:pt x="619" y="113"/>
                  </a:lnTo>
                  <a:lnTo>
                    <a:pt x="619" y="113"/>
                  </a:lnTo>
                  <a:lnTo>
                    <a:pt x="622" y="111"/>
                  </a:lnTo>
                  <a:lnTo>
                    <a:pt x="622" y="111"/>
                  </a:lnTo>
                  <a:lnTo>
                    <a:pt x="624" y="113"/>
                  </a:lnTo>
                  <a:lnTo>
                    <a:pt x="624" y="113"/>
                  </a:lnTo>
                  <a:lnTo>
                    <a:pt x="624" y="111"/>
                  </a:lnTo>
                  <a:lnTo>
                    <a:pt x="624" y="111"/>
                  </a:lnTo>
                  <a:lnTo>
                    <a:pt x="624" y="111"/>
                  </a:lnTo>
                  <a:lnTo>
                    <a:pt x="624" y="111"/>
                  </a:lnTo>
                  <a:lnTo>
                    <a:pt x="626" y="111"/>
                  </a:lnTo>
                  <a:lnTo>
                    <a:pt x="626" y="111"/>
                  </a:lnTo>
                  <a:lnTo>
                    <a:pt x="626" y="111"/>
                  </a:lnTo>
                  <a:lnTo>
                    <a:pt x="626" y="111"/>
                  </a:lnTo>
                  <a:lnTo>
                    <a:pt x="629" y="111"/>
                  </a:lnTo>
                  <a:lnTo>
                    <a:pt x="629" y="111"/>
                  </a:lnTo>
                  <a:lnTo>
                    <a:pt x="626" y="111"/>
                  </a:lnTo>
                  <a:lnTo>
                    <a:pt x="629" y="111"/>
                  </a:lnTo>
                  <a:lnTo>
                    <a:pt x="626" y="111"/>
                  </a:lnTo>
                  <a:lnTo>
                    <a:pt x="629" y="108"/>
                  </a:lnTo>
                  <a:lnTo>
                    <a:pt x="629" y="108"/>
                  </a:lnTo>
                  <a:lnTo>
                    <a:pt x="629" y="106"/>
                  </a:lnTo>
                  <a:lnTo>
                    <a:pt x="631" y="106"/>
                  </a:lnTo>
                  <a:lnTo>
                    <a:pt x="631" y="106"/>
                  </a:lnTo>
                  <a:lnTo>
                    <a:pt x="631" y="106"/>
                  </a:lnTo>
                  <a:lnTo>
                    <a:pt x="631" y="108"/>
                  </a:lnTo>
                  <a:lnTo>
                    <a:pt x="633" y="106"/>
                  </a:lnTo>
                  <a:lnTo>
                    <a:pt x="633" y="106"/>
                  </a:lnTo>
                  <a:lnTo>
                    <a:pt x="633" y="106"/>
                  </a:lnTo>
                  <a:lnTo>
                    <a:pt x="636" y="106"/>
                  </a:lnTo>
                  <a:lnTo>
                    <a:pt x="636" y="106"/>
                  </a:lnTo>
                  <a:lnTo>
                    <a:pt x="636" y="104"/>
                  </a:lnTo>
                  <a:lnTo>
                    <a:pt x="636" y="104"/>
                  </a:lnTo>
                  <a:lnTo>
                    <a:pt x="638" y="101"/>
                  </a:lnTo>
                  <a:lnTo>
                    <a:pt x="638" y="104"/>
                  </a:lnTo>
                  <a:lnTo>
                    <a:pt x="638" y="101"/>
                  </a:lnTo>
                  <a:lnTo>
                    <a:pt x="640" y="104"/>
                  </a:lnTo>
                  <a:lnTo>
                    <a:pt x="643" y="101"/>
                  </a:lnTo>
                  <a:lnTo>
                    <a:pt x="643" y="101"/>
                  </a:lnTo>
                  <a:lnTo>
                    <a:pt x="643" y="101"/>
                  </a:lnTo>
                  <a:lnTo>
                    <a:pt x="643" y="101"/>
                  </a:lnTo>
                  <a:lnTo>
                    <a:pt x="645" y="99"/>
                  </a:lnTo>
                  <a:lnTo>
                    <a:pt x="645" y="101"/>
                  </a:lnTo>
                  <a:lnTo>
                    <a:pt x="648" y="101"/>
                  </a:lnTo>
                  <a:lnTo>
                    <a:pt x="648" y="99"/>
                  </a:lnTo>
                  <a:lnTo>
                    <a:pt x="648" y="101"/>
                  </a:lnTo>
                  <a:lnTo>
                    <a:pt x="648" y="101"/>
                  </a:lnTo>
                  <a:lnTo>
                    <a:pt x="648" y="104"/>
                  </a:lnTo>
                  <a:lnTo>
                    <a:pt x="645" y="104"/>
                  </a:lnTo>
                  <a:lnTo>
                    <a:pt x="645" y="106"/>
                  </a:lnTo>
                  <a:lnTo>
                    <a:pt x="645" y="106"/>
                  </a:lnTo>
                  <a:lnTo>
                    <a:pt x="645" y="106"/>
                  </a:lnTo>
                  <a:lnTo>
                    <a:pt x="645" y="108"/>
                  </a:lnTo>
                  <a:lnTo>
                    <a:pt x="648" y="108"/>
                  </a:lnTo>
                  <a:lnTo>
                    <a:pt x="645" y="111"/>
                  </a:lnTo>
                  <a:lnTo>
                    <a:pt x="645" y="111"/>
                  </a:lnTo>
                  <a:lnTo>
                    <a:pt x="645" y="111"/>
                  </a:lnTo>
                  <a:lnTo>
                    <a:pt x="645" y="113"/>
                  </a:lnTo>
                  <a:lnTo>
                    <a:pt x="648" y="113"/>
                  </a:lnTo>
                  <a:lnTo>
                    <a:pt x="648" y="118"/>
                  </a:lnTo>
                  <a:lnTo>
                    <a:pt x="645" y="120"/>
                  </a:lnTo>
                  <a:lnTo>
                    <a:pt x="645" y="120"/>
                  </a:lnTo>
                  <a:lnTo>
                    <a:pt x="645" y="120"/>
                  </a:lnTo>
                  <a:lnTo>
                    <a:pt x="648" y="120"/>
                  </a:lnTo>
                  <a:lnTo>
                    <a:pt x="648" y="120"/>
                  </a:lnTo>
                  <a:lnTo>
                    <a:pt x="648" y="120"/>
                  </a:lnTo>
                  <a:lnTo>
                    <a:pt x="648" y="120"/>
                  </a:lnTo>
                  <a:lnTo>
                    <a:pt x="652" y="118"/>
                  </a:lnTo>
                  <a:lnTo>
                    <a:pt x="652" y="118"/>
                  </a:lnTo>
                  <a:lnTo>
                    <a:pt x="652" y="118"/>
                  </a:lnTo>
                  <a:lnTo>
                    <a:pt x="652" y="118"/>
                  </a:lnTo>
                  <a:lnTo>
                    <a:pt x="655" y="118"/>
                  </a:lnTo>
                  <a:lnTo>
                    <a:pt x="655" y="118"/>
                  </a:lnTo>
                  <a:lnTo>
                    <a:pt x="657" y="118"/>
                  </a:lnTo>
                  <a:lnTo>
                    <a:pt x="657" y="118"/>
                  </a:lnTo>
                  <a:lnTo>
                    <a:pt x="657" y="115"/>
                  </a:lnTo>
                  <a:lnTo>
                    <a:pt x="657" y="115"/>
                  </a:lnTo>
                  <a:lnTo>
                    <a:pt x="657" y="115"/>
                  </a:lnTo>
                  <a:lnTo>
                    <a:pt x="657" y="111"/>
                  </a:lnTo>
                  <a:lnTo>
                    <a:pt x="657" y="111"/>
                  </a:lnTo>
                  <a:lnTo>
                    <a:pt x="657" y="111"/>
                  </a:lnTo>
                  <a:lnTo>
                    <a:pt x="659" y="111"/>
                  </a:lnTo>
                  <a:lnTo>
                    <a:pt x="659" y="111"/>
                  </a:lnTo>
                  <a:lnTo>
                    <a:pt x="659" y="111"/>
                  </a:lnTo>
                  <a:lnTo>
                    <a:pt x="659" y="111"/>
                  </a:lnTo>
                  <a:lnTo>
                    <a:pt x="659" y="113"/>
                  </a:lnTo>
                  <a:lnTo>
                    <a:pt x="659" y="113"/>
                  </a:lnTo>
                  <a:lnTo>
                    <a:pt x="662" y="113"/>
                  </a:lnTo>
                  <a:lnTo>
                    <a:pt x="664" y="115"/>
                  </a:lnTo>
                  <a:lnTo>
                    <a:pt x="662" y="115"/>
                  </a:lnTo>
                  <a:lnTo>
                    <a:pt x="662" y="115"/>
                  </a:lnTo>
                  <a:lnTo>
                    <a:pt x="664" y="115"/>
                  </a:lnTo>
                  <a:lnTo>
                    <a:pt x="664" y="118"/>
                  </a:lnTo>
                  <a:lnTo>
                    <a:pt x="666" y="115"/>
                  </a:lnTo>
                  <a:lnTo>
                    <a:pt x="669" y="115"/>
                  </a:lnTo>
                  <a:lnTo>
                    <a:pt x="669" y="118"/>
                  </a:lnTo>
                  <a:lnTo>
                    <a:pt x="671" y="120"/>
                  </a:lnTo>
                  <a:lnTo>
                    <a:pt x="671" y="120"/>
                  </a:lnTo>
                  <a:lnTo>
                    <a:pt x="671" y="122"/>
                  </a:lnTo>
                  <a:lnTo>
                    <a:pt x="671" y="120"/>
                  </a:lnTo>
                  <a:lnTo>
                    <a:pt x="674" y="120"/>
                  </a:lnTo>
                  <a:lnTo>
                    <a:pt x="674" y="120"/>
                  </a:lnTo>
                  <a:lnTo>
                    <a:pt x="674" y="118"/>
                  </a:lnTo>
                  <a:lnTo>
                    <a:pt x="676" y="118"/>
                  </a:lnTo>
                  <a:lnTo>
                    <a:pt x="676" y="118"/>
                  </a:lnTo>
                  <a:lnTo>
                    <a:pt x="678" y="118"/>
                  </a:lnTo>
                  <a:lnTo>
                    <a:pt x="678" y="120"/>
                  </a:lnTo>
                  <a:lnTo>
                    <a:pt x="678" y="118"/>
                  </a:lnTo>
                  <a:lnTo>
                    <a:pt x="678" y="118"/>
                  </a:lnTo>
                  <a:lnTo>
                    <a:pt x="678" y="120"/>
                  </a:lnTo>
                  <a:lnTo>
                    <a:pt x="678" y="122"/>
                  </a:lnTo>
                  <a:lnTo>
                    <a:pt x="681" y="122"/>
                  </a:lnTo>
                  <a:lnTo>
                    <a:pt x="681" y="120"/>
                  </a:lnTo>
                  <a:lnTo>
                    <a:pt x="681" y="122"/>
                  </a:lnTo>
                  <a:lnTo>
                    <a:pt x="681" y="122"/>
                  </a:lnTo>
                  <a:lnTo>
                    <a:pt x="683" y="122"/>
                  </a:lnTo>
                  <a:lnTo>
                    <a:pt x="683" y="122"/>
                  </a:lnTo>
                  <a:lnTo>
                    <a:pt x="688" y="122"/>
                  </a:lnTo>
                  <a:lnTo>
                    <a:pt x="690" y="122"/>
                  </a:lnTo>
                  <a:lnTo>
                    <a:pt x="692" y="122"/>
                  </a:lnTo>
                  <a:lnTo>
                    <a:pt x="692" y="125"/>
                  </a:lnTo>
                  <a:lnTo>
                    <a:pt x="707" y="141"/>
                  </a:lnTo>
                  <a:lnTo>
                    <a:pt x="709" y="139"/>
                  </a:lnTo>
                  <a:lnTo>
                    <a:pt x="709" y="137"/>
                  </a:lnTo>
                  <a:lnTo>
                    <a:pt x="709" y="137"/>
                  </a:lnTo>
                  <a:lnTo>
                    <a:pt x="711" y="134"/>
                  </a:lnTo>
                  <a:lnTo>
                    <a:pt x="711" y="134"/>
                  </a:lnTo>
                  <a:lnTo>
                    <a:pt x="711" y="132"/>
                  </a:lnTo>
                  <a:lnTo>
                    <a:pt x="714" y="132"/>
                  </a:lnTo>
                  <a:lnTo>
                    <a:pt x="714" y="132"/>
                  </a:lnTo>
                  <a:lnTo>
                    <a:pt x="714" y="127"/>
                  </a:lnTo>
                  <a:lnTo>
                    <a:pt x="711" y="127"/>
                  </a:lnTo>
                  <a:lnTo>
                    <a:pt x="711" y="127"/>
                  </a:lnTo>
                  <a:lnTo>
                    <a:pt x="711" y="125"/>
                  </a:lnTo>
                  <a:lnTo>
                    <a:pt x="709" y="122"/>
                  </a:lnTo>
                  <a:lnTo>
                    <a:pt x="711" y="122"/>
                  </a:lnTo>
                  <a:lnTo>
                    <a:pt x="709" y="120"/>
                  </a:lnTo>
                  <a:lnTo>
                    <a:pt x="709" y="118"/>
                  </a:lnTo>
                  <a:lnTo>
                    <a:pt x="709" y="115"/>
                  </a:lnTo>
                  <a:lnTo>
                    <a:pt x="711" y="115"/>
                  </a:lnTo>
                  <a:lnTo>
                    <a:pt x="711" y="115"/>
                  </a:lnTo>
                  <a:lnTo>
                    <a:pt x="711" y="113"/>
                  </a:lnTo>
                  <a:lnTo>
                    <a:pt x="711" y="111"/>
                  </a:lnTo>
                  <a:lnTo>
                    <a:pt x="709" y="111"/>
                  </a:lnTo>
                  <a:lnTo>
                    <a:pt x="711" y="111"/>
                  </a:lnTo>
                  <a:lnTo>
                    <a:pt x="711" y="108"/>
                  </a:lnTo>
                  <a:lnTo>
                    <a:pt x="709" y="108"/>
                  </a:lnTo>
                  <a:lnTo>
                    <a:pt x="709" y="108"/>
                  </a:lnTo>
                  <a:lnTo>
                    <a:pt x="709" y="108"/>
                  </a:lnTo>
                  <a:lnTo>
                    <a:pt x="709" y="106"/>
                  </a:lnTo>
                  <a:lnTo>
                    <a:pt x="709" y="106"/>
                  </a:lnTo>
                  <a:lnTo>
                    <a:pt x="709" y="106"/>
                  </a:lnTo>
                  <a:lnTo>
                    <a:pt x="709" y="106"/>
                  </a:lnTo>
                  <a:lnTo>
                    <a:pt x="711" y="104"/>
                  </a:lnTo>
                  <a:lnTo>
                    <a:pt x="709" y="101"/>
                  </a:lnTo>
                  <a:lnTo>
                    <a:pt x="709" y="101"/>
                  </a:lnTo>
                  <a:lnTo>
                    <a:pt x="711" y="101"/>
                  </a:lnTo>
                  <a:lnTo>
                    <a:pt x="711" y="99"/>
                  </a:lnTo>
                  <a:lnTo>
                    <a:pt x="711" y="99"/>
                  </a:lnTo>
                  <a:lnTo>
                    <a:pt x="711" y="99"/>
                  </a:lnTo>
                  <a:lnTo>
                    <a:pt x="711" y="99"/>
                  </a:lnTo>
                  <a:lnTo>
                    <a:pt x="711" y="96"/>
                  </a:lnTo>
                  <a:lnTo>
                    <a:pt x="711" y="96"/>
                  </a:lnTo>
                  <a:lnTo>
                    <a:pt x="711" y="96"/>
                  </a:lnTo>
                  <a:lnTo>
                    <a:pt x="711" y="96"/>
                  </a:lnTo>
                  <a:lnTo>
                    <a:pt x="714" y="94"/>
                  </a:lnTo>
                  <a:lnTo>
                    <a:pt x="714" y="94"/>
                  </a:lnTo>
                  <a:lnTo>
                    <a:pt x="716" y="94"/>
                  </a:lnTo>
                  <a:lnTo>
                    <a:pt x="718" y="96"/>
                  </a:lnTo>
                  <a:lnTo>
                    <a:pt x="721" y="96"/>
                  </a:lnTo>
                  <a:lnTo>
                    <a:pt x="721" y="96"/>
                  </a:lnTo>
                  <a:lnTo>
                    <a:pt x="721" y="99"/>
                  </a:lnTo>
                  <a:lnTo>
                    <a:pt x="721" y="104"/>
                  </a:lnTo>
                  <a:lnTo>
                    <a:pt x="726" y="106"/>
                  </a:lnTo>
                  <a:lnTo>
                    <a:pt x="726" y="104"/>
                  </a:lnTo>
                  <a:lnTo>
                    <a:pt x="728" y="104"/>
                  </a:lnTo>
                  <a:lnTo>
                    <a:pt x="728" y="106"/>
                  </a:lnTo>
                  <a:lnTo>
                    <a:pt x="730" y="106"/>
                  </a:lnTo>
                  <a:lnTo>
                    <a:pt x="730" y="104"/>
                  </a:lnTo>
                  <a:lnTo>
                    <a:pt x="733" y="104"/>
                  </a:lnTo>
                  <a:lnTo>
                    <a:pt x="730" y="108"/>
                  </a:lnTo>
                  <a:lnTo>
                    <a:pt x="730" y="108"/>
                  </a:lnTo>
                  <a:lnTo>
                    <a:pt x="735" y="111"/>
                  </a:lnTo>
                  <a:lnTo>
                    <a:pt x="737" y="108"/>
                  </a:lnTo>
                  <a:lnTo>
                    <a:pt x="737" y="111"/>
                  </a:lnTo>
                  <a:lnTo>
                    <a:pt x="740" y="111"/>
                  </a:lnTo>
                  <a:lnTo>
                    <a:pt x="737" y="111"/>
                  </a:lnTo>
                  <a:lnTo>
                    <a:pt x="735" y="113"/>
                  </a:lnTo>
                  <a:lnTo>
                    <a:pt x="737" y="115"/>
                  </a:lnTo>
                  <a:lnTo>
                    <a:pt x="737" y="118"/>
                  </a:lnTo>
                  <a:lnTo>
                    <a:pt x="740" y="118"/>
                  </a:lnTo>
                  <a:lnTo>
                    <a:pt x="740" y="118"/>
                  </a:lnTo>
                  <a:lnTo>
                    <a:pt x="740" y="115"/>
                  </a:lnTo>
                  <a:lnTo>
                    <a:pt x="744" y="115"/>
                  </a:lnTo>
                  <a:lnTo>
                    <a:pt x="744" y="113"/>
                  </a:lnTo>
                  <a:lnTo>
                    <a:pt x="744" y="111"/>
                  </a:lnTo>
                  <a:lnTo>
                    <a:pt x="744" y="111"/>
                  </a:lnTo>
                  <a:lnTo>
                    <a:pt x="747" y="111"/>
                  </a:lnTo>
                  <a:lnTo>
                    <a:pt x="747" y="111"/>
                  </a:lnTo>
                  <a:lnTo>
                    <a:pt x="749" y="113"/>
                  </a:lnTo>
                  <a:lnTo>
                    <a:pt x="749" y="113"/>
                  </a:lnTo>
                  <a:lnTo>
                    <a:pt x="754" y="113"/>
                  </a:lnTo>
                  <a:lnTo>
                    <a:pt x="754" y="113"/>
                  </a:lnTo>
                  <a:lnTo>
                    <a:pt x="756" y="113"/>
                  </a:lnTo>
                  <a:lnTo>
                    <a:pt x="756" y="113"/>
                  </a:lnTo>
                  <a:lnTo>
                    <a:pt x="756" y="113"/>
                  </a:lnTo>
                  <a:lnTo>
                    <a:pt x="756" y="115"/>
                  </a:lnTo>
                  <a:lnTo>
                    <a:pt x="759" y="115"/>
                  </a:lnTo>
                  <a:lnTo>
                    <a:pt x="759" y="113"/>
                  </a:lnTo>
                  <a:lnTo>
                    <a:pt x="759" y="113"/>
                  </a:lnTo>
                  <a:lnTo>
                    <a:pt x="759" y="111"/>
                  </a:lnTo>
                  <a:lnTo>
                    <a:pt x="761" y="111"/>
                  </a:lnTo>
                  <a:lnTo>
                    <a:pt x="763" y="111"/>
                  </a:lnTo>
                  <a:lnTo>
                    <a:pt x="761" y="108"/>
                  </a:lnTo>
                  <a:lnTo>
                    <a:pt x="763" y="106"/>
                  </a:lnTo>
                  <a:lnTo>
                    <a:pt x="763" y="106"/>
                  </a:lnTo>
                  <a:lnTo>
                    <a:pt x="766" y="106"/>
                  </a:lnTo>
                  <a:lnTo>
                    <a:pt x="766" y="106"/>
                  </a:lnTo>
                  <a:lnTo>
                    <a:pt x="766" y="106"/>
                  </a:lnTo>
                  <a:lnTo>
                    <a:pt x="768" y="106"/>
                  </a:lnTo>
                  <a:lnTo>
                    <a:pt x="770" y="106"/>
                  </a:lnTo>
                  <a:lnTo>
                    <a:pt x="770" y="106"/>
                  </a:lnTo>
                  <a:lnTo>
                    <a:pt x="770" y="106"/>
                  </a:lnTo>
                  <a:lnTo>
                    <a:pt x="773" y="108"/>
                  </a:lnTo>
                  <a:lnTo>
                    <a:pt x="773" y="106"/>
                  </a:lnTo>
                  <a:lnTo>
                    <a:pt x="775" y="108"/>
                  </a:lnTo>
                  <a:lnTo>
                    <a:pt x="775" y="106"/>
                  </a:lnTo>
                  <a:lnTo>
                    <a:pt x="775" y="106"/>
                  </a:lnTo>
                  <a:lnTo>
                    <a:pt x="775" y="106"/>
                  </a:lnTo>
                  <a:lnTo>
                    <a:pt x="778" y="104"/>
                  </a:lnTo>
                  <a:lnTo>
                    <a:pt x="780" y="104"/>
                  </a:lnTo>
                  <a:lnTo>
                    <a:pt x="780" y="101"/>
                  </a:lnTo>
                  <a:lnTo>
                    <a:pt x="780" y="104"/>
                  </a:lnTo>
                  <a:lnTo>
                    <a:pt x="780" y="104"/>
                  </a:lnTo>
                  <a:lnTo>
                    <a:pt x="780" y="104"/>
                  </a:lnTo>
                  <a:lnTo>
                    <a:pt x="782" y="101"/>
                  </a:lnTo>
                  <a:lnTo>
                    <a:pt x="782" y="104"/>
                  </a:lnTo>
                  <a:lnTo>
                    <a:pt x="782" y="104"/>
                  </a:lnTo>
                  <a:lnTo>
                    <a:pt x="782" y="104"/>
                  </a:lnTo>
                  <a:lnTo>
                    <a:pt x="782" y="101"/>
                  </a:lnTo>
                  <a:lnTo>
                    <a:pt x="782" y="101"/>
                  </a:lnTo>
                  <a:lnTo>
                    <a:pt x="785" y="101"/>
                  </a:lnTo>
                  <a:lnTo>
                    <a:pt x="785" y="101"/>
                  </a:lnTo>
                  <a:lnTo>
                    <a:pt x="785" y="101"/>
                  </a:lnTo>
                  <a:lnTo>
                    <a:pt x="787" y="101"/>
                  </a:lnTo>
                  <a:lnTo>
                    <a:pt x="789" y="99"/>
                  </a:lnTo>
                  <a:lnTo>
                    <a:pt x="789" y="99"/>
                  </a:lnTo>
                  <a:lnTo>
                    <a:pt x="792" y="99"/>
                  </a:lnTo>
                  <a:lnTo>
                    <a:pt x="792" y="99"/>
                  </a:lnTo>
                  <a:lnTo>
                    <a:pt x="792" y="96"/>
                  </a:lnTo>
                  <a:lnTo>
                    <a:pt x="792" y="96"/>
                  </a:lnTo>
                  <a:lnTo>
                    <a:pt x="794" y="96"/>
                  </a:lnTo>
                  <a:lnTo>
                    <a:pt x="794" y="96"/>
                  </a:lnTo>
                  <a:lnTo>
                    <a:pt x="794" y="96"/>
                  </a:lnTo>
                  <a:lnTo>
                    <a:pt x="794" y="96"/>
                  </a:lnTo>
                  <a:lnTo>
                    <a:pt x="796" y="96"/>
                  </a:lnTo>
                  <a:lnTo>
                    <a:pt x="796" y="96"/>
                  </a:lnTo>
                  <a:lnTo>
                    <a:pt x="799" y="94"/>
                  </a:lnTo>
                  <a:lnTo>
                    <a:pt x="799" y="94"/>
                  </a:lnTo>
                  <a:lnTo>
                    <a:pt x="801" y="92"/>
                  </a:lnTo>
                  <a:lnTo>
                    <a:pt x="803" y="92"/>
                  </a:lnTo>
                  <a:lnTo>
                    <a:pt x="803" y="92"/>
                  </a:lnTo>
                  <a:lnTo>
                    <a:pt x="803" y="89"/>
                  </a:lnTo>
                  <a:lnTo>
                    <a:pt x="806" y="89"/>
                  </a:lnTo>
                  <a:lnTo>
                    <a:pt x="808" y="87"/>
                  </a:lnTo>
                  <a:lnTo>
                    <a:pt x="808" y="87"/>
                  </a:lnTo>
                  <a:lnTo>
                    <a:pt x="808" y="87"/>
                  </a:lnTo>
                  <a:lnTo>
                    <a:pt x="808" y="89"/>
                  </a:lnTo>
                  <a:lnTo>
                    <a:pt x="811" y="87"/>
                  </a:lnTo>
                  <a:lnTo>
                    <a:pt x="811" y="89"/>
                  </a:lnTo>
                  <a:lnTo>
                    <a:pt x="811" y="89"/>
                  </a:lnTo>
                  <a:lnTo>
                    <a:pt x="813" y="89"/>
                  </a:lnTo>
                  <a:lnTo>
                    <a:pt x="813" y="87"/>
                  </a:lnTo>
                  <a:lnTo>
                    <a:pt x="813" y="87"/>
                  </a:lnTo>
                  <a:lnTo>
                    <a:pt x="813" y="87"/>
                  </a:lnTo>
                  <a:lnTo>
                    <a:pt x="813" y="87"/>
                  </a:lnTo>
                  <a:lnTo>
                    <a:pt x="813" y="85"/>
                  </a:lnTo>
                  <a:lnTo>
                    <a:pt x="815" y="85"/>
                  </a:lnTo>
                  <a:lnTo>
                    <a:pt x="815" y="82"/>
                  </a:lnTo>
                  <a:lnTo>
                    <a:pt x="818" y="82"/>
                  </a:lnTo>
                  <a:lnTo>
                    <a:pt x="815" y="80"/>
                  </a:lnTo>
                  <a:lnTo>
                    <a:pt x="818" y="80"/>
                  </a:lnTo>
                  <a:lnTo>
                    <a:pt x="825" y="75"/>
                  </a:lnTo>
                  <a:lnTo>
                    <a:pt x="839" y="78"/>
                  </a:lnTo>
                  <a:lnTo>
                    <a:pt x="860" y="78"/>
                  </a:lnTo>
                  <a:lnTo>
                    <a:pt x="863" y="78"/>
                  </a:lnTo>
                  <a:lnTo>
                    <a:pt x="863" y="73"/>
                  </a:lnTo>
                  <a:lnTo>
                    <a:pt x="865" y="73"/>
                  </a:lnTo>
                  <a:lnTo>
                    <a:pt x="865" y="70"/>
                  </a:lnTo>
                  <a:lnTo>
                    <a:pt x="865" y="70"/>
                  </a:lnTo>
                  <a:lnTo>
                    <a:pt x="867" y="56"/>
                  </a:lnTo>
                  <a:lnTo>
                    <a:pt x="867" y="59"/>
                  </a:lnTo>
                  <a:lnTo>
                    <a:pt x="867" y="59"/>
                  </a:lnTo>
                  <a:lnTo>
                    <a:pt x="867" y="61"/>
                  </a:lnTo>
                  <a:lnTo>
                    <a:pt x="870" y="61"/>
                  </a:lnTo>
                  <a:lnTo>
                    <a:pt x="870" y="61"/>
                  </a:lnTo>
                  <a:lnTo>
                    <a:pt x="872" y="61"/>
                  </a:lnTo>
                  <a:lnTo>
                    <a:pt x="872" y="61"/>
                  </a:lnTo>
                  <a:lnTo>
                    <a:pt x="872" y="61"/>
                  </a:lnTo>
                  <a:lnTo>
                    <a:pt x="872" y="61"/>
                  </a:lnTo>
                  <a:lnTo>
                    <a:pt x="874" y="63"/>
                  </a:lnTo>
                  <a:lnTo>
                    <a:pt x="874" y="63"/>
                  </a:lnTo>
                  <a:lnTo>
                    <a:pt x="874" y="63"/>
                  </a:lnTo>
                  <a:lnTo>
                    <a:pt x="874" y="66"/>
                  </a:lnTo>
                  <a:lnTo>
                    <a:pt x="874" y="66"/>
                  </a:lnTo>
                  <a:lnTo>
                    <a:pt x="874" y="68"/>
                  </a:lnTo>
                  <a:lnTo>
                    <a:pt x="874" y="68"/>
                  </a:lnTo>
                  <a:lnTo>
                    <a:pt x="874" y="68"/>
                  </a:lnTo>
                  <a:lnTo>
                    <a:pt x="874" y="70"/>
                  </a:lnTo>
                  <a:lnTo>
                    <a:pt x="874" y="73"/>
                  </a:lnTo>
                  <a:lnTo>
                    <a:pt x="874" y="73"/>
                  </a:lnTo>
                  <a:lnTo>
                    <a:pt x="874" y="75"/>
                  </a:lnTo>
                  <a:lnTo>
                    <a:pt x="872" y="75"/>
                  </a:lnTo>
                  <a:lnTo>
                    <a:pt x="874" y="78"/>
                  </a:lnTo>
                  <a:lnTo>
                    <a:pt x="872" y="78"/>
                  </a:lnTo>
                  <a:lnTo>
                    <a:pt x="874" y="80"/>
                  </a:lnTo>
                  <a:lnTo>
                    <a:pt x="877" y="78"/>
                  </a:lnTo>
                  <a:lnTo>
                    <a:pt x="877" y="78"/>
                  </a:lnTo>
                  <a:lnTo>
                    <a:pt x="881" y="78"/>
                  </a:lnTo>
                  <a:lnTo>
                    <a:pt x="884" y="78"/>
                  </a:lnTo>
                  <a:lnTo>
                    <a:pt x="884" y="75"/>
                  </a:lnTo>
                  <a:lnTo>
                    <a:pt x="886" y="78"/>
                  </a:lnTo>
                  <a:lnTo>
                    <a:pt x="891" y="75"/>
                  </a:lnTo>
                  <a:lnTo>
                    <a:pt x="891" y="75"/>
                  </a:lnTo>
                  <a:lnTo>
                    <a:pt x="893" y="75"/>
                  </a:lnTo>
                  <a:lnTo>
                    <a:pt x="896" y="75"/>
                  </a:lnTo>
                  <a:lnTo>
                    <a:pt x="896" y="73"/>
                  </a:lnTo>
                  <a:lnTo>
                    <a:pt x="898" y="73"/>
                  </a:lnTo>
                  <a:lnTo>
                    <a:pt x="898" y="73"/>
                  </a:lnTo>
                  <a:lnTo>
                    <a:pt x="900" y="70"/>
                  </a:lnTo>
                  <a:lnTo>
                    <a:pt x="903" y="73"/>
                  </a:lnTo>
                  <a:lnTo>
                    <a:pt x="905" y="70"/>
                  </a:lnTo>
                  <a:lnTo>
                    <a:pt x="905" y="70"/>
                  </a:lnTo>
                  <a:lnTo>
                    <a:pt x="905" y="70"/>
                  </a:lnTo>
                  <a:lnTo>
                    <a:pt x="905" y="75"/>
                  </a:lnTo>
                  <a:lnTo>
                    <a:pt x="903" y="75"/>
                  </a:lnTo>
                  <a:lnTo>
                    <a:pt x="900" y="78"/>
                  </a:lnTo>
                  <a:lnTo>
                    <a:pt x="900" y="78"/>
                  </a:lnTo>
                  <a:lnTo>
                    <a:pt x="898" y="78"/>
                  </a:lnTo>
                  <a:lnTo>
                    <a:pt x="896" y="80"/>
                  </a:lnTo>
                  <a:lnTo>
                    <a:pt x="896" y="80"/>
                  </a:lnTo>
                  <a:lnTo>
                    <a:pt x="893" y="80"/>
                  </a:lnTo>
                  <a:lnTo>
                    <a:pt x="893" y="80"/>
                  </a:lnTo>
                  <a:lnTo>
                    <a:pt x="893" y="80"/>
                  </a:lnTo>
                  <a:lnTo>
                    <a:pt x="891" y="80"/>
                  </a:lnTo>
                  <a:lnTo>
                    <a:pt x="891" y="80"/>
                  </a:lnTo>
                  <a:lnTo>
                    <a:pt x="889" y="80"/>
                  </a:lnTo>
                  <a:lnTo>
                    <a:pt x="889" y="80"/>
                  </a:lnTo>
                  <a:lnTo>
                    <a:pt x="886" y="82"/>
                  </a:lnTo>
                  <a:lnTo>
                    <a:pt x="886" y="82"/>
                  </a:lnTo>
                  <a:lnTo>
                    <a:pt x="884" y="85"/>
                  </a:lnTo>
                  <a:lnTo>
                    <a:pt x="884" y="85"/>
                  </a:lnTo>
                  <a:lnTo>
                    <a:pt x="884" y="87"/>
                  </a:lnTo>
                  <a:lnTo>
                    <a:pt x="884" y="87"/>
                  </a:lnTo>
                  <a:lnTo>
                    <a:pt x="884" y="89"/>
                  </a:lnTo>
                  <a:lnTo>
                    <a:pt x="881" y="89"/>
                  </a:lnTo>
                  <a:lnTo>
                    <a:pt x="879" y="92"/>
                  </a:lnTo>
                  <a:lnTo>
                    <a:pt x="881" y="94"/>
                  </a:lnTo>
                  <a:lnTo>
                    <a:pt x="881" y="96"/>
                  </a:lnTo>
                  <a:lnTo>
                    <a:pt x="881" y="96"/>
                  </a:lnTo>
                  <a:lnTo>
                    <a:pt x="884" y="96"/>
                  </a:lnTo>
                  <a:lnTo>
                    <a:pt x="884" y="99"/>
                  </a:lnTo>
                  <a:lnTo>
                    <a:pt x="881" y="101"/>
                  </a:lnTo>
                  <a:lnTo>
                    <a:pt x="881" y="101"/>
                  </a:lnTo>
                  <a:lnTo>
                    <a:pt x="881" y="104"/>
                  </a:lnTo>
                  <a:lnTo>
                    <a:pt x="881" y="104"/>
                  </a:lnTo>
                  <a:lnTo>
                    <a:pt x="881" y="104"/>
                  </a:lnTo>
                  <a:lnTo>
                    <a:pt x="881" y="106"/>
                  </a:lnTo>
                  <a:lnTo>
                    <a:pt x="881" y="106"/>
                  </a:lnTo>
                  <a:lnTo>
                    <a:pt x="881" y="108"/>
                  </a:lnTo>
                  <a:lnTo>
                    <a:pt x="881" y="108"/>
                  </a:lnTo>
                  <a:lnTo>
                    <a:pt x="879" y="111"/>
                  </a:lnTo>
                  <a:lnTo>
                    <a:pt x="879" y="113"/>
                  </a:lnTo>
                  <a:lnTo>
                    <a:pt x="879" y="113"/>
                  </a:lnTo>
                  <a:lnTo>
                    <a:pt x="881" y="113"/>
                  </a:lnTo>
                  <a:lnTo>
                    <a:pt x="881" y="115"/>
                  </a:lnTo>
                  <a:lnTo>
                    <a:pt x="881" y="118"/>
                  </a:lnTo>
                  <a:lnTo>
                    <a:pt x="881" y="120"/>
                  </a:lnTo>
                  <a:lnTo>
                    <a:pt x="884" y="122"/>
                  </a:lnTo>
                  <a:lnTo>
                    <a:pt x="884" y="122"/>
                  </a:lnTo>
                  <a:lnTo>
                    <a:pt x="884" y="122"/>
                  </a:lnTo>
                  <a:lnTo>
                    <a:pt x="884" y="125"/>
                  </a:lnTo>
                  <a:lnTo>
                    <a:pt x="886" y="125"/>
                  </a:lnTo>
                  <a:lnTo>
                    <a:pt x="886" y="125"/>
                  </a:lnTo>
                  <a:lnTo>
                    <a:pt x="891" y="125"/>
                  </a:lnTo>
                  <a:lnTo>
                    <a:pt x="893" y="122"/>
                  </a:lnTo>
                  <a:lnTo>
                    <a:pt x="893" y="122"/>
                  </a:lnTo>
                  <a:lnTo>
                    <a:pt x="898" y="122"/>
                  </a:lnTo>
                  <a:lnTo>
                    <a:pt x="903" y="118"/>
                  </a:lnTo>
                  <a:lnTo>
                    <a:pt x="905" y="118"/>
                  </a:lnTo>
                  <a:lnTo>
                    <a:pt x="905" y="118"/>
                  </a:lnTo>
                  <a:lnTo>
                    <a:pt x="907" y="115"/>
                  </a:lnTo>
                  <a:lnTo>
                    <a:pt x="912" y="115"/>
                  </a:lnTo>
                  <a:lnTo>
                    <a:pt x="915" y="115"/>
                  </a:lnTo>
                  <a:lnTo>
                    <a:pt x="915" y="115"/>
                  </a:lnTo>
                  <a:lnTo>
                    <a:pt x="915" y="118"/>
                  </a:lnTo>
                  <a:lnTo>
                    <a:pt x="915" y="120"/>
                  </a:lnTo>
                  <a:lnTo>
                    <a:pt x="910" y="122"/>
                  </a:lnTo>
                  <a:lnTo>
                    <a:pt x="907" y="125"/>
                  </a:lnTo>
                  <a:lnTo>
                    <a:pt x="905" y="127"/>
                  </a:lnTo>
                  <a:lnTo>
                    <a:pt x="905" y="127"/>
                  </a:lnTo>
                  <a:lnTo>
                    <a:pt x="903" y="130"/>
                  </a:lnTo>
                  <a:lnTo>
                    <a:pt x="900" y="130"/>
                  </a:lnTo>
                  <a:lnTo>
                    <a:pt x="898" y="132"/>
                  </a:lnTo>
                  <a:lnTo>
                    <a:pt x="896" y="132"/>
                  </a:lnTo>
                  <a:lnTo>
                    <a:pt x="893" y="132"/>
                  </a:lnTo>
                  <a:lnTo>
                    <a:pt x="893" y="134"/>
                  </a:lnTo>
                  <a:lnTo>
                    <a:pt x="891" y="137"/>
                  </a:lnTo>
                  <a:lnTo>
                    <a:pt x="891" y="137"/>
                  </a:lnTo>
                  <a:lnTo>
                    <a:pt x="891" y="137"/>
                  </a:lnTo>
                  <a:lnTo>
                    <a:pt x="891" y="137"/>
                  </a:lnTo>
                  <a:lnTo>
                    <a:pt x="893" y="139"/>
                  </a:lnTo>
                  <a:lnTo>
                    <a:pt x="893" y="141"/>
                  </a:lnTo>
                  <a:lnTo>
                    <a:pt x="893" y="141"/>
                  </a:lnTo>
                  <a:lnTo>
                    <a:pt x="891" y="144"/>
                  </a:lnTo>
                  <a:lnTo>
                    <a:pt x="891" y="144"/>
                  </a:lnTo>
                  <a:lnTo>
                    <a:pt x="893" y="144"/>
                  </a:lnTo>
                  <a:lnTo>
                    <a:pt x="893" y="146"/>
                  </a:lnTo>
                  <a:lnTo>
                    <a:pt x="891" y="146"/>
                  </a:lnTo>
                  <a:lnTo>
                    <a:pt x="891" y="148"/>
                  </a:lnTo>
                  <a:lnTo>
                    <a:pt x="891" y="151"/>
                  </a:lnTo>
                  <a:lnTo>
                    <a:pt x="891" y="153"/>
                  </a:lnTo>
                  <a:lnTo>
                    <a:pt x="891" y="153"/>
                  </a:lnTo>
                  <a:lnTo>
                    <a:pt x="891" y="156"/>
                  </a:lnTo>
                  <a:lnTo>
                    <a:pt x="893" y="153"/>
                  </a:lnTo>
                  <a:lnTo>
                    <a:pt x="893" y="156"/>
                  </a:lnTo>
                  <a:lnTo>
                    <a:pt x="896" y="153"/>
                  </a:lnTo>
                  <a:lnTo>
                    <a:pt x="900" y="156"/>
                  </a:lnTo>
                  <a:lnTo>
                    <a:pt x="900" y="158"/>
                  </a:lnTo>
                  <a:lnTo>
                    <a:pt x="896" y="160"/>
                  </a:lnTo>
                  <a:lnTo>
                    <a:pt x="893" y="163"/>
                  </a:lnTo>
                  <a:lnTo>
                    <a:pt x="893" y="165"/>
                  </a:lnTo>
                  <a:lnTo>
                    <a:pt x="891" y="165"/>
                  </a:lnTo>
                  <a:lnTo>
                    <a:pt x="891" y="165"/>
                  </a:lnTo>
                  <a:lnTo>
                    <a:pt x="889" y="170"/>
                  </a:lnTo>
                  <a:lnTo>
                    <a:pt x="886" y="170"/>
                  </a:lnTo>
                  <a:lnTo>
                    <a:pt x="889" y="172"/>
                  </a:lnTo>
                  <a:lnTo>
                    <a:pt x="891" y="172"/>
                  </a:lnTo>
                  <a:lnTo>
                    <a:pt x="891" y="172"/>
                  </a:lnTo>
                  <a:lnTo>
                    <a:pt x="891" y="174"/>
                  </a:lnTo>
                  <a:lnTo>
                    <a:pt x="891" y="174"/>
                  </a:lnTo>
                  <a:lnTo>
                    <a:pt x="886" y="177"/>
                  </a:lnTo>
                  <a:lnTo>
                    <a:pt x="886" y="177"/>
                  </a:lnTo>
                  <a:lnTo>
                    <a:pt x="889" y="179"/>
                  </a:lnTo>
                  <a:lnTo>
                    <a:pt x="891" y="177"/>
                  </a:lnTo>
                  <a:lnTo>
                    <a:pt x="893" y="182"/>
                  </a:lnTo>
                  <a:lnTo>
                    <a:pt x="891" y="182"/>
                  </a:lnTo>
                  <a:lnTo>
                    <a:pt x="886" y="184"/>
                  </a:lnTo>
                  <a:lnTo>
                    <a:pt x="884" y="184"/>
                  </a:lnTo>
                  <a:lnTo>
                    <a:pt x="886" y="186"/>
                  </a:lnTo>
                  <a:lnTo>
                    <a:pt x="886" y="189"/>
                  </a:lnTo>
                  <a:lnTo>
                    <a:pt x="886" y="189"/>
                  </a:lnTo>
                  <a:lnTo>
                    <a:pt x="889" y="189"/>
                  </a:lnTo>
                  <a:lnTo>
                    <a:pt x="891" y="191"/>
                  </a:lnTo>
                  <a:lnTo>
                    <a:pt x="891" y="191"/>
                  </a:lnTo>
                  <a:lnTo>
                    <a:pt x="891" y="191"/>
                  </a:lnTo>
                  <a:lnTo>
                    <a:pt x="886" y="198"/>
                  </a:lnTo>
                  <a:lnTo>
                    <a:pt x="886" y="200"/>
                  </a:lnTo>
                  <a:lnTo>
                    <a:pt x="886" y="205"/>
                  </a:lnTo>
                  <a:lnTo>
                    <a:pt x="891" y="207"/>
                  </a:lnTo>
                  <a:lnTo>
                    <a:pt x="893" y="207"/>
                  </a:lnTo>
                  <a:lnTo>
                    <a:pt x="893" y="207"/>
                  </a:lnTo>
                  <a:lnTo>
                    <a:pt x="893" y="210"/>
                  </a:lnTo>
                  <a:lnTo>
                    <a:pt x="893" y="212"/>
                  </a:lnTo>
                  <a:lnTo>
                    <a:pt x="893" y="215"/>
                  </a:lnTo>
                  <a:lnTo>
                    <a:pt x="891" y="217"/>
                  </a:lnTo>
                  <a:lnTo>
                    <a:pt x="889" y="219"/>
                  </a:lnTo>
                  <a:lnTo>
                    <a:pt x="891" y="219"/>
                  </a:lnTo>
                  <a:lnTo>
                    <a:pt x="891" y="219"/>
                  </a:lnTo>
                  <a:lnTo>
                    <a:pt x="891" y="219"/>
                  </a:lnTo>
                  <a:lnTo>
                    <a:pt x="891" y="224"/>
                  </a:lnTo>
                  <a:lnTo>
                    <a:pt x="889" y="224"/>
                  </a:lnTo>
                  <a:lnTo>
                    <a:pt x="889" y="222"/>
                  </a:lnTo>
                  <a:lnTo>
                    <a:pt x="886" y="224"/>
                  </a:lnTo>
                  <a:lnTo>
                    <a:pt x="889" y="224"/>
                  </a:lnTo>
                  <a:lnTo>
                    <a:pt x="891" y="224"/>
                  </a:lnTo>
                  <a:lnTo>
                    <a:pt x="893" y="226"/>
                  </a:lnTo>
                  <a:lnTo>
                    <a:pt x="896" y="226"/>
                  </a:lnTo>
                  <a:lnTo>
                    <a:pt x="896" y="226"/>
                  </a:lnTo>
                  <a:lnTo>
                    <a:pt x="896" y="229"/>
                  </a:lnTo>
                  <a:lnTo>
                    <a:pt x="896" y="231"/>
                  </a:lnTo>
                  <a:lnTo>
                    <a:pt x="900" y="231"/>
                  </a:lnTo>
                  <a:lnTo>
                    <a:pt x="903" y="231"/>
                  </a:lnTo>
                  <a:lnTo>
                    <a:pt x="905" y="231"/>
                  </a:lnTo>
                  <a:lnTo>
                    <a:pt x="905" y="233"/>
                  </a:lnTo>
                  <a:lnTo>
                    <a:pt x="905" y="236"/>
                  </a:lnTo>
                  <a:lnTo>
                    <a:pt x="907" y="236"/>
                  </a:lnTo>
                  <a:lnTo>
                    <a:pt x="907" y="238"/>
                  </a:lnTo>
                  <a:lnTo>
                    <a:pt x="910" y="238"/>
                  </a:lnTo>
                  <a:lnTo>
                    <a:pt x="910" y="236"/>
                  </a:lnTo>
                  <a:lnTo>
                    <a:pt x="912" y="236"/>
                  </a:lnTo>
                  <a:lnTo>
                    <a:pt x="915" y="238"/>
                  </a:lnTo>
                  <a:lnTo>
                    <a:pt x="912" y="241"/>
                  </a:lnTo>
                  <a:lnTo>
                    <a:pt x="915" y="243"/>
                  </a:lnTo>
                  <a:lnTo>
                    <a:pt x="917" y="243"/>
                  </a:lnTo>
                  <a:lnTo>
                    <a:pt x="917" y="245"/>
                  </a:lnTo>
                  <a:lnTo>
                    <a:pt x="917" y="245"/>
                  </a:lnTo>
                  <a:lnTo>
                    <a:pt x="919" y="245"/>
                  </a:lnTo>
                  <a:lnTo>
                    <a:pt x="919" y="245"/>
                  </a:lnTo>
                  <a:lnTo>
                    <a:pt x="922" y="245"/>
                  </a:lnTo>
                  <a:lnTo>
                    <a:pt x="922" y="245"/>
                  </a:lnTo>
                  <a:lnTo>
                    <a:pt x="922" y="248"/>
                  </a:lnTo>
                  <a:lnTo>
                    <a:pt x="924" y="248"/>
                  </a:lnTo>
                  <a:lnTo>
                    <a:pt x="924" y="248"/>
                  </a:lnTo>
                  <a:lnTo>
                    <a:pt x="926" y="252"/>
                  </a:lnTo>
                  <a:lnTo>
                    <a:pt x="926" y="255"/>
                  </a:lnTo>
                  <a:lnTo>
                    <a:pt x="929" y="255"/>
                  </a:lnTo>
                  <a:lnTo>
                    <a:pt x="929" y="257"/>
                  </a:lnTo>
                  <a:lnTo>
                    <a:pt x="931" y="257"/>
                  </a:lnTo>
                  <a:lnTo>
                    <a:pt x="931" y="257"/>
                  </a:lnTo>
                  <a:lnTo>
                    <a:pt x="931" y="259"/>
                  </a:lnTo>
                  <a:lnTo>
                    <a:pt x="931" y="259"/>
                  </a:lnTo>
                  <a:lnTo>
                    <a:pt x="931" y="262"/>
                  </a:lnTo>
                  <a:lnTo>
                    <a:pt x="929" y="262"/>
                  </a:lnTo>
                  <a:lnTo>
                    <a:pt x="929" y="264"/>
                  </a:lnTo>
                  <a:lnTo>
                    <a:pt x="929" y="264"/>
                  </a:lnTo>
                  <a:lnTo>
                    <a:pt x="926" y="264"/>
                  </a:lnTo>
                  <a:lnTo>
                    <a:pt x="924" y="267"/>
                  </a:lnTo>
                  <a:lnTo>
                    <a:pt x="924" y="267"/>
                  </a:lnTo>
                  <a:lnTo>
                    <a:pt x="924" y="267"/>
                  </a:lnTo>
                  <a:lnTo>
                    <a:pt x="922" y="267"/>
                  </a:lnTo>
                  <a:lnTo>
                    <a:pt x="919" y="264"/>
                  </a:lnTo>
                  <a:lnTo>
                    <a:pt x="919" y="264"/>
                  </a:lnTo>
                  <a:lnTo>
                    <a:pt x="919" y="267"/>
                  </a:lnTo>
                  <a:lnTo>
                    <a:pt x="919" y="267"/>
                  </a:lnTo>
                  <a:lnTo>
                    <a:pt x="919" y="267"/>
                  </a:lnTo>
                  <a:lnTo>
                    <a:pt x="919" y="267"/>
                  </a:lnTo>
                  <a:lnTo>
                    <a:pt x="919" y="269"/>
                  </a:lnTo>
                  <a:lnTo>
                    <a:pt x="919" y="271"/>
                  </a:lnTo>
                  <a:lnTo>
                    <a:pt x="919" y="271"/>
                  </a:lnTo>
                  <a:lnTo>
                    <a:pt x="919" y="274"/>
                  </a:lnTo>
                  <a:lnTo>
                    <a:pt x="922" y="274"/>
                  </a:lnTo>
                  <a:lnTo>
                    <a:pt x="922" y="276"/>
                  </a:lnTo>
                  <a:lnTo>
                    <a:pt x="922" y="276"/>
                  </a:lnTo>
                  <a:lnTo>
                    <a:pt x="919" y="276"/>
                  </a:lnTo>
                  <a:lnTo>
                    <a:pt x="922" y="276"/>
                  </a:lnTo>
                  <a:lnTo>
                    <a:pt x="919" y="278"/>
                  </a:lnTo>
                  <a:lnTo>
                    <a:pt x="922" y="278"/>
                  </a:lnTo>
                  <a:lnTo>
                    <a:pt x="922" y="281"/>
                  </a:lnTo>
                  <a:lnTo>
                    <a:pt x="924" y="281"/>
                  </a:lnTo>
                  <a:lnTo>
                    <a:pt x="922" y="283"/>
                  </a:lnTo>
                  <a:lnTo>
                    <a:pt x="922" y="281"/>
                  </a:lnTo>
                  <a:lnTo>
                    <a:pt x="922" y="283"/>
                  </a:lnTo>
                  <a:lnTo>
                    <a:pt x="922" y="283"/>
                  </a:lnTo>
                  <a:lnTo>
                    <a:pt x="922" y="283"/>
                  </a:lnTo>
                  <a:lnTo>
                    <a:pt x="922" y="285"/>
                  </a:lnTo>
                  <a:lnTo>
                    <a:pt x="922" y="285"/>
                  </a:lnTo>
                  <a:lnTo>
                    <a:pt x="922" y="285"/>
                  </a:lnTo>
                  <a:lnTo>
                    <a:pt x="922" y="285"/>
                  </a:lnTo>
                  <a:lnTo>
                    <a:pt x="922" y="288"/>
                  </a:lnTo>
                  <a:lnTo>
                    <a:pt x="919" y="290"/>
                  </a:lnTo>
                  <a:lnTo>
                    <a:pt x="922" y="293"/>
                  </a:lnTo>
                  <a:lnTo>
                    <a:pt x="922" y="293"/>
                  </a:lnTo>
                  <a:lnTo>
                    <a:pt x="922" y="295"/>
                  </a:lnTo>
                  <a:lnTo>
                    <a:pt x="922" y="295"/>
                  </a:lnTo>
                  <a:lnTo>
                    <a:pt x="922" y="297"/>
                  </a:lnTo>
                  <a:lnTo>
                    <a:pt x="919" y="297"/>
                  </a:lnTo>
                  <a:lnTo>
                    <a:pt x="919" y="297"/>
                  </a:lnTo>
                  <a:lnTo>
                    <a:pt x="919" y="297"/>
                  </a:lnTo>
                  <a:lnTo>
                    <a:pt x="919" y="297"/>
                  </a:lnTo>
                  <a:lnTo>
                    <a:pt x="917" y="297"/>
                  </a:lnTo>
                  <a:lnTo>
                    <a:pt x="917" y="300"/>
                  </a:lnTo>
                  <a:lnTo>
                    <a:pt x="917" y="300"/>
                  </a:lnTo>
                  <a:lnTo>
                    <a:pt x="917" y="300"/>
                  </a:lnTo>
                  <a:lnTo>
                    <a:pt x="917" y="302"/>
                  </a:lnTo>
                  <a:lnTo>
                    <a:pt x="919" y="302"/>
                  </a:lnTo>
                  <a:lnTo>
                    <a:pt x="919" y="302"/>
                  </a:lnTo>
                  <a:lnTo>
                    <a:pt x="919" y="304"/>
                  </a:lnTo>
                  <a:lnTo>
                    <a:pt x="919" y="307"/>
                  </a:lnTo>
                  <a:lnTo>
                    <a:pt x="919" y="307"/>
                  </a:lnTo>
                  <a:lnTo>
                    <a:pt x="919" y="309"/>
                  </a:lnTo>
                  <a:lnTo>
                    <a:pt x="919" y="311"/>
                  </a:lnTo>
                  <a:lnTo>
                    <a:pt x="919" y="311"/>
                  </a:lnTo>
                  <a:lnTo>
                    <a:pt x="919" y="311"/>
                  </a:lnTo>
                  <a:lnTo>
                    <a:pt x="919" y="316"/>
                  </a:lnTo>
                  <a:lnTo>
                    <a:pt x="919" y="316"/>
                  </a:lnTo>
                  <a:lnTo>
                    <a:pt x="917" y="316"/>
                  </a:lnTo>
                  <a:lnTo>
                    <a:pt x="917" y="319"/>
                  </a:lnTo>
                  <a:lnTo>
                    <a:pt x="915" y="319"/>
                  </a:lnTo>
                  <a:lnTo>
                    <a:pt x="915" y="319"/>
                  </a:lnTo>
                  <a:lnTo>
                    <a:pt x="915" y="321"/>
                  </a:lnTo>
                  <a:lnTo>
                    <a:pt x="915" y="321"/>
                  </a:lnTo>
                  <a:lnTo>
                    <a:pt x="917" y="323"/>
                  </a:lnTo>
                  <a:lnTo>
                    <a:pt x="915" y="326"/>
                  </a:lnTo>
                  <a:lnTo>
                    <a:pt x="915" y="326"/>
                  </a:lnTo>
                  <a:lnTo>
                    <a:pt x="915" y="328"/>
                  </a:lnTo>
                  <a:lnTo>
                    <a:pt x="912" y="330"/>
                  </a:lnTo>
                  <a:lnTo>
                    <a:pt x="910" y="328"/>
                  </a:lnTo>
                  <a:lnTo>
                    <a:pt x="910" y="333"/>
                  </a:lnTo>
                  <a:lnTo>
                    <a:pt x="910" y="333"/>
                  </a:lnTo>
                  <a:lnTo>
                    <a:pt x="907" y="333"/>
                  </a:lnTo>
                  <a:lnTo>
                    <a:pt x="905" y="333"/>
                  </a:lnTo>
                  <a:lnTo>
                    <a:pt x="905" y="330"/>
                  </a:lnTo>
                  <a:lnTo>
                    <a:pt x="903" y="330"/>
                  </a:lnTo>
                  <a:lnTo>
                    <a:pt x="903" y="333"/>
                  </a:lnTo>
                  <a:lnTo>
                    <a:pt x="903" y="333"/>
                  </a:lnTo>
                  <a:lnTo>
                    <a:pt x="900" y="330"/>
                  </a:lnTo>
                  <a:lnTo>
                    <a:pt x="900" y="330"/>
                  </a:lnTo>
                  <a:lnTo>
                    <a:pt x="900" y="330"/>
                  </a:lnTo>
                  <a:lnTo>
                    <a:pt x="900" y="333"/>
                  </a:lnTo>
                  <a:lnTo>
                    <a:pt x="898" y="335"/>
                  </a:lnTo>
                  <a:lnTo>
                    <a:pt x="893" y="333"/>
                  </a:lnTo>
                  <a:lnTo>
                    <a:pt x="893" y="333"/>
                  </a:lnTo>
                  <a:lnTo>
                    <a:pt x="893" y="335"/>
                  </a:lnTo>
                  <a:lnTo>
                    <a:pt x="891" y="335"/>
                  </a:lnTo>
                  <a:lnTo>
                    <a:pt x="891" y="330"/>
                  </a:lnTo>
                  <a:lnTo>
                    <a:pt x="889" y="330"/>
                  </a:lnTo>
                  <a:lnTo>
                    <a:pt x="886" y="333"/>
                  </a:lnTo>
                  <a:lnTo>
                    <a:pt x="884" y="333"/>
                  </a:lnTo>
                  <a:lnTo>
                    <a:pt x="884" y="330"/>
                  </a:lnTo>
                  <a:lnTo>
                    <a:pt x="884" y="330"/>
                  </a:lnTo>
                  <a:lnTo>
                    <a:pt x="881" y="330"/>
                  </a:lnTo>
                  <a:lnTo>
                    <a:pt x="881" y="328"/>
                  </a:lnTo>
                  <a:lnTo>
                    <a:pt x="879" y="328"/>
                  </a:lnTo>
                  <a:lnTo>
                    <a:pt x="881" y="328"/>
                  </a:lnTo>
                  <a:lnTo>
                    <a:pt x="881" y="326"/>
                  </a:lnTo>
                  <a:lnTo>
                    <a:pt x="881" y="326"/>
                  </a:lnTo>
                  <a:lnTo>
                    <a:pt x="881" y="323"/>
                  </a:lnTo>
                  <a:lnTo>
                    <a:pt x="881" y="323"/>
                  </a:lnTo>
                  <a:lnTo>
                    <a:pt x="879" y="321"/>
                  </a:lnTo>
                  <a:lnTo>
                    <a:pt x="879" y="321"/>
                  </a:lnTo>
                  <a:lnTo>
                    <a:pt x="879" y="319"/>
                  </a:lnTo>
                  <a:lnTo>
                    <a:pt x="877" y="319"/>
                  </a:lnTo>
                  <a:lnTo>
                    <a:pt x="877" y="316"/>
                  </a:lnTo>
                  <a:lnTo>
                    <a:pt x="874" y="316"/>
                  </a:lnTo>
                  <a:lnTo>
                    <a:pt x="874" y="316"/>
                  </a:lnTo>
                  <a:lnTo>
                    <a:pt x="874" y="314"/>
                  </a:lnTo>
                  <a:lnTo>
                    <a:pt x="872" y="314"/>
                  </a:lnTo>
                  <a:lnTo>
                    <a:pt x="870" y="311"/>
                  </a:lnTo>
                  <a:lnTo>
                    <a:pt x="865" y="309"/>
                  </a:lnTo>
                  <a:lnTo>
                    <a:pt x="865" y="307"/>
                  </a:lnTo>
                  <a:lnTo>
                    <a:pt x="863" y="307"/>
                  </a:lnTo>
                  <a:lnTo>
                    <a:pt x="860" y="304"/>
                  </a:lnTo>
                  <a:lnTo>
                    <a:pt x="860" y="302"/>
                  </a:lnTo>
                  <a:lnTo>
                    <a:pt x="858" y="304"/>
                  </a:lnTo>
                  <a:lnTo>
                    <a:pt x="855" y="302"/>
                  </a:lnTo>
                  <a:lnTo>
                    <a:pt x="855" y="304"/>
                  </a:lnTo>
                  <a:lnTo>
                    <a:pt x="855" y="307"/>
                  </a:lnTo>
                  <a:lnTo>
                    <a:pt x="855" y="307"/>
                  </a:lnTo>
                  <a:lnTo>
                    <a:pt x="855" y="309"/>
                  </a:lnTo>
                  <a:lnTo>
                    <a:pt x="853" y="309"/>
                  </a:lnTo>
                  <a:lnTo>
                    <a:pt x="851" y="309"/>
                  </a:lnTo>
                  <a:lnTo>
                    <a:pt x="851" y="311"/>
                  </a:lnTo>
                  <a:lnTo>
                    <a:pt x="848" y="314"/>
                  </a:lnTo>
                  <a:lnTo>
                    <a:pt x="848" y="316"/>
                  </a:lnTo>
                  <a:lnTo>
                    <a:pt x="848" y="316"/>
                  </a:lnTo>
                  <a:lnTo>
                    <a:pt x="848" y="319"/>
                  </a:lnTo>
                  <a:lnTo>
                    <a:pt x="848" y="319"/>
                  </a:lnTo>
                  <a:lnTo>
                    <a:pt x="853" y="319"/>
                  </a:lnTo>
                  <a:lnTo>
                    <a:pt x="853" y="319"/>
                  </a:lnTo>
                  <a:lnTo>
                    <a:pt x="855" y="321"/>
                  </a:lnTo>
                  <a:lnTo>
                    <a:pt x="853" y="326"/>
                  </a:lnTo>
                  <a:lnTo>
                    <a:pt x="853" y="328"/>
                  </a:lnTo>
                  <a:lnTo>
                    <a:pt x="851" y="333"/>
                  </a:lnTo>
                  <a:lnTo>
                    <a:pt x="853" y="335"/>
                  </a:lnTo>
                  <a:lnTo>
                    <a:pt x="853" y="335"/>
                  </a:lnTo>
                  <a:lnTo>
                    <a:pt x="853" y="337"/>
                  </a:lnTo>
                  <a:lnTo>
                    <a:pt x="855" y="337"/>
                  </a:lnTo>
                  <a:lnTo>
                    <a:pt x="855" y="337"/>
                  </a:lnTo>
                  <a:lnTo>
                    <a:pt x="855" y="340"/>
                  </a:lnTo>
                  <a:lnTo>
                    <a:pt x="853" y="340"/>
                  </a:lnTo>
                  <a:lnTo>
                    <a:pt x="853" y="342"/>
                  </a:lnTo>
                  <a:lnTo>
                    <a:pt x="855" y="345"/>
                  </a:lnTo>
                  <a:lnTo>
                    <a:pt x="855" y="345"/>
                  </a:lnTo>
                  <a:lnTo>
                    <a:pt x="855" y="345"/>
                  </a:lnTo>
                  <a:lnTo>
                    <a:pt x="855" y="349"/>
                  </a:lnTo>
                  <a:lnTo>
                    <a:pt x="855" y="349"/>
                  </a:lnTo>
                  <a:lnTo>
                    <a:pt x="853" y="349"/>
                  </a:lnTo>
                  <a:lnTo>
                    <a:pt x="853" y="349"/>
                  </a:lnTo>
                  <a:lnTo>
                    <a:pt x="851" y="349"/>
                  </a:lnTo>
                  <a:lnTo>
                    <a:pt x="851" y="349"/>
                  </a:lnTo>
                  <a:lnTo>
                    <a:pt x="848" y="352"/>
                  </a:lnTo>
                  <a:lnTo>
                    <a:pt x="848" y="354"/>
                  </a:lnTo>
                  <a:lnTo>
                    <a:pt x="846" y="352"/>
                  </a:lnTo>
                  <a:lnTo>
                    <a:pt x="844" y="354"/>
                  </a:lnTo>
                  <a:lnTo>
                    <a:pt x="844" y="354"/>
                  </a:lnTo>
                  <a:lnTo>
                    <a:pt x="841" y="354"/>
                  </a:lnTo>
                  <a:lnTo>
                    <a:pt x="839" y="354"/>
                  </a:lnTo>
                  <a:lnTo>
                    <a:pt x="837" y="352"/>
                  </a:lnTo>
                  <a:lnTo>
                    <a:pt x="834" y="349"/>
                  </a:lnTo>
                  <a:lnTo>
                    <a:pt x="832" y="349"/>
                  </a:lnTo>
                  <a:lnTo>
                    <a:pt x="827" y="347"/>
                  </a:lnTo>
                  <a:lnTo>
                    <a:pt x="825" y="347"/>
                  </a:lnTo>
                  <a:lnTo>
                    <a:pt x="820" y="345"/>
                  </a:lnTo>
                  <a:lnTo>
                    <a:pt x="815" y="345"/>
                  </a:lnTo>
                  <a:lnTo>
                    <a:pt x="811" y="342"/>
                  </a:lnTo>
                  <a:lnTo>
                    <a:pt x="811" y="345"/>
                  </a:lnTo>
                  <a:lnTo>
                    <a:pt x="803" y="349"/>
                  </a:lnTo>
                  <a:lnTo>
                    <a:pt x="803" y="349"/>
                  </a:lnTo>
                  <a:lnTo>
                    <a:pt x="803" y="352"/>
                  </a:lnTo>
                  <a:lnTo>
                    <a:pt x="803" y="354"/>
                  </a:lnTo>
                  <a:lnTo>
                    <a:pt x="806" y="354"/>
                  </a:lnTo>
                  <a:lnTo>
                    <a:pt x="806" y="356"/>
                  </a:lnTo>
                  <a:lnTo>
                    <a:pt x="808" y="356"/>
                  </a:lnTo>
                  <a:lnTo>
                    <a:pt x="808" y="356"/>
                  </a:lnTo>
                  <a:lnTo>
                    <a:pt x="806" y="359"/>
                  </a:lnTo>
                  <a:lnTo>
                    <a:pt x="803" y="363"/>
                  </a:lnTo>
                  <a:lnTo>
                    <a:pt x="803" y="366"/>
                  </a:lnTo>
                  <a:lnTo>
                    <a:pt x="801" y="368"/>
                  </a:lnTo>
                  <a:lnTo>
                    <a:pt x="801" y="370"/>
                  </a:lnTo>
                  <a:lnTo>
                    <a:pt x="801" y="373"/>
                  </a:lnTo>
                  <a:lnTo>
                    <a:pt x="803" y="375"/>
                  </a:lnTo>
                  <a:lnTo>
                    <a:pt x="803" y="373"/>
                  </a:lnTo>
                  <a:lnTo>
                    <a:pt x="806" y="373"/>
                  </a:lnTo>
                  <a:lnTo>
                    <a:pt x="806" y="373"/>
                  </a:lnTo>
                  <a:lnTo>
                    <a:pt x="808" y="373"/>
                  </a:lnTo>
                  <a:lnTo>
                    <a:pt x="808" y="380"/>
                  </a:lnTo>
                  <a:lnTo>
                    <a:pt x="811" y="380"/>
                  </a:lnTo>
                  <a:lnTo>
                    <a:pt x="813" y="385"/>
                  </a:lnTo>
                  <a:lnTo>
                    <a:pt x="813" y="387"/>
                  </a:lnTo>
                  <a:lnTo>
                    <a:pt x="811" y="387"/>
                  </a:lnTo>
                  <a:lnTo>
                    <a:pt x="811" y="389"/>
                  </a:lnTo>
                  <a:lnTo>
                    <a:pt x="813" y="389"/>
                  </a:lnTo>
                  <a:lnTo>
                    <a:pt x="813" y="392"/>
                  </a:lnTo>
                  <a:lnTo>
                    <a:pt x="811" y="392"/>
                  </a:lnTo>
                  <a:lnTo>
                    <a:pt x="808" y="394"/>
                  </a:lnTo>
                  <a:lnTo>
                    <a:pt x="806" y="394"/>
                  </a:lnTo>
                  <a:lnTo>
                    <a:pt x="803" y="396"/>
                  </a:lnTo>
                  <a:lnTo>
                    <a:pt x="801" y="399"/>
                  </a:lnTo>
                  <a:lnTo>
                    <a:pt x="801" y="404"/>
                  </a:lnTo>
                  <a:lnTo>
                    <a:pt x="801" y="411"/>
                  </a:lnTo>
                  <a:lnTo>
                    <a:pt x="801" y="413"/>
                  </a:lnTo>
                  <a:lnTo>
                    <a:pt x="801" y="415"/>
                  </a:lnTo>
                  <a:lnTo>
                    <a:pt x="803" y="418"/>
                  </a:lnTo>
                  <a:lnTo>
                    <a:pt x="806" y="420"/>
                  </a:lnTo>
                  <a:lnTo>
                    <a:pt x="808" y="420"/>
                  </a:lnTo>
                  <a:lnTo>
                    <a:pt x="808" y="420"/>
                  </a:lnTo>
                  <a:lnTo>
                    <a:pt x="808" y="422"/>
                  </a:lnTo>
                  <a:lnTo>
                    <a:pt x="813" y="422"/>
                  </a:lnTo>
                  <a:lnTo>
                    <a:pt x="813" y="422"/>
                  </a:lnTo>
                  <a:lnTo>
                    <a:pt x="811" y="425"/>
                  </a:lnTo>
                  <a:lnTo>
                    <a:pt x="813" y="427"/>
                  </a:lnTo>
                  <a:lnTo>
                    <a:pt x="811" y="432"/>
                  </a:lnTo>
                  <a:lnTo>
                    <a:pt x="813" y="434"/>
                  </a:lnTo>
                  <a:lnTo>
                    <a:pt x="815" y="437"/>
                  </a:lnTo>
                  <a:lnTo>
                    <a:pt x="815" y="439"/>
                  </a:lnTo>
                  <a:lnTo>
                    <a:pt x="818" y="444"/>
                  </a:lnTo>
                  <a:lnTo>
                    <a:pt x="815" y="448"/>
                  </a:lnTo>
                  <a:lnTo>
                    <a:pt x="818" y="448"/>
                  </a:lnTo>
                  <a:lnTo>
                    <a:pt x="815" y="448"/>
                  </a:lnTo>
                  <a:lnTo>
                    <a:pt x="818" y="453"/>
                  </a:lnTo>
                  <a:lnTo>
                    <a:pt x="818" y="456"/>
                  </a:lnTo>
                  <a:lnTo>
                    <a:pt x="818" y="456"/>
                  </a:lnTo>
                  <a:lnTo>
                    <a:pt x="818" y="458"/>
                  </a:lnTo>
                  <a:lnTo>
                    <a:pt x="815" y="458"/>
                  </a:lnTo>
                  <a:lnTo>
                    <a:pt x="799" y="463"/>
                  </a:lnTo>
                  <a:lnTo>
                    <a:pt x="787" y="465"/>
                  </a:lnTo>
                  <a:lnTo>
                    <a:pt x="782" y="467"/>
                  </a:lnTo>
                  <a:lnTo>
                    <a:pt x="782" y="467"/>
                  </a:lnTo>
                  <a:lnTo>
                    <a:pt x="782" y="467"/>
                  </a:lnTo>
                  <a:lnTo>
                    <a:pt x="780" y="467"/>
                  </a:lnTo>
                  <a:lnTo>
                    <a:pt x="780" y="467"/>
                  </a:lnTo>
                  <a:lnTo>
                    <a:pt x="778" y="465"/>
                  </a:lnTo>
                  <a:lnTo>
                    <a:pt x="775" y="465"/>
                  </a:lnTo>
                  <a:lnTo>
                    <a:pt x="778" y="465"/>
                  </a:lnTo>
                  <a:lnTo>
                    <a:pt x="775" y="463"/>
                  </a:lnTo>
                  <a:lnTo>
                    <a:pt x="775" y="463"/>
                  </a:lnTo>
                  <a:lnTo>
                    <a:pt x="775" y="463"/>
                  </a:lnTo>
                  <a:lnTo>
                    <a:pt x="775" y="465"/>
                  </a:lnTo>
                  <a:lnTo>
                    <a:pt x="775" y="465"/>
                  </a:lnTo>
                  <a:lnTo>
                    <a:pt x="775" y="465"/>
                  </a:lnTo>
                  <a:lnTo>
                    <a:pt x="773" y="465"/>
                  </a:lnTo>
                  <a:lnTo>
                    <a:pt x="773" y="465"/>
                  </a:lnTo>
                  <a:lnTo>
                    <a:pt x="773" y="465"/>
                  </a:lnTo>
                  <a:lnTo>
                    <a:pt x="773" y="467"/>
                  </a:lnTo>
                  <a:lnTo>
                    <a:pt x="773" y="467"/>
                  </a:lnTo>
                  <a:lnTo>
                    <a:pt x="773" y="467"/>
                  </a:lnTo>
                  <a:lnTo>
                    <a:pt x="773" y="467"/>
                  </a:lnTo>
                  <a:lnTo>
                    <a:pt x="773" y="467"/>
                  </a:lnTo>
                  <a:lnTo>
                    <a:pt x="773" y="467"/>
                  </a:lnTo>
                  <a:lnTo>
                    <a:pt x="773" y="467"/>
                  </a:lnTo>
                  <a:lnTo>
                    <a:pt x="773" y="467"/>
                  </a:lnTo>
                  <a:lnTo>
                    <a:pt x="773" y="467"/>
                  </a:lnTo>
                  <a:lnTo>
                    <a:pt x="773" y="470"/>
                  </a:lnTo>
                  <a:lnTo>
                    <a:pt x="770" y="470"/>
                  </a:lnTo>
                  <a:lnTo>
                    <a:pt x="770" y="467"/>
                  </a:lnTo>
                  <a:lnTo>
                    <a:pt x="770" y="470"/>
                  </a:lnTo>
                  <a:lnTo>
                    <a:pt x="770" y="470"/>
                  </a:lnTo>
                  <a:lnTo>
                    <a:pt x="770" y="470"/>
                  </a:lnTo>
                  <a:lnTo>
                    <a:pt x="768" y="470"/>
                  </a:lnTo>
                  <a:lnTo>
                    <a:pt x="768" y="472"/>
                  </a:lnTo>
                  <a:lnTo>
                    <a:pt x="768" y="472"/>
                  </a:lnTo>
                  <a:lnTo>
                    <a:pt x="768" y="472"/>
                  </a:lnTo>
                  <a:lnTo>
                    <a:pt x="766" y="472"/>
                  </a:lnTo>
                  <a:lnTo>
                    <a:pt x="766" y="474"/>
                  </a:lnTo>
                  <a:lnTo>
                    <a:pt x="766" y="474"/>
                  </a:lnTo>
                  <a:lnTo>
                    <a:pt x="766" y="474"/>
                  </a:lnTo>
                  <a:lnTo>
                    <a:pt x="763" y="474"/>
                  </a:lnTo>
                  <a:lnTo>
                    <a:pt x="763" y="474"/>
                  </a:lnTo>
                  <a:lnTo>
                    <a:pt x="761" y="474"/>
                  </a:lnTo>
                  <a:lnTo>
                    <a:pt x="761" y="474"/>
                  </a:lnTo>
                  <a:lnTo>
                    <a:pt x="759" y="474"/>
                  </a:lnTo>
                  <a:lnTo>
                    <a:pt x="759" y="474"/>
                  </a:lnTo>
                  <a:lnTo>
                    <a:pt x="759" y="474"/>
                  </a:lnTo>
                  <a:lnTo>
                    <a:pt x="756" y="474"/>
                  </a:lnTo>
                  <a:lnTo>
                    <a:pt x="756" y="474"/>
                  </a:lnTo>
                  <a:lnTo>
                    <a:pt x="756" y="474"/>
                  </a:lnTo>
                  <a:lnTo>
                    <a:pt x="756" y="474"/>
                  </a:lnTo>
                  <a:lnTo>
                    <a:pt x="756" y="474"/>
                  </a:lnTo>
                  <a:lnTo>
                    <a:pt x="756" y="474"/>
                  </a:lnTo>
                  <a:lnTo>
                    <a:pt x="756" y="477"/>
                  </a:lnTo>
                  <a:lnTo>
                    <a:pt x="754" y="477"/>
                  </a:lnTo>
                  <a:lnTo>
                    <a:pt x="754" y="477"/>
                  </a:lnTo>
                  <a:lnTo>
                    <a:pt x="754" y="477"/>
                  </a:lnTo>
                  <a:lnTo>
                    <a:pt x="754" y="477"/>
                  </a:lnTo>
                  <a:lnTo>
                    <a:pt x="752" y="477"/>
                  </a:lnTo>
                  <a:lnTo>
                    <a:pt x="752" y="474"/>
                  </a:lnTo>
                  <a:lnTo>
                    <a:pt x="749" y="474"/>
                  </a:lnTo>
                  <a:lnTo>
                    <a:pt x="749" y="474"/>
                  </a:lnTo>
                  <a:lnTo>
                    <a:pt x="749" y="474"/>
                  </a:lnTo>
                  <a:lnTo>
                    <a:pt x="749" y="474"/>
                  </a:lnTo>
                  <a:lnTo>
                    <a:pt x="747" y="474"/>
                  </a:lnTo>
                  <a:lnTo>
                    <a:pt x="747" y="472"/>
                  </a:lnTo>
                  <a:lnTo>
                    <a:pt x="747" y="472"/>
                  </a:lnTo>
                  <a:lnTo>
                    <a:pt x="747" y="472"/>
                  </a:lnTo>
                  <a:lnTo>
                    <a:pt x="747" y="472"/>
                  </a:lnTo>
                  <a:lnTo>
                    <a:pt x="747" y="472"/>
                  </a:lnTo>
                  <a:lnTo>
                    <a:pt x="747" y="470"/>
                  </a:lnTo>
                  <a:lnTo>
                    <a:pt x="747" y="467"/>
                  </a:lnTo>
                  <a:lnTo>
                    <a:pt x="747" y="467"/>
                  </a:lnTo>
                  <a:lnTo>
                    <a:pt x="747" y="467"/>
                  </a:lnTo>
                  <a:lnTo>
                    <a:pt x="747" y="467"/>
                  </a:lnTo>
                  <a:lnTo>
                    <a:pt x="747" y="465"/>
                  </a:lnTo>
                  <a:lnTo>
                    <a:pt x="747" y="465"/>
                  </a:lnTo>
                  <a:lnTo>
                    <a:pt x="747" y="465"/>
                  </a:lnTo>
                  <a:lnTo>
                    <a:pt x="747" y="465"/>
                  </a:lnTo>
                  <a:lnTo>
                    <a:pt x="747" y="463"/>
                  </a:lnTo>
                  <a:lnTo>
                    <a:pt x="747" y="463"/>
                  </a:lnTo>
                  <a:lnTo>
                    <a:pt x="747" y="463"/>
                  </a:lnTo>
                  <a:lnTo>
                    <a:pt x="747" y="463"/>
                  </a:lnTo>
                  <a:lnTo>
                    <a:pt x="747" y="460"/>
                  </a:lnTo>
                  <a:lnTo>
                    <a:pt x="747" y="460"/>
                  </a:lnTo>
                  <a:lnTo>
                    <a:pt x="747" y="460"/>
                  </a:lnTo>
                  <a:lnTo>
                    <a:pt x="747" y="458"/>
                  </a:lnTo>
                  <a:lnTo>
                    <a:pt x="747" y="458"/>
                  </a:lnTo>
                  <a:lnTo>
                    <a:pt x="744" y="458"/>
                  </a:lnTo>
                  <a:lnTo>
                    <a:pt x="747" y="458"/>
                  </a:lnTo>
                  <a:lnTo>
                    <a:pt x="747" y="456"/>
                  </a:lnTo>
                  <a:lnTo>
                    <a:pt x="747" y="456"/>
                  </a:lnTo>
                  <a:lnTo>
                    <a:pt x="747" y="456"/>
                  </a:lnTo>
                  <a:lnTo>
                    <a:pt x="747" y="453"/>
                  </a:lnTo>
                  <a:lnTo>
                    <a:pt x="747" y="453"/>
                  </a:lnTo>
                  <a:lnTo>
                    <a:pt x="747" y="451"/>
                  </a:lnTo>
                  <a:lnTo>
                    <a:pt x="747" y="451"/>
                  </a:lnTo>
                  <a:lnTo>
                    <a:pt x="747" y="451"/>
                  </a:lnTo>
                  <a:lnTo>
                    <a:pt x="747" y="448"/>
                  </a:lnTo>
                  <a:lnTo>
                    <a:pt x="749" y="448"/>
                  </a:lnTo>
                  <a:lnTo>
                    <a:pt x="749" y="448"/>
                  </a:lnTo>
                  <a:lnTo>
                    <a:pt x="749" y="448"/>
                  </a:lnTo>
                  <a:lnTo>
                    <a:pt x="749" y="446"/>
                  </a:lnTo>
                  <a:lnTo>
                    <a:pt x="749" y="446"/>
                  </a:lnTo>
                  <a:lnTo>
                    <a:pt x="752" y="444"/>
                  </a:lnTo>
                  <a:lnTo>
                    <a:pt x="752" y="444"/>
                  </a:lnTo>
                  <a:lnTo>
                    <a:pt x="752" y="441"/>
                  </a:lnTo>
                  <a:lnTo>
                    <a:pt x="752" y="441"/>
                  </a:lnTo>
                  <a:lnTo>
                    <a:pt x="754" y="441"/>
                  </a:lnTo>
                  <a:lnTo>
                    <a:pt x="754" y="439"/>
                  </a:lnTo>
                  <a:lnTo>
                    <a:pt x="754" y="441"/>
                  </a:lnTo>
                  <a:lnTo>
                    <a:pt x="754" y="439"/>
                  </a:lnTo>
                  <a:lnTo>
                    <a:pt x="754" y="439"/>
                  </a:lnTo>
                  <a:lnTo>
                    <a:pt x="754" y="439"/>
                  </a:lnTo>
                  <a:lnTo>
                    <a:pt x="754" y="437"/>
                  </a:lnTo>
                  <a:lnTo>
                    <a:pt x="754" y="437"/>
                  </a:lnTo>
                  <a:lnTo>
                    <a:pt x="754" y="434"/>
                  </a:lnTo>
                  <a:lnTo>
                    <a:pt x="754" y="432"/>
                  </a:lnTo>
                  <a:lnTo>
                    <a:pt x="754" y="432"/>
                  </a:lnTo>
                  <a:lnTo>
                    <a:pt x="752" y="432"/>
                  </a:lnTo>
                  <a:lnTo>
                    <a:pt x="752" y="430"/>
                  </a:lnTo>
                  <a:lnTo>
                    <a:pt x="752" y="430"/>
                  </a:lnTo>
                  <a:lnTo>
                    <a:pt x="752" y="427"/>
                  </a:lnTo>
                  <a:lnTo>
                    <a:pt x="752" y="427"/>
                  </a:lnTo>
                  <a:lnTo>
                    <a:pt x="752" y="425"/>
                  </a:lnTo>
                  <a:lnTo>
                    <a:pt x="754" y="420"/>
                  </a:lnTo>
                  <a:lnTo>
                    <a:pt x="754" y="420"/>
                  </a:lnTo>
                  <a:lnTo>
                    <a:pt x="754" y="418"/>
                  </a:lnTo>
                  <a:lnTo>
                    <a:pt x="752" y="418"/>
                  </a:lnTo>
                  <a:lnTo>
                    <a:pt x="749" y="418"/>
                  </a:lnTo>
                  <a:lnTo>
                    <a:pt x="747" y="418"/>
                  </a:lnTo>
                  <a:lnTo>
                    <a:pt x="744" y="418"/>
                  </a:lnTo>
                  <a:lnTo>
                    <a:pt x="744" y="415"/>
                  </a:lnTo>
                  <a:lnTo>
                    <a:pt x="744" y="415"/>
                  </a:lnTo>
                  <a:lnTo>
                    <a:pt x="742" y="413"/>
                  </a:lnTo>
                  <a:lnTo>
                    <a:pt x="740" y="413"/>
                  </a:lnTo>
                  <a:lnTo>
                    <a:pt x="740" y="408"/>
                  </a:lnTo>
                  <a:lnTo>
                    <a:pt x="730" y="408"/>
                  </a:lnTo>
                  <a:lnTo>
                    <a:pt x="721" y="408"/>
                  </a:lnTo>
                  <a:lnTo>
                    <a:pt x="709" y="408"/>
                  </a:lnTo>
                  <a:lnTo>
                    <a:pt x="695" y="408"/>
                  </a:lnTo>
                  <a:lnTo>
                    <a:pt x="662" y="408"/>
                  </a:lnTo>
                  <a:lnTo>
                    <a:pt x="659" y="408"/>
                  </a:lnTo>
                  <a:lnTo>
                    <a:pt x="640" y="408"/>
                  </a:lnTo>
                  <a:lnTo>
                    <a:pt x="640" y="408"/>
                  </a:lnTo>
                  <a:lnTo>
                    <a:pt x="640" y="422"/>
                  </a:lnTo>
                  <a:lnTo>
                    <a:pt x="638" y="422"/>
                  </a:lnTo>
                  <a:lnTo>
                    <a:pt x="638" y="425"/>
                  </a:lnTo>
                  <a:lnTo>
                    <a:pt x="636" y="427"/>
                  </a:lnTo>
                  <a:lnTo>
                    <a:pt x="636" y="432"/>
                  </a:lnTo>
                  <a:lnTo>
                    <a:pt x="636" y="434"/>
                  </a:lnTo>
                  <a:lnTo>
                    <a:pt x="638" y="434"/>
                  </a:lnTo>
                  <a:lnTo>
                    <a:pt x="638" y="434"/>
                  </a:lnTo>
                  <a:lnTo>
                    <a:pt x="640" y="437"/>
                  </a:lnTo>
                  <a:lnTo>
                    <a:pt x="640" y="439"/>
                  </a:lnTo>
                  <a:lnTo>
                    <a:pt x="640" y="441"/>
                  </a:lnTo>
                  <a:lnTo>
                    <a:pt x="638" y="441"/>
                  </a:lnTo>
                  <a:lnTo>
                    <a:pt x="636" y="444"/>
                  </a:lnTo>
                  <a:lnTo>
                    <a:pt x="636" y="446"/>
                  </a:lnTo>
                  <a:lnTo>
                    <a:pt x="633" y="446"/>
                  </a:lnTo>
                  <a:lnTo>
                    <a:pt x="631" y="448"/>
                  </a:lnTo>
                  <a:lnTo>
                    <a:pt x="631" y="451"/>
                  </a:lnTo>
                  <a:lnTo>
                    <a:pt x="631" y="451"/>
                  </a:lnTo>
                  <a:lnTo>
                    <a:pt x="631" y="456"/>
                  </a:lnTo>
                  <a:lnTo>
                    <a:pt x="633" y="458"/>
                  </a:lnTo>
                  <a:lnTo>
                    <a:pt x="631" y="458"/>
                  </a:lnTo>
                  <a:lnTo>
                    <a:pt x="631" y="458"/>
                  </a:lnTo>
                  <a:lnTo>
                    <a:pt x="631" y="460"/>
                  </a:lnTo>
                  <a:lnTo>
                    <a:pt x="633" y="460"/>
                  </a:lnTo>
                  <a:lnTo>
                    <a:pt x="633" y="463"/>
                  </a:lnTo>
                  <a:lnTo>
                    <a:pt x="631" y="463"/>
                  </a:lnTo>
                  <a:lnTo>
                    <a:pt x="631" y="463"/>
                  </a:lnTo>
                  <a:lnTo>
                    <a:pt x="633" y="465"/>
                  </a:lnTo>
                  <a:lnTo>
                    <a:pt x="633" y="463"/>
                  </a:lnTo>
                  <a:lnTo>
                    <a:pt x="636" y="465"/>
                  </a:lnTo>
                  <a:lnTo>
                    <a:pt x="636" y="465"/>
                  </a:lnTo>
                  <a:lnTo>
                    <a:pt x="636" y="467"/>
                  </a:lnTo>
                  <a:lnTo>
                    <a:pt x="633" y="467"/>
                  </a:lnTo>
                  <a:lnTo>
                    <a:pt x="633" y="470"/>
                  </a:lnTo>
                  <a:lnTo>
                    <a:pt x="633" y="472"/>
                  </a:lnTo>
                  <a:lnTo>
                    <a:pt x="633" y="474"/>
                  </a:lnTo>
                  <a:lnTo>
                    <a:pt x="633" y="477"/>
                  </a:lnTo>
                  <a:lnTo>
                    <a:pt x="631" y="479"/>
                  </a:lnTo>
                  <a:lnTo>
                    <a:pt x="631" y="479"/>
                  </a:lnTo>
                  <a:lnTo>
                    <a:pt x="655" y="479"/>
                  </a:lnTo>
                  <a:lnTo>
                    <a:pt x="662" y="479"/>
                  </a:lnTo>
                  <a:lnTo>
                    <a:pt x="664" y="479"/>
                  </a:lnTo>
                  <a:lnTo>
                    <a:pt x="674" y="479"/>
                  </a:lnTo>
                  <a:lnTo>
                    <a:pt x="690" y="479"/>
                  </a:lnTo>
                  <a:lnTo>
                    <a:pt x="707" y="479"/>
                  </a:lnTo>
                  <a:lnTo>
                    <a:pt x="716" y="479"/>
                  </a:lnTo>
                  <a:lnTo>
                    <a:pt x="754" y="479"/>
                  </a:lnTo>
                  <a:lnTo>
                    <a:pt x="754" y="479"/>
                  </a:lnTo>
                  <a:lnTo>
                    <a:pt x="754" y="482"/>
                  </a:lnTo>
                  <a:lnTo>
                    <a:pt x="754" y="482"/>
                  </a:lnTo>
                  <a:lnTo>
                    <a:pt x="754" y="482"/>
                  </a:lnTo>
                  <a:lnTo>
                    <a:pt x="754" y="484"/>
                  </a:lnTo>
                  <a:lnTo>
                    <a:pt x="754" y="484"/>
                  </a:lnTo>
                  <a:lnTo>
                    <a:pt x="754" y="484"/>
                  </a:lnTo>
                  <a:lnTo>
                    <a:pt x="754" y="484"/>
                  </a:lnTo>
                  <a:lnTo>
                    <a:pt x="754" y="484"/>
                  </a:lnTo>
                  <a:lnTo>
                    <a:pt x="752" y="484"/>
                  </a:lnTo>
                  <a:lnTo>
                    <a:pt x="752" y="484"/>
                  </a:lnTo>
                  <a:lnTo>
                    <a:pt x="752" y="484"/>
                  </a:lnTo>
                  <a:lnTo>
                    <a:pt x="752" y="484"/>
                  </a:lnTo>
                  <a:lnTo>
                    <a:pt x="752" y="486"/>
                  </a:lnTo>
                  <a:lnTo>
                    <a:pt x="752" y="486"/>
                  </a:lnTo>
                  <a:lnTo>
                    <a:pt x="749" y="486"/>
                  </a:lnTo>
                  <a:lnTo>
                    <a:pt x="752" y="489"/>
                  </a:lnTo>
                  <a:lnTo>
                    <a:pt x="749" y="489"/>
                  </a:lnTo>
                  <a:lnTo>
                    <a:pt x="749" y="489"/>
                  </a:lnTo>
                  <a:lnTo>
                    <a:pt x="749" y="491"/>
                  </a:lnTo>
                  <a:lnTo>
                    <a:pt x="749" y="491"/>
                  </a:lnTo>
                  <a:lnTo>
                    <a:pt x="749" y="491"/>
                  </a:lnTo>
                  <a:lnTo>
                    <a:pt x="749" y="491"/>
                  </a:lnTo>
                  <a:lnTo>
                    <a:pt x="749" y="493"/>
                  </a:lnTo>
                  <a:lnTo>
                    <a:pt x="749" y="493"/>
                  </a:lnTo>
                  <a:lnTo>
                    <a:pt x="749" y="493"/>
                  </a:lnTo>
                  <a:lnTo>
                    <a:pt x="749" y="493"/>
                  </a:lnTo>
                  <a:lnTo>
                    <a:pt x="752" y="496"/>
                  </a:lnTo>
                  <a:lnTo>
                    <a:pt x="752" y="496"/>
                  </a:lnTo>
                  <a:lnTo>
                    <a:pt x="749" y="496"/>
                  </a:lnTo>
                  <a:lnTo>
                    <a:pt x="752" y="496"/>
                  </a:lnTo>
                  <a:lnTo>
                    <a:pt x="752" y="498"/>
                  </a:lnTo>
                  <a:lnTo>
                    <a:pt x="752" y="498"/>
                  </a:lnTo>
                  <a:lnTo>
                    <a:pt x="752" y="500"/>
                  </a:lnTo>
                  <a:lnTo>
                    <a:pt x="754" y="500"/>
                  </a:lnTo>
                  <a:lnTo>
                    <a:pt x="752" y="500"/>
                  </a:lnTo>
                  <a:lnTo>
                    <a:pt x="754" y="503"/>
                  </a:lnTo>
                  <a:lnTo>
                    <a:pt x="752" y="505"/>
                  </a:lnTo>
                  <a:lnTo>
                    <a:pt x="752" y="505"/>
                  </a:lnTo>
                  <a:lnTo>
                    <a:pt x="752" y="505"/>
                  </a:lnTo>
                  <a:lnTo>
                    <a:pt x="749" y="507"/>
                  </a:lnTo>
                  <a:lnTo>
                    <a:pt x="749" y="510"/>
                  </a:lnTo>
                  <a:lnTo>
                    <a:pt x="749" y="510"/>
                  </a:lnTo>
                  <a:lnTo>
                    <a:pt x="749" y="510"/>
                  </a:lnTo>
                  <a:lnTo>
                    <a:pt x="749" y="512"/>
                  </a:lnTo>
                  <a:lnTo>
                    <a:pt x="747" y="512"/>
                  </a:lnTo>
                  <a:lnTo>
                    <a:pt x="747" y="515"/>
                  </a:lnTo>
                  <a:lnTo>
                    <a:pt x="747" y="515"/>
                  </a:lnTo>
                  <a:lnTo>
                    <a:pt x="744" y="517"/>
                  </a:lnTo>
                  <a:lnTo>
                    <a:pt x="742" y="522"/>
                  </a:lnTo>
                  <a:lnTo>
                    <a:pt x="740" y="522"/>
                  </a:lnTo>
                  <a:lnTo>
                    <a:pt x="740" y="524"/>
                  </a:lnTo>
                  <a:lnTo>
                    <a:pt x="740" y="524"/>
                  </a:lnTo>
                  <a:lnTo>
                    <a:pt x="740" y="529"/>
                  </a:lnTo>
                  <a:lnTo>
                    <a:pt x="740" y="531"/>
                  </a:lnTo>
                  <a:lnTo>
                    <a:pt x="737" y="531"/>
                  </a:lnTo>
                  <a:lnTo>
                    <a:pt x="737" y="533"/>
                  </a:lnTo>
                  <a:lnTo>
                    <a:pt x="735" y="533"/>
                  </a:lnTo>
                  <a:lnTo>
                    <a:pt x="735" y="536"/>
                  </a:lnTo>
                  <a:lnTo>
                    <a:pt x="735" y="538"/>
                  </a:lnTo>
                  <a:lnTo>
                    <a:pt x="735" y="538"/>
                  </a:lnTo>
                  <a:lnTo>
                    <a:pt x="737" y="541"/>
                  </a:lnTo>
                  <a:lnTo>
                    <a:pt x="737" y="541"/>
                  </a:lnTo>
                  <a:lnTo>
                    <a:pt x="737" y="543"/>
                  </a:lnTo>
                  <a:lnTo>
                    <a:pt x="740" y="543"/>
                  </a:lnTo>
                  <a:lnTo>
                    <a:pt x="737" y="543"/>
                  </a:lnTo>
                  <a:lnTo>
                    <a:pt x="740" y="545"/>
                  </a:lnTo>
                  <a:lnTo>
                    <a:pt x="740" y="543"/>
                  </a:lnTo>
                  <a:lnTo>
                    <a:pt x="740" y="545"/>
                  </a:lnTo>
                  <a:lnTo>
                    <a:pt x="740" y="543"/>
                  </a:lnTo>
                  <a:lnTo>
                    <a:pt x="742" y="545"/>
                  </a:lnTo>
                  <a:lnTo>
                    <a:pt x="740" y="545"/>
                  </a:lnTo>
                  <a:lnTo>
                    <a:pt x="742" y="545"/>
                  </a:lnTo>
                  <a:lnTo>
                    <a:pt x="740" y="548"/>
                  </a:lnTo>
                  <a:lnTo>
                    <a:pt x="742" y="548"/>
                  </a:lnTo>
                  <a:lnTo>
                    <a:pt x="740" y="548"/>
                  </a:lnTo>
                  <a:lnTo>
                    <a:pt x="742" y="548"/>
                  </a:lnTo>
                  <a:lnTo>
                    <a:pt x="744" y="548"/>
                  </a:lnTo>
                  <a:lnTo>
                    <a:pt x="744" y="548"/>
                  </a:lnTo>
                  <a:lnTo>
                    <a:pt x="744" y="550"/>
                  </a:lnTo>
                  <a:lnTo>
                    <a:pt x="744" y="548"/>
                  </a:lnTo>
                  <a:lnTo>
                    <a:pt x="747" y="548"/>
                  </a:lnTo>
                  <a:lnTo>
                    <a:pt x="747" y="550"/>
                  </a:lnTo>
                  <a:lnTo>
                    <a:pt x="747" y="550"/>
                  </a:lnTo>
                  <a:lnTo>
                    <a:pt x="747" y="550"/>
                  </a:lnTo>
                  <a:lnTo>
                    <a:pt x="747" y="550"/>
                  </a:lnTo>
                  <a:lnTo>
                    <a:pt x="749" y="550"/>
                  </a:lnTo>
                  <a:lnTo>
                    <a:pt x="749" y="550"/>
                  </a:lnTo>
                  <a:lnTo>
                    <a:pt x="749" y="550"/>
                  </a:lnTo>
                  <a:lnTo>
                    <a:pt x="749" y="550"/>
                  </a:lnTo>
                  <a:lnTo>
                    <a:pt x="752" y="550"/>
                  </a:lnTo>
                  <a:lnTo>
                    <a:pt x="749" y="550"/>
                  </a:lnTo>
                  <a:lnTo>
                    <a:pt x="752" y="552"/>
                  </a:lnTo>
                  <a:lnTo>
                    <a:pt x="749" y="552"/>
                  </a:lnTo>
                  <a:lnTo>
                    <a:pt x="752" y="555"/>
                  </a:lnTo>
                  <a:lnTo>
                    <a:pt x="754" y="552"/>
                  </a:lnTo>
                  <a:lnTo>
                    <a:pt x="754" y="550"/>
                  </a:lnTo>
                  <a:lnTo>
                    <a:pt x="754" y="552"/>
                  </a:lnTo>
                  <a:lnTo>
                    <a:pt x="754" y="555"/>
                  </a:lnTo>
                  <a:lnTo>
                    <a:pt x="754" y="552"/>
                  </a:lnTo>
                  <a:lnTo>
                    <a:pt x="754" y="555"/>
                  </a:lnTo>
                  <a:lnTo>
                    <a:pt x="754" y="555"/>
                  </a:lnTo>
                  <a:lnTo>
                    <a:pt x="756" y="555"/>
                  </a:lnTo>
                  <a:lnTo>
                    <a:pt x="756" y="555"/>
                  </a:lnTo>
                  <a:lnTo>
                    <a:pt x="756" y="557"/>
                  </a:lnTo>
                  <a:lnTo>
                    <a:pt x="756" y="555"/>
                  </a:lnTo>
                  <a:lnTo>
                    <a:pt x="756" y="557"/>
                  </a:lnTo>
                  <a:lnTo>
                    <a:pt x="756" y="557"/>
                  </a:lnTo>
                  <a:lnTo>
                    <a:pt x="759" y="557"/>
                  </a:lnTo>
                  <a:lnTo>
                    <a:pt x="759" y="559"/>
                  </a:lnTo>
                  <a:lnTo>
                    <a:pt x="759" y="559"/>
                  </a:lnTo>
                  <a:lnTo>
                    <a:pt x="759" y="559"/>
                  </a:lnTo>
                  <a:lnTo>
                    <a:pt x="761" y="557"/>
                  </a:lnTo>
                  <a:lnTo>
                    <a:pt x="761" y="559"/>
                  </a:lnTo>
                  <a:lnTo>
                    <a:pt x="761" y="559"/>
                  </a:lnTo>
                  <a:lnTo>
                    <a:pt x="761" y="559"/>
                  </a:lnTo>
                  <a:lnTo>
                    <a:pt x="763" y="559"/>
                  </a:lnTo>
                  <a:lnTo>
                    <a:pt x="761" y="562"/>
                  </a:lnTo>
                  <a:lnTo>
                    <a:pt x="761" y="562"/>
                  </a:lnTo>
                  <a:lnTo>
                    <a:pt x="763" y="562"/>
                  </a:lnTo>
                  <a:lnTo>
                    <a:pt x="763" y="564"/>
                  </a:lnTo>
                  <a:lnTo>
                    <a:pt x="761" y="564"/>
                  </a:lnTo>
                  <a:lnTo>
                    <a:pt x="763" y="564"/>
                  </a:lnTo>
                  <a:lnTo>
                    <a:pt x="763" y="564"/>
                  </a:lnTo>
                  <a:lnTo>
                    <a:pt x="766" y="567"/>
                  </a:lnTo>
                  <a:lnTo>
                    <a:pt x="766" y="567"/>
                  </a:lnTo>
                  <a:lnTo>
                    <a:pt x="766" y="569"/>
                  </a:lnTo>
                  <a:lnTo>
                    <a:pt x="763" y="569"/>
                  </a:lnTo>
                  <a:lnTo>
                    <a:pt x="766" y="569"/>
                  </a:lnTo>
                  <a:lnTo>
                    <a:pt x="763" y="569"/>
                  </a:lnTo>
                  <a:lnTo>
                    <a:pt x="763" y="571"/>
                  </a:lnTo>
                  <a:lnTo>
                    <a:pt x="763" y="574"/>
                  </a:lnTo>
                  <a:lnTo>
                    <a:pt x="766" y="574"/>
                  </a:lnTo>
                  <a:lnTo>
                    <a:pt x="763" y="574"/>
                  </a:lnTo>
                  <a:lnTo>
                    <a:pt x="763" y="574"/>
                  </a:lnTo>
                  <a:lnTo>
                    <a:pt x="766" y="574"/>
                  </a:lnTo>
                  <a:lnTo>
                    <a:pt x="766" y="576"/>
                  </a:lnTo>
                  <a:lnTo>
                    <a:pt x="766" y="576"/>
                  </a:lnTo>
                  <a:lnTo>
                    <a:pt x="766" y="576"/>
                  </a:lnTo>
                  <a:lnTo>
                    <a:pt x="766" y="578"/>
                  </a:lnTo>
                  <a:lnTo>
                    <a:pt x="766" y="578"/>
                  </a:lnTo>
                  <a:lnTo>
                    <a:pt x="768" y="578"/>
                  </a:lnTo>
                  <a:lnTo>
                    <a:pt x="766" y="581"/>
                  </a:lnTo>
                  <a:lnTo>
                    <a:pt x="766" y="581"/>
                  </a:lnTo>
                  <a:lnTo>
                    <a:pt x="770" y="581"/>
                  </a:lnTo>
                  <a:lnTo>
                    <a:pt x="768" y="583"/>
                  </a:lnTo>
                  <a:lnTo>
                    <a:pt x="768" y="585"/>
                  </a:lnTo>
                  <a:lnTo>
                    <a:pt x="768" y="585"/>
                  </a:lnTo>
                  <a:lnTo>
                    <a:pt x="766" y="585"/>
                  </a:lnTo>
                  <a:lnTo>
                    <a:pt x="768" y="588"/>
                  </a:lnTo>
                  <a:lnTo>
                    <a:pt x="768" y="588"/>
                  </a:lnTo>
                  <a:lnTo>
                    <a:pt x="768" y="588"/>
                  </a:lnTo>
                  <a:lnTo>
                    <a:pt x="770" y="588"/>
                  </a:lnTo>
                  <a:lnTo>
                    <a:pt x="768" y="588"/>
                  </a:lnTo>
                  <a:lnTo>
                    <a:pt x="768" y="588"/>
                  </a:lnTo>
                  <a:lnTo>
                    <a:pt x="768" y="590"/>
                  </a:lnTo>
                  <a:lnTo>
                    <a:pt x="770" y="590"/>
                  </a:lnTo>
                  <a:lnTo>
                    <a:pt x="768" y="593"/>
                  </a:lnTo>
                  <a:lnTo>
                    <a:pt x="770" y="590"/>
                  </a:lnTo>
                  <a:lnTo>
                    <a:pt x="770" y="590"/>
                  </a:lnTo>
                  <a:lnTo>
                    <a:pt x="773" y="593"/>
                  </a:lnTo>
                  <a:lnTo>
                    <a:pt x="773" y="593"/>
                  </a:lnTo>
                  <a:lnTo>
                    <a:pt x="773" y="593"/>
                  </a:lnTo>
                  <a:lnTo>
                    <a:pt x="770" y="595"/>
                  </a:lnTo>
                  <a:lnTo>
                    <a:pt x="773" y="595"/>
                  </a:lnTo>
                  <a:lnTo>
                    <a:pt x="773" y="595"/>
                  </a:lnTo>
                  <a:lnTo>
                    <a:pt x="773" y="595"/>
                  </a:lnTo>
                  <a:lnTo>
                    <a:pt x="773" y="595"/>
                  </a:lnTo>
                  <a:lnTo>
                    <a:pt x="773" y="597"/>
                  </a:lnTo>
                  <a:lnTo>
                    <a:pt x="775" y="597"/>
                  </a:lnTo>
                  <a:lnTo>
                    <a:pt x="773" y="597"/>
                  </a:lnTo>
                  <a:lnTo>
                    <a:pt x="775" y="600"/>
                  </a:lnTo>
                  <a:lnTo>
                    <a:pt x="775" y="597"/>
                  </a:lnTo>
                  <a:lnTo>
                    <a:pt x="775" y="600"/>
                  </a:lnTo>
                  <a:lnTo>
                    <a:pt x="778" y="600"/>
                  </a:lnTo>
                  <a:lnTo>
                    <a:pt x="778" y="602"/>
                  </a:lnTo>
                  <a:lnTo>
                    <a:pt x="778" y="602"/>
                  </a:lnTo>
                  <a:lnTo>
                    <a:pt x="775" y="602"/>
                  </a:lnTo>
                  <a:lnTo>
                    <a:pt x="775" y="602"/>
                  </a:lnTo>
                  <a:lnTo>
                    <a:pt x="775" y="604"/>
                  </a:lnTo>
                  <a:lnTo>
                    <a:pt x="775" y="604"/>
                  </a:lnTo>
                  <a:lnTo>
                    <a:pt x="775" y="604"/>
                  </a:lnTo>
                  <a:lnTo>
                    <a:pt x="778" y="604"/>
                  </a:lnTo>
                  <a:lnTo>
                    <a:pt x="778" y="604"/>
                  </a:lnTo>
                  <a:lnTo>
                    <a:pt x="775" y="604"/>
                  </a:lnTo>
                  <a:lnTo>
                    <a:pt x="775" y="607"/>
                  </a:lnTo>
                  <a:lnTo>
                    <a:pt x="775" y="607"/>
                  </a:lnTo>
                  <a:lnTo>
                    <a:pt x="775" y="607"/>
                  </a:lnTo>
                  <a:lnTo>
                    <a:pt x="775" y="607"/>
                  </a:lnTo>
                  <a:lnTo>
                    <a:pt x="775" y="607"/>
                  </a:lnTo>
                  <a:lnTo>
                    <a:pt x="775" y="607"/>
                  </a:lnTo>
                  <a:lnTo>
                    <a:pt x="773" y="607"/>
                  </a:lnTo>
                  <a:lnTo>
                    <a:pt x="773" y="607"/>
                  </a:lnTo>
                  <a:lnTo>
                    <a:pt x="773" y="607"/>
                  </a:lnTo>
                  <a:lnTo>
                    <a:pt x="773" y="607"/>
                  </a:lnTo>
                  <a:lnTo>
                    <a:pt x="773" y="609"/>
                  </a:lnTo>
                  <a:lnTo>
                    <a:pt x="773" y="609"/>
                  </a:lnTo>
                  <a:lnTo>
                    <a:pt x="773" y="609"/>
                  </a:lnTo>
                  <a:lnTo>
                    <a:pt x="770" y="609"/>
                  </a:lnTo>
                  <a:lnTo>
                    <a:pt x="770" y="607"/>
                  </a:lnTo>
                  <a:lnTo>
                    <a:pt x="770" y="607"/>
                  </a:lnTo>
                  <a:lnTo>
                    <a:pt x="770" y="611"/>
                  </a:lnTo>
                  <a:lnTo>
                    <a:pt x="770" y="611"/>
                  </a:lnTo>
                  <a:lnTo>
                    <a:pt x="770" y="611"/>
                  </a:lnTo>
                  <a:lnTo>
                    <a:pt x="770" y="611"/>
                  </a:lnTo>
                  <a:lnTo>
                    <a:pt x="770" y="611"/>
                  </a:lnTo>
                  <a:lnTo>
                    <a:pt x="768" y="611"/>
                  </a:lnTo>
                  <a:lnTo>
                    <a:pt x="768" y="611"/>
                  </a:lnTo>
                  <a:lnTo>
                    <a:pt x="770" y="611"/>
                  </a:lnTo>
                  <a:lnTo>
                    <a:pt x="768" y="614"/>
                  </a:lnTo>
                  <a:lnTo>
                    <a:pt x="768" y="611"/>
                  </a:lnTo>
                  <a:lnTo>
                    <a:pt x="766" y="614"/>
                  </a:lnTo>
                  <a:lnTo>
                    <a:pt x="768" y="614"/>
                  </a:lnTo>
                  <a:lnTo>
                    <a:pt x="766" y="614"/>
                  </a:lnTo>
                  <a:lnTo>
                    <a:pt x="766" y="614"/>
                  </a:lnTo>
                  <a:lnTo>
                    <a:pt x="763" y="614"/>
                  </a:lnTo>
                  <a:lnTo>
                    <a:pt x="763" y="614"/>
                  </a:lnTo>
                  <a:lnTo>
                    <a:pt x="766" y="614"/>
                  </a:lnTo>
                  <a:lnTo>
                    <a:pt x="763" y="614"/>
                  </a:lnTo>
                  <a:lnTo>
                    <a:pt x="763" y="614"/>
                  </a:lnTo>
                  <a:lnTo>
                    <a:pt x="763" y="614"/>
                  </a:lnTo>
                  <a:lnTo>
                    <a:pt x="763" y="614"/>
                  </a:lnTo>
                  <a:lnTo>
                    <a:pt x="763" y="616"/>
                  </a:lnTo>
                  <a:lnTo>
                    <a:pt x="761" y="616"/>
                  </a:lnTo>
                  <a:lnTo>
                    <a:pt x="761" y="616"/>
                  </a:lnTo>
                  <a:lnTo>
                    <a:pt x="761" y="616"/>
                  </a:lnTo>
                  <a:lnTo>
                    <a:pt x="759" y="616"/>
                  </a:lnTo>
                  <a:lnTo>
                    <a:pt x="759" y="619"/>
                  </a:lnTo>
                  <a:lnTo>
                    <a:pt x="759" y="616"/>
                  </a:lnTo>
                  <a:lnTo>
                    <a:pt x="759" y="619"/>
                  </a:lnTo>
                  <a:lnTo>
                    <a:pt x="759" y="619"/>
                  </a:lnTo>
                  <a:lnTo>
                    <a:pt x="759" y="619"/>
                  </a:lnTo>
                  <a:lnTo>
                    <a:pt x="759" y="621"/>
                  </a:lnTo>
                  <a:lnTo>
                    <a:pt x="756" y="621"/>
                  </a:lnTo>
                  <a:lnTo>
                    <a:pt x="759" y="623"/>
                  </a:lnTo>
                  <a:lnTo>
                    <a:pt x="756" y="621"/>
                  </a:lnTo>
                  <a:lnTo>
                    <a:pt x="754" y="623"/>
                  </a:lnTo>
                  <a:lnTo>
                    <a:pt x="756" y="623"/>
                  </a:lnTo>
                  <a:lnTo>
                    <a:pt x="754" y="623"/>
                  </a:lnTo>
                  <a:lnTo>
                    <a:pt x="754" y="623"/>
                  </a:lnTo>
                  <a:lnTo>
                    <a:pt x="752" y="623"/>
                  </a:lnTo>
                  <a:lnTo>
                    <a:pt x="752" y="623"/>
                  </a:lnTo>
                  <a:lnTo>
                    <a:pt x="752" y="623"/>
                  </a:lnTo>
                  <a:lnTo>
                    <a:pt x="752" y="623"/>
                  </a:lnTo>
                  <a:lnTo>
                    <a:pt x="752" y="626"/>
                  </a:lnTo>
                  <a:lnTo>
                    <a:pt x="749" y="626"/>
                  </a:lnTo>
                  <a:lnTo>
                    <a:pt x="749" y="626"/>
                  </a:lnTo>
                  <a:lnTo>
                    <a:pt x="749" y="626"/>
                  </a:lnTo>
                  <a:lnTo>
                    <a:pt x="749" y="628"/>
                  </a:lnTo>
                  <a:lnTo>
                    <a:pt x="749" y="628"/>
                  </a:lnTo>
                  <a:lnTo>
                    <a:pt x="749" y="628"/>
                  </a:lnTo>
                  <a:lnTo>
                    <a:pt x="747" y="628"/>
                  </a:lnTo>
                  <a:lnTo>
                    <a:pt x="749" y="628"/>
                  </a:lnTo>
                  <a:lnTo>
                    <a:pt x="749" y="630"/>
                  </a:lnTo>
                  <a:lnTo>
                    <a:pt x="749" y="630"/>
                  </a:lnTo>
                  <a:lnTo>
                    <a:pt x="749" y="630"/>
                  </a:lnTo>
                  <a:lnTo>
                    <a:pt x="749" y="630"/>
                  </a:lnTo>
                  <a:lnTo>
                    <a:pt x="747" y="630"/>
                  </a:lnTo>
                  <a:lnTo>
                    <a:pt x="747" y="630"/>
                  </a:lnTo>
                  <a:lnTo>
                    <a:pt x="747" y="633"/>
                  </a:lnTo>
                  <a:lnTo>
                    <a:pt x="747" y="633"/>
                  </a:lnTo>
                  <a:lnTo>
                    <a:pt x="744" y="633"/>
                  </a:lnTo>
                  <a:lnTo>
                    <a:pt x="744" y="633"/>
                  </a:lnTo>
                  <a:lnTo>
                    <a:pt x="744" y="635"/>
                  </a:lnTo>
                  <a:lnTo>
                    <a:pt x="744" y="635"/>
                  </a:lnTo>
                  <a:lnTo>
                    <a:pt x="744" y="635"/>
                  </a:lnTo>
                  <a:lnTo>
                    <a:pt x="744" y="637"/>
                  </a:lnTo>
                  <a:lnTo>
                    <a:pt x="744" y="635"/>
                  </a:lnTo>
                  <a:lnTo>
                    <a:pt x="742" y="635"/>
                  </a:lnTo>
                  <a:lnTo>
                    <a:pt x="742" y="637"/>
                  </a:lnTo>
                  <a:lnTo>
                    <a:pt x="742" y="637"/>
                  </a:lnTo>
                  <a:lnTo>
                    <a:pt x="740" y="637"/>
                  </a:lnTo>
                  <a:lnTo>
                    <a:pt x="740" y="637"/>
                  </a:lnTo>
                  <a:lnTo>
                    <a:pt x="740" y="640"/>
                  </a:lnTo>
                  <a:lnTo>
                    <a:pt x="737" y="640"/>
                  </a:lnTo>
                  <a:lnTo>
                    <a:pt x="737" y="640"/>
                  </a:lnTo>
                  <a:lnTo>
                    <a:pt x="740" y="640"/>
                  </a:lnTo>
                  <a:lnTo>
                    <a:pt x="740" y="642"/>
                  </a:lnTo>
                  <a:lnTo>
                    <a:pt x="740" y="642"/>
                  </a:lnTo>
                  <a:lnTo>
                    <a:pt x="740" y="642"/>
                  </a:lnTo>
                  <a:lnTo>
                    <a:pt x="740" y="644"/>
                  </a:lnTo>
                  <a:lnTo>
                    <a:pt x="740" y="647"/>
                  </a:lnTo>
                  <a:lnTo>
                    <a:pt x="737" y="644"/>
                  </a:lnTo>
                  <a:lnTo>
                    <a:pt x="737" y="647"/>
                  </a:lnTo>
                  <a:lnTo>
                    <a:pt x="737" y="647"/>
                  </a:lnTo>
                  <a:lnTo>
                    <a:pt x="737" y="647"/>
                  </a:lnTo>
                  <a:lnTo>
                    <a:pt x="735" y="647"/>
                  </a:lnTo>
                  <a:lnTo>
                    <a:pt x="737" y="649"/>
                  </a:lnTo>
                  <a:lnTo>
                    <a:pt x="737" y="649"/>
                  </a:lnTo>
                  <a:lnTo>
                    <a:pt x="737" y="649"/>
                  </a:lnTo>
                  <a:lnTo>
                    <a:pt x="735" y="649"/>
                  </a:lnTo>
                  <a:lnTo>
                    <a:pt x="735" y="649"/>
                  </a:lnTo>
                  <a:lnTo>
                    <a:pt x="735" y="649"/>
                  </a:lnTo>
                  <a:lnTo>
                    <a:pt x="735" y="649"/>
                  </a:lnTo>
                  <a:lnTo>
                    <a:pt x="730" y="649"/>
                  </a:lnTo>
                  <a:lnTo>
                    <a:pt x="730" y="649"/>
                  </a:lnTo>
                  <a:lnTo>
                    <a:pt x="730" y="649"/>
                  </a:lnTo>
                  <a:lnTo>
                    <a:pt x="730" y="647"/>
                  </a:lnTo>
                  <a:lnTo>
                    <a:pt x="728" y="647"/>
                  </a:lnTo>
                  <a:lnTo>
                    <a:pt x="728" y="647"/>
                  </a:lnTo>
                  <a:lnTo>
                    <a:pt x="728" y="647"/>
                  </a:lnTo>
                  <a:lnTo>
                    <a:pt x="730" y="647"/>
                  </a:lnTo>
                  <a:lnTo>
                    <a:pt x="728" y="649"/>
                  </a:lnTo>
                  <a:lnTo>
                    <a:pt x="728" y="649"/>
                  </a:lnTo>
                  <a:lnTo>
                    <a:pt x="728" y="652"/>
                  </a:lnTo>
                  <a:lnTo>
                    <a:pt x="728" y="654"/>
                  </a:lnTo>
                  <a:lnTo>
                    <a:pt x="726" y="652"/>
                  </a:lnTo>
                  <a:lnTo>
                    <a:pt x="726" y="654"/>
                  </a:lnTo>
                  <a:lnTo>
                    <a:pt x="726" y="654"/>
                  </a:lnTo>
                  <a:lnTo>
                    <a:pt x="726" y="654"/>
                  </a:lnTo>
                  <a:lnTo>
                    <a:pt x="726" y="656"/>
                  </a:lnTo>
                  <a:lnTo>
                    <a:pt x="726" y="656"/>
                  </a:lnTo>
                  <a:lnTo>
                    <a:pt x="728" y="656"/>
                  </a:lnTo>
                  <a:lnTo>
                    <a:pt x="728" y="656"/>
                  </a:lnTo>
                  <a:lnTo>
                    <a:pt x="726" y="656"/>
                  </a:lnTo>
                  <a:lnTo>
                    <a:pt x="726" y="659"/>
                  </a:lnTo>
                  <a:lnTo>
                    <a:pt x="726" y="659"/>
                  </a:lnTo>
                  <a:lnTo>
                    <a:pt x="728" y="659"/>
                  </a:lnTo>
                  <a:lnTo>
                    <a:pt x="728" y="659"/>
                  </a:lnTo>
                  <a:lnTo>
                    <a:pt x="728" y="661"/>
                  </a:lnTo>
                  <a:lnTo>
                    <a:pt x="726" y="661"/>
                  </a:lnTo>
                  <a:lnTo>
                    <a:pt x="726" y="663"/>
                  </a:lnTo>
                  <a:lnTo>
                    <a:pt x="726" y="663"/>
                  </a:lnTo>
                  <a:lnTo>
                    <a:pt x="728" y="663"/>
                  </a:lnTo>
                  <a:lnTo>
                    <a:pt x="728" y="666"/>
                  </a:lnTo>
                  <a:lnTo>
                    <a:pt x="730" y="666"/>
                  </a:lnTo>
                  <a:lnTo>
                    <a:pt x="730" y="668"/>
                  </a:lnTo>
                  <a:lnTo>
                    <a:pt x="730" y="670"/>
                  </a:lnTo>
                  <a:lnTo>
                    <a:pt x="730" y="670"/>
                  </a:lnTo>
                  <a:lnTo>
                    <a:pt x="730" y="670"/>
                  </a:lnTo>
                  <a:lnTo>
                    <a:pt x="730" y="673"/>
                  </a:lnTo>
                  <a:lnTo>
                    <a:pt x="733" y="670"/>
                  </a:lnTo>
                  <a:lnTo>
                    <a:pt x="735" y="673"/>
                  </a:lnTo>
                  <a:lnTo>
                    <a:pt x="735" y="673"/>
                  </a:lnTo>
                  <a:lnTo>
                    <a:pt x="735" y="673"/>
                  </a:lnTo>
                  <a:lnTo>
                    <a:pt x="737" y="673"/>
                  </a:lnTo>
                  <a:lnTo>
                    <a:pt x="740" y="670"/>
                  </a:lnTo>
                  <a:lnTo>
                    <a:pt x="742" y="670"/>
                  </a:lnTo>
                  <a:lnTo>
                    <a:pt x="744" y="670"/>
                  </a:lnTo>
                  <a:lnTo>
                    <a:pt x="747" y="670"/>
                  </a:lnTo>
                  <a:lnTo>
                    <a:pt x="749" y="673"/>
                  </a:lnTo>
                  <a:lnTo>
                    <a:pt x="752" y="670"/>
                  </a:lnTo>
                  <a:lnTo>
                    <a:pt x="754" y="673"/>
                  </a:lnTo>
                  <a:lnTo>
                    <a:pt x="754" y="675"/>
                  </a:lnTo>
                  <a:lnTo>
                    <a:pt x="754" y="675"/>
                  </a:lnTo>
                  <a:lnTo>
                    <a:pt x="756" y="678"/>
                  </a:lnTo>
                  <a:lnTo>
                    <a:pt x="759" y="680"/>
                  </a:lnTo>
                  <a:lnTo>
                    <a:pt x="759" y="682"/>
                  </a:lnTo>
                  <a:lnTo>
                    <a:pt x="759" y="685"/>
                  </a:lnTo>
                  <a:lnTo>
                    <a:pt x="759" y="687"/>
                  </a:lnTo>
                  <a:lnTo>
                    <a:pt x="759" y="687"/>
                  </a:lnTo>
                  <a:lnTo>
                    <a:pt x="759" y="689"/>
                  </a:lnTo>
                  <a:lnTo>
                    <a:pt x="759" y="689"/>
                  </a:lnTo>
                  <a:lnTo>
                    <a:pt x="759" y="689"/>
                  </a:lnTo>
                  <a:lnTo>
                    <a:pt x="759" y="689"/>
                  </a:lnTo>
                  <a:lnTo>
                    <a:pt x="759" y="692"/>
                  </a:lnTo>
                  <a:lnTo>
                    <a:pt x="756" y="694"/>
                  </a:lnTo>
                  <a:lnTo>
                    <a:pt x="756" y="694"/>
                  </a:lnTo>
                  <a:lnTo>
                    <a:pt x="756" y="694"/>
                  </a:lnTo>
                  <a:lnTo>
                    <a:pt x="754" y="694"/>
                  </a:lnTo>
                  <a:lnTo>
                    <a:pt x="754" y="694"/>
                  </a:lnTo>
                  <a:lnTo>
                    <a:pt x="754" y="696"/>
                  </a:lnTo>
                  <a:lnTo>
                    <a:pt x="754" y="699"/>
                  </a:lnTo>
                  <a:lnTo>
                    <a:pt x="752" y="699"/>
                  </a:lnTo>
                  <a:lnTo>
                    <a:pt x="749" y="701"/>
                  </a:lnTo>
                  <a:lnTo>
                    <a:pt x="749" y="701"/>
                  </a:lnTo>
                  <a:lnTo>
                    <a:pt x="752" y="704"/>
                  </a:lnTo>
                  <a:lnTo>
                    <a:pt x="752" y="704"/>
                  </a:lnTo>
                  <a:lnTo>
                    <a:pt x="749" y="704"/>
                  </a:lnTo>
                  <a:lnTo>
                    <a:pt x="749" y="706"/>
                  </a:lnTo>
                  <a:lnTo>
                    <a:pt x="749" y="706"/>
                  </a:lnTo>
                  <a:lnTo>
                    <a:pt x="749" y="706"/>
                  </a:lnTo>
                  <a:lnTo>
                    <a:pt x="749" y="708"/>
                  </a:lnTo>
                  <a:lnTo>
                    <a:pt x="749" y="708"/>
                  </a:lnTo>
                  <a:lnTo>
                    <a:pt x="747" y="708"/>
                  </a:lnTo>
                  <a:lnTo>
                    <a:pt x="749" y="708"/>
                  </a:lnTo>
                  <a:lnTo>
                    <a:pt x="749" y="708"/>
                  </a:lnTo>
                  <a:lnTo>
                    <a:pt x="747" y="711"/>
                  </a:lnTo>
                  <a:lnTo>
                    <a:pt x="747" y="711"/>
                  </a:lnTo>
                  <a:lnTo>
                    <a:pt x="747" y="713"/>
                  </a:lnTo>
                  <a:lnTo>
                    <a:pt x="747" y="713"/>
                  </a:lnTo>
                  <a:lnTo>
                    <a:pt x="747" y="715"/>
                  </a:lnTo>
                  <a:lnTo>
                    <a:pt x="747" y="715"/>
                  </a:lnTo>
                  <a:lnTo>
                    <a:pt x="747" y="715"/>
                  </a:lnTo>
                  <a:lnTo>
                    <a:pt x="749" y="718"/>
                  </a:lnTo>
                  <a:lnTo>
                    <a:pt x="747" y="720"/>
                  </a:lnTo>
                  <a:lnTo>
                    <a:pt x="749" y="720"/>
                  </a:lnTo>
                  <a:lnTo>
                    <a:pt x="747" y="720"/>
                  </a:lnTo>
                  <a:lnTo>
                    <a:pt x="749" y="720"/>
                  </a:lnTo>
                  <a:lnTo>
                    <a:pt x="749" y="720"/>
                  </a:lnTo>
                  <a:lnTo>
                    <a:pt x="749" y="722"/>
                  </a:lnTo>
                  <a:lnTo>
                    <a:pt x="749" y="722"/>
                  </a:lnTo>
                  <a:lnTo>
                    <a:pt x="749" y="722"/>
                  </a:lnTo>
                  <a:lnTo>
                    <a:pt x="749" y="722"/>
                  </a:lnTo>
                  <a:lnTo>
                    <a:pt x="749" y="725"/>
                  </a:lnTo>
                  <a:lnTo>
                    <a:pt x="749" y="725"/>
                  </a:lnTo>
                  <a:lnTo>
                    <a:pt x="749" y="725"/>
                  </a:lnTo>
                  <a:lnTo>
                    <a:pt x="749" y="725"/>
                  </a:lnTo>
                  <a:lnTo>
                    <a:pt x="752" y="725"/>
                  </a:lnTo>
                  <a:lnTo>
                    <a:pt x="752" y="727"/>
                  </a:lnTo>
                  <a:lnTo>
                    <a:pt x="754" y="730"/>
                  </a:lnTo>
                  <a:lnTo>
                    <a:pt x="754" y="732"/>
                  </a:lnTo>
                  <a:lnTo>
                    <a:pt x="754" y="732"/>
                  </a:lnTo>
                  <a:lnTo>
                    <a:pt x="754" y="732"/>
                  </a:lnTo>
                  <a:lnTo>
                    <a:pt x="754" y="734"/>
                  </a:lnTo>
                  <a:lnTo>
                    <a:pt x="754" y="734"/>
                  </a:lnTo>
                  <a:lnTo>
                    <a:pt x="754" y="734"/>
                  </a:lnTo>
                  <a:lnTo>
                    <a:pt x="756" y="734"/>
                  </a:lnTo>
                  <a:lnTo>
                    <a:pt x="756" y="737"/>
                  </a:lnTo>
                  <a:lnTo>
                    <a:pt x="756" y="737"/>
                  </a:lnTo>
                  <a:lnTo>
                    <a:pt x="756" y="739"/>
                  </a:lnTo>
                  <a:lnTo>
                    <a:pt x="756" y="739"/>
                  </a:lnTo>
                  <a:lnTo>
                    <a:pt x="756" y="739"/>
                  </a:lnTo>
                  <a:lnTo>
                    <a:pt x="756" y="739"/>
                  </a:lnTo>
                  <a:lnTo>
                    <a:pt x="756" y="741"/>
                  </a:lnTo>
                  <a:lnTo>
                    <a:pt x="756" y="741"/>
                  </a:lnTo>
                  <a:lnTo>
                    <a:pt x="756" y="741"/>
                  </a:lnTo>
                  <a:lnTo>
                    <a:pt x="754" y="741"/>
                  </a:lnTo>
                  <a:lnTo>
                    <a:pt x="756" y="744"/>
                  </a:lnTo>
                  <a:lnTo>
                    <a:pt x="754" y="744"/>
                  </a:lnTo>
                  <a:lnTo>
                    <a:pt x="754" y="744"/>
                  </a:lnTo>
                  <a:lnTo>
                    <a:pt x="749" y="744"/>
                  </a:lnTo>
                  <a:lnTo>
                    <a:pt x="749" y="746"/>
                  </a:lnTo>
                  <a:lnTo>
                    <a:pt x="747" y="744"/>
                  </a:lnTo>
                  <a:lnTo>
                    <a:pt x="747" y="746"/>
                  </a:lnTo>
                  <a:lnTo>
                    <a:pt x="749" y="746"/>
                  </a:lnTo>
                  <a:lnTo>
                    <a:pt x="749" y="748"/>
                  </a:lnTo>
                  <a:lnTo>
                    <a:pt x="747" y="748"/>
                  </a:lnTo>
                  <a:lnTo>
                    <a:pt x="747" y="748"/>
                  </a:lnTo>
                  <a:lnTo>
                    <a:pt x="744" y="748"/>
                  </a:lnTo>
                  <a:lnTo>
                    <a:pt x="744" y="751"/>
                  </a:lnTo>
                  <a:lnTo>
                    <a:pt x="744" y="748"/>
                  </a:lnTo>
                  <a:lnTo>
                    <a:pt x="744" y="751"/>
                  </a:lnTo>
                  <a:lnTo>
                    <a:pt x="742" y="751"/>
                  </a:lnTo>
                  <a:lnTo>
                    <a:pt x="744" y="751"/>
                  </a:lnTo>
                  <a:lnTo>
                    <a:pt x="744" y="753"/>
                  </a:lnTo>
                  <a:lnTo>
                    <a:pt x="742" y="753"/>
                  </a:lnTo>
                  <a:lnTo>
                    <a:pt x="740" y="753"/>
                  </a:lnTo>
                  <a:lnTo>
                    <a:pt x="740" y="753"/>
                  </a:lnTo>
                  <a:lnTo>
                    <a:pt x="740" y="753"/>
                  </a:lnTo>
                  <a:lnTo>
                    <a:pt x="737" y="753"/>
                  </a:lnTo>
                  <a:lnTo>
                    <a:pt x="740" y="756"/>
                  </a:lnTo>
                  <a:lnTo>
                    <a:pt x="740" y="756"/>
                  </a:lnTo>
                  <a:lnTo>
                    <a:pt x="737" y="756"/>
                  </a:lnTo>
                  <a:lnTo>
                    <a:pt x="737" y="756"/>
                  </a:lnTo>
                  <a:lnTo>
                    <a:pt x="737" y="756"/>
                  </a:lnTo>
                  <a:lnTo>
                    <a:pt x="735" y="758"/>
                  </a:lnTo>
                  <a:lnTo>
                    <a:pt x="735" y="758"/>
                  </a:lnTo>
                  <a:lnTo>
                    <a:pt x="735" y="758"/>
                  </a:lnTo>
                  <a:lnTo>
                    <a:pt x="733" y="758"/>
                  </a:lnTo>
                  <a:lnTo>
                    <a:pt x="733" y="758"/>
                  </a:lnTo>
                  <a:lnTo>
                    <a:pt x="730" y="758"/>
                  </a:lnTo>
                  <a:lnTo>
                    <a:pt x="733" y="760"/>
                  </a:lnTo>
                  <a:lnTo>
                    <a:pt x="730" y="760"/>
                  </a:lnTo>
                  <a:lnTo>
                    <a:pt x="730" y="760"/>
                  </a:lnTo>
                  <a:lnTo>
                    <a:pt x="730" y="760"/>
                  </a:lnTo>
                  <a:lnTo>
                    <a:pt x="728" y="760"/>
                  </a:lnTo>
                  <a:lnTo>
                    <a:pt x="728" y="763"/>
                  </a:lnTo>
                  <a:lnTo>
                    <a:pt x="726" y="763"/>
                  </a:lnTo>
                  <a:lnTo>
                    <a:pt x="726" y="763"/>
                  </a:lnTo>
                  <a:lnTo>
                    <a:pt x="726" y="765"/>
                  </a:lnTo>
                  <a:lnTo>
                    <a:pt x="726" y="763"/>
                  </a:lnTo>
                  <a:lnTo>
                    <a:pt x="726" y="763"/>
                  </a:lnTo>
                  <a:lnTo>
                    <a:pt x="726" y="760"/>
                  </a:lnTo>
                  <a:lnTo>
                    <a:pt x="726" y="760"/>
                  </a:lnTo>
                  <a:lnTo>
                    <a:pt x="726" y="760"/>
                  </a:lnTo>
                  <a:lnTo>
                    <a:pt x="723" y="760"/>
                  </a:lnTo>
                  <a:lnTo>
                    <a:pt x="721" y="760"/>
                  </a:lnTo>
                  <a:lnTo>
                    <a:pt x="721" y="763"/>
                  </a:lnTo>
                  <a:lnTo>
                    <a:pt x="721" y="763"/>
                  </a:lnTo>
                  <a:lnTo>
                    <a:pt x="718" y="763"/>
                  </a:lnTo>
                  <a:lnTo>
                    <a:pt x="721" y="765"/>
                  </a:lnTo>
                  <a:lnTo>
                    <a:pt x="718" y="765"/>
                  </a:lnTo>
                  <a:lnTo>
                    <a:pt x="718" y="765"/>
                  </a:lnTo>
                  <a:lnTo>
                    <a:pt x="716" y="767"/>
                  </a:lnTo>
                  <a:lnTo>
                    <a:pt x="716" y="767"/>
                  </a:lnTo>
                  <a:lnTo>
                    <a:pt x="716" y="767"/>
                  </a:lnTo>
                  <a:lnTo>
                    <a:pt x="716" y="770"/>
                  </a:lnTo>
                  <a:lnTo>
                    <a:pt x="716" y="767"/>
                  </a:lnTo>
                  <a:lnTo>
                    <a:pt x="716" y="767"/>
                  </a:lnTo>
                  <a:lnTo>
                    <a:pt x="714" y="767"/>
                  </a:lnTo>
                  <a:lnTo>
                    <a:pt x="716" y="770"/>
                  </a:lnTo>
                  <a:lnTo>
                    <a:pt x="714" y="770"/>
                  </a:lnTo>
                  <a:lnTo>
                    <a:pt x="711" y="772"/>
                  </a:lnTo>
                  <a:lnTo>
                    <a:pt x="714" y="772"/>
                  </a:lnTo>
                  <a:lnTo>
                    <a:pt x="714" y="774"/>
                  </a:lnTo>
                  <a:lnTo>
                    <a:pt x="716" y="774"/>
                  </a:lnTo>
                  <a:lnTo>
                    <a:pt x="714" y="777"/>
                  </a:lnTo>
                  <a:lnTo>
                    <a:pt x="714" y="777"/>
                  </a:lnTo>
                  <a:lnTo>
                    <a:pt x="714" y="777"/>
                  </a:lnTo>
                  <a:lnTo>
                    <a:pt x="711" y="779"/>
                  </a:lnTo>
                  <a:lnTo>
                    <a:pt x="711" y="777"/>
                  </a:lnTo>
                  <a:lnTo>
                    <a:pt x="711" y="777"/>
                  </a:lnTo>
                  <a:lnTo>
                    <a:pt x="709" y="777"/>
                  </a:lnTo>
                  <a:lnTo>
                    <a:pt x="709" y="782"/>
                  </a:lnTo>
                  <a:lnTo>
                    <a:pt x="707" y="782"/>
                  </a:lnTo>
                  <a:lnTo>
                    <a:pt x="707" y="782"/>
                  </a:lnTo>
                  <a:lnTo>
                    <a:pt x="707" y="782"/>
                  </a:lnTo>
                  <a:lnTo>
                    <a:pt x="704" y="784"/>
                  </a:lnTo>
                  <a:lnTo>
                    <a:pt x="704" y="784"/>
                  </a:lnTo>
                  <a:lnTo>
                    <a:pt x="702" y="784"/>
                  </a:lnTo>
                  <a:lnTo>
                    <a:pt x="702" y="782"/>
                  </a:lnTo>
                  <a:lnTo>
                    <a:pt x="700" y="782"/>
                  </a:lnTo>
                  <a:lnTo>
                    <a:pt x="700" y="784"/>
                  </a:lnTo>
                  <a:lnTo>
                    <a:pt x="700" y="784"/>
                  </a:lnTo>
                  <a:lnTo>
                    <a:pt x="700" y="784"/>
                  </a:lnTo>
                  <a:lnTo>
                    <a:pt x="697" y="786"/>
                  </a:lnTo>
                  <a:lnTo>
                    <a:pt x="700" y="786"/>
                  </a:lnTo>
                  <a:lnTo>
                    <a:pt x="700" y="789"/>
                  </a:lnTo>
                  <a:lnTo>
                    <a:pt x="697" y="789"/>
                  </a:lnTo>
                  <a:lnTo>
                    <a:pt x="697" y="789"/>
                  </a:lnTo>
                  <a:lnTo>
                    <a:pt x="695" y="789"/>
                  </a:lnTo>
                  <a:lnTo>
                    <a:pt x="692" y="789"/>
                  </a:lnTo>
                  <a:lnTo>
                    <a:pt x="692" y="789"/>
                  </a:lnTo>
                  <a:lnTo>
                    <a:pt x="692" y="789"/>
                  </a:lnTo>
                  <a:lnTo>
                    <a:pt x="692" y="786"/>
                  </a:lnTo>
                  <a:lnTo>
                    <a:pt x="692" y="786"/>
                  </a:lnTo>
                  <a:lnTo>
                    <a:pt x="690" y="786"/>
                  </a:lnTo>
                  <a:lnTo>
                    <a:pt x="690" y="786"/>
                  </a:lnTo>
                  <a:lnTo>
                    <a:pt x="688" y="789"/>
                  </a:lnTo>
                  <a:lnTo>
                    <a:pt x="688" y="789"/>
                  </a:lnTo>
                  <a:lnTo>
                    <a:pt x="688" y="791"/>
                  </a:lnTo>
                  <a:lnTo>
                    <a:pt x="688" y="791"/>
                  </a:lnTo>
                  <a:lnTo>
                    <a:pt x="688" y="793"/>
                  </a:lnTo>
                  <a:lnTo>
                    <a:pt x="688" y="793"/>
                  </a:lnTo>
                  <a:lnTo>
                    <a:pt x="685" y="791"/>
                  </a:lnTo>
                  <a:lnTo>
                    <a:pt x="685" y="791"/>
                  </a:lnTo>
                  <a:lnTo>
                    <a:pt x="683" y="791"/>
                  </a:lnTo>
                  <a:lnTo>
                    <a:pt x="683" y="793"/>
                  </a:lnTo>
                  <a:lnTo>
                    <a:pt x="683" y="793"/>
                  </a:lnTo>
                  <a:lnTo>
                    <a:pt x="683" y="796"/>
                  </a:lnTo>
                  <a:lnTo>
                    <a:pt x="683" y="796"/>
                  </a:lnTo>
                  <a:lnTo>
                    <a:pt x="683" y="796"/>
                  </a:lnTo>
                  <a:lnTo>
                    <a:pt x="683" y="796"/>
                  </a:lnTo>
                  <a:lnTo>
                    <a:pt x="681" y="796"/>
                  </a:lnTo>
                  <a:lnTo>
                    <a:pt x="681" y="796"/>
                  </a:lnTo>
                  <a:lnTo>
                    <a:pt x="678" y="796"/>
                  </a:lnTo>
                  <a:lnTo>
                    <a:pt x="676" y="796"/>
                  </a:lnTo>
                  <a:lnTo>
                    <a:pt x="676" y="798"/>
                  </a:lnTo>
                  <a:lnTo>
                    <a:pt x="674" y="798"/>
                  </a:lnTo>
                  <a:lnTo>
                    <a:pt x="674" y="798"/>
                  </a:lnTo>
                  <a:lnTo>
                    <a:pt x="671" y="800"/>
                  </a:lnTo>
                  <a:lnTo>
                    <a:pt x="671" y="798"/>
                  </a:lnTo>
                  <a:lnTo>
                    <a:pt x="671" y="796"/>
                  </a:lnTo>
                  <a:lnTo>
                    <a:pt x="671" y="796"/>
                  </a:lnTo>
                  <a:lnTo>
                    <a:pt x="669" y="796"/>
                  </a:lnTo>
                  <a:lnTo>
                    <a:pt x="669" y="796"/>
                  </a:lnTo>
                  <a:lnTo>
                    <a:pt x="669" y="793"/>
                  </a:lnTo>
                  <a:lnTo>
                    <a:pt x="669" y="791"/>
                  </a:lnTo>
                  <a:lnTo>
                    <a:pt x="666" y="793"/>
                  </a:lnTo>
                  <a:lnTo>
                    <a:pt x="666" y="793"/>
                  </a:lnTo>
                  <a:lnTo>
                    <a:pt x="664" y="793"/>
                  </a:lnTo>
                  <a:lnTo>
                    <a:pt x="664" y="791"/>
                  </a:lnTo>
                  <a:lnTo>
                    <a:pt x="664" y="791"/>
                  </a:lnTo>
                  <a:lnTo>
                    <a:pt x="662" y="791"/>
                  </a:lnTo>
                  <a:lnTo>
                    <a:pt x="662" y="789"/>
                  </a:lnTo>
                  <a:lnTo>
                    <a:pt x="659" y="789"/>
                  </a:lnTo>
                  <a:lnTo>
                    <a:pt x="659" y="789"/>
                  </a:lnTo>
                  <a:lnTo>
                    <a:pt x="657" y="789"/>
                  </a:lnTo>
                  <a:lnTo>
                    <a:pt x="657" y="791"/>
                  </a:lnTo>
                  <a:lnTo>
                    <a:pt x="655" y="791"/>
                  </a:lnTo>
                  <a:lnTo>
                    <a:pt x="655" y="791"/>
                  </a:lnTo>
                  <a:lnTo>
                    <a:pt x="652" y="789"/>
                  </a:lnTo>
                  <a:lnTo>
                    <a:pt x="650" y="789"/>
                  </a:lnTo>
                  <a:lnTo>
                    <a:pt x="648" y="789"/>
                  </a:lnTo>
                  <a:lnTo>
                    <a:pt x="648" y="786"/>
                  </a:lnTo>
                  <a:lnTo>
                    <a:pt x="645" y="784"/>
                  </a:lnTo>
                  <a:lnTo>
                    <a:pt x="645" y="782"/>
                  </a:lnTo>
                  <a:lnTo>
                    <a:pt x="645" y="782"/>
                  </a:lnTo>
                  <a:lnTo>
                    <a:pt x="643" y="782"/>
                  </a:lnTo>
                  <a:lnTo>
                    <a:pt x="638" y="782"/>
                  </a:lnTo>
                  <a:lnTo>
                    <a:pt x="638" y="782"/>
                  </a:lnTo>
                  <a:lnTo>
                    <a:pt x="638" y="779"/>
                  </a:lnTo>
                  <a:lnTo>
                    <a:pt x="633" y="779"/>
                  </a:lnTo>
                  <a:lnTo>
                    <a:pt x="633" y="777"/>
                  </a:lnTo>
                  <a:lnTo>
                    <a:pt x="633" y="777"/>
                  </a:lnTo>
                  <a:lnTo>
                    <a:pt x="631" y="777"/>
                  </a:lnTo>
                  <a:lnTo>
                    <a:pt x="629" y="779"/>
                  </a:lnTo>
                  <a:lnTo>
                    <a:pt x="626" y="782"/>
                  </a:lnTo>
                  <a:lnTo>
                    <a:pt x="626" y="782"/>
                  </a:lnTo>
                  <a:lnTo>
                    <a:pt x="629" y="784"/>
                  </a:lnTo>
                  <a:lnTo>
                    <a:pt x="629" y="784"/>
                  </a:lnTo>
                  <a:lnTo>
                    <a:pt x="626" y="784"/>
                  </a:lnTo>
                  <a:lnTo>
                    <a:pt x="626" y="784"/>
                  </a:lnTo>
                  <a:lnTo>
                    <a:pt x="624" y="782"/>
                  </a:lnTo>
                  <a:lnTo>
                    <a:pt x="624" y="782"/>
                  </a:lnTo>
                  <a:lnTo>
                    <a:pt x="624" y="782"/>
                  </a:lnTo>
                  <a:lnTo>
                    <a:pt x="622" y="782"/>
                  </a:lnTo>
                  <a:lnTo>
                    <a:pt x="619" y="782"/>
                  </a:lnTo>
                  <a:lnTo>
                    <a:pt x="617" y="782"/>
                  </a:lnTo>
                  <a:lnTo>
                    <a:pt x="615" y="782"/>
                  </a:lnTo>
                  <a:lnTo>
                    <a:pt x="615" y="782"/>
                  </a:lnTo>
                  <a:lnTo>
                    <a:pt x="615" y="782"/>
                  </a:lnTo>
                  <a:lnTo>
                    <a:pt x="615" y="782"/>
                  </a:lnTo>
                  <a:lnTo>
                    <a:pt x="612" y="782"/>
                  </a:lnTo>
                  <a:lnTo>
                    <a:pt x="610" y="782"/>
                  </a:lnTo>
                  <a:lnTo>
                    <a:pt x="605" y="784"/>
                  </a:lnTo>
                  <a:lnTo>
                    <a:pt x="605" y="782"/>
                  </a:lnTo>
                  <a:lnTo>
                    <a:pt x="605" y="782"/>
                  </a:lnTo>
                  <a:lnTo>
                    <a:pt x="605" y="779"/>
                  </a:lnTo>
                  <a:lnTo>
                    <a:pt x="605" y="779"/>
                  </a:lnTo>
                  <a:lnTo>
                    <a:pt x="600" y="782"/>
                  </a:lnTo>
                  <a:lnTo>
                    <a:pt x="600" y="779"/>
                  </a:lnTo>
                  <a:lnTo>
                    <a:pt x="598" y="779"/>
                  </a:lnTo>
                  <a:lnTo>
                    <a:pt x="596" y="779"/>
                  </a:lnTo>
                  <a:lnTo>
                    <a:pt x="596" y="777"/>
                  </a:lnTo>
                  <a:lnTo>
                    <a:pt x="596" y="777"/>
                  </a:lnTo>
                  <a:lnTo>
                    <a:pt x="593" y="777"/>
                  </a:lnTo>
                  <a:lnTo>
                    <a:pt x="591" y="777"/>
                  </a:lnTo>
                  <a:lnTo>
                    <a:pt x="591" y="777"/>
                  </a:lnTo>
                  <a:lnTo>
                    <a:pt x="586" y="777"/>
                  </a:lnTo>
                  <a:lnTo>
                    <a:pt x="584" y="777"/>
                  </a:lnTo>
                  <a:lnTo>
                    <a:pt x="584" y="779"/>
                  </a:lnTo>
                  <a:lnTo>
                    <a:pt x="584" y="779"/>
                  </a:lnTo>
                  <a:lnTo>
                    <a:pt x="584" y="779"/>
                  </a:lnTo>
                  <a:lnTo>
                    <a:pt x="581" y="779"/>
                  </a:lnTo>
                  <a:lnTo>
                    <a:pt x="579" y="779"/>
                  </a:lnTo>
                  <a:lnTo>
                    <a:pt x="579" y="779"/>
                  </a:lnTo>
                  <a:lnTo>
                    <a:pt x="577" y="779"/>
                  </a:lnTo>
                  <a:lnTo>
                    <a:pt x="574" y="779"/>
                  </a:lnTo>
                  <a:lnTo>
                    <a:pt x="572" y="779"/>
                  </a:lnTo>
                  <a:lnTo>
                    <a:pt x="570" y="782"/>
                  </a:lnTo>
                  <a:lnTo>
                    <a:pt x="567" y="779"/>
                  </a:lnTo>
                  <a:lnTo>
                    <a:pt x="565" y="782"/>
                  </a:lnTo>
                  <a:lnTo>
                    <a:pt x="563" y="784"/>
                  </a:lnTo>
                  <a:lnTo>
                    <a:pt x="563" y="784"/>
                  </a:lnTo>
                  <a:lnTo>
                    <a:pt x="560" y="779"/>
                  </a:lnTo>
                  <a:lnTo>
                    <a:pt x="560" y="779"/>
                  </a:lnTo>
                  <a:lnTo>
                    <a:pt x="555" y="777"/>
                  </a:lnTo>
                  <a:lnTo>
                    <a:pt x="555" y="777"/>
                  </a:lnTo>
                  <a:lnTo>
                    <a:pt x="551" y="777"/>
                  </a:lnTo>
                  <a:lnTo>
                    <a:pt x="551" y="774"/>
                  </a:lnTo>
                  <a:lnTo>
                    <a:pt x="548" y="774"/>
                  </a:lnTo>
                  <a:lnTo>
                    <a:pt x="546" y="777"/>
                  </a:lnTo>
                  <a:lnTo>
                    <a:pt x="544" y="777"/>
                  </a:lnTo>
                  <a:lnTo>
                    <a:pt x="544" y="779"/>
                  </a:lnTo>
                  <a:lnTo>
                    <a:pt x="541" y="779"/>
                  </a:lnTo>
                  <a:lnTo>
                    <a:pt x="541" y="782"/>
                  </a:lnTo>
                  <a:lnTo>
                    <a:pt x="541" y="782"/>
                  </a:lnTo>
                  <a:lnTo>
                    <a:pt x="541" y="782"/>
                  </a:lnTo>
                  <a:lnTo>
                    <a:pt x="539" y="782"/>
                  </a:lnTo>
                  <a:lnTo>
                    <a:pt x="537" y="782"/>
                  </a:lnTo>
                  <a:lnTo>
                    <a:pt x="534" y="784"/>
                  </a:lnTo>
                  <a:lnTo>
                    <a:pt x="534" y="786"/>
                  </a:lnTo>
                  <a:lnTo>
                    <a:pt x="534" y="786"/>
                  </a:lnTo>
                  <a:lnTo>
                    <a:pt x="529" y="789"/>
                  </a:lnTo>
                  <a:lnTo>
                    <a:pt x="529" y="789"/>
                  </a:lnTo>
                  <a:lnTo>
                    <a:pt x="527" y="789"/>
                  </a:lnTo>
                  <a:lnTo>
                    <a:pt x="527" y="786"/>
                  </a:lnTo>
                  <a:lnTo>
                    <a:pt x="525" y="786"/>
                  </a:lnTo>
                  <a:lnTo>
                    <a:pt x="525" y="786"/>
                  </a:lnTo>
                  <a:lnTo>
                    <a:pt x="527" y="786"/>
                  </a:lnTo>
                  <a:lnTo>
                    <a:pt x="527" y="784"/>
                  </a:lnTo>
                  <a:lnTo>
                    <a:pt x="525" y="784"/>
                  </a:lnTo>
                  <a:lnTo>
                    <a:pt x="520" y="786"/>
                  </a:lnTo>
                  <a:lnTo>
                    <a:pt x="520" y="789"/>
                  </a:lnTo>
                  <a:lnTo>
                    <a:pt x="515" y="789"/>
                  </a:lnTo>
                  <a:lnTo>
                    <a:pt x="513" y="789"/>
                  </a:lnTo>
                  <a:lnTo>
                    <a:pt x="513" y="789"/>
                  </a:lnTo>
                  <a:lnTo>
                    <a:pt x="513" y="789"/>
                  </a:lnTo>
                  <a:lnTo>
                    <a:pt x="515" y="791"/>
                  </a:lnTo>
                  <a:lnTo>
                    <a:pt x="515" y="791"/>
                  </a:lnTo>
                  <a:lnTo>
                    <a:pt x="515" y="793"/>
                  </a:lnTo>
                  <a:lnTo>
                    <a:pt x="515" y="793"/>
                  </a:lnTo>
                  <a:lnTo>
                    <a:pt x="513" y="796"/>
                  </a:lnTo>
                  <a:lnTo>
                    <a:pt x="511" y="796"/>
                  </a:lnTo>
                  <a:lnTo>
                    <a:pt x="508" y="800"/>
                  </a:lnTo>
                  <a:lnTo>
                    <a:pt x="508" y="803"/>
                  </a:lnTo>
                  <a:lnTo>
                    <a:pt x="506" y="803"/>
                  </a:lnTo>
                  <a:lnTo>
                    <a:pt x="506" y="803"/>
                  </a:lnTo>
                  <a:lnTo>
                    <a:pt x="503" y="805"/>
                  </a:lnTo>
                  <a:lnTo>
                    <a:pt x="503" y="805"/>
                  </a:lnTo>
                  <a:lnTo>
                    <a:pt x="503" y="807"/>
                  </a:lnTo>
                  <a:lnTo>
                    <a:pt x="501" y="807"/>
                  </a:lnTo>
                  <a:lnTo>
                    <a:pt x="499" y="807"/>
                  </a:lnTo>
                  <a:lnTo>
                    <a:pt x="499" y="807"/>
                  </a:lnTo>
                  <a:lnTo>
                    <a:pt x="496" y="812"/>
                  </a:lnTo>
                  <a:lnTo>
                    <a:pt x="494" y="815"/>
                  </a:lnTo>
                  <a:lnTo>
                    <a:pt x="492" y="817"/>
                  </a:lnTo>
                  <a:lnTo>
                    <a:pt x="492" y="817"/>
                  </a:lnTo>
                  <a:lnTo>
                    <a:pt x="489" y="819"/>
                  </a:lnTo>
                  <a:lnTo>
                    <a:pt x="487" y="817"/>
                  </a:lnTo>
                  <a:lnTo>
                    <a:pt x="487" y="817"/>
                  </a:lnTo>
                  <a:lnTo>
                    <a:pt x="485" y="815"/>
                  </a:lnTo>
                  <a:lnTo>
                    <a:pt x="480" y="807"/>
                  </a:lnTo>
                  <a:lnTo>
                    <a:pt x="478" y="805"/>
                  </a:lnTo>
                  <a:lnTo>
                    <a:pt x="478" y="803"/>
                  </a:lnTo>
                  <a:lnTo>
                    <a:pt x="478" y="800"/>
                  </a:lnTo>
                  <a:lnTo>
                    <a:pt x="478" y="800"/>
                  </a:lnTo>
                  <a:lnTo>
                    <a:pt x="478" y="798"/>
                  </a:lnTo>
                  <a:lnTo>
                    <a:pt x="478" y="798"/>
                  </a:lnTo>
                  <a:lnTo>
                    <a:pt x="473" y="798"/>
                  </a:lnTo>
                  <a:lnTo>
                    <a:pt x="473" y="798"/>
                  </a:lnTo>
                  <a:lnTo>
                    <a:pt x="470" y="798"/>
                  </a:lnTo>
                  <a:lnTo>
                    <a:pt x="470" y="800"/>
                  </a:lnTo>
                  <a:lnTo>
                    <a:pt x="470" y="803"/>
                  </a:lnTo>
                  <a:lnTo>
                    <a:pt x="470" y="805"/>
                  </a:lnTo>
                  <a:lnTo>
                    <a:pt x="470" y="805"/>
                  </a:lnTo>
                  <a:lnTo>
                    <a:pt x="470" y="805"/>
                  </a:lnTo>
                  <a:lnTo>
                    <a:pt x="468" y="805"/>
                  </a:lnTo>
                  <a:lnTo>
                    <a:pt x="468" y="805"/>
                  </a:lnTo>
                  <a:lnTo>
                    <a:pt x="461" y="805"/>
                  </a:lnTo>
                  <a:lnTo>
                    <a:pt x="459" y="807"/>
                  </a:lnTo>
                  <a:lnTo>
                    <a:pt x="459" y="807"/>
                  </a:lnTo>
                  <a:lnTo>
                    <a:pt x="456" y="807"/>
                  </a:lnTo>
                  <a:lnTo>
                    <a:pt x="459" y="812"/>
                  </a:lnTo>
                  <a:lnTo>
                    <a:pt x="459" y="812"/>
                  </a:lnTo>
                  <a:lnTo>
                    <a:pt x="459" y="812"/>
                  </a:lnTo>
                  <a:lnTo>
                    <a:pt x="454" y="812"/>
                  </a:lnTo>
                  <a:lnTo>
                    <a:pt x="454" y="812"/>
                  </a:lnTo>
                  <a:lnTo>
                    <a:pt x="452" y="812"/>
                  </a:lnTo>
                  <a:lnTo>
                    <a:pt x="452" y="812"/>
                  </a:lnTo>
                  <a:lnTo>
                    <a:pt x="449" y="815"/>
                  </a:lnTo>
                  <a:lnTo>
                    <a:pt x="447" y="815"/>
                  </a:lnTo>
                  <a:lnTo>
                    <a:pt x="444" y="815"/>
                  </a:lnTo>
                  <a:lnTo>
                    <a:pt x="444" y="815"/>
                  </a:lnTo>
                  <a:lnTo>
                    <a:pt x="442" y="815"/>
                  </a:lnTo>
                  <a:lnTo>
                    <a:pt x="442" y="817"/>
                  </a:lnTo>
                  <a:lnTo>
                    <a:pt x="440" y="817"/>
                  </a:lnTo>
                  <a:lnTo>
                    <a:pt x="440" y="817"/>
                  </a:lnTo>
                  <a:lnTo>
                    <a:pt x="440" y="817"/>
                  </a:lnTo>
                  <a:lnTo>
                    <a:pt x="435" y="817"/>
                  </a:lnTo>
                  <a:lnTo>
                    <a:pt x="433" y="817"/>
                  </a:lnTo>
                  <a:lnTo>
                    <a:pt x="433" y="815"/>
                  </a:lnTo>
                  <a:lnTo>
                    <a:pt x="430" y="815"/>
                  </a:lnTo>
                  <a:lnTo>
                    <a:pt x="430" y="815"/>
                  </a:lnTo>
                  <a:lnTo>
                    <a:pt x="428" y="815"/>
                  </a:lnTo>
                  <a:lnTo>
                    <a:pt x="428" y="815"/>
                  </a:lnTo>
                  <a:lnTo>
                    <a:pt x="426" y="815"/>
                  </a:lnTo>
                  <a:lnTo>
                    <a:pt x="421" y="815"/>
                  </a:lnTo>
                  <a:lnTo>
                    <a:pt x="416" y="815"/>
                  </a:lnTo>
                  <a:lnTo>
                    <a:pt x="416" y="812"/>
                  </a:lnTo>
                  <a:lnTo>
                    <a:pt x="411" y="812"/>
                  </a:lnTo>
                  <a:lnTo>
                    <a:pt x="409" y="812"/>
                  </a:lnTo>
                  <a:lnTo>
                    <a:pt x="409" y="815"/>
                  </a:lnTo>
                  <a:lnTo>
                    <a:pt x="407" y="817"/>
                  </a:lnTo>
                  <a:lnTo>
                    <a:pt x="404" y="819"/>
                  </a:lnTo>
                  <a:lnTo>
                    <a:pt x="402" y="822"/>
                  </a:lnTo>
                  <a:lnTo>
                    <a:pt x="392" y="822"/>
                  </a:lnTo>
                  <a:lnTo>
                    <a:pt x="388" y="824"/>
                  </a:lnTo>
                  <a:lnTo>
                    <a:pt x="385" y="824"/>
                  </a:lnTo>
                  <a:lnTo>
                    <a:pt x="381" y="822"/>
                  </a:lnTo>
                  <a:lnTo>
                    <a:pt x="378" y="824"/>
                  </a:lnTo>
                  <a:lnTo>
                    <a:pt x="376" y="824"/>
                  </a:lnTo>
                  <a:lnTo>
                    <a:pt x="376" y="824"/>
                  </a:lnTo>
                  <a:lnTo>
                    <a:pt x="374" y="826"/>
                  </a:lnTo>
                  <a:lnTo>
                    <a:pt x="371" y="826"/>
                  </a:lnTo>
                  <a:lnTo>
                    <a:pt x="369" y="833"/>
                  </a:lnTo>
                  <a:lnTo>
                    <a:pt x="366" y="841"/>
                  </a:lnTo>
                  <a:lnTo>
                    <a:pt x="364" y="841"/>
                  </a:lnTo>
                  <a:lnTo>
                    <a:pt x="362" y="841"/>
                  </a:lnTo>
                  <a:lnTo>
                    <a:pt x="359" y="843"/>
                  </a:lnTo>
                  <a:lnTo>
                    <a:pt x="359" y="843"/>
                  </a:lnTo>
                  <a:lnTo>
                    <a:pt x="359" y="843"/>
                  </a:lnTo>
                  <a:lnTo>
                    <a:pt x="357" y="850"/>
                  </a:lnTo>
                  <a:lnTo>
                    <a:pt x="355" y="855"/>
                  </a:lnTo>
                  <a:lnTo>
                    <a:pt x="352" y="855"/>
                  </a:lnTo>
                  <a:lnTo>
                    <a:pt x="350" y="855"/>
                  </a:lnTo>
                  <a:lnTo>
                    <a:pt x="348" y="857"/>
                  </a:lnTo>
                  <a:lnTo>
                    <a:pt x="348" y="859"/>
                  </a:lnTo>
                  <a:lnTo>
                    <a:pt x="350" y="862"/>
                  </a:lnTo>
                  <a:lnTo>
                    <a:pt x="350" y="864"/>
                  </a:lnTo>
                  <a:lnTo>
                    <a:pt x="350" y="867"/>
                  </a:lnTo>
                  <a:lnTo>
                    <a:pt x="350" y="869"/>
                  </a:lnTo>
                  <a:lnTo>
                    <a:pt x="348" y="874"/>
                  </a:lnTo>
                  <a:lnTo>
                    <a:pt x="345" y="878"/>
                  </a:lnTo>
                  <a:lnTo>
                    <a:pt x="343" y="878"/>
                  </a:lnTo>
                  <a:lnTo>
                    <a:pt x="343" y="878"/>
                  </a:lnTo>
                  <a:lnTo>
                    <a:pt x="340" y="881"/>
                  </a:lnTo>
                  <a:lnTo>
                    <a:pt x="338" y="883"/>
                  </a:lnTo>
                  <a:lnTo>
                    <a:pt x="331" y="883"/>
                  </a:lnTo>
                  <a:lnTo>
                    <a:pt x="329" y="883"/>
                  </a:lnTo>
                  <a:lnTo>
                    <a:pt x="326" y="883"/>
                  </a:lnTo>
                  <a:lnTo>
                    <a:pt x="326" y="883"/>
                  </a:lnTo>
                  <a:lnTo>
                    <a:pt x="326" y="885"/>
                  </a:lnTo>
                  <a:lnTo>
                    <a:pt x="326" y="888"/>
                  </a:lnTo>
                  <a:lnTo>
                    <a:pt x="319" y="890"/>
                  </a:lnTo>
                  <a:lnTo>
                    <a:pt x="319" y="890"/>
                  </a:lnTo>
                  <a:lnTo>
                    <a:pt x="319" y="893"/>
                  </a:lnTo>
                  <a:lnTo>
                    <a:pt x="319" y="895"/>
                  </a:lnTo>
                  <a:lnTo>
                    <a:pt x="317" y="895"/>
                  </a:lnTo>
                  <a:lnTo>
                    <a:pt x="315" y="900"/>
                  </a:lnTo>
                  <a:lnTo>
                    <a:pt x="312" y="900"/>
                  </a:lnTo>
                  <a:lnTo>
                    <a:pt x="310" y="902"/>
                  </a:lnTo>
                  <a:lnTo>
                    <a:pt x="307" y="904"/>
                  </a:lnTo>
                  <a:lnTo>
                    <a:pt x="307" y="907"/>
                  </a:lnTo>
                  <a:lnTo>
                    <a:pt x="307" y="907"/>
                  </a:lnTo>
                  <a:lnTo>
                    <a:pt x="307" y="909"/>
                  </a:lnTo>
                  <a:lnTo>
                    <a:pt x="305" y="914"/>
                  </a:lnTo>
                  <a:lnTo>
                    <a:pt x="305" y="916"/>
                  </a:lnTo>
                  <a:lnTo>
                    <a:pt x="303" y="919"/>
                  </a:lnTo>
                  <a:lnTo>
                    <a:pt x="303" y="919"/>
                  </a:lnTo>
                  <a:lnTo>
                    <a:pt x="303" y="921"/>
                  </a:lnTo>
                  <a:lnTo>
                    <a:pt x="303" y="921"/>
                  </a:lnTo>
                  <a:lnTo>
                    <a:pt x="307" y="926"/>
                  </a:lnTo>
                  <a:lnTo>
                    <a:pt x="307" y="928"/>
                  </a:lnTo>
                  <a:lnTo>
                    <a:pt x="307" y="928"/>
                  </a:lnTo>
                  <a:lnTo>
                    <a:pt x="307" y="930"/>
                  </a:lnTo>
                  <a:lnTo>
                    <a:pt x="305" y="930"/>
                  </a:lnTo>
                  <a:lnTo>
                    <a:pt x="298" y="928"/>
                  </a:lnTo>
                  <a:lnTo>
                    <a:pt x="293" y="926"/>
                  </a:lnTo>
                  <a:lnTo>
                    <a:pt x="293" y="926"/>
                  </a:lnTo>
                  <a:lnTo>
                    <a:pt x="293" y="923"/>
                  </a:lnTo>
                  <a:lnTo>
                    <a:pt x="293" y="923"/>
                  </a:lnTo>
                  <a:lnTo>
                    <a:pt x="291" y="921"/>
                  </a:lnTo>
                  <a:lnTo>
                    <a:pt x="289" y="921"/>
                  </a:lnTo>
                  <a:lnTo>
                    <a:pt x="289" y="919"/>
                  </a:lnTo>
                  <a:lnTo>
                    <a:pt x="286" y="919"/>
                  </a:lnTo>
                  <a:lnTo>
                    <a:pt x="286" y="919"/>
                  </a:lnTo>
                  <a:lnTo>
                    <a:pt x="286" y="916"/>
                  </a:lnTo>
                  <a:lnTo>
                    <a:pt x="284" y="919"/>
                  </a:lnTo>
                  <a:lnTo>
                    <a:pt x="281" y="916"/>
                  </a:lnTo>
                  <a:lnTo>
                    <a:pt x="284" y="916"/>
                  </a:lnTo>
                  <a:lnTo>
                    <a:pt x="284" y="916"/>
                  </a:lnTo>
                  <a:lnTo>
                    <a:pt x="284" y="914"/>
                  </a:lnTo>
                  <a:lnTo>
                    <a:pt x="281" y="911"/>
                  </a:lnTo>
                  <a:lnTo>
                    <a:pt x="281" y="911"/>
                  </a:lnTo>
                  <a:lnTo>
                    <a:pt x="281" y="909"/>
                  </a:lnTo>
                  <a:lnTo>
                    <a:pt x="279" y="909"/>
                  </a:lnTo>
                  <a:lnTo>
                    <a:pt x="279" y="907"/>
                  </a:lnTo>
                  <a:lnTo>
                    <a:pt x="277" y="909"/>
                  </a:lnTo>
                  <a:lnTo>
                    <a:pt x="277" y="907"/>
                  </a:lnTo>
                  <a:lnTo>
                    <a:pt x="274" y="907"/>
                  </a:lnTo>
                  <a:lnTo>
                    <a:pt x="274" y="904"/>
                  </a:lnTo>
                  <a:lnTo>
                    <a:pt x="274" y="904"/>
                  </a:lnTo>
                  <a:lnTo>
                    <a:pt x="272" y="904"/>
                  </a:lnTo>
                  <a:lnTo>
                    <a:pt x="272" y="904"/>
                  </a:lnTo>
                  <a:lnTo>
                    <a:pt x="270" y="904"/>
                  </a:lnTo>
                  <a:lnTo>
                    <a:pt x="267" y="902"/>
                  </a:lnTo>
                  <a:lnTo>
                    <a:pt x="265" y="902"/>
                  </a:lnTo>
                  <a:lnTo>
                    <a:pt x="263" y="902"/>
                  </a:lnTo>
                  <a:lnTo>
                    <a:pt x="263" y="900"/>
                  </a:lnTo>
                  <a:lnTo>
                    <a:pt x="260" y="900"/>
                  </a:lnTo>
                  <a:lnTo>
                    <a:pt x="260" y="900"/>
                  </a:lnTo>
                  <a:lnTo>
                    <a:pt x="260" y="900"/>
                  </a:lnTo>
                  <a:lnTo>
                    <a:pt x="258" y="900"/>
                  </a:lnTo>
                  <a:lnTo>
                    <a:pt x="258" y="900"/>
                  </a:lnTo>
                  <a:lnTo>
                    <a:pt x="258" y="900"/>
                  </a:lnTo>
                  <a:lnTo>
                    <a:pt x="258" y="900"/>
                  </a:lnTo>
                  <a:lnTo>
                    <a:pt x="255" y="900"/>
                  </a:lnTo>
                  <a:lnTo>
                    <a:pt x="255" y="900"/>
                  </a:lnTo>
                  <a:lnTo>
                    <a:pt x="253" y="900"/>
                  </a:lnTo>
                  <a:lnTo>
                    <a:pt x="251" y="900"/>
                  </a:lnTo>
                  <a:lnTo>
                    <a:pt x="251" y="897"/>
                  </a:lnTo>
                  <a:lnTo>
                    <a:pt x="251" y="897"/>
                  </a:lnTo>
                  <a:lnTo>
                    <a:pt x="248" y="897"/>
                  </a:lnTo>
                  <a:lnTo>
                    <a:pt x="248" y="897"/>
                  </a:lnTo>
                  <a:lnTo>
                    <a:pt x="248" y="897"/>
                  </a:lnTo>
                  <a:lnTo>
                    <a:pt x="248" y="895"/>
                  </a:lnTo>
                  <a:lnTo>
                    <a:pt x="244" y="895"/>
                  </a:lnTo>
                  <a:lnTo>
                    <a:pt x="241" y="893"/>
                  </a:lnTo>
                  <a:lnTo>
                    <a:pt x="239" y="895"/>
                  </a:lnTo>
                  <a:lnTo>
                    <a:pt x="239" y="893"/>
                  </a:lnTo>
                  <a:lnTo>
                    <a:pt x="239" y="893"/>
                  </a:lnTo>
                  <a:lnTo>
                    <a:pt x="239" y="890"/>
                  </a:lnTo>
                  <a:lnTo>
                    <a:pt x="239" y="890"/>
                  </a:lnTo>
                  <a:lnTo>
                    <a:pt x="237" y="890"/>
                  </a:lnTo>
                  <a:lnTo>
                    <a:pt x="234" y="890"/>
                  </a:lnTo>
                  <a:lnTo>
                    <a:pt x="234" y="890"/>
                  </a:lnTo>
                  <a:lnTo>
                    <a:pt x="234" y="888"/>
                  </a:lnTo>
                  <a:lnTo>
                    <a:pt x="234" y="888"/>
                  </a:lnTo>
                  <a:lnTo>
                    <a:pt x="234" y="888"/>
                  </a:lnTo>
                  <a:lnTo>
                    <a:pt x="234" y="888"/>
                  </a:lnTo>
                  <a:lnTo>
                    <a:pt x="232" y="888"/>
                  </a:lnTo>
                  <a:lnTo>
                    <a:pt x="232" y="888"/>
                  </a:lnTo>
                  <a:lnTo>
                    <a:pt x="229" y="888"/>
                  </a:lnTo>
                  <a:lnTo>
                    <a:pt x="229" y="885"/>
                  </a:lnTo>
                  <a:lnTo>
                    <a:pt x="229" y="885"/>
                  </a:lnTo>
                  <a:lnTo>
                    <a:pt x="227" y="888"/>
                  </a:lnTo>
                  <a:lnTo>
                    <a:pt x="225" y="885"/>
                  </a:lnTo>
                  <a:lnTo>
                    <a:pt x="225" y="885"/>
                  </a:lnTo>
                  <a:lnTo>
                    <a:pt x="222" y="885"/>
                  </a:lnTo>
                  <a:lnTo>
                    <a:pt x="222" y="885"/>
                  </a:lnTo>
                  <a:lnTo>
                    <a:pt x="222" y="885"/>
                  </a:lnTo>
                  <a:lnTo>
                    <a:pt x="222" y="885"/>
                  </a:lnTo>
                  <a:lnTo>
                    <a:pt x="220" y="883"/>
                  </a:lnTo>
                  <a:lnTo>
                    <a:pt x="218" y="883"/>
                  </a:lnTo>
                  <a:lnTo>
                    <a:pt x="215" y="883"/>
                  </a:lnTo>
                  <a:lnTo>
                    <a:pt x="215" y="883"/>
                  </a:lnTo>
                  <a:lnTo>
                    <a:pt x="213" y="883"/>
                  </a:lnTo>
                  <a:lnTo>
                    <a:pt x="213" y="881"/>
                  </a:lnTo>
                  <a:lnTo>
                    <a:pt x="211" y="881"/>
                  </a:lnTo>
                  <a:lnTo>
                    <a:pt x="211" y="883"/>
                  </a:lnTo>
                  <a:lnTo>
                    <a:pt x="208" y="883"/>
                  </a:lnTo>
                  <a:lnTo>
                    <a:pt x="208" y="883"/>
                  </a:lnTo>
                  <a:lnTo>
                    <a:pt x="206" y="883"/>
                  </a:lnTo>
                  <a:lnTo>
                    <a:pt x="206" y="881"/>
                  </a:lnTo>
                  <a:lnTo>
                    <a:pt x="203" y="881"/>
                  </a:lnTo>
                  <a:lnTo>
                    <a:pt x="203" y="883"/>
                  </a:lnTo>
                  <a:lnTo>
                    <a:pt x="199" y="881"/>
                  </a:lnTo>
                  <a:lnTo>
                    <a:pt x="196" y="881"/>
                  </a:lnTo>
                  <a:lnTo>
                    <a:pt x="196" y="878"/>
                  </a:lnTo>
                  <a:lnTo>
                    <a:pt x="196" y="878"/>
                  </a:lnTo>
                  <a:lnTo>
                    <a:pt x="196" y="878"/>
                  </a:lnTo>
                  <a:lnTo>
                    <a:pt x="194" y="878"/>
                  </a:lnTo>
                  <a:lnTo>
                    <a:pt x="194" y="878"/>
                  </a:lnTo>
                  <a:lnTo>
                    <a:pt x="194" y="878"/>
                  </a:lnTo>
                  <a:lnTo>
                    <a:pt x="192" y="878"/>
                  </a:lnTo>
                  <a:lnTo>
                    <a:pt x="192" y="878"/>
                  </a:lnTo>
                  <a:lnTo>
                    <a:pt x="192" y="878"/>
                  </a:lnTo>
                  <a:lnTo>
                    <a:pt x="192" y="876"/>
                  </a:lnTo>
                  <a:lnTo>
                    <a:pt x="192" y="876"/>
                  </a:lnTo>
                  <a:lnTo>
                    <a:pt x="192" y="876"/>
                  </a:lnTo>
                  <a:lnTo>
                    <a:pt x="189" y="876"/>
                  </a:lnTo>
                  <a:lnTo>
                    <a:pt x="187" y="874"/>
                  </a:lnTo>
                  <a:lnTo>
                    <a:pt x="187" y="876"/>
                  </a:lnTo>
                  <a:lnTo>
                    <a:pt x="185" y="874"/>
                  </a:lnTo>
                  <a:lnTo>
                    <a:pt x="187" y="874"/>
                  </a:lnTo>
                  <a:lnTo>
                    <a:pt x="185" y="874"/>
                  </a:lnTo>
                  <a:lnTo>
                    <a:pt x="185" y="874"/>
                  </a:lnTo>
                  <a:lnTo>
                    <a:pt x="182" y="871"/>
                  </a:lnTo>
                  <a:lnTo>
                    <a:pt x="180" y="871"/>
                  </a:lnTo>
                  <a:lnTo>
                    <a:pt x="180" y="871"/>
                  </a:lnTo>
                  <a:lnTo>
                    <a:pt x="180" y="871"/>
                  </a:lnTo>
                  <a:lnTo>
                    <a:pt x="180" y="871"/>
                  </a:lnTo>
                  <a:lnTo>
                    <a:pt x="177" y="871"/>
                  </a:lnTo>
                  <a:lnTo>
                    <a:pt x="177" y="871"/>
                  </a:lnTo>
                  <a:lnTo>
                    <a:pt x="177" y="871"/>
                  </a:lnTo>
                  <a:lnTo>
                    <a:pt x="175" y="869"/>
                  </a:lnTo>
                  <a:lnTo>
                    <a:pt x="175" y="869"/>
                  </a:lnTo>
                  <a:lnTo>
                    <a:pt x="175" y="869"/>
                  </a:lnTo>
                  <a:lnTo>
                    <a:pt x="175" y="867"/>
                  </a:lnTo>
                  <a:lnTo>
                    <a:pt x="173" y="867"/>
                  </a:lnTo>
                  <a:lnTo>
                    <a:pt x="173" y="867"/>
                  </a:lnTo>
                  <a:lnTo>
                    <a:pt x="173" y="864"/>
                  </a:lnTo>
                  <a:lnTo>
                    <a:pt x="170" y="864"/>
                  </a:lnTo>
                  <a:lnTo>
                    <a:pt x="170" y="862"/>
                  </a:lnTo>
                  <a:lnTo>
                    <a:pt x="168" y="862"/>
                  </a:lnTo>
                  <a:lnTo>
                    <a:pt x="168" y="862"/>
                  </a:lnTo>
                  <a:lnTo>
                    <a:pt x="168" y="862"/>
                  </a:lnTo>
                  <a:lnTo>
                    <a:pt x="166" y="862"/>
                  </a:lnTo>
                  <a:lnTo>
                    <a:pt x="166" y="862"/>
                  </a:lnTo>
                  <a:lnTo>
                    <a:pt x="166" y="862"/>
                  </a:lnTo>
                  <a:lnTo>
                    <a:pt x="166" y="862"/>
                  </a:lnTo>
                  <a:lnTo>
                    <a:pt x="163" y="862"/>
                  </a:lnTo>
                  <a:lnTo>
                    <a:pt x="163" y="859"/>
                  </a:lnTo>
                  <a:lnTo>
                    <a:pt x="163" y="862"/>
                  </a:lnTo>
                  <a:lnTo>
                    <a:pt x="163" y="862"/>
                  </a:lnTo>
                  <a:lnTo>
                    <a:pt x="161" y="862"/>
                  </a:lnTo>
                  <a:lnTo>
                    <a:pt x="161" y="862"/>
                  </a:lnTo>
                  <a:lnTo>
                    <a:pt x="159" y="862"/>
                  </a:lnTo>
                  <a:lnTo>
                    <a:pt x="159" y="859"/>
                  </a:lnTo>
                  <a:lnTo>
                    <a:pt x="159" y="862"/>
                  </a:lnTo>
                  <a:lnTo>
                    <a:pt x="159" y="862"/>
                  </a:lnTo>
                  <a:lnTo>
                    <a:pt x="156" y="862"/>
                  </a:lnTo>
                  <a:lnTo>
                    <a:pt x="156" y="862"/>
                  </a:lnTo>
                  <a:lnTo>
                    <a:pt x="159" y="862"/>
                  </a:lnTo>
                  <a:lnTo>
                    <a:pt x="156" y="859"/>
                  </a:lnTo>
                  <a:lnTo>
                    <a:pt x="156" y="859"/>
                  </a:lnTo>
                  <a:lnTo>
                    <a:pt x="154" y="859"/>
                  </a:lnTo>
                  <a:lnTo>
                    <a:pt x="154" y="859"/>
                  </a:lnTo>
                  <a:lnTo>
                    <a:pt x="154" y="859"/>
                  </a:lnTo>
                  <a:lnTo>
                    <a:pt x="154" y="859"/>
                  </a:lnTo>
                  <a:lnTo>
                    <a:pt x="152" y="859"/>
                  </a:lnTo>
                  <a:lnTo>
                    <a:pt x="152" y="857"/>
                  </a:lnTo>
                  <a:lnTo>
                    <a:pt x="152" y="859"/>
                  </a:lnTo>
                  <a:lnTo>
                    <a:pt x="149" y="859"/>
                  </a:lnTo>
                  <a:lnTo>
                    <a:pt x="149" y="857"/>
                  </a:lnTo>
                  <a:lnTo>
                    <a:pt x="147" y="857"/>
                  </a:lnTo>
                  <a:lnTo>
                    <a:pt x="147" y="857"/>
                  </a:lnTo>
                  <a:lnTo>
                    <a:pt x="149" y="857"/>
                  </a:lnTo>
                  <a:lnTo>
                    <a:pt x="147" y="857"/>
                  </a:lnTo>
                  <a:lnTo>
                    <a:pt x="147" y="855"/>
                  </a:lnTo>
                  <a:lnTo>
                    <a:pt x="147" y="855"/>
                  </a:lnTo>
                  <a:lnTo>
                    <a:pt x="147" y="855"/>
                  </a:lnTo>
                  <a:lnTo>
                    <a:pt x="147" y="852"/>
                  </a:lnTo>
                  <a:lnTo>
                    <a:pt x="144" y="852"/>
                  </a:lnTo>
                  <a:lnTo>
                    <a:pt x="144" y="852"/>
                  </a:lnTo>
                  <a:lnTo>
                    <a:pt x="142" y="852"/>
                  </a:lnTo>
                  <a:lnTo>
                    <a:pt x="142" y="852"/>
                  </a:lnTo>
                  <a:lnTo>
                    <a:pt x="142" y="850"/>
                  </a:lnTo>
                  <a:lnTo>
                    <a:pt x="140" y="850"/>
                  </a:lnTo>
                  <a:lnTo>
                    <a:pt x="140" y="850"/>
                  </a:lnTo>
                  <a:lnTo>
                    <a:pt x="140" y="850"/>
                  </a:lnTo>
                  <a:lnTo>
                    <a:pt x="137" y="850"/>
                  </a:lnTo>
                  <a:lnTo>
                    <a:pt x="137" y="848"/>
                  </a:lnTo>
                  <a:lnTo>
                    <a:pt x="137" y="845"/>
                  </a:lnTo>
                  <a:lnTo>
                    <a:pt x="137" y="845"/>
                  </a:lnTo>
                  <a:lnTo>
                    <a:pt x="137" y="845"/>
                  </a:lnTo>
                  <a:lnTo>
                    <a:pt x="137" y="845"/>
                  </a:lnTo>
                  <a:lnTo>
                    <a:pt x="135" y="845"/>
                  </a:lnTo>
                  <a:lnTo>
                    <a:pt x="133" y="845"/>
                  </a:lnTo>
                  <a:lnTo>
                    <a:pt x="133" y="845"/>
                  </a:lnTo>
                  <a:lnTo>
                    <a:pt x="133" y="845"/>
                  </a:lnTo>
                  <a:lnTo>
                    <a:pt x="133" y="845"/>
                  </a:lnTo>
                  <a:lnTo>
                    <a:pt x="130" y="843"/>
                  </a:lnTo>
                  <a:lnTo>
                    <a:pt x="128" y="843"/>
                  </a:lnTo>
                  <a:lnTo>
                    <a:pt x="126" y="843"/>
                  </a:lnTo>
                  <a:lnTo>
                    <a:pt x="126" y="843"/>
                  </a:lnTo>
                  <a:lnTo>
                    <a:pt x="123" y="843"/>
                  </a:lnTo>
                  <a:lnTo>
                    <a:pt x="121" y="843"/>
                  </a:lnTo>
                  <a:lnTo>
                    <a:pt x="121" y="843"/>
                  </a:lnTo>
                  <a:lnTo>
                    <a:pt x="121" y="843"/>
                  </a:lnTo>
                  <a:lnTo>
                    <a:pt x="118" y="843"/>
                  </a:lnTo>
                  <a:lnTo>
                    <a:pt x="116" y="843"/>
                  </a:lnTo>
                  <a:lnTo>
                    <a:pt x="116" y="841"/>
                  </a:lnTo>
                  <a:lnTo>
                    <a:pt x="116" y="841"/>
                  </a:lnTo>
                  <a:lnTo>
                    <a:pt x="116" y="841"/>
                  </a:lnTo>
                  <a:lnTo>
                    <a:pt x="114" y="841"/>
                  </a:lnTo>
                  <a:lnTo>
                    <a:pt x="114" y="841"/>
                  </a:lnTo>
                  <a:lnTo>
                    <a:pt x="114" y="838"/>
                  </a:lnTo>
                  <a:lnTo>
                    <a:pt x="111" y="838"/>
                  </a:lnTo>
                  <a:lnTo>
                    <a:pt x="114" y="838"/>
                  </a:lnTo>
                  <a:lnTo>
                    <a:pt x="111" y="838"/>
                  </a:lnTo>
                  <a:lnTo>
                    <a:pt x="111" y="836"/>
                  </a:lnTo>
                  <a:lnTo>
                    <a:pt x="109" y="833"/>
                  </a:lnTo>
                  <a:lnTo>
                    <a:pt x="109" y="833"/>
                  </a:lnTo>
                  <a:lnTo>
                    <a:pt x="107" y="833"/>
                  </a:lnTo>
                  <a:lnTo>
                    <a:pt x="107" y="831"/>
                  </a:lnTo>
                  <a:lnTo>
                    <a:pt x="107" y="831"/>
                  </a:lnTo>
                  <a:lnTo>
                    <a:pt x="104" y="831"/>
                  </a:lnTo>
                  <a:lnTo>
                    <a:pt x="104" y="829"/>
                  </a:lnTo>
                  <a:lnTo>
                    <a:pt x="102" y="824"/>
                  </a:lnTo>
                  <a:lnTo>
                    <a:pt x="100" y="824"/>
                  </a:lnTo>
                  <a:lnTo>
                    <a:pt x="95" y="822"/>
                  </a:lnTo>
                  <a:lnTo>
                    <a:pt x="92" y="822"/>
                  </a:lnTo>
                  <a:lnTo>
                    <a:pt x="92" y="822"/>
                  </a:lnTo>
                  <a:lnTo>
                    <a:pt x="92" y="819"/>
                  </a:lnTo>
                  <a:lnTo>
                    <a:pt x="90" y="819"/>
                  </a:lnTo>
                  <a:lnTo>
                    <a:pt x="90" y="822"/>
                  </a:lnTo>
                  <a:lnTo>
                    <a:pt x="88" y="822"/>
                  </a:lnTo>
                  <a:lnTo>
                    <a:pt x="85" y="824"/>
                  </a:lnTo>
                  <a:lnTo>
                    <a:pt x="83" y="824"/>
                  </a:lnTo>
                  <a:lnTo>
                    <a:pt x="81" y="824"/>
                  </a:lnTo>
                  <a:lnTo>
                    <a:pt x="78" y="824"/>
                  </a:lnTo>
                  <a:lnTo>
                    <a:pt x="78" y="824"/>
                  </a:lnTo>
                  <a:lnTo>
                    <a:pt x="74" y="824"/>
                  </a:lnTo>
                  <a:lnTo>
                    <a:pt x="74" y="824"/>
                  </a:lnTo>
                  <a:lnTo>
                    <a:pt x="69" y="824"/>
                  </a:lnTo>
                  <a:lnTo>
                    <a:pt x="66" y="824"/>
                  </a:lnTo>
                  <a:lnTo>
                    <a:pt x="64" y="824"/>
                  </a:lnTo>
                  <a:lnTo>
                    <a:pt x="62" y="824"/>
                  </a:lnTo>
                  <a:lnTo>
                    <a:pt x="59" y="824"/>
                  </a:lnTo>
                  <a:lnTo>
                    <a:pt x="57" y="822"/>
                  </a:lnTo>
                  <a:lnTo>
                    <a:pt x="55" y="822"/>
                  </a:lnTo>
                  <a:lnTo>
                    <a:pt x="52" y="822"/>
                  </a:lnTo>
                  <a:lnTo>
                    <a:pt x="52" y="822"/>
                  </a:lnTo>
                  <a:lnTo>
                    <a:pt x="52" y="822"/>
                  </a:lnTo>
                  <a:lnTo>
                    <a:pt x="48" y="819"/>
                  </a:lnTo>
                  <a:lnTo>
                    <a:pt x="43" y="817"/>
                  </a:lnTo>
                  <a:lnTo>
                    <a:pt x="43" y="815"/>
                  </a:lnTo>
                  <a:lnTo>
                    <a:pt x="43" y="815"/>
                  </a:lnTo>
                  <a:lnTo>
                    <a:pt x="40" y="815"/>
                  </a:lnTo>
                  <a:lnTo>
                    <a:pt x="40" y="812"/>
                  </a:lnTo>
                  <a:lnTo>
                    <a:pt x="40" y="812"/>
                  </a:lnTo>
                  <a:lnTo>
                    <a:pt x="38" y="810"/>
                  </a:lnTo>
                  <a:lnTo>
                    <a:pt x="38" y="807"/>
                  </a:lnTo>
                  <a:lnTo>
                    <a:pt x="38" y="805"/>
                  </a:lnTo>
                  <a:lnTo>
                    <a:pt x="38" y="805"/>
                  </a:lnTo>
                  <a:lnTo>
                    <a:pt x="40" y="803"/>
                  </a:lnTo>
                  <a:lnTo>
                    <a:pt x="43" y="800"/>
                  </a:lnTo>
                  <a:lnTo>
                    <a:pt x="45" y="798"/>
                  </a:lnTo>
                  <a:lnTo>
                    <a:pt x="45" y="796"/>
                  </a:lnTo>
                  <a:lnTo>
                    <a:pt x="48" y="796"/>
                  </a:lnTo>
                  <a:lnTo>
                    <a:pt x="48" y="791"/>
                  </a:lnTo>
                  <a:lnTo>
                    <a:pt x="48" y="791"/>
                  </a:lnTo>
                  <a:lnTo>
                    <a:pt x="50" y="789"/>
                  </a:lnTo>
                  <a:lnTo>
                    <a:pt x="50" y="789"/>
                  </a:lnTo>
                  <a:lnTo>
                    <a:pt x="52" y="789"/>
                  </a:lnTo>
                  <a:lnTo>
                    <a:pt x="57" y="789"/>
                  </a:lnTo>
                  <a:lnTo>
                    <a:pt x="59" y="786"/>
                  </a:lnTo>
                  <a:lnTo>
                    <a:pt x="62" y="782"/>
                  </a:lnTo>
                  <a:lnTo>
                    <a:pt x="64" y="779"/>
                  </a:lnTo>
                  <a:lnTo>
                    <a:pt x="62" y="779"/>
                  </a:lnTo>
                  <a:lnTo>
                    <a:pt x="62" y="779"/>
                  </a:lnTo>
                  <a:lnTo>
                    <a:pt x="59" y="777"/>
                  </a:lnTo>
                  <a:lnTo>
                    <a:pt x="57" y="777"/>
                  </a:lnTo>
                  <a:lnTo>
                    <a:pt x="55" y="774"/>
                  </a:lnTo>
                  <a:lnTo>
                    <a:pt x="55" y="774"/>
                  </a:lnTo>
                  <a:lnTo>
                    <a:pt x="48" y="774"/>
                  </a:lnTo>
                  <a:lnTo>
                    <a:pt x="43" y="772"/>
                  </a:lnTo>
                  <a:lnTo>
                    <a:pt x="38" y="772"/>
                  </a:lnTo>
                  <a:lnTo>
                    <a:pt x="36" y="774"/>
                  </a:lnTo>
                  <a:lnTo>
                    <a:pt x="31" y="777"/>
                  </a:lnTo>
                  <a:lnTo>
                    <a:pt x="29" y="779"/>
                  </a:lnTo>
                  <a:lnTo>
                    <a:pt x="29" y="779"/>
                  </a:lnTo>
                  <a:lnTo>
                    <a:pt x="26" y="779"/>
                  </a:lnTo>
                  <a:lnTo>
                    <a:pt x="24" y="779"/>
                  </a:lnTo>
                  <a:lnTo>
                    <a:pt x="19" y="774"/>
                  </a:lnTo>
                  <a:lnTo>
                    <a:pt x="19" y="770"/>
                  </a:lnTo>
                  <a:lnTo>
                    <a:pt x="19" y="767"/>
                  </a:lnTo>
                  <a:lnTo>
                    <a:pt x="19" y="763"/>
                  </a:lnTo>
                  <a:lnTo>
                    <a:pt x="17" y="756"/>
                  </a:lnTo>
                  <a:lnTo>
                    <a:pt x="17" y="753"/>
                  </a:lnTo>
                  <a:lnTo>
                    <a:pt x="14" y="748"/>
                  </a:lnTo>
                  <a:lnTo>
                    <a:pt x="14" y="744"/>
                  </a:lnTo>
                  <a:lnTo>
                    <a:pt x="14" y="744"/>
                  </a:lnTo>
                  <a:lnTo>
                    <a:pt x="17" y="741"/>
                  </a:lnTo>
                  <a:lnTo>
                    <a:pt x="17" y="741"/>
                  </a:lnTo>
                  <a:lnTo>
                    <a:pt x="22" y="741"/>
                  </a:lnTo>
                  <a:lnTo>
                    <a:pt x="22" y="741"/>
                  </a:lnTo>
                  <a:lnTo>
                    <a:pt x="22" y="741"/>
                  </a:lnTo>
                  <a:lnTo>
                    <a:pt x="24" y="739"/>
                  </a:lnTo>
                  <a:lnTo>
                    <a:pt x="24" y="732"/>
                  </a:lnTo>
                  <a:lnTo>
                    <a:pt x="22" y="730"/>
                  </a:lnTo>
                  <a:lnTo>
                    <a:pt x="22" y="730"/>
                  </a:lnTo>
                  <a:lnTo>
                    <a:pt x="19" y="725"/>
                  </a:lnTo>
                  <a:lnTo>
                    <a:pt x="17" y="722"/>
                  </a:lnTo>
                  <a:lnTo>
                    <a:pt x="17" y="720"/>
                  </a:lnTo>
                  <a:lnTo>
                    <a:pt x="17" y="720"/>
                  </a:lnTo>
                  <a:lnTo>
                    <a:pt x="17" y="720"/>
                  </a:lnTo>
                  <a:lnTo>
                    <a:pt x="14" y="718"/>
                  </a:lnTo>
                  <a:lnTo>
                    <a:pt x="14" y="718"/>
                  </a:lnTo>
                  <a:lnTo>
                    <a:pt x="14" y="713"/>
                  </a:lnTo>
                  <a:lnTo>
                    <a:pt x="14" y="711"/>
                  </a:lnTo>
                  <a:lnTo>
                    <a:pt x="14" y="711"/>
                  </a:lnTo>
                  <a:lnTo>
                    <a:pt x="12" y="708"/>
                  </a:lnTo>
                  <a:lnTo>
                    <a:pt x="12" y="706"/>
                  </a:lnTo>
                  <a:lnTo>
                    <a:pt x="12" y="706"/>
                  </a:lnTo>
                  <a:lnTo>
                    <a:pt x="10" y="704"/>
                  </a:lnTo>
                  <a:lnTo>
                    <a:pt x="12" y="704"/>
                  </a:lnTo>
                  <a:lnTo>
                    <a:pt x="10" y="704"/>
                  </a:lnTo>
                  <a:lnTo>
                    <a:pt x="10" y="701"/>
                  </a:lnTo>
                  <a:lnTo>
                    <a:pt x="10" y="701"/>
                  </a:lnTo>
                  <a:lnTo>
                    <a:pt x="7" y="701"/>
                  </a:lnTo>
                  <a:lnTo>
                    <a:pt x="7" y="699"/>
                  </a:lnTo>
                  <a:lnTo>
                    <a:pt x="7" y="699"/>
                  </a:lnTo>
                  <a:lnTo>
                    <a:pt x="5" y="699"/>
                  </a:lnTo>
                  <a:lnTo>
                    <a:pt x="5" y="696"/>
                  </a:lnTo>
                  <a:lnTo>
                    <a:pt x="5" y="699"/>
                  </a:lnTo>
                  <a:lnTo>
                    <a:pt x="3" y="696"/>
                  </a:lnTo>
                  <a:lnTo>
                    <a:pt x="3" y="696"/>
                  </a:lnTo>
                  <a:lnTo>
                    <a:pt x="3" y="694"/>
                  </a:lnTo>
                  <a:lnTo>
                    <a:pt x="3" y="694"/>
                  </a:lnTo>
                  <a:lnTo>
                    <a:pt x="0" y="694"/>
                  </a:lnTo>
                  <a:lnTo>
                    <a:pt x="3" y="694"/>
                  </a:lnTo>
                  <a:lnTo>
                    <a:pt x="3" y="692"/>
                  </a:lnTo>
                  <a:lnTo>
                    <a:pt x="0" y="692"/>
                  </a:lnTo>
                  <a:lnTo>
                    <a:pt x="3" y="689"/>
                  </a:lnTo>
                  <a:lnTo>
                    <a:pt x="0" y="689"/>
                  </a:lnTo>
                  <a:lnTo>
                    <a:pt x="0" y="689"/>
                  </a:lnTo>
                  <a:lnTo>
                    <a:pt x="0" y="687"/>
                  </a:lnTo>
                  <a:lnTo>
                    <a:pt x="0" y="685"/>
                  </a:lnTo>
                  <a:lnTo>
                    <a:pt x="0" y="685"/>
                  </a:lnTo>
                  <a:lnTo>
                    <a:pt x="0" y="685"/>
                  </a:lnTo>
                  <a:lnTo>
                    <a:pt x="0" y="685"/>
                  </a:lnTo>
                  <a:lnTo>
                    <a:pt x="0" y="682"/>
                  </a:lnTo>
                  <a:lnTo>
                    <a:pt x="3" y="682"/>
                  </a:lnTo>
                  <a:lnTo>
                    <a:pt x="3" y="680"/>
                  </a:lnTo>
                  <a:lnTo>
                    <a:pt x="3" y="680"/>
                  </a:lnTo>
                  <a:lnTo>
                    <a:pt x="3" y="680"/>
                  </a:lnTo>
                  <a:lnTo>
                    <a:pt x="3" y="678"/>
                  </a:lnTo>
                  <a:lnTo>
                    <a:pt x="3" y="678"/>
                  </a:lnTo>
                  <a:lnTo>
                    <a:pt x="0" y="678"/>
                  </a:lnTo>
                  <a:lnTo>
                    <a:pt x="3" y="675"/>
                  </a:lnTo>
                  <a:lnTo>
                    <a:pt x="0" y="675"/>
                  </a:lnTo>
                  <a:lnTo>
                    <a:pt x="0" y="673"/>
                  </a:lnTo>
                  <a:lnTo>
                    <a:pt x="3" y="673"/>
                  </a:lnTo>
                  <a:lnTo>
                    <a:pt x="0" y="673"/>
                  </a:lnTo>
                  <a:lnTo>
                    <a:pt x="0" y="673"/>
                  </a:lnTo>
                  <a:lnTo>
                    <a:pt x="3" y="670"/>
                  </a:lnTo>
                  <a:lnTo>
                    <a:pt x="3" y="670"/>
                  </a:lnTo>
                  <a:lnTo>
                    <a:pt x="3" y="670"/>
                  </a:lnTo>
                  <a:lnTo>
                    <a:pt x="3" y="668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 cap="flat">
              <a:solidFill>
                <a:schemeClr val="bg2">
                  <a:lumMod val="7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>
                <a:solidFill>
                  <a:srgbClr val="000000"/>
                </a:solidFill>
              </a:endParaRPr>
            </a:p>
          </p:txBody>
        </p:sp>
        <p:sp>
          <p:nvSpPr>
            <p:cNvPr id="88" name="Freeform 21"/>
            <p:cNvSpPr>
              <a:spLocks/>
            </p:cNvSpPr>
            <p:nvPr/>
          </p:nvSpPr>
          <p:spPr bwMode="gray">
            <a:xfrm>
              <a:off x="1452066" y="3683385"/>
              <a:ext cx="1170050" cy="1223781"/>
            </a:xfrm>
            <a:custGeom>
              <a:avLst/>
              <a:gdLst/>
              <a:ahLst/>
              <a:cxnLst>
                <a:cxn ang="0">
                  <a:pos x="100" y="189"/>
                </a:cxn>
                <a:cxn ang="0">
                  <a:pos x="418" y="130"/>
                </a:cxn>
                <a:cxn ang="0">
                  <a:pos x="442" y="2"/>
                </a:cxn>
                <a:cxn ang="0">
                  <a:pos x="501" y="141"/>
                </a:cxn>
                <a:cxn ang="0">
                  <a:pos x="577" y="217"/>
                </a:cxn>
                <a:cxn ang="0">
                  <a:pos x="841" y="281"/>
                </a:cxn>
                <a:cxn ang="0">
                  <a:pos x="1413" y="408"/>
                </a:cxn>
                <a:cxn ang="0">
                  <a:pos x="1396" y="489"/>
                </a:cxn>
                <a:cxn ang="0">
                  <a:pos x="1385" y="576"/>
                </a:cxn>
                <a:cxn ang="0">
                  <a:pos x="1396" y="668"/>
                </a:cxn>
                <a:cxn ang="0">
                  <a:pos x="1413" y="725"/>
                </a:cxn>
                <a:cxn ang="0">
                  <a:pos x="1378" y="817"/>
                </a:cxn>
                <a:cxn ang="0">
                  <a:pos x="1349" y="916"/>
                </a:cxn>
                <a:cxn ang="0">
                  <a:pos x="1307" y="996"/>
                </a:cxn>
                <a:cxn ang="0">
                  <a:pos x="1257" y="1070"/>
                </a:cxn>
                <a:cxn ang="0">
                  <a:pos x="1189" y="1124"/>
                </a:cxn>
                <a:cxn ang="0">
                  <a:pos x="1141" y="1169"/>
                </a:cxn>
                <a:cxn ang="0">
                  <a:pos x="1139" y="1202"/>
                </a:cxn>
                <a:cxn ang="0">
                  <a:pos x="1115" y="1233"/>
                </a:cxn>
                <a:cxn ang="0">
                  <a:pos x="1094" y="1249"/>
                </a:cxn>
                <a:cxn ang="0">
                  <a:pos x="1085" y="1275"/>
                </a:cxn>
                <a:cxn ang="0">
                  <a:pos x="1070" y="1308"/>
                </a:cxn>
                <a:cxn ang="0">
                  <a:pos x="1066" y="1339"/>
                </a:cxn>
                <a:cxn ang="0">
                  <a:pos x="1080" y="1381"/>
                </a:cxn>
                <a:cxn ang="0">
                  <a:pos x="1030" y="1396"/>
                </a:cxn>
                <a:cxn ang="0">
                  <a:pos x="990" y="1386"/>
                </a:cxn>
                <a:cxn ang="0">
                  <a:pos x="988" y="1353"/>
                </a:cxn>
                <a:cxn ang="0">
                  <a:pos x="969" y="1325"/>
                </a:cxn>
                <a:cxn ang="0">
                  <a:pos x="933" y="1348"/>
                </a:cxn>
                <a:cxn ang="0">
                  <a:pos x="898" y="1327"/>
                </a:cxn>
                <a:cxn ang="0">
                  <a:pos x="846" y="1344"/>
                </a:cxn>
                <a:cxn ang="0">
                  <a:pos x="818" y="1344"/>
                </a:cxn>
                <a:cxn ang="0">
                  <a:pos x="796" y="1332"/>
                </a:cxn>
                <a:cxn ang="0">
                  <a:pos x="768" y="1315"/>
                </a:cxn>
                <a:cxn ang="0">
                  <a:pos x="735" y="1301"/>
                </a:cxn>
                <a:cxn ang="0">
                  <a:pos x="707" y="1285"/>
                </a:cxn>
                <a:cxn ang="0">
                  <a:pos x="674" y="1299"/>
                </a:cxn>
                <a:cxn ang="0">
                  <a:pos x="638" y="1306"/>
                </a:cxn>
                <a:cxn ang="0">
                  <a:pos x="610" y="1320"/>
                </a:cxn>
                <a:cxn ang="0">
                  <a:pos x="574" y="1363"/>
                </a:cxn>
                <a:cxn ang="0">
                  <a:pos x="532" y="1381"/>
                </a:cxn>
                <a:cxn ang="0">
                  <a:pos x="499" y="1341"/>
                </a:cxn>
                <a:cxn ang="0">
                  <a:pos x="426" y="1306"/>
                </a:cxn>
                <a:cxn ang="0">
                  <a:pos x="404" y="1259"/>
                </a:cxn>
                <a:cxn ang="0">
                  <a:pos x="418" y="1183"/>
                </a:cxn>
                <a:cxn ang="0">
                  <a:pos x="161" y="933"/>
                </a:cxn>
                <a:cxn ang="0">
                  <a:pos x="151" y="902"/>
                </a:cxn>
                <a:cxn ang="0">
                  <a:pos x="154" y="862"/>
                </a:cxn>
                <a:cxn ang="0">
                  <a:pos x="140" y="841"/>
                </a:cxn>
                <a:cxn ang="0">
                  <a:pos x="121" y="822"/>
                </a:cxn>
                <a:cxn ang="0">
                  <a:pos x="161" y="789"/>
                </a:cxn>
                <a:cxn ang="0">
                  <a:pos x="180" y="741"/>
                </a:cxn>
                <a:cxn ang="0">
                  <a:pos x="218" y="670"/>
                </a:cxn>
                <a:cxn ang="0">
                  <a:pos x="211" y="611"/>
                </a:cxn>
                <a:cxn ang="0">
                  <a:pos x="194" y="583"/>
                </a:cxn>
                <a:cxn ang="0">
                  <a:pos x="199" y="550"/>
                </a:cxn>
                <a:cxn ang="0">
                  <a:pos x="208" y="498"/>
                </a:cxn>
                <a:cxn ang="0">
                  <a:pos x="170" y="486"/>
                </a:cxn>
                <a:cxn ang="0">
                  <a:pos x="14" y="463"/>
                </a:cxn>
                <a:cxn ang="0">
                  <a:pos x="22" y="406"/>
                </a:cxn>
                <a:cxn ang="0">
                  <a:pos x="12" y="347"/>
                </a:cxn>
                <a:cxn ang="0">
                  <a:pos x="17" y="290"/>
                </a:cxn>
              </a:cxnLst>
              <a:rect l="0" t="0" r="r" b="b"/>
              <a:pathLst>
                <a:path w="1448" h="1398">
                  <a:moveTo>
                    <a:pt x="0" y="252"/>
                  </a:moveTo>
                  <a:lnTo>
                    <a:pt x="0" y="250"/>
                  </a:lnTo>
                  <a:lnTo>
                    <a:pt x="0" y="250"/>
                  </a:lnTo>
                  <a:lnTo>
                    <a:pt x="5" y="250"/>
                  </a:lnTo>
                  <a:lnTo>
                    <a:pt x="5" y="248"/>
                  </a:lnTo>
                  <a:lnTo>
                    <a:pt x="7" y="248"/>
                  </a:lnTo>
                  <a:lnTo>
                    <a:pt x="10" y="248"/>
                  </a:lnTo>
                  <a:lnTo>
                    <a:pt x="12" y="248"/>
                  </a:lnTo>
                  <a:lnTo>
                    <a:pt x="14" y="250"/>
                  </a:lnTo>
                  <a:lnTo>
                    <a:pt x="14" y="248"/>
                  </a:lnTo>
                  <a:lnTo>
                    <a:pt x="14" y="245"/>
                  </a:lnTo>
                  <a:lnTo>
                    <a:pt x="14" y="243"/>
                  </a:lnTo>
                  <a:lnTo>
                    <a:pt x="14" y="241"/>
                  </a:lnTo>
                  <a:lnTo>
                    <a:pt x="14" y="241"/>
                  </a:lnTo>
                  <a:lnTo>
                    <a:pt x="14" y="238"/>
                  </a:lnTo>
                  <a:lnTo>
                    <a:pt x="12" y="236"/>
                  </a:lnTo>
                  <a:lnTo>
                    <a:pt x="12" y="236"/>
                  </a:lnTo>
                  <a:lnTo>
                    <a:pt x="10" y="233"/>
                  </a:lnTo>
                  <a:lnTo>
                    <a:pt x="10" y="231"/>
                  </a:lnTo>
                  <a:lnTo>
                    <a:pt x="10" y="229"/>
                  </a:lnTo>
                  <a:lnTo>
                    <a:pt x="10" y="226"/>
                  </a:lnTo>
                  <a:lnTo>
                    <a:pt x="10" y="224"/>
                  </a:lnTo>
                  <a:lnTo>
                    <a:pt x="12" y="224"/>
                  </a:lnTo>
                  <a:lnTo>
                    <a:pt x="12" y="224"/>
                  </a:lnTo>
                  <a:lnTo>
                    <a:pt x="14" y="222"/>
                  </a:lnTo>
                  <a:lnTo>
                    <a:pt x="14" y="219"/>
                  </a:lnTo>
                  <a:lnTo>
                    <a:pt x="14" y="217"/>
                  </a:lnTo>
                  <a:lnTo>
                    <a:pt x="17" y="210"/>
                  </a:lnTo>
                  <a:lnTo>
                    <a:pt x="19" y="207"/>
                  </a:lnTo>
                  <a:lnTo>
                    <a:pt x="22" y="205"/>
                  </a:lnTo>
                  <a:lnTo>
                    <a:pt x="19" y="203"/>
                  </a:lnTo>
                  <a:lnTo>
                    <a:pt x="19" y="200"/>
                  </a:lnTo>
                  <a:lnTo>
                    <a:pt x="17" y="198"/>
                  </a:lnTo>
                  <a:lnTo>
                    <a:pt x="14" y="196"/>
                  </a:lnTo>
                  <a:lnTo>
                    <a:pt x="14" y="193"/>
                  </a:lnTo>
                  <a:lnTo>
                    <a:pt x="14" y="193"/>
                  </a:lnTo>
                  <a:lnTo>
                    <a:pt x="14" y="193"/>
                  </a:lnTo>
                  <a:lnTo>
                    <a:pt x="12" y="193"/>
                  </a:lnTo>
                  <a:lnTo>
                    <a:pt x="12" y="193"/>
                  </a:lnTo>
                  <a:lnTo>
                    <a:pt x="7" y="191"/>
                  </a:lnTo>
                  <a:lnTo>
                    <a:pt x="7" y="191"/>
                  </a:lnTo>
                  <a:lnTo>
                    <a:pt x="7" y="189"/>
                  </a:lnTo>
                  <a:lnTo>
                    <a:pt x="100" y="189"/>
                  </a:lnTo>
                  <a:lnTo>
                    <a:pt x="102" y="189"/>
                  </a:lnTo>
                  <a:lnTo>
                    <a:pt x="111" y="189"/>
                  </a:lnTo>
                  <a:lnTo>
                    <a:pt x="154" y="189"/>
                  </a:lnTo>
                  <a:lnTo>
                    <a:pt x="225" y="191"/>
                  </a:lnTo>
                  <a:lnTo>
                    <a:pt x="319" y="191"/>
                  </a:lnTo>
                  <a:lnTo>
                    <a:pt x="322" y="191"/>
                  </a:lnTo>
                  <a:lnTo>
                    <a:pt x="397" y="191"/>
                  </a:lnTo>
                  <a:lnTo>
                    <a:pt x="404" y="189"/>
                  </a:lnTo>
                  <a:lnTo>
                    <a:pt x="407" y="189"/>
                  </a:lnTo>
                  <a:lnTo>
                    <a:pt x="409" y="189"/>
                  </a:lnTo>
                  <a:lnTo>
                    <a:pt x="409" y="189"/>
                  </a:lnTo>
                  <a:lnTo>
                    <a:pt x="409" y="189"/>
                  </a:lnTo>
                  <a:lnTo>
                    <a:pt x="411" y="186"/>
                  </a:lnTo>
                  <a:lnTo>
                    <a:pt x="416" y="181"/>
                  </a:lnTo>
                  <a:lnTo>
                    <a:pt x="418" y="179"/>
                  </a:lnTo>
                  <a:lnTo>
                    <a:pt x="421" y="179"/>
                  </a:lnTo>
                  <a:lnTo>
                    <a:pt x="421" y="179"/>
                  </a:lnTo>
                  <a:lnTo>
                    <a:pt x="416" y="177"/>
                  </a:lnTo>
                  <a:lnTo>
                    <a:pt x="414" y="177"/>
                  </a:lnTo>
                  <a:lnTo>
                    <a:pt x="411" y="177"/>
                  </a:lnTo>
                  <a:lnTo>
                    <a:pt x="409" y="179"/>
                  </a:lnTo>
                  <a:lnTo>
                    <a:pt x="407" y="179"/>
                  </a:lnTo>
                  <a:lnTo>
                    <a:pt x="404" y="177"/>
                  </a:lnTo>
                  <a:lnTo>
                    <a:pt x="409" y="170"/>
                  </a:lnTo>
                  <a:lnTo>
                    <a:pt x="409" y="167"/>
                  </a:lnTo>
                  <a:lnTo>
                    <a:pt x="411" y="165"/>
                  </a:lnTo>
                  <a:lnTo>
                    <a:pt x="411" y="165"/>
                  </a:lnTo>
                  <a:lnTo>
                    <a:pt x="411" y="163"/>
                  </a:lnTo>
                  <a:lnTo>
                    <a:pt x="411" y="160"/>
                  </a:lnTo>
                  <a:lnTo>
                    <a:pt x="409" y="160"/>
                  </a:lnTo>
                  <a:lnTo>
                    <a:pt x="409" y="155"/>
                  </a:lnTo>
                  <a:lnTo>
                    <a:pt x="409" y="153"/>
                  </a:lnTo>
                  <a:lnTo>
                    <a:pt x="409" y="153"/>
                  </a:lnTo>
                  <a:lnTo>
                    <a:pt x="409" y="151"/>
                  </a:lnTo>
                  <a:lnTo>
                    <a:pt x="409" y="146"/>
                  </a:lnTo>
                  <a:lnTo>
                    <a:pt x="411" y="146"/>
                  </a:lnTo>
                  <a:lnTo>
                    <a:pt x="411" y="144"/>
                  </a:lnTo>
                  <a:lnTo>
                    <a:pt x="414" y="141"/>
                  </a:lnTo>
                  <a:lnTo>
                    <a:pt x="416" y="137"/>
                  </a:lnTo>
                  <a:lnTo>
                    <a:pt x="416" y="134"/>
                  </a:lnTo>
                  <a:lnTo>
                    <a:pt x="418" y="134"/>
                  </a:lnTo>
                  <a:lnTo>
                    <a:pt x="416" y="132"/>
                  </a:lnTo>
                  <a:lnTo>
                    <a:pt x="418" y="130"/>
                  </a:lnTo>
                  <a:lnTo>
                    <a:pt x="421" y="130"/>
                  </a:lnTo>
                  <a:lnTo>
                    <a:pt x="421" y="127"/>
                  </a:lnTo>
                  <a:lnTo>
                    <a:pt x="421" y="125"/>
                  </a:lnTo>
                  <a:lnTo>
                    <a:pt x="421" y="125"/>
                  </a:lnTo>
                  <a:lnTo>
                    <a:pt x="421" y="122"/>
                  </a:lnTo>
                  <a:lnTo>
                    <a:pt x="421" y="120"/>
                  </a:lnTo>
                  <a:lnTo>
                    <a:pt x="421" y="115"/>
                  </a:lnTo>
                  <a:lnTo>
                    <a:pt x="421" y="113"/>
                  </a:lnTo>
                  <a:lnTo>
                    <a:pt x="421" y="108"/>
                  </a:lnTo>
                  <a:lnTo>
                    <a:pt x="421" y="106"/>
                  </a:lnTo>
                  <a:lnTo>
                    <a:pt x="423" y="104"/>
                  </a:lnTo>
                  <a:lnTo>
                    <a:pt x="426" y="101"/>
                  </a:lnTo>
                  <a:lnTo>
                    <a:pt x="423" y="99"/>
                  </a:lnTo>
                  <a:lnTo>
                    <a:pt x="426" y="96"/>
                  </a:lnTo>
                  <a:lnTo>
                    <a:pt x="423" y="94"/>
                  </a:lnTo>
                  <a:lnTo>
                    <a:pt x="421" y="89"/>
                  </a:lnTo>
                  <a:lnTo>
                    <a:pt x="421" y="87"/>
                  </a:lnTo>
                  <a:lnTo>
                    <a:pt x="421" y="85"/>
                  </a:lnTo>
                  <a:lnTo>
                    <a:pt x="418" y="80"/>
                  </a:lnTo>
                  <a:lnTo>
                    <a:pt x="416" y="78"/>
                  </a:lnTo>
                  <a:lnTo>
                    <a:pt x="414" y="73"/>
                  </a:lnTo>
                  <a:lnTo>
                    <a:pt x="414" y="68"/>
                  </a:lnTo>
                  <a:lnTo>
                    <a:pt x="411" y="66"/>
                  </a:lnTo>
                  <a:lnTo>
                    <a:pt x="411" y="63"/>
                  </a:lnTo>
                  <a:lnTo>
                    <a:pt x="414" y="63"/>
                  </a:lnTo>
                  <a:lnTo>
                    <a:pt x="414" y="61"/>
                  </a:lnTo>
                  <a:lnTo>
                    <a:pt x="418" y="59"/>
                  </a:lnTo>
                  <a:lnTo>
                    <a:pt x="423" y="56"/>
                  </a:lnTo>
                  <a:lnTo>
                    <a:pt x="426" y="52"/>
                  </a:lnTo>
                  <a:lnTo>
                    <a:pt x="426" y="52"/>
                  </a:lnTo>
                  <a:lnTo>
                    <a:pt x="426" y="47"/>
                  </a:lnTo>
                  <a:lnTo>
                    <a:pt x="426" y="47"/>
                  </a:lnTo>
                  <a:lnTo>
                    <a:pt x="430" y="42"/>
                  </a:lnTo>
                  <a:lnTo>
                    <a:pt x="430" y="40"/>
                  </a:lnTo>
                  <a:lnTo>
                    <a:pt x="435" y="35"/>
                  </a:lnTo>
                  <a:lnTo>
                    <a:pt x="435" y="33"/>
                  </a:lnTo>
                  <a:lnTo>
                    <a:pt x="435" y="30"/>
                  </a:lnTo>
                  <a:lnTo>
                    <a:pt x="433" y="28"/>
                  </a:lnTo>
                  <a:lnTo>
                    <a:pt x="433" y="23"/>
                  </a:lnTo>
                  <a:lnTo>
                    <a:pt x="433" y="18"/>
                  </a:lnTo>
                  <a:lnTo>
                    <a:pt x="435" y="14"/>
                  </a:lnTo>
                  <a:lnTo>
                    <a:pt x="440" y="7"/>
                  </a:lnTo>
                  <a:lnTo>
                    <a:pt x="442" y="2"/>
                  </a:lnTo>
                  <a:lnTo>
                    <a:pt x="444" y="2"/>
                  </a:lnTo>
                  <a:lnTo>
                    <a:pt x="444" y="0"/>
                  </a:lnTo>
                  <a:lnTo>
                    <a:pt x="447" y="2"/>
                  </a:lnTo>
                  <a:lnTo>
                    <a:pt x="451" y="4"/>
                  </a:lnTo>
                  <a:lnTo>
                    <a:pt x="454" y="7"/>
                  </a:lnTo>
                  <a:lnTo>
                    <a:pt x="456" y="14"/>
                  </a:lnTo>
                  <a:lnTo>
                    <a:pt x="461" y="18"/>
                  </a:lnTo>
                  <a:lnTo>
                    <a:pt x="466" y="23"/>
                  </a:lnTo>
                  <a:lnTo>
                    <a:pt x="468" y="33"/>
                  </a:lnTo>
                  <a:lnTo>
                    <a:pt x="468" y="33"/>
                  </a:lnTo>
                  <a:lnTo>
                    <a:pt x="468" y="40"/>
                  </a:lnTo>
                  <a:lnTo>
                    <a:pt x="470" y="40"/>
                  </a:lnTo>
                  <a:lnTo>
                    <a:pt x="473" y="40"/>
                  </a:lnTo>
                  <a:lnTo>
                    <a:pt x="473" y="42"/>
                  </a:lnTo>
                  <a:lnTo>
                    <a:pt x="475" y="42"/>
                  </a:lnTo>
                  <a:lnTo>
                    <a:pt x="475" y="54"/>
                  </a:lnTo>
                  <a:lnTo>
                    <a:pt x="477" y="59"/>
                  </a:lnTo>
                  <a:lnTo>
                    <a:pt x="482" y="68"/>
                  </a:lnTo>
                  <a:lnTo>
                    <a:pt x="482" y="70"/>
                  </a:lnTo>
                  <a:lnTo>
                    <a:pt x="482" y="80"/>
                  </a:lnTo>
                  <a:lnTo>
                    <a:pt x="482" y="82"/>
                  </a:lnTo>
                  <a:lnTo>
                    <a:pt x="487" y="85"/>
                  </a:lnTo>
                  <a:lnTo>
                    <a:pt x="489" y="92"/>
                  </a:lnTo>
                  <a:lnTo>
                    <a:pt x="496" y="96"/>
                  </a:lnTo>
                  <a:lnTo>
                    <a:pt x="496" y="104"/>
                  </a:lnTo>
                  <a:lnTo>
                    <a:pt x="496" y="106"/>
                  </a:lnTo>
                  <a:lnTo>
                    <a:pt x="499" y="106"/>
                  </a:lnTo>
                  <a:lnTo>
                    <a:pt x="501" y="108"/>
                  </a:lnTo>
                  <a:lnTo>
                    <a:pt x="503" y="108"/>
                  </a:lnTo>
                  <a:lnTo>
                    <a:pt x="506" y="113"/>
                  </a:lnTo>
                  <a:lnTo>
                    <a:pt x="506" y="115"/>
                  </a:lnTo>
                  <a:lnTo>
                    <a:pt x="506" y="115"/>
                  </a:lnTo>
                  <a:lnTo>
                    <a:pt x="503" y="120"/>
                  </a:lnTo>
                  <a:lnTo>
                    <a:pt x="503" y="125"/>
                  </a:lnTo>
                  <a:lnTo>
                    <a:pt x="501" y="127"/>
                  </a:lnTo>
                  <a:lnTo>
                    <a:pt x="501" y="127"/>
                  </a:lnTo>
                  <a:lnTo>
                    <a:pt x="501" y="130"/>
                  </a:lnTo>
                  <a:lnTo>
                    <a:pt x="503" y="132"/>
                  </a:lnTo>
                  <a:lnTo>
                    <a:pt x="503" y="134"/>
                  </a:lnTo>
                  <a:lnTo>
                    <a:pt x="503" y="134"/>
                  </a:lnTo>
                  <a:lnTo>
                    <a:pt x="501" y="139"/>
                  </a:lnTo>
                  <a:lnTo>
                    <a:pt x="501" y="139"/>
                  </a:lnTo>
                  <a:lnTo>
                    <a:pt x="501" y="141"/>
                  </a:lnTo>
                  <a:lnTo>
                    <a:pt x="506" y="146"/>
                  </a:lnTo>
                  <a:lnTo>
                    <a:pt x="506" y="148"/>
                  </a:lnTo>
                  <a:lnTo>
                    <a:pt x="503" y="151"/>
                  </a:lnTo>
                  <a:lnTo>
                    <a:pt x="503" y="151"/>
                  </a:lnTo>
                  <a:lnTo>
                    <a:pt x="506" y="153"/>
                  </a:lnTo>
                  <a:lnTo>
                    <a:pt x="508" y="153"/>
                  </a:lnTo>
                  <a:lnTo>
                    <a:pt x="506" y="155"/>
                  </a:lnTo>
                  <a:lnTo>
                    <a:pt x="506" y="158"/>
                  </a:lnTo>
                  <a:lnTo>
                    <a:pt x="506" y="160"/>
                  </a:lnTo>
                  <a:lnTo>
                    <a:pt x="506" y="160"/>
                  </a:lnTo>
                  <a:lnTo>
                    <a:pt x="508" y="163"/>
                  </a:lnTo>
                  <a:lnTo>
                    <a:pt x="511" y="163"/>
                  </a:lnTo>
                  <a:lnTo>
                    <a:pt x="508" y="170"/>
                  </a:lnTo>
                  <a:lnTo>
                    <a:pt x="511" y="170"/>
                  </a:lnTo>
                  <a:lnTo>
                    <a:pt x="511" y="172"/>
                  </a:lnTo>
                  <a:lnTo>
                    <a:pt x="513" y="177"/>
                  </a:lnTo>
                  <a:lnTo>
                    <a:pt x="513" y="181"/>
                  </a:lnTo>
                  <a:lnTo>
                    <a:pt x="513" y="184"/>
                  </a:lnTo>
                  <a:lnTo>
                    <a:pt x="515" y="184"/>
                  </a:lnTo>
                  <a:lnTo>
                    <a:pt x="520" y="184"/>
                  </a:lnTo>
                  <a:lnTo>
                    <a:pt x="527" y="186"/>
                  </a:lnTo>
                  <a:lnTo>
                    <a:pt x="529" y="189"/>
                  </a:lnTo>
                  <a:lnTo>
                    <a:pt x="532" y="189"/>
                  </a:lnTo>
                  <a:lnTo>
                    <a:pt x="534" y="189"/>
                  </a:lnTo>
                  <a:lnTo>
                    <a:pt x="534" y="189"/>
                  </a:lnTo>
                  <a:lnTo>
                    <a:pt x="534" y="193"/>
                  </a:lnTo>
                  <a:lnTo>
                    <a:pt x="534" y="196"/>
                  </a:lnTo>
                  <a:lnTo>
                    <a:pt x="534" y="198"/>
                  </a:lnTo>
                  <a:lnTo>
                    <a:pt x="537" y="198"/>
                  </a:lnTo>
                  <a:lnTo>
                    <a:pt x="539" y="200"/>
                  </a:lnTo>
                  <a:lnTo>
                    <a:pt x="544" y="200"/>
                  </a:lnTo>
                  <a:lnTo>
                    <a:pt x="548" y="203"/>
                  </a:lnTo>
                  <a:lnTo>
                    <a:pt x="548" y="205"/>
                  </a:lnTo>
                  <a:lnTo>
                    <a:pt x="551" y="205"/>
                  </a:lnTo>
                  <a:lnTo>
                    <a:pt x="551" y="205"/>
                  </a:lnTo>
                  <a:lnTo>
                    <a:pt x="555" y="205"/>
                  </a:lnTo>
                  <a:lnTo>
                    <a:pt x="558" y="203"/>
                  </a:lnTo>
                  <a:lnTo>
                    <a:pt x="558" y="205"/>
                  </a:lnTo>
                  <a:lnTo>
                    <a:pt x="560" y="205"/>
                  </a:lnTo>
                  <a:lnTo>
                    <a:pt x="563" y="205"/>
                  </a:lnTo>
                  <a:lnTo>
                    <a:pt x="565" y="207"/>
                  </a:lnTo>
                  <a:lnTo>
                    <a:pt x="570" y="215"/>
                  </a:lnTo>
                  <a:lnTo>
                    <a:pt x="577" y="217"/>
                  </a:lnTo>
                  <a:lnTo>
                    <a:pt x="577" y="222"/>
                  </a:lnTo>
                  <a:lnTo>
                    <a:pt x="579" y="224"/>
                  </a:lnTo>
                  <a:lnTo>
                    <a:pt x="579" y="224"/>
                  </a:lnTo>
                  <a:lnTo>
                    <a:pt x="579" y="226"/>
                  </a:lnTo>
                  <a:lnTo>
                    <a:pt x="581" y="226"/>
                  </a:lnTo>
                  <a:lnTo>
                    <a:pt x="584" y="229"/>
                  </a:lnTo>
                  <a:lnTo>
                    <a:pt x="584" y="231"/>
                  </a:lnTo>
                  <a:lnTo>
                    <a:pt x="579" y="233"/>
                  </a:lnTo>
                  <a:lnTo>
                    <a:pt x="581" y="236"/>
                  </a:lnTo>
                  <a:lnTo>
                    <a:pt x="579" y="238"/>
                  </a:lnTo>
                  <a:lnTo>
                    <a:pt x="579" y="241"/>
                  </a:lnTo>
                  <a:lnTo>
                    <a:pt x="581" y="241"/>
                  </a:lnTo>
                  <a:lnTo>
                    <a:pt x="584" y="243"/>
                  </a:lnTo>
                  <a:lnTo>
                    <a:pt x="584" y="243"/>
                  </a:lnTo>
                  <a:lnTo>
                    <a:pt x="586" y="245"/>
                  </a:lnTo>
                  <a:lnTo>
                    <a:pt x="586" y="245"/>
                  </a:lnTo>
                  <a:lnTo>
                    <a:pt x="589" y="245"/>
                  </a:lnTo>
                  <a:lnTo>
                    <a:pt x="593" y="245"/>
                  </a:lnTo>
                  <a:lnTo>
                    <a:pt x="596" y="245"/>
                  </a:lnTo>
                  <a:lnTo>
                    <a:pt x="603" y="248"/>
                  </a:lnTo>
                  <a:lnTo>
                    <a:pt x="605" y="248"/>
                  </a:lnTo>
                  <a:lnTo>
                    <a:pt x="605" y="245"/>
                  </a:lnTo>
                  <a:lnTo>
                    <a:pt x="607" y="248"/>
                  </a:lnTo>
                  <a:lnTo>
                    <a:pt x="612" y="248"/>
                  </a:lnTo>
                  <a:lnTo>
                    <a:pt x="612" y="250"/>
                  </a:lnTo>
                  <a:lnTo>
                    <a:pt x="614" y="257"/>
                  </a:lnTo>
                  <a:lnTo>
                    <a:pt x="617" y="257"/>
                  </a:lnTo>
                  <a:lnTo>
                    <a:pt x="617" y="259"/>
                  </a:lnTo>
                  <a:lnTo>
                    <a:pt x="617" y="264"/>
                  </a:lnTo>
                  <a:lnTo>
                    <a:pt x="617" y="264"/>
                  </a:lnTo>
                  <a:lnTo>
                    <a:pt x="617" y="267"/>
                  </a:lnTo>
                  <a:lnTo>
                    <a:pt x="617" y="269"/>
                  </a:lnTo>
                  <a:lnTo>
                    <a:pt x="619" y="269"/>
                  </a:lnTo>
                  <a:lnTo>
                    <a:pt x="622" y="269"/>
                  </a:lnTo>
                  <a:lnTo>
                    <a:pt x="624" y="267"/>
                  </a:lnTo>
                  <a:lnTo>
                    <a:pt x="624" y="264"/>
                  </a:lnTo>
                  <a:lnTo>
                    <a:pt x="624" y="264"/>
                  </a:lnTo>
                  <a:lnTo>
                    <a:pt x="626" y="264"/>
                  </a:lnTo>
                  <a:lnTo>
                    <a:pt x="631" y="264"/>
                  </a:lnTo>
                  <a:lnTo>
                    <a:pt x="681" y="269"/>
                  </a:lnTo>
                  <a:lnTo>
                    <a:pt x="695" y="269"/>
                  </a:lnTo>
                  <a:lnTo>
                    <a:pt x="742" y="274"/>
                  </a:lnTo>
                  <a:lnTo>
                    <a:pt x="841" y="281"/>
                  </a:lnTo>
                  <a:lnTo>
                    <a:pt x="874" y="285"/>
                  </a:lnTo>
                  <a:lnTo>
                    <a:pt x="891" y="285"/>
                  </a:lnTo>
                  <a:lnTo>
                    <a:pt x="955" y="290"/>
                  </a:lnTo>
                  <a:lnTo>
                    <a:pt x="1021" y="297"/>
                  </a:lnTo>
                  <a:lnTo>
                    <a:pt x="1080" y="300"/>
                  </a:lnTo>
                  <a:lnTo>
                    <a:pt x="1137" y="304"/>
                  </a:lnTo>
                  <a:lnTo>
                    <a:pt x="1144" y="304"/>
                  </a:lnTo>
                  <a:lnTo>
                    <a:pt x="1191" y="309"/>
                  </a:lnTo>
                  <a:lnTo>
                    <a:pt x="1290" y="316"/>
                  </a:lnTo>
                  <a:lnTo>
                    <a:pt x="1311" y="316"/>
                  </a:lnTo>
                  <a:lnTo>
                    <a:pt x="1342" y="318"/>
                  </a:lnTo>
                  <a:lnTo>
                    <a:pt x="1368" y="321"/>
                  </a:lnTo>
                  <a:lnTo>
                    <a:pt x="1448" y="326"/>
                  </a:lnTo>
                  <a:lnTo>
                    <a:pt x="1448" y="326"/>
                  </a:lnTo>
                  <a:lnTo>
                    <a:pt x="1448" y="328"/>
                  </a:lnTo>
                  <a:lnTo>
                    <a:pt x="1444" y="330"/>
                  </a:lnTo>
                  <a:lnTo>
                    <a:pt x="1441" y="335"/>
                  </a:lnTo>
                  <a:lnTo>
                    <a:pt x="1441" y="337"/>
                  </a:lnTo>
                  <a:lnTo>
                    <a:pt x="1441" y="342"/>
                  </a:lnTo>
                  <a:lnTo>
                    <a:pt x="1441" y="342"/>
                  </a:lnTo>
                  <a:lnTo>
                    <a:pt x="1439" y="344"/>
                  </a:lnTo>
                  <a:lnTo>
                    <a:pt x="1439" y="349"/>
                  </a:lnTo>
                  <a:lnTo>
                    <a:pt x="1439" y="352"/>
                  </a:lnTo>
                  <a:lnTo>
                    <a:pt x="1437" y="354"/>
                  </a:lnTo>
                  <a:lnTo>
                    <a:pt x="1432" y="354"/>
                  </a:lnTo>
                  <a:lnTo>
                    <a:pt x="1432" y="356"/>
                  </a:lnTo>
                  <a:lnTo>
                    <a:pt x="1429" y="359"/>
                  </a:lnTo>
                  <a:lnTo>
                    <a:pt x="1429" y="361"/>
                  </a:lnTo>
                  <a:lnTo>
                    <a:pt x="1427" y="363"/>
                  </a:lnTo>
                  <a:lnTo>
                    <a:pt x="1425" y="368"/>
                  </a:lnTo>
                  <a:lnTo>
                    <a:pt x="1425" y="370"/>
                  </a:lnTo>
                  <a:lnTo>
                    <a:pt x="1427" y="370"/>
                  </a:lnTo>
                  <a:lnTo>
                    <a:pt x="1427" y="375"/>
                  </a:lnTo>
                  <a:lnTo>
                    <a:pt x="1425" y="380"/>
                  </a:lnTo>
                  <a:lnTo>
                    <a:pt x="1425" y="385"/>
                  </a:lnTo>
                  <a:lnTo>
                    <a:pt x="1422" y="389"/>
                  </a:lnTo>
                  <a:lnTo>
                    <a:pt x="1422" y="392"/>
                  </a:lnTo>
                  <a:lnTo>
                    <a:pt x="1422" y="394"/>
                  </a:lnTo>
                  <a:lnTo>
                    <a:pt x="1422" y="394"/>
                  </a:lnTo>
                  <a:lnTo>
                    <a:pt x="1420" y="396"/>
                  </a:lnTo>
                  <a:lnTo>
                    <a:pt x="1420" y="399"/>
                  </a:lnTo>
                  <a:lnTo>
                    <a:pt x="1415" y="399"/>
                  </a:lnTo>
                  <a:lnTo>
                    <a:pt x="1413" y="408"/>
                  </a:lnTo>
                  <a:lnTo>
                    <a:pt x="1415" y="411"/>
                  </a:lnTo>
                  <a:lnTo>
                    <a:pt x="1413" y="411"/>
                  </a:lnTo>
                  <a:lnTo>
                    <a:pt x="1413" y="411"/>
                  </a:lnTo>
                  <a:lnTo>
                    <a:pt x="1411" y="413"/>
                  </a:lnTo>
                  <a:lnTo>
                    <a:pt x="1411" y="415"/>
                  </a:lnTo>
                  <a:lnTo>
                    <a:pt x="1411" y="418"/>
                  </a:lnTo>
                  <a:lnTo>
                    <a:pt x="1411" y="420"/>
                  </a:lnTo>
                  <a:lnTo>
                    <a:pt x="1408" y="422"/>
                  </a:lnTo>
                  <a:lnTo>
                    <a:pt x="1408" y="425"/>
                  </a:lnTo>
                  <a:lnTo>
                    <a:pt x="1406" y="427"/>
                  </a:lnTo>
                  <a:lnTo>
                    <a:pt x="1406" y="427"/>
                  </a:lnTo>
                  <a:lnTo>
                    <a:pt x="1403" y="427"/>
                  </a:lnTo>
                  <a:lnTo>
                    <a:pt x="1403" y="427"/>
                  </a:lnTo>
                  <a:lnTo>
                    <a:pt x="1401" y="429"/>
                  </a:lnTo>
                  <a:lnTo>
                    <a:pt x="1399" y="434"/>
                  </a:lnTo>
                  <a:lnTo>
                    <a:pt x="1399" y="434"/>
                  </a:lnTo>
                  <a:lnTo>
                    <a:pt x="1401" y="437"/>
                  </a:lnTo>
                  <a:lnTo>
                    <a:pt x="1401" y="439"/>
                  </a:lnTo>
                  <a:lnTo>
                    <a:pt x="1403" y="441"/>
                  </a:lnTo>
                  <a:lnTo>
                    <a:pt x="1403" y="444"/>
                  </a:lnTo>
                  <a:lnTo>
                    <a:pt x="1403" y="446"/>
                  </a:lnTo>
                  <a:lnTo>
                    <a:pt x="1401" y="451"/>
                  </a:lnTo>
                  <a:lnTo>
                    <a:pt x="1401" y="451"/>
                  </a:lnTo>
                  <a:lnTo>
                    <a:pt x="1401" y="453"/>
                  </a:lnTo>
                  <a:lnTo>
                    <a:pt x="1399" y="453"/>
                  </a:lnTo>
                  <a:lnTo>
                    <a:pt x="1399" y="453"/>
                  </a:lnTo>
                  <a:lnTo>
                    <a:pt x="1399" y="453"/>
                  </a:lnTo>
                  <a:lnTo>
                    <a:pt x="1396" y="455"/>
                  </a:lnTo>
                  <a:lnTo>
                    <a:pt x="1396" y="455"/>
                  </a:lnTo>
                  <a:lnTo>
                    <a:pt x="1396" y="460"/>
                  </a:lnTo>
                  <a:lnTo>
                    <a:pt x="1399" y="460"/>
                  </a:lnTo>
                  <a:lnTo>
                    <a:pt x="1401" y="463"/>
                  </a:lnTo>
                  <a:lnTo>
                    <a:pt x="1401" y="465"/>
                  </a:lnTo>
                  <a:lnTo>
                    <a:pt x="1396" y="467"/>
                  </a:lnTo>
                  <a:lnTo>
                    <a:pt x="1396" y="470"/>
                  </a:lnTo>
                  <a:lnTo>
                    <a:pt x="1396" y="474"/>
                  </a:lnTo>
                  <a:lnTo>
                    <a:pt x="1396" y="474"/>
                  </a:lnTo>
                  <a:lnTo>
                    <a:pt x="1396" y="479"/>
                  </a:lnTo>
                  <a:lnTo>
                    <a:pt x="1396" y="481"/>
                  </a:lnTo>
                  <a:lnTo>
                    <a:pt x="1399" y="484"/>
                  </a:lnTo>
                  <a:lnTo>
                    <a:pt x="1399" y="486"/>
                  </a:lnTo>
                  <a:lnTo>
                    <a:pt x="1396" y="489"/>
                  </a:lnTo>
                  <a:lnTo>
                    <a:pt x="1396" y="489"/>
                  </a:lnTo>
                  <a:lnTo>
                    <a:pt x="1394" y="491"/>
                  </a:lnTo>
                  <a:lnTo>
                    <a:pt x="1394" y="493"/>
                  </a:lnTo>
                  <a:lnTo>
                    <a:pt x="1392" y="493"/>
                  </a:lnTo>
                  <a:lnTo>
                    <a:pt x="1392" y="496"/>
                  </a:lnTo>
                  <a:lnTo>
                    <a:pt x="1392" y="498"/>
                  </a:lnTo>
                  <a:lnTo>
                    <a:pt x="1392" y="503"/>
                  </a:lnTo>
                  <a:lnTo>
                    <a:pt x="1392" y="503"/>
                  </a:lnTo>
                  <a:lnTo>
                    <a:pt x="1394" y="507"/>
                  </a:lnTo>
                  <a:lnTo>
                    <a:pt x="1392" y="510"/>
                  </a:lnTo>
                  <a:lnTo>
                    <a:pt x="1392" y="515"/>
                  </a:lnTo>
                  <a:lnTo>
                    <a:pt x="1389" y="517"/>
                  </a:lnTo>
                  <a:lnTo>
                    <a:pt x="1387" y="517"/>
                  </a:lnTo>
                  <a:lnTo>
                    <a:pt x="1387" y="519"/>
                  </a:lnTo>
                  <a:lnTo>
                    <a:pt x="1387" y="519"/>
                  </a:lnTo>
                  <a:lnTo>
                    <a:pt x="1387" y="522"/>
                  </a:lnTo>
                  <a:lnTo>
                    <a:pt x="1385" y="524"/>
                  </a:lnTo>
                  <a:lnTo>
                    <a:pt x="1385" y="529"/>
                  </a:lnTo>
                  <a:lnTo>
                    <a:pt x="1385" y="531"/>
                  </a:lnTo>
                  <a:lnTo>
                    <a:pt x="1382" y="536"/>
                  </a:lnTo>
                  <a:lnTo>
                    <a:pt x="1382" y="538"/>
                  </a:lnTo>
                  <a:lnTo>
                    <a:pt x="1382" y="538"/>
                  </a:lnTo>
                  <a:lnTo>
                    <a:pt x="1382" y="543"/>
                  </a:lnTo>
                  <a:lnTo>
                    <a:pt x="1382" y="545"/>
                  </a:lnTo>
                  <a:lnTo>
                    <a:pt x="1382" y="548"/>
                  </a:lnTo>
                  <a:lnTo>
                    <a:pt x="1385" y="552"/>
                  </a:lnTo>
                  <a:lnTo>
                    <a:pt x="1385" y="552"/>
                  </a:lnTo>
                  <a:lnTo>
                    <a:pt x="1389" y="555"/>
                  </a:lnTo>
                  <a:lnTo>
                    <a:pt x="1389" y="555"/>
                  </a:lnTo>
                  <a:lnTo>
                    <a:pt x="1392" y="555"/>
                  </a:lnTo>
                  <a:lnTo>
                    <a:pt x="1392" y="555"/>
                  </a:lnTo>
                  <a:lnTo>
                    <a:pt x="1392" y="555"/>
                  </a:lnTo>
                  <a:lnTo>
                    <a:pt x="1392" y="557"/>
                  </a:lnTo>
                  <a:lnTo>
                    <a:pt x="1392" y="557"/>
                  </a:lnTo>
                  <a:lnTo>
                    <a:pt x="1392" y="559"/>
                  </a:lnTo>
                  <a:lnTo>
                    <a:pt x="1392" y="562"/>
                  </a:lnTo>
                  <a:lnTo>
                    <a:pt x="1392" y="567"/>
                  </a:lnTo>
                  <a:lnTo>
                    <a:pt x="1392" y="567"/>
                  </a:lnTo>
                  <a:lnTo>
                    <a:pt x="1389" y="569"/>
                  </a:lnTo>
                  <a:lnTo>
                    <a:pt x="1389" y="569"/>
                  </a:lnTo>
                  <a:lnTo>
                    <a:pt x="1387" y="571"/>
                  </a:lnTo>
                  <a:lnTo>
                    <a:pt x="1385" y="574"/>
                  </a:lnTo>
                  <a:lnTo>
                    <a:pt x="1385" y="574"/>
                  </a:lnTo>
                  <a:lnTo>
                    <a:pt x="1385" y="576"/>
                  </a:lnTo>
                  <a:lnTo>
                    <a:pt x="1387" y="578"/>
                  </a:lnTo>
                  <a:lnTo>
                    <a:pt x="1387" y="583"/>
                  </a:lnTo>
                  <a:lnTo>
                    <a:pt x="1387" y="583"/>
                  </a:lnTo>
                  <a:lnTo>
                    <a:pt x="1389" y="585"/>
                  </a:lnTo>
                  <a:lnTo>
                    <a:pt x="1389" y="590"/>
                  </a:lnTo>
                  <a:lnTo>
                    <a:pt x="1389" y="590"/>
                  </a:lnTo>
                  <a:lnTo>
                    <a:pt x="1392" y="590"/>
                  </a:lnTo>
                  <a:lnTo>
                    <a:pt x="1394" y="592"/>
                  </a:lnTo>
                  <a:lnTo>
                    <a:pt x="1394" y="595"/>
                  </a:lnTo>
                  <a:lnTo>
                    <a:pt x="1392" y="597"/>
                  </a:lnTo>
                  <a:lnTo>
                    <a:pt x="1392" y="600"/>
                  </a:lnTo>
                  <a:lnTo>
                    <a:pt x="1394" y="602"/>
                  </a:lnTo>
                  <a:lnTo>
                    <a:pt x="1394" y="604"/>
                  </a:lnTo>
                  <a:lnTo>
                    <a:pt x="1389" y="607"/>
                  </a:lnTo>
                  <a:lnTo>
                    <a:pt x="1389" y="609"/>
                  </a:lnTo>
                  <a:lnTo>
                    <a:pt x="1389" y="609"/>
                  </a:lnTo>
                  <a:lnTo>
                    <a:pt x="1389" y="611"/>
                  </a:lnTo>
                  <a:lnTo>
                    <a:pt x="1389" y="614"/>
                  </a:lnTo>
                  <a:lnTo>
                    <a:pt x="1389" y="614"/>
                  </a:lnTo>
                  <a:lnTo>
                    <a:pt x="1392" y="616"/>
                  </a:lnTo>
                  <a:lnTo>
                    <a:pt x="1392" y="618"/>
                  </a:lnTo>
                  <a:lnTo>
                    <a:pt x="1389" y="626"/>
                  </a:lnTo>
                  <a:lnTo>
                    <a:pt x="1389" y="628"/>
                  </a:lnTo>
                  <a:lnTo>
                    <a:pt x="1389" y="628"/>
                  </a:lnTo>
                  <a:lnTo>
                    <a:pt x="1389" y="633"/>
                  </a:lnTo>
                  <a:lnTo>
                    <a:pt x="1389" y="635"/>
                  </a:lnTo>
                  <a:lnTo>
                    <a:pt x="1389" y="637"/>
                  </a:lnTo>
                  <a:lnTo>
                    <a:pt x="1394" y="637"/>
                  </a:lnTo>
                  <a:lnTo>
                    <a:pt x="1394" y="637"/>
                  </a:lnTo>
                  <a:lnTo>
                    <a:pt x="1394" y="640"/>
                  </a:lnTo>
                  <a:lnTo>
                    <a:pt x="1396" y="644"/>
                  </a:lnTo>
                  <a:lnTo>
                    <a:pt x="1396" y="644"/>
                  </a:lnTo>
                  <a:lnTo>
                    <a:pt x="1394" y="647"/>
                  </a:lnTo>
                  <a:lnTo>
                    <a:pt x="1394" y="647"/>
                  </a:lnTo>
                  <a:lnTo>
                    <a:pt x="1394" y="649"/>
                  </a:lnTo>
                  <a:lnTo>
                    <a:pt x="1394" y="652"/>
                  </a:lnTo>
                  <a:lnTo>
                    <a:pt x="1394" y="654"/>
                  </a:lnTo>
                  <a:lnTo>
                    <a:pt x="1396" y="656"/>
                  </a:lnTo>
                  <a:lnTo>
                    <a:pt x="1396" y="659"/>
                  </a:lnTo>
                  <a:lnTo>
                    <a:pt x="1396" y="663"/>
                  </a:lnTo>
                  <a:lnTo>
                    <a:pt x="1396" y="663"/>
                  </a:lnTo>
                  <a:lnTo>
                    <a:pt x="1396" y="668"/>
                  </a:lnTo>
                  <a:lnTo>
                    <a:pt x="1396" y="668"/>
                  </a:lnTo>
                  <a:lnTo>
                    <a:pt x="1394" y="668"/>
                  </a:lnTo>
                  <a:lnTo>
                    <a:pt x="1394" y="668"/>
                  </a:lnTo>
                  <a:lnTo>
                    <a:pt x="1394" y="673"/>
                  </a:lnTo>
                  <a:lnTo>
                    <a:pt x="1392" y="675"/>
                  </a:lnTo>
                  <a:lnTo>
                    <a:pt x="1392" y="678"/>
                  </a:lnTo>
                  <a:lnTo>
                    <a:pt x="1389" y="680"/>
                  </a:lnTo>
                  <a:lnTo>
                    <a:pt x="1389" y="682"/>
                  </a:lnTo>
                  <a:lnTo>
                    <a:pt x="1392" y="685"/>
                  </a:lnTo>
                  <a:lnTo>
                    <a:pt x="1392" y="687"/>
                  </a:lnTo>
                  <a:lnTo>
                    <a:pt x="1389" y="687"/>
                  </a:lnTo>
                  <a:lnTo>
                    <a:pt x="1387" y="685"/>
                  </a:lnTo>
                  <a:lnTo>
                    <a:pt x="1387" y="687"/>
                  </a:lnTo>
                  <a:lnTo>
                    <a:pt x="1387" y="689"/>
                  </a:lnTo>
                  <a:lnTo>
                    <a:pt x="1387" y="689"/>
                  </a:lnTo>
                  <a:lnTo>
                    <a:pt x="1387" y="694"/>
                  </a:lnTo>
                  <a:lnTo>
                    <a:pt x="1394" y="692"/>
                  </a:lnTo>
                  <a:lnTo>
                    <a:pt x="1394" y="694"/>
                  </a:lnTo>
                  <a:lnTo>
                    <a:pt x="1394" y="694"/>
                  </a:lnTo>
                  <a:lnTo>
                    <a:pt x="1394" y="696"/>
                  </a:lnTo>
                  <a:lnTo>
                    <a:pt x="1394" y="701"/>
                  </a:lnTo>
                  <a:lnTo>
                    <a:pt x="1396" y="701"/>
                  </a:lnTo>
                  <a:lnTo>
                    <a:pt x="1394" y="704"/>
                  </a:lnTo>
                  <a:lnTo>
                    <a:pt x="1396" y="704"/>
                  </a:lnTo>
                  <a:lnTo>
                    <a:pt x="1396" y="708"/>
                  </a:lnTo>
                  <a:lnTo>
                    <a:pt x="1396" y="711"/>
                  </a:lnTo>
                  <a:lnTo>
                    <a:pt x="1399" y="711"/>
                  </a:lnTo>
                  <a:lnTo>
                    <a:pt x="1396" y="713"/>
                  </a:lnTo>
                  <a:lnTo>
                    <a:pt x="1396" y="715"/>
                  </a:lnTo>
                  <a:lnTo>
                    <a:pt x="1396" y="715"/>
                  </a:lnTo>
                  <a:lnTo>
                    <a:pt x="1399" y="715"/>
                  </a:lnTo>
                  <a:lnTo>
                    <a:pt x="1399" y="713"/>
                  </a:lnTo>
                  <a:lnTo>
                    <a:pt x="1401" y="713"/>
                  </a:lnTo>
                  <a:lnTo>
                    <a:pt x="1403" y="713"/>
                  </a:lnTo>
                  <a:lnTo>
                    <a:pt x="1403" y="713"/>
                  </a:lnTo>
                  <a:lnTo>
                    <a:pt x="1401" y="715"/>
                  </a:lnTo>
                  <a:lnTo>
                    <a:pt x="1401" y="718"/>
                  </a:lnTo>
                  <a:lnTo>
                    <a:pt x="1403" y="718"/>
                  </a:lnTo>
                  <a:lnTo>
                    <a:pt x="1408" y="718"/>
                  </a:lnTo>
                  <a:lnTo>
                    <a:pt x="1411" y="718"/>
                  </a:lnTo>
                  <a:lnTo>
                    <a:pt x="1411" y="720"/>
                  </a:lnTo>
                  <a:lnTo>
                    <a:pt x="1411" y="720"/>
                  </a:lnTo>
                  <a:lnTo>
                    <a:pt x="1413" y="722"/>
                  </a:lnTo>
                  <a:lnTo>
                    <a:pt x="1413" y="725"/>
                  </a:lnTo>
                  <a:lnTo>
                    <a:pt x="1411" y="727"/>
                  </a:lnTo>
                  <a:lnTo>
                    <a:pt x="1411" y="729"/>
                  </a:lnTo>
                  <a:lnTo>
                    <a:pt x="1411" y="732"/>
                  </a:lnTo>
                  <a:lnTo>
                    <a:pt x="1411" y="737"/>
                  </a:lnTo>
                  <a:lnTo>
                    <a:pt x="1406" y="737"/>
                  </a:lnTo>
                  <a:lnTo>
                    <a:pt x="1406" y="739"/>
                  </a:lnTo>
                  <a:lnTo>
                    <a:pt x="1403" y="739"/>
                  </a:lnTo>
                  <a:lnTo>
                    <a:pt x="1403" y="739"/>
                  </a:lnTo>
                  <a:lnTo>
                    <a:pt x="1401" y="739"/>
                  </a:lnTo>
                  <a:lnTo>
                    <a:pt x="1401" y="741"/>
                  </a:lnTo>
                  <a:lnTo>
                    <a:pt x="1403" y="744"/>
                  </a:lnTo>
                  <a:lnTo>
                    <a:pt x="1403" y="744"/>
                  </a:lnTo>
                  <a:lnTo>
                    <a:pt x="1403" y="746"/>
                  </a:lnTo>
                  <a:lnTo>
                    <a:pt x="1399" y="746"/>
                  </a:lnTo>
                  <a:lnTo>
                    <a:pt x="1399" y="748"/>
                  </a:lnTo>
                  <a:lnTo>
                    <a:pt x="1401" y="751"/>
                  </a:lnTo>
                  <a:lnTo>
                    <a:pt x="1401" y="751"/>
                  </a:lnTo>
                  <a:lnTo>
                    <a:pt x="1401" y="753"/>
                  </a:lnTo>
                  <a:lnTo>
                    <a:pt x="1401" y="758"/>
                  </a:lnTo>
                  <a:lnTo>
                    <a:pt x="1401" y="760"/>
                  </a:lnTo>
                  <a:lnTo>
                    <a:pt x="1401" y="763"/>
                  </a:lnTo>
                  <a:lnTo>
                    <a:pt x="1399" y="765"/>
                  </a:lnTo>
                  <a:lnTo>
                    <a:pt x="1401" y="765"/>
                  </a:lnTo>
                  <a:lnTo>
                    <a:pt x="1401" y="767"/>
                  </a:lnTo>
                  <a:lnTo>
                    <a:pt x="1401" y="767"/>
                  </a:lnTo>
                  <a:lnTo>
                    <a:pt x="1401" y="772"/>
                  </a:lnTo>
                  <a:lnTo>
                    <a:pt x="1401" y="774"/>
                  </a:lnTo>
                  <a:lnTo>
                    <a:pt x="1399" y="774"/>
                  </a:lnTo>
                  <a:lnTo>
                    <a:pt x="1399" y="779"/>
                  </a:lnTo>
                  <a:lnTo>
                    <a:pt x="1399" y="781"/>
                  </a:lnTo>
                  <a:lnTo>
                    <a:pt x="1396" y="784"/>
                  </a:lnTo>
                  <a:lnTo>
                    <a:pt x="1394" y="784"/>
                  </a:lnTo>
                  <a:lnTo>
                    <a:pt x="1394" y="786"/>
                  </a:lnTo>
                  <a:lnTo>
                    <a:pt x="1392" y="789"/>
                  </a:lnTo>
                  <a:lnTo>
                    <a:pt x="1392" y="791"/>
                  </a:lnTo>
                  <a:lnTo>
                    <a:pt x="1392" y="796"/>
                  </a:lnTo>
                  <a:lnTo>
                    <a:pt x="1392" y="796"/>
                  </a:lnTo>
                  <a:lnTo>
                    <a:pt x="1389" y="798"/>
                  </a:lnTo>
                  <a:lnTo>
                    <a:pt x="1387" y="800"/>
                  </a:lnTo>
                  <a:lnTo>
                    <a:pt x="1385" y="803"/>
                  </a:lnTo>
                  <a:lnTo>
                    <a:pt x="1382" y="805"/>
                  </a:lnTo>
                  <a:lnTo>
                    <a:pt x="1380" y="810"/>
                  </a:lnTo>
                  <a:lnTo>
                    <a:pt x="1378" y="817"/>
                  </a:lnTo>
                  <a:lnTo>
                    <a:pt x="1378" y="819"/>
                  </a:lnTo>
                  <a:lnTo>
                    <a:pt x="1375" y="824"/>
                  </a:lnTo>
                  <a:lnTo>
                    <a:pt x="1375" y="829"/>
                  </a:lnTo>
                  <a:lnTo>
                    <a:pt x="1370" y="833"/>
                  </a:lnTo>
                  <a:lnTo>
                    <a:pt x="1370" y="831"/>
                  </a:lnTo>
                  <a:lnTo>
                    <a:pt x="1368" y="833"/>
                  </a:lnTo>
                  <a:lnTo>
                    <a:pt x="1368" y="833"/>
                  </a:lnTo>
                  <a:lnTo>
                    <a:pt x="1366" y="833"/>
                  </a:lnTo>
                  <a:lnTo>
                    <a:pt x="1366" y="836"/>
                  </a:lnTo>
                  <a:lnTo>
                    <a:pt x="1368" y="838"/>
                  </a:lnTo>
                  <a:lnTo>
                    <a:pt x="1368" y="843"/>
                  </a:lnTo>
                  <a:lnTo>
                    <a:pt x="1368" y="845"/>
                  </a:lnTo>
                  <a:lnTo>
                    <a:pt x="1368" y="848"/>
                  </a:lnTo>
                  <a:lnTo>
                    <a:pt x="1368" y="850"/>
                  </a:lnTo>
                  <a:lnTo>
                    <a:pt x="1368" y="852"/>
                  </a:lnTo>
                  <a:lnTo>
                    <a:pt x="1368" y="855"/>
                  </a:lnTo>
                  <a:lnTo>
                    <a:pt x="1368" y="855"/>
                  </a:lnTo>
                  <a:lnTo>
                    <a:pt x="1368" y="857"/>
                  </a:lnTo>
                  <a:lnTo>
                    <a:pt x="1368" y="859"/>
                  </a:lnTo>
                  <a:lnTo>
                    <a:pt x="1368" y="862"/>
                  </a:lnTo>
                  <a:lnTo>
                    <a:pt x="1366" y="864"/>
                  </a:lnTo>
                  <a:lnTo>
                    <a:pt x="1366" y="866"/>
                  </a:lnTo>
                  <a:lnTo>
                    <a:pt x="1368" y="869"/>
                  </a:lnTo>
                  <a:lnTo>
                    <a:pt x="1368" y="874"/>
                  </a:lnTo>
                  <a:lnTo>
                    <a:pt x="1370" y="878"/>
                  </a:lnTo>
                  <a:lnTo>
                    <a:pt x="1370" y="883"/>
                  </a:lnTo>
                  <a:lnTo>
                    <a:pt x="1368" y="883"/>
                  </a:lnTo>
                  <a:lnTo>
                    <a:pt x="1366" y="885"/>
                  </a:lnTo>
                  <a:lnTo>
                    <a:pt x="1363" y="885"/>
                  </a:lnTo>
                  <a:lnTo>
                    <a:pt x="1361" y="885"/>
                  </a:lnTo>
                  <a:lnTo>
                    <a:pt x="1361" y="885"/>
                  </a:lnTo>
                  <a:lnTo>
                    <a:pt x="1359" y="885"/>
                  </a:lnTo>
                  <a:lnTo>
                    <a:pt x="1359" y="885"/>
                  </a:lnTo>
                  <a:lnTo>
                    <a:pt x="1361" y="890"/>
                  </a:lnTo>
                  <a:lnTo>
                    <a:pt x="1361" y="892"/>
                  </a:lnTo>
                  <a:lnTo>
                    <a:pt x="1359" y="895"/>
                  </a:lnTo>
                  <a:lnTo>
                    <a:pt x="1356" y="897"/>
                  </a:lnTo>
                  <a:lnTo>
                    <a:pt x="1354" y="902"/>
                  </a:lnTo>
                  <a:lnTo>
                    <a:pt x="1352" y="907"/>
                  </a:lnTo>
                  <a:lnTo>
                    <a:pt x="1352" y="909"/>
                  </a:lnTo>
                  <a:lnTo>
                    <a:pt x="1352" y="914"/>
                  </a:lnTo>
                  <a:lnTo>
                    <a:pt x="1352" y="916"/>
                  </a:lnTo>
                  <a:lnTo>
                    <a:pt x="1349" y="916"/>
                  </a:lnTo>
                  <a:lnTo>
                    <a:pt x="1352" y="921"/>
                  </a:lnTo>
                  <a:lnTo>
                    <a:pt x="1352" y="921"/>
                  </a:lnTo>
                  <a:lnTo>
                    <a:pt x="1349" y="923"/>
                  </a:lnTo>
                  <a:lnTo>
                    <a:pt x="1349" y="926"/>
                  </a:lnTo>
                  <a:lnTo>
                    <a:pt x="1352" y="928"/>
                  </a:lnTo>
                  <a:lnTo>
                    <a:pt x="1352" y="930"/>
                  </a:lnTo>
                  <a:lnTo>
                    <a:pt x="1352" y="930"/>
                  </a:lnTo>
                  <a:lnTo>
                    <a:pt x="1354" y="933"/>
                  </a:lnTo>
                  <a:lnTo>
                    <a:pt x="1352" y="935"/>
                  </a:lnTo>
                  <a:lnTo>
                    <a:pt x="1354" y="940"/>
                  </a:lnTo>
                  <a:lnTo>
                    <a:pt x="1349" y="947"/>
                  </a:lnTo>
                  <a:lnTo>
                    <a:pt x="1349" y="949"/>
                  </a:lnTo>
                  <a:lnTo>
                    <a:pt x="1347" y="956"/>
                  </a:lnTo>
                  <a:lnTo>
                    <a:pt x="1347" y="956"/>
                  </a:lnTo>
                  <a:lnTo>
                    <a:pt x="1344" y="959"/>
                  </a:lnTo>
                  <a:lnTo>
                    <a:pt x="1347" y="961"/>
                  </a:lnTo>
                  <a:lnTo>
                    <a:pt x="1347" y="961"/>
                  </a:lnTo>
                  <a:lnTo>
                    <a:pt x="1344" y="963"/>
                  </a:lnTo>
                  <a:lnTo>
                    <a:pt x="1344" y="966"/>
                  </a:lnTo>
                  <a:lnTo>
                    <a:pt x="1342" y="966"/>
                  </a:lnTo>
                  <a:lnTo>
                    <a:pt x="1342" y="968"/>
                  </a:lnTo>
                  <a:lnTo>
                    <a:pt x="1342" y="970"/>
                  </a:lnTo>
                  <a:lnTo>
                    <a:pt x="1344" y="973"/>
                  </a:lnTo>
                  <a:lnTo>
                    <a:pt x="1342" y="975"/>
                  </a:lnTo>
                  <a:lnTo>
                    <a:pt x="1340" y="975"/>
                  </a:lnTo>
                  <a:lnTo>
                    <a:pt x="1337" y="980"/>
                  </a:lnTo>
                  <a:lnTo>
                    <a:pt x="1337" y="982"/>
                  </a:lnTo>
                  <a:lnTo>
                    <a:pt x="1337" y="985"/>
                  </a:lnTo>
                  <a:lnTo>
                    <a:pt x="1337" y="987"/>
                  </a:lnTo>
                  <a:lnTo>
                    <a:pt x="1340" y="989"/>
                  </a:lnTo>
                  <a:lnTo>
                    <a:pt x="1340" y="989"/>
                  </a:lnTo>
                  <a:lnTo>
                    <a:pt x="1337" y="989"/>
                  </a:lnTo>
                  <a:lnTo>
                    <a:pt x="1333" y="994"/>
                  </a:lnTo>
                  <a:lnTo>
                    <a:pt x="1333" y="994"/>
                  </a:lnTo>
                  <a:lnTo>
                    <a:pt x="1330" y="996"/>
                  </a:lnTo>
                  <a:lnTo>
                    <a:pt x="1330" y="999"/>
                  </a:lnTo>
                  <a:lnTo>
                    <a:pt x="1323" y="1001"/>
                  </a:lnTo>
                  <a:lnTo>
                    <a:pt x="1318" y="1006"/>
                  </a:lnTo>
                  <a:lnTo>
                    <a:pt x="1314" y="1006"/>
                  </a:lnTo>
                  <a:lnTo>
                    <a:pt x="1311" y="1006"/>
                  </a:lnTo>
                  <a:lnTo>
                    <a:pt x="1311" y="1004"/>
                  </a:lnTo>
                  <a:lnTo>
                    <a:pt x="1311" y="999"/>
                  </a:lnTo>
                  <a:lnTo>
                    <a:pt x="1307" y="996"/>
                  </a:lnTo>
                  <a:lnTo>
                    <a:pt x="1307" y="996"/>
                  </a:lnTo>
                  <a:lnTo>
                    <a:pt x="1304" y="999"/>
                  </a:lnTo>
                  <a:lnTo>
                    <a:pt x="1304" y="1001"/>
                  </a:lnTo>
                  <a:lnTo>
                    <a:pt x="1302" y="1004"/>
                  </a:lnTo>
                  <a:lnTo>
                    <a:pt x="1297" y="1001"/>
                  </a:lnTo>
                  <a:lnTo>
                    <a:pt x="1295" y="1001"/>
                  </a:lnTo>
                  <a:lnTo>
                    <a:pt x="1292" y="1006"/>
                  </a:lnTo>
                  <a:lnTo>
                    <a:pt x="1292" y="1006"/>
                  </a:lnTo>
                  <a:lnTo>
                    <a:pt x="1290" y="1006"/>
                  </a:lnTo>
                  <a:lnTo>
                    <a:pt x="1288" y="1008"/>
                  </a:lnTo>
                  <a:lnTo>
                    <a:pt x="1283" y="1008"/>
                  </a:lnTo>
                  <a:lnTo>
                    <a:pt x="1283" y="1008"/>
                  </a:lnTo>
                  <a:lnTo>
                    <a:pt x="1281" y="1011"/>
                  </a:lnTo>
                  <a:lnTo>
                    <a:pt x="1278" y="1015"/>
                  </a:lnTo>
                  <a:lnTo>
                    <a:pt x="1276" y="1015"/>
                  </a:lnTo>
                  <a:lnTo>
                    <a:pt x="1274" y="1022"/>
                  </a:lnTo>
                  <a:lnTo>
                    <a:pt x="1274" y="1022"/>
                  </a:lnTo>
                  <a:lnTo>
                    <a:pt x="1269" y="1022"/>
                  </a:lnTo>
                  <a:lnTo>
                    <a:pt x="1266" y="1025"/>
                  </a:lnTo>
                  <a:lnTo>
                    <a:pt x="1266" y="1027"/>
                  </a:lnTo>
                  <a:lnTo>
                    <a:pt x="1264" y="1029"/>
                  </a:lnTo>
                  <a:lnTo>
                    <a:pt x="1264" y="1032"/>
                  </a:lnTo>
                  <a:lnTo>
                    <a:pt x="1266" y="1034"/>
                  </a:lnTo>
                  <a:lnTo>
                    <a:pt x="1266" y="1034"/>
                  </a:lnTo>
                  <a:lnTo>
                    <a:pt x="1266" y="1037"/>
                  </a:lnTo>
                  <a:lnTo>
                    <a:pt x="1264" y="1039"/>
                  </a:lnTo>
                  <a:lnTo>
                    <a:pt x="1264" y="1039"/>
                  </a:lnTo>
                  <a:lnTo>
                    <a:pt x="1262" y="1041"/>
                  </a:lnTo>
                  <a:lnTo>
                    <a:pt x="1262" y="1046"/>
                  </a:lnTo>
                  <a:lnTo>
                    <a:pt x="1264" y="1048"/>
                  </a:lnTo>
                  <a:lnTo>
                    <a:pt x="1264" y="1048"/>
                  </a:lnTo>
                  <a:lnTo>
                    <a:pt x="1259" y="1053"/>
                  </a:lnTo>
                  <a:lnTo>
                    <a:pt x="1259" y="1055"/>
                  </a:lnTo>
                  <a:lnTo>
                    <a:pt x="1262" y="1058"/>
                  </a:lnTo>
                  <a:lnTo>
                    <a:pt x="1262" y="1058"/>
                  </a:lnTo>
                  <a:lnTo>
                    <a:pt x="1259" y="1060"/>
                  </a:lnTo>
                  <a:lnTo>
                    <a:pt x="1259" y="1063"/>
                  </a:lnTo>
                  <a:lnTo>
                    <a:pt x="1259" y="1063"/>
                  </a:lnTo>
                  <a:lnTo>
                    <a:pt x="1259" y="1065"/>
                  </a:lnTo>
                  <a:lnTo>
                    <a:pt x="1259" y="1065"/>
                  </a:lnTo>
                  <a:lnTo>
                    <a:pt x="1257" y="1067"/>
                  </a:lnTo>
                  <a:lnTo>
                    <a:pt x="1257" y="1067"/>
                  </a:lnTo>
                  <a:lnTo>
                    <a:pt x="1257" y="1070"/>
                  </a:lnTo>
                  <a:lnTo>
                    <a:pt x="1257" y="1072"/>
                  </a:lnTo>
                  <a:lnTo>
                    <a:pt x="1257" y="1072"/>
                  </a:lnTo>
                  <a:lnTo>
                    <a:pt x="1255" y="1072"/>
                  </a:lnTo>
                  <a:lnTo>
                    <a:pt x="1255" y="1072"/>
                  </a:lnTo>
                  <a:lnTo>
                    <a:pt x="1252" y="1070"/>
                  </a:lnTo>
                  <a:lnTo>
                    <a:pt x="1250" y="1070"/>
                  </a:lnTo>
                  <a:lnTo>
                    <a:pt x="1250" y="1072"/>
                  </a:lnTo>
                  <a:lnTo>
                    <a:pt x="1250" y="1072"/>
                  </a:lnTo>
                  <a:lnTo>
                    <a:pt x="1250" y="1074"/>
                  </a:lnTo>
                  <a:lnTo>
                    <a:pt x="1255" y="1081"/>
                  </a:lnTo>
                  <a:lnTo>
                    <a:pt x="1255" y="1081"/>
                  </a:lnTo>
                  <a:lnTo>
                    <a:pt x="1252" y="1086"/>
                  </a:lnTo>
                  <a:lnTo>
                    <a:pt x="1252" y="1086"/>
                  </a:lnTo>
                  <a:lnTo>
                    <a:pt x="1248" y="1093"/>
                  </a:lnTo>
                  <a:lnTo>
                    <a:pt x="1248" y="1096"/>
                  </a:lnTo>
                  <a:lnTo>
                    <a:pt x="1245" y="1098"/>
                  </a:lnTo>
                  <a:lnTo>
                    <a:pt x="1240" y="1100"/>
                  </a:lnTo>
                  <a:lnTo>
                    <a:pt x="1240" y="1103"/>
                  </a:lnTo>
                  <a:lnTo>
                    <a:pt x="1238" y="1105"/>
                  </a:lnTo>
                  <a:lnTo>
                    <a:pt x="1238" y="1107"/>
                  </a:lnTo>
                  <a:lnTo>
                    <a:pt x="1236" y="1110"/>
                  </a:lnTo>
                  <a:lnTo>
                    <a:pt x="1233" y="1107"/>
                  </a:lnTo>
                  <a:lnTo>
                    <a:pt x="1229" y="1107"/>
                  </a:lnTo>
                  <a:lnTo>
                    <a:pt x="1229" y="1107"/>
                  </a:lnTo>
                  <a:lnTo>
                    <a:pt x="1229" y="1110"/>
                  </a:lnTo>
                  <a:lnTo>
                    <a:pt x="1229" y="1110"/>
                  </a:lnTo>
                  <a:lnTo>
                    <a:pt x="1226" y="1110"/>
                  </a:lnTo>
                  <a:lnTo>
                    <a:pt x="1224" y="1110"/>
                  </a:lnTo>
                  <a:lnTo>
                    <a:pt x="1222" y="1115"/>
                  </a:lnTo>
                  <a:lnTo>
                    <a:pt x="1222" y="1117"/>
                  </a:lnTo>
                  <a:lnTo>
                    <a:pt x="1215" y="1117"/>
                  </a:lnTo>
                  <a:lnTo>
                    <a:pt x="1212" y="1117"/>
                  </a:lnTo>
                  <a:lnTo>
                    <a:pt x="1210" y="1117"/>
                  </a:lnTo>
                  <a:lnTo>
                    <a:pt x="1210" y="1117"/>
                  </a:lnTo>
                  <a:lnTo>
                    <a:pt x="1210" y="1117"/>
                  </a:lnTo>
                  <a:lnTo>
                    <a:pt x="1205" y="1117"/>
                  </a:lnTo>
                  <a:lnTo>
                    <a:pt x="1198" y="1117"/>
                  </a:lnTo>
                  <a:lnTo>
                    <a:pt x="1196" y="1117"/>
                  </a:lnTo>
                  <a:lnTo>
                    <a:pt x="1193" y="1117"/>
                  </a:lnTo>
                  <a:lnTo>
                    <a:pt x="1191" y="1117"/>
                  </a:lnTo>
                  <a:lnTo>
                    <a:pt x="1191" y="1119"/>
                  </a:lnTo>
                  <a:lnTo>
                    <a:pt x="1191" y="1124"/>
                  </a:lnTo>
                  <a:lnTo>
                    <a:pt x="1189" y="1124"/>
                  </a:lnTo>
                  <a:lnTo>
                    <a:pt x="1189" y="1124"/>
                  </a:lnTo>
                  <a:lnTo>
                    <a:pt x="1186" y="1126"/>
                  </a:lnTo>
                  <a:lnTo>
                    <a:pt x="1186" y="1131"/>
                  </a:lnTo>
                  <a:lnTo>
                    <a:pt x="1184" y="1131"/>
                  </a:lnTo>
                  <a:lnTo>
                    <a:pt x="1184" y="1133"/>
                  </a:lnTo>
                  <a:lnTo>
                    <a:pt x="1181" y="1136"/>
                  </a:lnTo>
                  <a:lnTo>
                    <a:pt x="1181" y="1136"/>
                  </a:lnTo>
                  <a:lnTo>
                    <a:pt x="1181" y="1138"/>
                  </a:lnTo>
                  <a:lnTo>
                    <a:pt x="1181" y="1141"/>
                  </a:lnTo>
                  <a:lnTo>
                    <a:pt x="1181" y="1141"/>
                  </a:lnTo>
                  <a:lnTo>
                    <a:pt x="1177" y="1143"/>
                  </a:lnTo>
                  <a:lnTo>
                    <a:pt x="1177" y="1143"/>
                  </a:lnTo>
                  <a:lnTo>
                    <a:pt x="1177" y="1143"/>
                  </a:lnTo>
                  <a:lnTo>
                    <a:pt x="1174" y="1143"/>
                  </a:lnTo>
                  <a:lnTo>
                    <a:pt x="1174" y="1145"/>
                  </a:lnTo>
                  <a:lnTo>
                    <a:pt x="1172" y="1143"/>
                  </a:lnTo>
                  <a:lnTo>
                    <a:pt x="1167" y="1145"/>
                  </a:lnTo>
                  <a:lnTo>
                    <a:pt x="1165" y="1148"/>
                  </a:lnTo>
                  <a:lnTo>
                    <a:pt x="1163" y="1148"/>
                  </a:lnTo>
                  <a:lnTo>
                    <a:pt x="1160" y="1150"/>
                  </a:lnTo>
                  <a:lnTo>
                    <a:pt x="1160" y="1150"/>
                  </a:lnTo>
                  <a:lnTo>
                    <a:pt x="1158" y="1150"/>
                  </a:lnTo>
                  <a:lnTo>
                    <a:pt x="1158" y="1150"/>
                  </a:lnTo>
                  <a:lnTo>
                    <a:pt x="1155" y="1150"/>
                  </a:lnTo>
                  <a:lnTo>
                    <a:pt x="1155" y="1152"/>
                  </a:lnTo>
                  <a:lnTo>
                    <a:pt x="1153" y="1152"/>
                  </a:lnTo>
                  <a:lnTo>
                    <a:pt x="1153" y="1155"/>
                  </a:lnTo>
                  <a:lnTo>
                    <a:pt x="1153" y="1157"/>
                  </a:lnTo>
                  <a:lnTo>
                    <a:pt x="1153" y="1162"/>
                  </a:lnTo>
                  <a:lnTo>
                    <a:pt x="1153" y="1162"/>
                  </a:lnTo>
                  <a:lnTo>
                    <a:pt x="1151" y="1162"/>
                  </a:lnTo>
                  <a:lnTo>
                    <a:pt x="1151" y="1162"/>
                  </a:lnTo>
                  <a:lnTo>
                    <a:pt x="1153" y="1164"/>
                  </a:lnTo>
                  <a:lnTo>
                    <a:pt x="1153" y="1166"/>
                  </a:lnTo>
                  <a:lnTo>
                    <a:pt x="1153" y="1166"/>
                  </a:lnTo>
                  <a:lnTo>
                    <a:pt x="1151" y="1166"/>
                  </a:lnTo>
                  <a:lnTo>
                    <a:pt x="1148" y="1164"/>
                  </a:lnTo>
                  <a:lnTo>
                    <a:pt x="1148" y="1164"/>
                  </a:lnTo>
                  <a:lnTo>
                    <a:pt x="1148" y="1166"/>
                  </a:lnTo>
                  <a:lnTo>
                    <a:pt x="1148" y="1166"/>
                  </a:lnTo>
                  <a:lnTo>
                    <a:pt x="1146" y="1166"/>
                  </a:lnTo>
                  <a:lnTo>
                    <a:pt x="1144" y="1169"/>
                  </a:lnTo>
                  <a:lnTo>
                    <a:pt x="1141" y="1169"/>
                  </a:lnTo>
                  <a:lnTo>
                    <a:pt x="1139" y="1169"/>
                  </a:lnTo>
                  <a:lnTo>
                    <a:pt x="1139" y="1169"/>
                  </a:lnTo>
                  <a:lnTo>
                    <a:pt x="1139" y="1169"/>
                  </a:lnTo>
                  <a:lnTo>
                    <a:pt x="1137" y="1169"/>
                  </a:lnTo>
                  <a:lnTo>
                    <a:pt x="1137" y="1171"/>
                  </a:lnTo>
                  <a:lnTo>
                    <a:pt x="1137" y="1171"/>
                  </a:lnTo>
                  <a:lnTo>
                    <a:pt x="1134" y="1174"/>
                  </a:lnTo>
                  <a:lnTo>
                    <a:pt x="1137" y="1174"/>
                  </a:lnTo>
                  <a:lnTo>
                    <a:pt x="1137" y="1174"/>
                  </a:lnTo>
                  <a:lnTo>
                    <a:pt x="1137" y="1176"/>
                  </a:lnTo>
                  <a:lnTo>
                    <a:pt x="1134" y="1178"/>
                  </a:lnTo>
                  <a:lnTo>
                    <a:pt x="1134" y="1178"/>
                  </a:lnTo>
                  <a:lnTo>
                    <a:pt x="1134" y="1181"/>
                  </a:lnTo>
                  <a:lnTo>
                    <a:pt x="1137" y="1181"/>
                  </a:lnTo>
                  <a:lnTo>
                    <a:pt x="1134" y="1183"/>
                  </a:lnTo>
                  <a:lnTo>
                    <a:pt x="1134" y="1183"/>
                  </a:lnTo>
                  <a:lnTo>
                    <a:pt x="1137" y="1185"/>
                  </a:lnTo>
                  <a:lnTo>
                    <a:pt x="1139" y="1185"/>
                  </a:lnTo>
                  <a:lnTo>
                    <a:pt x="1141" y="1185"/>
                  </a:lnTo>
                  <a:lnTo>
                    <a:pt x="1141" y="1185"/>
                  </a:lnTo>
                  <a:lnTo>
                    <a:pt x="1141" y="1188"/>
                  </a:lnTo>
                  <a:lnTo>
                    <a:pt x="1141" y="1188"/>
                  </a:lnTo>
                  <a:lnTo>
                    <a:pt x="1144" y="1190"/>
                  </a:lnTo>
                  <a:lnTo>
                    <a:pt x="1144" y="1190"/>
                  </a:lnTo>
                  <a:lnTo>
                    <a:pt x="1144" y="1192"/>
                  </a:lnTo>
                  <a:lnTo>
                    <a:pt x="1144" y="1190"/>
                  </a:lnTo>
                  <a:lnTo>
                    <a:pt x="1146" y="1192"/>
                  </a:lnTo>
                  <a:lnTo>
                    <a:pt x="1144" y="1192"/>
                  </a:lnTo>
                  <a:lnTo>
                    <a:pt x="1146" y="1192"/>
                  </a:lnTo>
                  <a:lnTo>
                    <a:pt x="1146" y="1195"/>
                  </a:lnTo>
                  <a:lnTo>
                    <a:pt x="1146" y="1195"/>
                  </a:lnTo>
                  <a:lnTo>
                    <a:pt x="1144" y="1197"/>
                  </a:lnTo>
                  <a:lnTo>
                    <a:pt x="1144" y="1197"/>
                  </a:lnTo>
                  <a:lnTo>
                    <a:pt x="1141" y="1197"/>
                  </a:lnTo>
                  <a:lnTo>
                    <a:pt x="1141" y="1200"/>
                  </a:lnTo>
                  <a:lnTo>
                    <a:pt x="1141" y="1200"/>
                  </a:lnTo>
                  <a:lnTo>
                    <a:pt x="1141" y="1200"/>
                  </a:lnTo>
                  <a:lnTo>
                    <a:pt x="1141" y="1202"/>
                  </a:lnTo>
                  <a:lnTo>
                    <a:pt x="1141" y="1202"/>
                  </a:lnTo>
                  <a:lnTo>
                    <a:pt x="1141" y="1204"/>
                  </a:lnTo>
                  <a:lnTo>
                    <a:pt x="1139" y="1202"/>
                  </a:lnTo>
                  <a:lnTo>
                    <a:pt x="1139" y="1204"/>
                  </a:lnTo>
                  <a:lnTo>
                    <a:pt x="1139" y="1202"/>
                  </a:lnTo>
                  <a:lnTo>
                    <a:pt x="1137" y="1202"/>
                  </a:lnTo>
                  <a:lnTo>
                    <a:pt x="1137" y="1204"/>
                  </a:lnTo>
                  <a:lnTo>
                    <a:pt x="1139" y="1207"/>
                  </a:lnTo>
                  <a:lnTo>
                    <a:pt x="1137" y="1207"/>
                  </a:lnTo>
                  <a:lnTo>
                    <a:pt x="1137" y="1207"/>
                  </a:lnTo>
                  <a:lnTo>
                    <a:pt x="1137" y="1209"/>
                  </a:lnTo>
                  <a:lnTo>
                    <a:pt x="1134" y="1209"/>
                  </a:lnTo>
                  <a:lnTo>
                    <a:pt x="1132" y="1207"/>
                  </a:lnTo>
                  <a:lnTo>
                    <a:pt x="1132" y="1207"/>
                  </a:lnTo>
                  <a:lnTo>
                    <a:pt x="1132" y="1209"/>
                  </a:lnTo>
                  <a:lnTo>
                    <a:pt x="1129" y="1209"/>
                  </a:lnTo>
                  <a:lnTo>
                    <a:pt x="1129" y="1209"/>
                  </a:lnTo>
                  <a:lnTo>
                    <a:pt x="1129" y="1209"/>
                  </a:lnTo>
                  <a:lnTo>
                    <a:pt x="1129" y="1209"/>
                  </a:lnTo>
                  <a:lnTo>
                    <a:pt x="1129" y="1211"/>
                  </a:lnTo>
                  <a:lnTo>
                    <a:pt x="1129" y="1211"/>
                  </a:lnTo>
                  <a:lnTo>
                    <a:pt x="1129" y="1211"/>
                  </a:lnTo>
                  <a:lnTo>
                    <a:pt x="1132" y="1216"/>
                  </a:lnTo>
                  <a:lnTo>
                    <a:pt x="1129" y="1216"/>
                  </a:lnTo>
                  <a:lnTo>
                    <a:pt x="1129" y="1214"/>
                  </a:lnTo>
                  <a:lnTo>
                    <a:pt x="1129" y="1214"/>
                  </a:lnTo>
                  <a:lnTo>
                    <a:pt x="1127" y="1214"/>
                  </a:lnTo>
                  <a:lnTo>
                    <a:pt x="1127" y="1216"/>
                  </a:lnTo>
                  <a:lnTo>
                    <a:pt x="1129" y="1218"/>
                  </a:lnTo>
                  <a:lnTo>
                    <a:pt x="1127" y="1216"/>
                  </a:lnTo>
                  <a:lnTo>
                    <a:pt x="1127" y="1218"/>
                  </a:lnTo>
                  <a:lnTo>
                    <a:pt x="1125" y="1218"/>
                  </a:lnTo>
                  <a:lnTo>
                    <a:pt x="1125" y="1218"/>
                  </a:lnTo>
                  <a:lnTo>
                    <a:pt x="1127" y="1218"/>
                  </a:lnTo>
                  <a:lnTo>
                    <a:pt x="1125" y="1221"/>
                  </a:lnTo>
                  <a:lnTo>
                    <a:pt x="1125" y="1223"/>
                  </a:lnTo>
                  <a:lnTo>
                    <a:pt x="1122" y="1223"/>
                  </a:lnTo>
                  <a:lnTo>
                    <a:pt x="1122" y="1226"/>
                  </a:lnTo>
                  <a:lnTo>
                    <a:pt x="1122" y="1226"/>
                  </a:lnTo>
                  <a:lnTo>
                    <a:pt x="1122" y="1228"/>
                  </a:lnTo>
                  <a:lnTo>
                    <a:pt x="1122" y="1228"/>
                  </a:lnTo>
                  <a:lnTo>
                    <a:pt x="1120" y="1228"/>
                  </a:lnTo>
                  <a:lnTo>
                    <a:pt x="1120" y="1228"/>
                  </a:lnTo>
                  <a:lnTo>
                    <a:pt x="1118" y="1230"/>
                  </a:lnTo>
                  <a:lnTo>
                    <a:pt x="1118" y="1230"/>
                  </a:lnTo>
                  <a:lnTo>
                    <a:pt x="1118" y="1233"/>
                  </a:lnTo>
                  <a:lnTo>
                    <a:pt x="1115" y="1233"/>
                  </a:lnTo>
                  <a:lnTo>
                    <a:pt x="1115" y="1233"/>
                  </a:lnTo>
                  <a:lnTo>
                    <a:pt x="1115" y="1233"/>
                  </a:lnTo>
                  <a:lnTo>
                    <a:pt x="1113" y="1233"/>
                  </a:lnTo>
                  <a:lnTo>
                    <a:pt x="1113" y="1233"/>
                  </a:lnTo>
                  <a:lnTo>
                    <a:pt x="1113" y="1233"/>
                  </a:lnTo>
                  <a:lnTo>
                    <a:pt x="1111" y="1233"/>
                  </a:lnTo>
                  <a:lnTo>
                    <a:pt x="1108" y="1235"/>
                  </a:lnTo>
                  <a:lnTo>
                    <a:pt x="1111" y="1235"/>
                  </a:lnTo>
                  <a:lnTo>
                    <a:pt x="1108" y="1235"/>
                  </a:lnTo>
                  <a:lnTo>
                    <a:pt x="1108" y="1235"/>
                  </a:lnTo>
                  <a:lnTo>
                    <a:pt x="1108" y="1237"/>
                  </a:lnTo>
                  <a:lnTo>
                    <a:pt x="1106" y="1237"/>
                  </a:lnTo>
                  <a:lnTo>
                    <a:pt x="1106" y="1237"/>
                  </a:lnTo>
                  <a:lnTo>
                    <a:pt x="1103" y="1237"/>
                  </a:lnTo>
                  <a:lnTo>
                    <a:pt x="1103" y="1237"/>
                  </a:lnTo>
                  <a:lnTo>
                    <a:pt x="1103" y="1237"/>
                  </a:lnTo>
                  <a:lnTo>
                    <a:pt x="1103" y="1237"/>
                  </a:lnTo>
                  <a:lnTo>
                    <a:pt x="1103" y="1237"/>
                  </a:lnTo>
                  <a:lnTo>
                    <a:pt x="1103" y="1240"/>
                  </a:lnTo>
                  <a:lnTo>
                    <a:pt x="1103" y="1242"/>
                  </a:lnTo>
                  <a:lnTo>
                    <a:pt x="1103" y="1242"/>
                  </a:lnTo>
                  <a:lnTo>
                    <a:pt x="1103" y="1242"/>
                  </a:lnTo>
                  <a:lnTo>
                    <a:pt x="1101" y="1242"/>
                  </a:lnTo>
                  <a:lnTo>
                    <a:pt x="1101" y="1242"/>
                  </a:lnTo>
                  <a:lnTo>
                    <a:pt x="1103" y="1244"/>
                  </a:lnTo>
                  <a:lnTo>
                    <a:pt x="1101" y="1244"/>
                  </a:lnTo>
                  <a:lnTo>
                    <a:pt x="1101" y="1242"/>
                  </a:lnTo>
                  <a:lnTo>
                    <a:pt x="1101" y="1242"/>
                  </a:lnTo>
                  <a:lnTo>
                    <a:pt x="1101" y="1244"/>
                  </a:lnTo>
                  <a:lnTo>
                    <a:pt x="1101" y="1244"/>
                  </a:lnTo>
                  <a:lnTo>
                    <a:pt x="1101" y="1244"/>
                  </a:lnTo>
                  <a:lnTo>
                    <a:pt x="1101" y="1244"/>
                  </a:lnTo>
                  <a:lnTo>
                    <a:pt x="1099" y="1244"/>
                  </a:lnTo>
                  <a:lnTo>
                    <a:pt x="1099" y="1244"/>
                  </a:lnTo>
                  <a:lnTo>
                    <a:pt x="1096" y="1244"/>
                  </a:lnTo>
                  <a:lnTo>
                    <a:pt x="1096" y="1244"/>
                  </a:lnTo>
                  <a:lnTo>
                    <a:pt x="1094" y="1244"/>
                  </a:lnTo>
                  <a:lnTo>
                    <a:pt x="1094" y="1244"/>
                  </a:lnTo>
                  <a:lnTo>
                    <a:pt x="1094" y="1244"/>
                  </a:lnTo>
                  <a:lnTo>
                    <a:pt x="1094" y="1244"/>
                  </a:lnTo>
                  <a:lnTo>
                    <a:pt x="1094" y="1247"/>
                  </a:lnTo>
                  <a:lnTo>
                    <a:pt x="1094" y="1247"/>
                  </a:lnTo>
                  <a:lnTo>
                    <a:pt x="1094" y="1247"/>
                  </a:lnTo>
                  <a:lnTo>
                    <a:pt x="1094" y="1249"/>
                  </a:lnTo>
                  <a:lnTo>
                    <a:pt x="1092" y="1249"/>
                  </a:lnTo>
                  <a:lnTo>
                    <a:pt x="1092" y="1249"/>
                  </a:lnTo>
                  <a:lnTo>
                    <a:pt x="1092" y="1252"/>
                  </a:lnTo>
                  <a:lnTo>
                    <a:pt x="1092" y="1252"/>
                  </a:lnTo>
                  <a:lnTo>
                    <a:pt x="1092" y="1252"/>
                  </a:lnTo>
                  <a:lnTo>
                    <a:pt x="1092" y="1254"/>
                  </a:lnTo>
                  <a:lnTo>
                    <a:pt x="1092" y="1254"/>
                  </a:lnTo>
                  <a:lnTo>
                    <a:pt x="1092" y="1254"/>
                  </a:lnTo>
                  <a:lnTo>
                    <a:pt x="1089" y="1256"/>
                  </a:lnTo>
                  <a:lnTo>
                    <a:pt x="1089" y="1256"/>
                  </a:lnTo>
                  <a:lnTo>
                    <a:pt x="1089" y="1259"/>
                  </a:lnTo>
                  <a:lnTo>
                    <a:pt x="1089" y="1256"/>
                  </a:lnTo>
                  <a:lnTo>
                    <a:pt x="1089" y="1256"/>
                  </a:lnTo>
                  <a:lnTo>
                    <a:pt x="1089" y="1261"/>
                  </a:lnTo>
                  <a:lnTo>
                    <a:pt x="1089" y="1261"/>
                  </a:lnTo>
                  <a:lnTo>
                    <a:pt x="1089" y="1263"/>
                  </a:lnTo>
                  <a:lnTo>
                    <a:pt x="1089" y="1263"/>
                  </a:lnTo>
                  <a:lnTo>
                    <a:pt x="1089" y="1263"/>
                  </a:lnTo>
                  <a:lnTo>
                    <a:pt x="1087" y="1263"/>
                  </a:lnTo>
                  <a:lnTo>
                    <a:pt x="1089" y="1266"/>
                  </a:lnTo>
                  <a:lnTo>
                    <a:pt x="1087" y="1266"/>
                  </a:lnTo>
                  <a:lnTo>
                    <a:pt x="1087" y="1266"/>
                  </a:lnTo>
                  <a:lnTo>
                    <a:pt x="1087" y="1266"/>
                  </a:lnTo>
                  <a:lnTo>
                    <a:pt x="1087" y="1268"/>
                  </a:lnTo>
                  <a:lnTo>
                    <a:pt x="1087" y="1268"/>
                  </a:lnTo>
                  <a:lnTo>
                    <a:pt x="1087" y="1268"/>
                  </a:lnTo>
                  <a:lnTo>
                    <a:pt x="1087" y="1268"/>
                  </a:lnTo>
                  <a:lnTo>
                    <a:pt x="1087" y="1270"/>
                  </a:lnTo>
                  <a:lnTo>
                    <a:pt x="1087" y="1270"/>
                  </a:lnTo>
                  <a:lnTo>
                    <a:pt x="1087" y="1270"/>
                  </a:lnTo>
                  <a:lnTo>
                    <a:pt x="1089" y="1270"/>
                  </a:lnTo>
                  <a:lnTo>
                    <a:pt x="1089" y="1270"/>
                  </a:lnTo>
                  <a:lnTo>
                    <a:pt x="1087" y="1273"/>
                  </a:lnTo>
                  <a:lnTo>
                    <a:pt x="1087" y="1273"/>
                  </a:lnTo>
                  <a:lnTo>
                    <a:pt x="1087" y="1273"/>
                  </a:lnTo>
                  <a:lnTo>
                    <a:pt x="1087" y="1273"/>
                  </a:lnTo>
                  <a:lnTo>
                    <a:pt x="1087" y="1273"/>
                  </a:lnTo>
                  <a:lnTo>
                    <a:pt x="1085" y="1273"/>
                  </a:lnTo>
                  <a:lnTo>
                    <a:pt x="1085" y="1273"/>
                  </a:lnTo>
                  <a:lnTo>
                    <a:pt x="1085" y="1273"/>
                  </a:lnTo>
                  <a:lnTo>
                    <a:pt x="1085" y="1273"/>
                  </a:lnTo>
                  <a:lnTo>
                    <a:pt x="1085" y="1275"/>
                  </a:lnTo>
                  <a:lnTo>
                    <a:pt x="1085" y="1275"/>
                  </a:lnTo>
                  <a:lnTo>
                    <a:pt x="1085" y="1275"/>
                  </a:lnTo>
                  <a:lnTo>
                    <a:pt x="1082" y="1275"/>
                  </a:lnTo>
                  <a:lnTo>
                    <a:pt x="1082" y="1275"/>
                  </a:lnTo>
                  <a:lnTo>
                    <a:pt x="1082" y="1275"/>
                  </a:lnTo>
                  <a:lnTo>
                    <a:pt x="1082" y="1275"/>
                  </a:lnTo>
                  <a:lnTo>
                    <a:pt x="1082" y="1275"/>
                  </a:lnTo>
                  <a:lnTo>
                    <a:pt x="1080" y="1278"/>
                  </a:lnTo>
                  <a:lnTo>
                    <a:pt x="1080" y="1278"/>
                  </a:lnTo>
                  <a:lnTo>
                    <a:pt x="1080" y="1280"/>
                  </a:lnTo>
                  <a:lnTo>
                    <a:pt x="1080" y="1282"/>
                  </a:lnTo>
                  <a:lnTo>
                    <a:pt x="1080" y="1282"/>
                  </a:lnTo>
                  <a:lnTo>
                    <a:pt x="1080" y="1282"/>
                  </a:lnTo>
                  <a:lnTo>
                    <a:pt x="1077" y="1282"/>
                  </a:lnTo>
                  <a:lnTo>
                    <a:pt x="1077" y="1285"/>
                  </a:lnTo>
                  <a:lnTo>
                    <a:pt x="1075" y="1285"/>
                  </a:lnTo>
                  <a:lnTo>
                    <a:pt x="1075" y="1285"/>
                  </a:lnTo>
                  <a:lnTo>
                    <a:pt x="1075" y="1287"/>
                  </a:lnTo>
                  <a:lnTo>
                    <a:pt x="1075" y="1289"/>
                  </a:lnTo>
                  <a:lnTo>
                    <a:pt x="1075" y="1289"/>
                  </a:lnTo>
                  <a:lnTo>
                    <a:pt x="1075" y="1292"/>
                  </a:lnTo>
                  <a:lnTo>
                    <a:pt x="1073" y="1292"/>
                  </a:lnTo>
                  <a:lnTo>
                    <a:pt x="1073" y="1294"/>
                  </a:lnTo>
                  <a:lnTo>
                    <a:pt x="1073" y="1294"/>
                  </a:lnTo>
                  <a:lnTo>
                    <a:pt x="1073" y="1296"/>
                  </a:lnTo>
                  <a:lnTo>
                    <a:pt x="1070" y="1296"/>
                  </a:lnTo>
                  <a:lnTo>
                    <a:pt x="1070" y="1299"/>
                  </a:lnTo>
                  <a:lnTo>
                    <a:pt x="1070" y="1299"/>
                  </a:lnTo>
                  <a:lnTo>
                    <a:pt x="1070" y="1301"/>
                  </a:lnTo>
                  <a:lnTo>
                    <a:pt x="1068" y="1301"/>
                  </a:lnTo>
                  <a:lnTo>
                    <a:pt x="1068" y="1301"/>
                  </a:lnTo>
                  <a:lnTo>
                    <a:pt x="1068" y="1303"/>
                  </a:lnTo>
                  <a:lnTo>
                    <a:pt x="1068" y="1301"/>
                  </a:lnTo>
                  <a:lnTo>
                    <a:pt x="1068" y="1303"/>
                  </a:lnTo>
                  <a:lnTo>
                    <a:pt x="1070" y="1303"/>
                  </a:lnTo>
                  <a:lnTo>
                    <a:pt x="1068" y="1303"/>
                  </a:lnTo>
                  <a:lnTo>
                    <a:pt x="1068" y="1306"/>
                  </a:lnTo>
                  <a:lnTo>
                    <a:pt x="1068" y="1306"/>
                  </a:lnTo>
                  <a:lnTo>
                    <a:pt x="1070" y="1306"/>
                  </a:lnTo>
                  <a:lnTo>
                    <a:pt x="1070" y="1306"/>
                  </a:lnTo>
                  <a:lnTo>
                    <a:pt x="1070" y="1308"/>
                  </a:lnTo>
                  <a:lnTo>
                    <a:pt x="1070" y="1308"/>
                  </a:lnTo>
                  <a:lnTo>
                    <a:pt x="1070" y="1308"/>
                  </a:lnTo>
                  <a:lnTo>
                    <a:pt x="1070" y="1308"/>
                  </a:lnTo>
                  <a:lnTo>
                    <a:pt x="1070" y="1308"/>
                  </a:lnTo>
                  <a:lnTo>
                    <a:pt x="1070" y="1311"/>
                  </a:lnTo>
                  <a:lnTo>
                    <a:pt x="1070" y="1311"/>
                  </a:lnTo>
                  <a:lnTo>
                    <a:pt x="1070" y="1311"/>
                  </a:lnTo>
                  <a:lnTo>
                    <a:pt x="1070" y="1311"/>
                  </a:lnTo>
                  <a:lnTo>
                    <a:pt x="1070" y="1311"/>
                  </a:lnTo>
                  <a:lnTo>
                    <a:pt x="1070" y="1313"/>
                  </a:lnTo>
                  <a:lnTo>
                    <a:pt x="1070" y="1313"/>
                  </a:lnTo>
                  <a:lnTo>
                    <a:pt x="1070" y="1313"/>
                  </a:lnTo>
                  <a:lnTo>
                    <a:pt x="1070" y="1313"/>
                  </a:lnTo>
                  <a:lnTo>
                    <a:pt x="1068" y="1315"/>
                  </a:lnTo>
                  <a:lnTo>
                    <a:pt x="1070" y="1315"/>
                  </a:lnTo>
                  <a:lnTo>
                    <a:pt x="1070" y="1315"/>
                  </a:lnTo>
                  <a:lnTo>
                    <a:pt x="1068" y="1315"/>
                  </a:lnTo>
                  <a:lnTo>
                    <a:pt x="1068" y="1315"/>
                  </a:lnTo>
                  <a:lnTo>
                    <a:pt x="1068" y="1315"/>
                  </a:lnTo>
                  <a:lnTo>
                    <a:pt x="1068" y="1318"/>
                  </a:lnTo>
                  <a:lnTo>
                    <a:pt x="1066" y="1318"/>
                  </a:lnTo>
                  <a:lnTo>
                    <a:pt x="1066" y="1318"/>
                  </a:lnTo>
                  <a:lnTo>
                    <a:pt x="1066" y="1320"/>
                  </a:lnTo>
                  <a:lnTo>
                    <a:pt x="1066" y="1320"/>
                  </a:lnTo>
                  <a:lnTo>
                    <a:pt x="1066" y="1320"/>
                  </a:lnTo>
                  <a:lnTo>
                    <a:pt x="1066" y="1322"/>
                  </a:lnTo>
                  <a:lnTo>
                    <a:pt x="1066" y="1322"/>
                  </a:lnTo>
                  <a:lnTo>
                    <a:pt x="1066" y="1325"/>
                  </a:lnTo>
                  <a:lnTo>
                    <a:pt x="1066" y="1322"/>
                  </a:lnTo>
                  <a:lnTo>
                    <a:pt x="1066" y="1325"/>
                  </a:lnTo>
                  <a:lnTo>
                    <a:pt x="1066" y="1325"/>
                  </a:lnTo>
                  <a:lnTo>
                    <a:pt x="1066" y="1327"/>
                  </a:lnTo>
                  <a:lnTo>
                    <a:pt x="1066" y="1327"/>
                  </a:lnTo>
                  <a:lnTo>
                    <a:pt x="1066" y="1329"/>
                  </a:lnTo>
                  <a:lnTo>
                    <a:pt x="1066" y="1329"/>
                  </a:lnTo>
                  <a:lnTo>
                    <a:pt x="1066" y="1329"/>
                  </a:lnTo>
                  <a:lnTo>
                    <a:pt x="1063" y="1332"/>
                  </a:lnTo>
                  <a:lnTo>
                    <a:pt x="1063" y="1332"/>
                  </a:lnTo>
                  <a:lnTo>
                    <a:pt x="1066" y="1332"/>
                  </a:lnTo>
                  <a:lnTo>
                    <a:pt x="1063" y="1332"/>
                  </a:lnTo>
                  <a:lnTo>
                    <a:pt x="1063" y="1334"/>
                  </a:lnTo>
                  <a:lnTo>
                    <a:pt x="1066" y="1334"/>
                  </a:lnTo>
                  <a:lnTo>
                    <a:pt x="1063" y="1337"/>
                  </a:lnTo>
                  <a:lnTo>
                    <a:pt x="1066" y="1337"/>
                  </a:lnTo>
                  <a:lnTo>
                    <a:pt x="1066" y="1337"/>
                  </a:lnTo>
                  <a:lnTo>
                    <a:pt x="1066" y="1339"/>
                  </a:lnTo>
                  <a:lnTo>
                    <a:pt x="1066" y="1339"/>
                  </a:lnTo>
                  <a:lnTo>
                    <a:pt x="1066" y="1339"/>
                  </a:lnTo>
                  <a:lnTo>
                    <a:pt x="1066" y="1341"/>
                  </a:lnTo>
                  <a:lnTo>
                    <a:pt x="1063" y="1341"/>
                  </a:lnTo>
                  <a:lnTo>
                    <a:pt x="1063" y="1344"/>
                  </a:lnTo>
                  <a:lnTo>
                    <a:pt x="1063" y="1344"/>
                  </a:lnTo>
                  <a:lnTo>
                    <a:pt x="1063" y="1344"/>
                  </a:lnTo>
                  <a:lnTo>
                    <a:pt x="1063" y="1344"/>
                  </a:lnTo>
                  <a:lnTo>
                    <a:pt x="1063" y="1346"/>
                  </a:lnTo>
                  <a:lnTo>
                    <a:pt x="1063" y="1348"/>
                  </a:lnTo>
                  <a:lnTo>
                    <a:pt x="1063" y="1348"/>
                  </a:lnTo>
                  <a:lnTo>
                    <a:pt x="1066" y="1348"/>
                  </a:lnTo>
                  <a:lnTo>
                    <a:pt x="1063" y="1351"/>
                  </a:lnTo>
                  <a:lnTo>
                    <a:pt x="1066" y="1351"/>
                  </a:lnTo>
                  <a:lnTo>
                    <a:pt x="1066" y="1353"/>
                  </a:lnTo>
                  <a:lnTo>
                    <a:pt x="1063" y="1353"/>
                  </a:lnTo>
                  <a:lnTo>
                    <a:pt x="1066" y="1353"/>
                  </a:lnTo>
                  <a:lnTo>
                    <a:pt x="1066" y="1353"/>
                  </a:lnTo>
                  <a:lnTo>
                    <a:pt x="1066" y="1355"/>
                  </a:lnTo>
                  <a:lnTo>
                    <a:pt x="1066" y="1355"/>
                  </a:lnTo>
                  <a:lnTo>
                    <a:pt x="1068" y="1358"/>
                  </a:lnTo>
                  <a:lnTo>
                    <a:pt x="1068" y="1355"/>
                  </a:lnTo>
                  <a:lnTo>
                    <a:pt x="1068" y="1358"/>
                  </a:lnTo>
                  <a:lnTo>
                    <a:pt x="1070" y="1358"/>
                  </a:lnTo>
                  <a:lnTo>
                    <a:pt x="1070" y="1358"/>
                  </a:lnTo>
                  <a:lnTo>
                    <a:pt x="1070" y="1360"/>
                  </a:lnTo>
                  <a:lnTo>
                    <a:pt x="1073" y="1360"/>
                  </a:lnTo>
                  <a:lnTo>
                    <a:pt x="1073" y="1360"/>
                  </a:lnTo>
                  <a:lnTo>
                    <a:pt x="1073" y="1363"/>
                  </a:lnTo>
                  <a:lnTo>
                    <a:pt x="1075" y="1363"/>
                  </a:lnTo>
                  <a:lnTo>
                    <a:pt x="1073" y="1363"/>
                  </a:lnTo>
                  <a:lnTo>
                    <a:pt x="1075" y="1365"/>
                  </a:lnTo>
                  <a:lnTo>
                    <a:pt x="1075" y="1365"/>
                  </a:lnTo>
                  <a:lnTo>
                    <a:pt x="1075" y="1367"/>
                  </a:lnTo>
                  <a:lnTo>
                    <a:pt x="1077" y="1370"/>
                  </a:lnTo>
                  <a:lnTo>
                    <a:pt x="1077" y="1370"/>
                  </a:lnTo>
                  <a:lnTo>
                    <a:pt x="1077" y="1372"/>
                  </a:lnTo>
                  <a:lnTo>
                    <a:pt x="1077" y="1377"/>
                  </a:lnTo>
                  <a:lnTo>
                    <a:pt x="1077" y="1377"/>
                  </a:lnTo>
                  <a:lnTo>
                    <a:pt x="1080" y="1379"/>
                  </a:lnTo>
                  <a:lnTo>
                    <a:pt x="1080" y="1379"/>
                  </a:lnTo>
                  <a:lnTo>
                    <a:pt x="1080" y="1379"/>
                  </a:lnTo>
                  <a:lnTo>
                    <a:pt x="1080" y="1381"/>
                  </a:lnTo>
                  <a:lnTo>
                    <a:pt x="1082" y="1384"/>
                  </a:lnTo>
                  <a:lnTo>
                    <a:pt x="1085" y="1389"/>
                  </a:lnTo>
                  <a:lnTo>
                    <a:pt x="1085" y="1389"/>
                  </a:lnTo>
                  <a:lnTo>
                    <a:pt x="1087" y="1391"/>
                  </a:lnTo>
                  <a:lnTo>
                    <a:pt x="1087" y="1398"/>
                  </a:lnTo>
                  <a:lnTo>
                    <a:pt x="1073" y="1398"/>
                  </a:lnTo>
                  <a:lnTo>
                    <a:pt x="1070" y="1398"/>
                  </a:lnTo>
                  <a:lnTo>
                    <a:pt x="1070" y="1396"/>
                  </a:lnTo>
                  <a:lnTo>
                    <a:pt x="1070" y="1396"/>
                  </a:lnTo>
                  <a:lnTo>
                    <a:pt x="1068" y="1396"/>
                  </a:lnTo>
                  <a:lnTo>
                    <a:pt x="1066" y="1393"/>
                  </a:lnTo>
                  <a:lnTo>
                    <a:pt x="1066" y="1393"/>
                  </a:lnTo>
                  <a:lnTo>
                    <a:pt x="1063" y="1393"/>
                  </a:lnTo>
                  <a:lnTo>
                    <a:pt x="1056" y="1393"/>
                  </a:lnTo>
                  <a:lnTo>
                    <a:pt x="1054" y="1393"/>
                  </a:lnTo>
                  <a:lnTo>
                    <a:pt x="1054" y="1393"/>
                  </a:lnTo>
                  <a:lnTo>
                    <a:pt x="1052" y="1393"/>
                  </a:lnTo>
                  <a:lnTo>
                    <a:pt x="1049" y="1393"/>
                  </a:lnTo>
                  <a:lnTo>
                    <a:pt x="1047" y="1393"/>
                  </a:lnTo>
                  <a:lnTo>
                    <a:pt x="1044" y="1393"/>
                  </a:lnTo>
                  <a:lnTo>
                    <a:pt x="1044" y="1393"/>
                  </a:lnTo>
                  <a:lnTo>
                    <a:pt x="1044" y="1391"/>
                  </a:lnTo>
                  <a:lnTo>
                    <a:pt x="1042" y="1393"/>
                  </a:lnTo>
                  <a:lnTo>
                    <a:pt x="1042" y="1391"/>
                  </a:lnTo>
                  <a:lnTo>
                    <a:pt x="1042" y="1391"/>
                  </a:lnTo>
                  <a:lnTo>
                    <a:pt x="1040" y="1391"/>
                  </a:lnTo>
                  <a:lnTo>
                    <a:pt x="1040" y="1391"/>
                  </a:lnTo>
                  <a:lnTo>
                    <a:pt x="1040" y="1391"/>
                  </a:lnTo>
                  <a:lnTo>
                    <a:pt x="1040" y="1391"/>
                  </a:lnTo>
                  <a:lnTo>
                    <a:pt x="1040" y="1391"/>
                  </a:lnTo>
                  <a:lnTo>
                    <a:pt x="1040" y="1393"/>
                  </a:lnTo>
                  <a:lnTo>
                    <a:pt x="1037" y="1391"/>
                  </a:lnTo>
                  <a:lnTo>
                    <a:pt x="1037" y="1393"/>
                  </a:lnTo>
                  <a:lnTo>
                    <a:pt x="1037" y="1393"/>
                  </a:lnTo>
                  <a:lnTo>
                    <a:pt x="1037" y="1396"/>
                  </a:lnTo>
                  <a:lnTo>
                    <a:pt x="1037" y="1396"/>
                  </a:lnTo>
                  <a:lnTo>
                    <a:pt x="1035" y="1398"/>
                  </a:lnTo>
                  <a:lnTo>
                    <a:pt x="1035" y="1398"/>
                  </a:lnTo>
                  <a:lnTo>
                    <a:pt x="1035" y="1398"/>
                  </a:lnTo>
                  <a:lnTo>
                    <a:pt x="1033" y="1398"/>
                  </a:lnTo>
                  <a:lnTo>
                    <a:pt x="1030" y="1398"/>
                  </a:lnTo>
                  <a:lnTo>
                    <a:pt x="1030" y="1398"/>
                  </a:lnTo>
                  <a:lnTo>
                    <a:pt x="1030" y="1396"/>
                  </a:lnTo>
                  <a:lnTo>
                    <a:pt x="1028" y="1396"/>
                  </a:lnTo>
                  <a:lnTo>
                    <a:pt x="1026" y="1396"/>
                  </a:lnTo>
                  <a:lnTo>
                    <a:pt x="1026" y="1396"/>
                  </a:lnTo>
                  <a:lnTo>
                    <a:pt x="1026" y="1393"/>
                  </a:lnTo>
                  <a:lnTo>
                    <a:pt x="1023" y="1393"/>
                  </a:lnTo>
                  <a:lnTo>
                    <a:pt x="1023" y="1393"/>
                  </a:lnTo>
                  <a:lnTo>
                    <a:pt x="1021" y="1393"/>
                  </a:lnTo>
                  <a:lnTo>
                    <a:pt x="1021" y="1393"/>
                  </a:lnTo>
                  <a:lnTo>
                    <a:pt x="1018" y="1393"/>
                  </a:lnTo>
                  <a:lnTo>
                    <a:pt x="1018" y="1391"/>
                  </a:lnTo>
                  <a:lnTo>
                    <a:pt x="1018" y="1391"/>
                  </a:lnTo>
                  <a:lnTo>
                    <a:pt x="1016" y="1391"/>
                  </a:lnTo>
                  <a:lnTo>
                    <a:pt x="1016" y="1391"/>
                  </a:lnTo>
                  <a:lnTo>
                    <a:pt x="1016" y="1391"/>
                  </a:lnTo>
                  <a:lnTo>
                    <a:pt x="1011" y="1391"/>
                  </a:lnTo>
                  <a:lnTo>
                    <a:pt x="1011" y="1391"/>
                  </a:lnTo>
                  <a:lnTo>
                    <a:pt x="1009" y="1391"/>
                  </a:lnTo>
                  <a:lnTo>
                    <a:pt x="1009" y="1393"/>
                  </a:lnTo>
                  <a:lnTo>
                    <a:pt x="1009" y="1393"/>
                  </a:lnTo>
                  <a:lnTo>
                    <a:pt x="1007" y="1396"/>
                  </a:lnTo>
                  <a:lnTo>
                    <a:pt x="1007" y="1393"/>
                  </a:lnTo>
                  <a:lnTo>
                    <a:pt x="1004" y="1393"/>
                  </a:lnTo>
                  <a:lnTo>
                    <a:pt x="1004" y="1393"/>
                  </a:lnTo>
                  <a:lnTo>
                    <a:pt x="1004" y="1393"/>
                  </a:lnTo>
                  <a:lnTo>
                    <a:pt x="1002" y="1393"/>
                  </a:lnTo>
                  <a:lnTo>
                    <a:pt x="1002" y="1393"/>
                  </a:lnTo>
                  <a:lnTo>
                    <a:pt x="1002" y="1393"/>
                  </a:lnTo>
                  <a:lnTo>
                    <a:pt x="997" y="1393"/>
                  </a:lnTo>
                  <a:lnTo>
                    <a:pt x="997" y="1393"/>
                  </a:lnTo>
                  <a:lnTo>
                    <a:pt x="995" y="1391"/>
                  </a:lnTo>
                  <a:lnTo>
                    <a:pt x="995" y="1391"/>
                  </a:lnTo>
                  <a:lnTo>
                    <a:pt x="995" y="1391"/>
                  </a:lnTo>
                  <a:lnTo>
                    <a:pt x="995" y="1391"/>
                  </a:lnTo>
                  <a:lnTo>
                    <a:pt x="995" y="1391"/>
                  </a:lnTo>
                  <a:lnTo>
                    <a:pt x="992" y="1391"/>
                  </a:lnTo>
                  <a:lnTo>
                    <a:pt x="992" y="1389"/>
                  </a:lnTo>
                  <a:lnTo>
                    <a:pt x="992" y="1389"/>
                  </a:lnTo>
                  <a:lnTo>
                    <a:pt x="992" y="1389"/>
                  </a:lnTo>
                  <a:lnTo>
                    <a:pt x="992" y="1389"/>
                  </a:lnTo>
                  <a:lnTo>
                    <a:pt x="992" y="1389"/>
                  </a:lnTo>
                  <a:lnTo>
                    <a:pt x="990" y="1389"/>
                  </a:lnTo>
                  <a:lnTo>
                    <a:pt x="990" y="1389"/>
                  </a:lnTo>
                  <a:lnTo>
                    <a:pt x="990" y="1386"/>
                  </a:lnTo>
                  <a:lnTo>
                    <a:pt x="990" y="1386"/>
                  </a:lnTo>
                  <a:lnTo>
                    <a:pt x="990" y="1386"/>
                  </a:lnTo>
                  <a:lnTo>
                    <a:pt x="990" y="1384"/>
                  </a:lnTo>
                  <a:lnTo>
                    <a:pt x="988" y="1384"/>
                  </a:lnTo>
                  <a:lnTo>
                    <a:pt x="988" y="1384"/>
                  </a:lnTo>
                  <a:lnTo>
                    <a:pt x="988" y="1384"/>
                  </a:lnTo>
                  <a:lnTo>
                    <a:pt x="988" y="1384"/>
                  </a:lnTo>
                  <a:lnTo>
                    <a:pt x="988" y="1384"/>
                  </a:lnTo>
                  <a:lnTo>
                    <a:pt x="985" y="1384"/>
                  </a:lnTo>
                  <a:lnTo>
                    <a:pt x="985" y="1381"/>
                  </a:lnTo>
                  <a:lnTo>
                    <a:pt x="983" y="1381"/>
                  </a:lnTo>
                  <a:lnTo>
                    <a:pt x="985" y="1384"/>
                  </a:lnTo>
                  <a:lnTo>
                    <a:pt x="983" y="1384"/>
                  </a:lnTo>
                  <a:lnTo>
                    <a:pt x="983" y="1381"/>
                  </a:lnTo>
                  <a:lnTo>
                    <a:pt x="981" y="1381"/>
                  </a:lnTo>
                  <a:lnTo>
                    <a:pt x="981" y="1381"/>
                  </a:lnTo>
                  <a:lnTo>
                    <a:pt x="981" y="1381"/>
                  </a:lnTo>
                  <a:lnTo>
                    <a:pt x="981" y="1381"/>
                  </a:lnTo>
                  <a:lnTo>
                    <a:pt x="978" y="1381"/>
                  </a:lnTo>
                  <a:lnTo>
                    <a:pt x="978" y="1381"/>
                  </a:lnTo>
                  <a:lnTo>
                    <a:pt x="976" y="1381"/>
                  </a:lnTo>
                  <a:lnTo>
                    <a:pt x="976" y="1381"/>
                  </a:lnTo>
                  <a:lnTo>
                    <a:pt x="976" y="1384"/>
                  </a:lnTo>
                  <a:lnTo>
                    <a:pt x="974" y="1381"/>
                  </a:lnTo>
                  <a:lnTo>
                    <a:pt x="976" y="1381"/>
                  </a:lnTo>
                  <a:lnTo>
                    <a:pt x="974" y="1381"/>
                  </a:lnTo>
                  <a:lnTo>
                    <a:pt x="976" y="1379"/>
                  </a:lnTo>
                  <a:lnTo>
                    <a:pt x="974" y="1379"/>
                  </a:lnTo>
                  <a:lnTo>
                    <a:pt x="974" y="1377"/>
                  </a:lnTo>
                  <a:lnTo>
                    <a:pt x="974" y="1377"/>
                  </a:lnTo>
                  <a:lnTo>
                    <a:pt x="976" y="1374"/>
                  </a:lnTo>
                  <a:lnTo>
                    <a:pt x="976" y="1374"/>
                  </a:lnTo>
                  <a:lnTo>
                    <a:pt x="976" y="1372"/>
                  </a:lnTo>
                  <a:lnTo>
                    <a:pt x="981" y="1367"/>
                  </a:lnTo>
                  <a:lnTo>
                    <a:pt x="981" y="1365"/>
                  </a:lnTo>
                  <a:lnTo>
                    <a:pt x="981" y="1365"/>
                  </a:lnTo>
                  <a:lnTo>
                    <a:pt x="981" y="1363"/>
                  </a:lnTo>
                  <a:lnTo>
                    <a:pt x="983" y="1360"/>
                  </a:lnTo>
                  <a:lnTo>
                    <a:pt x="983" y="1358"/>
                  </a:lnTo>
                  <a:lnTo>
                    <a:pt x="983" y="1358"/>
                  </a:lnTo>
                  <a:lnTo>
                    <a:pt x="985" y="1358"/>
                  </a:lnTo>
                  <a:lnTo>
                    <a:pt x="988" y="1355"/>
                  </a:lnTo>
                  <a:lnTo>
                    <a:pt x="988" y="1353"/>
                  </a:lnTo>
                  <a:lnTo>
                    <a:pt x="988" y="1353"/>
                  </a:lnTo>
                  <a:lnTo>
                    <a:pt x="992" y="1351"/>
                  </a:lnTo>
                  <a:lnTo>
                    <a:pt x="992" y="1351"/>
                  </a:lnTo>
                  <a:lnTo>
                    <a:pt x="995" y="1351"/>
                  </a:lnTo>
                  <a:lnTo>
                    <a:pt x="997" y="1351"/>
                  </a:lnTo>
                  <a:lnTo>
                    <a:pt x="997" y="1351"/>
                  </a:lnTo>
                  <a:lnTo>
                    <a:pt x="1000" y="1351"/>
                  </a:lnTo>
                  <a:lnTo>
                    <a:pt x="1000" y="1351"/>
                  </a:lnTo>
                  <a:lnTo>
                    <a:pt x="1002" y="1348"/>
                  </a:lnTo>
                  <a:lnTo>
                    <a:pt x="1004" y="1348"/>
                  </a:lnTo>
                  <a:lnTo>
                    <a:pt x="1007" y="1348"/>
                  </a:lnTo>
                  <a:lnTo>
                    <a:pt x="1007" y="1348"/>
                  </a:lnTo>
                  <a:lnTo>
                    <a:pt x="1009" y="1296"/>
                  </a:lnTo>
                  <a:lnTo>
                    <a:pt x="1007" y="1294"/>
                  </a:lnTo>
                  <a:lnTo>
                    <a:pt x="1007" y="1292"/>
                  </a:lnTo>
                  <a:lnTo>
                    <a:pt x="1007" y="1292"/>
                  </a:lnTo>
                  <a:lnTo>
                    <a:pt x="1002" y="1292"/>
                  </a:lnTo>
                  <a:lnTo>
                    <a:pt x="1000" y="1294"/>
                  </a:lnTo>
                  <a:lnTo>
                    <a:pt x="1000" y="1294"/>
                  </a:lnTo>
                  <a:lnTo>
                    <a:pt x="1000" y="1294"/>
                  </a:lnTo>
                  <a:lnTo>
                    <a:pt x="1000" y="1296"/>
                  </a:lnTo>
                  <a:lnTo>
                    <a:pt x="997" y="1296"/>
                  </a:lnTo>
                  <a:lnTo>
                    <a:pt x="997" y="1299"/>
                  </a:lnTo>
                  <a:lnTo>
                    <a:pt x="992" y="1299"/>
                  </a:lnTo>
                  <a:lnTo>
                    <a:pt x="992" y="1301"/>
                  </a:lnTo>
                  <a:lnTo>
                    <a:pt x="990" y="1303"/>
                  </a:lnTo>
                  <a:lnTo>
                    <a:pt x="990" y="1303"/>
                  </a:lnTo>
                  <a:lnTo>
                    <a:pt x="990" y="1306"/>
                  </a:lnTo>
                  <a:lnTo>
                    <a:pt x="990" y="1308"/>
                  </a:lnTo>
                  <a:lnTo>
                    <a:pt x="985" y="1311"/>
                  </a:lnTo>
                  <a:lnTo>
                    <a:pt x="983" y="1311"/>
                  </a:lnTo>
                  <a:lnTo>
                    <a:pt x="983" y="1313"/>
                  </a:lnTo>
                  <a:lnTo>
                    <a:pt x="981" y="1318"/>
                  </a:lnTo>
                  <a:lnTo>
                    <a:pt x="978" y="1318"/>
                  </a:lnTo>
                  <a:lnTo>
                    <a:pt x="978" y="1318"/>
                  </a:lnTo>
                  <a:lnTo>
                    <a:pt x="978" y="1320"/>
                  </a:lnTo>
                  <a:lnTo>
                    <a:pt x="976" y="1320"/>
                  </a:lnTo>
                  <a:lnTo>
                    <a:pt x="974" y="1322"/>
                  </a:lnTo>
                  <a:lnTo>
                    <a:pt x="971" y="1322"/>
                  </a:lnTo>
                  <a:lnTo>
                    <a:pt x="971" y="1325"/>
                  </a:lnTo>
                  <a:lnTo>
                    <a:pt x="971" y="1325"/>
                  </a:lnTo>
                  <a:lnTo>
                    <a:pt x="971" y="1325"/>
                  </a:lnTo>
                  <a:lnTo>
                    <a:pt x="969" y="1325"/>
                  </a:lnTo>
                  <a:lnTo>
                    <a:pt x="969" y="1325"/>
                  </a:lnTo>
                  <a:lnTo>
                    <a:pt x="964" y="1325"/>
                  </a:lnTo>
                  <a:lnTo>
                    <a:pt x="964" y="1327"/>
                  </a:lnTo>
                  <a:lnTo>
                    <a:pt x="964" y="1327"/>
                  </a:lnTo>
                  <a:lnTo>
                    <a:pt x="962" y="1327"/>
                  </a:lnTo>
                  <a:lnTo>
                    <a:pt x="962" y="1329"/>
                  </a:lnTo>
                  <a:lnTo>
                    <a:pt x="962" y="1327"/>
                  </a:lnTo>
                  <a:lnTo>
                    <a:pt x="962" y="1329"/>
                  </a:lnTo>
                  <a:lnTo>
                    <a:pt x="962" y="1329"/>
                  </a:lnTo>
                  <a:lnTo>
                    <a:pt x="962" y="1332"/>
                  </a:lnTo>
                  <a:lnTo>
                    <a:pt x="962" y="1332"/>
                  </a:lnTo>
                  <a:lnTo>
                    <a:pt x="962" y="1332"/>
                  </a:lnTo>
                  <a:lnTo>
                    <a:pt x="962" y="1334"/>
                  </a:lnTo>
                  <a:lnTo>
                    <a:pt x="962" y="1337"/>
                  </a:lnTo>
                  <a:lnTo>
                    <a:pt x="962" y="1337"/>
                  </a:lnTo>
                  <a:lnTo>
                    <a:pt x="959" y="1339"/>
                  </a:lnTo>
                  <a:lnTo>
                    <a:pt x="959" y="1339"/>
                  </a:lnTo>
                  <a:lnTo>
                    <a:pt x="957" y="1341"/>
                  </a:lnTo>
                  <a:lnTo>
                    <a:pt x="959" y="1344"/>
                  </a:lnTo>
                  <a:lnTo>
                    <a:pt x="957" y="1344"/>
                  </a:lnTo>
                  <a:lnTo>
                    <a:pt x="957" y="1344"/>
                  </a:lnTo>
                  <a:lnTo>
                    <a:pt x="955" y="1344"/>
                  </a:lnTo>
                  <a:lnTo>
                    <a:pt x="955" y="1344"/>
                  </a:lnTo>
                  <a:lnTo>
                    <a:pt x="955" y="1344"/>
                  </a:lnTo>
                  <a:lnTo>
                    <a:pt x="955" y="1344"/>
                  </a:lnTo>
                  <a:lnTo>
                    <a:pt x="952" y="1344"/>
                  </a:lnTo>
                  <a:lnTo>
                    <a:pt x="952" y="1344"/>
                  </a:lnTo>
                  <a:lnTo>
                    <a:pt x="950" y="1341"/>
                  </a:lnTo>
                  <a:lnTo>
                    <a:pt x="950" y="1344"/>
                  </a:lnTo>
                  <a:lnTo>
                    <a:pt x="948" y="1341"/>
                  </a:lnTo>
                  <a:lnTo>
                    <a:pt x="948" y="1341"/>
                  </a:lnTo>
                  <a:lnTo>
                    <a:pt x="945" y="1341"/>
                  </a:lnTo>
                  <a:lnTo>
                    <a:pt x="945" y="1341"/>
                  </a:lnTo>
                  <a:lnTo>
                    <a:pt x="943" y="1344"/>
                  </a:lnTo>
                  <a:lnTo>
                    <a:pt x="943" y="1344"/>
                  </a:lnTo>
                  <a:lnTo>
                    <a:pt x="943" y="1344"/>
                  </a:lnTo>
                  <a:lnTo>
                    <a:pt x="940" y="1344"/>
                  </a:lnTo>
                  <a:lnTo>
                    <a:pt x="938" y="1344"/>
                  </a:lnTo>
                  <a:lnTo>
                    <a:pt x="938" y="1344"/>
                  </a:lnTo>
                  <a:lnTo>
                    <a:pt x="936" y="1346"/>
                  </a:lnTo>
                  <a:lnTo>
                    <a:pt x="936" y="1346"/>
                  </a:lnTo>
                  <a:lnTo>
                    <a:pt x="933" y="1348"/>
                  </a:lnTo>
                  <a:lnTo>
                    <a:pt x="933" y="1348"/>
                  </a:lnTo>
                  <a:lnTo>
                    <a:pt x="931" y="1348"/>
                  </a:lnTo>
                  <a:lnTo>
                    <a:pt x="931" y="1348"/>
                  </a:lnTo>
                  <a:lnTo>
                    <a:pt x="929" y="1348"/>
                  </a:lnTo>
                  <a:lnTo>
                    <a:pt x="929" y="1348"/>
                  </a:lnTo>
                  <a:lnTo>
                    <a:pt x="926" y="1348"/>
                  </a:lnTo>
                  <a:lnTo>
                    <a:pt x="926" y="1348"/>
                  </a:lnTo>
                  <a:lnTo>
                    <a:pt x="924" y="1348"/>
                  </a:lnTo>
                  <a:lnTo>
                    <a:pt x="924" y="1348"/>
                  </a:lnTo>
                  <a:lnTo>
                    <a:pt x="924" y="1346"/>
                  </a:lnTo>
                  <a:lnTo>
                    <a:pt x="924" y="1348"/>
                  </a:lnTo>
                  <a:lnTo>
                    <a:pt x="922" y="1346"/>
                  </a:lnTo>
                  <a:lnTo>
                    <a:pt x="919" y="1346"/>
                  </a:lnTo>
                  <a:lnTo>
                    <a:pt x="919" y="1344"/>
                  </a:lnTo>
                  <a:lnTo>
                    <a:pt x="922" y="1341"/>
                  </a:lnTo>
                  <a:lnTo>
                    <a:pt x="919" y="1341"/>
                  </a:lnTo>
                  <a:lnTo>
                    <a:pt x="919" y="1341"/>
                  </a:lnTo>
                  <a:lnTo>
                    <a:pt x="919" y="1341"/>
                  </a:lnTo>
                  <a:lnTo>
                    <a:pt x="919" y="1339"/>
                  </a:lnTo>
                  <a:lnTo>
                    <a:pt x="919" y="1339"/>
                  </a:lnTo>
                  <a:lnTo>
                    <a:pt x="919" y="1337"/>
                  </a:lnTo>
                  <a:lnTo>
                    <a:pt x="919" y="1339"/>
                  </a:lnTo>
                  <a:lnTo>
                    <a:pt x="919" y="1337"/>
                  </a:lnTo>
                  <a:lnTo>
                    <a:pt x="919" y="1337"/>
                  </a:lnTo>
                  <a:lnTo>
                    <a:pt x="917" y="1337"/>
                  </a:lnTo>
                  <a:lnTo>
                    <a:pt x="917" y="1334"/>
                  </a:lnTo>
                  <a:lnTo>
                    <a:pt x="917" y="1334"/>
                  </a:lnTo>
                  <a:lnTo>
                    <a:pt x="917" y="1334"/>
                  </a:lnTo>
                  <a:lnTo>
                    <a:pt x="914" y="1332"/>
                  </a:lnTo>
                  <a:lnTo>
                    <a:pt x="914" y="1334"/>
                  </a:lnTo>
                  <a:lnTo>
                    <a:pt x="914" y="1332"/>
                  </a:lnTo>
                  <a:lnTo>
                    <a:pt x="910" y="1332"/>
                  </a:lnTo>
                  <a:lnTo>
                    <a:pt x="907" y="1329"/>
                  </a:lnTo>
                  <a:lnTo>
                    <a:pt x="907" y="1329"/>
                  </a:lnTo>
                  <a:lnTo>
                    <a:pt x="907" y="1329"/>
                  </a:lnTo>
                  <a:lnTo>
                    <a:pt x="907" y="1327"/>
                  </a:lnTo>
                  <a:lnTo>
                    <a:pt x="907" y="1327"/>
                  </a:lnTo>
                  <a:lnTo>
                    <a:pt x="907" y="1327"/>
                  </a:lnTo>
                  <a:lnTo>
                    <a:pt x="907" y="1327"/>
                  </a:lnTo>
                  <a:lnTo>
                    <a:pt x="905" y="1325"/>
                  </a:lnTo>
                  <a:lnTo>
                    <a:pt x="903" y="1325"/>
                  </a:lnTo>
                  <a:lnTo>
                    <a:pt x="900" y="1325"/>
                  </a:lnTo>
                  <a:lnTo>
                    <a:pt x="900" y="1325"/>
                  </a:lnTo>
                  <a:lnTo>
                    <a:pt x="898" y="1327"/>
                  </a:lnTo>
                  <a:lnTo>
                    <a:pt x="898" y="1325"/>
                  </a:lnTo>
                  <a:lnTo>
                    <a:pt x="896" y="1325"/>
                  </a:lnTo>
                  <a:lnTo>
                    <a:pt x="896" y="1325"/>
                  </a:lnTo>
                  <a:lnTo>
                    <a:pt x="896" y="1325"/>
                  </a:lnTo>
                  <a:lnTo>
                    <a:pt x="893" y="1325"/>
                  </a:lnTo>
                  <a:lnTo>
                    <a:pt x="891" y="1327"/>
                  </a:lnTo>
                  <a:lnTo>
                    <a:pt x="889" y="1327"/>
                  </a:lnTo>
                  <a:lnTo>
                    <a:pt x="886" y="1327"/>
                  </a:lnTo>
                  <a:lnTo>
                    <a:pt x="886" y="1327"/>
                  </a:lnTo>
                  <a:lnTo>
                    <a:pt x="884" y="1327"/>
                  </a:lnTo>
                  <a:lnTo>
                    <a:pt x="881" y="1327"/>
                  </a:lnTo>
                  <a:lnTo>
                    <a:pt x="881" y="1329"/>
                  </a:lnTo>
                  <a:lnTo>
                    <a:pt x="881" y="1327"/>
                  </a:lnTo>
                  <a:lnTo>
                    <a:pt x="879" y="1327"/>
                  </a:lnTo>
                  <a:lnTo>
                    <a:pt x="879" y="1329"/>
                  </a:lnTo>
                  <a:lnTo>
                    <a:pt x="879" y="1329"/>
                  </a:lnTo>
                  <a:lnTo>
                    <a:pt x="877" y="1329"/>
                  </a:lnTo>
                  <a:lnTo>
                    <a:pt x="877" y="1329"/>
                  </a:lnTo>
                  <a:lnTo>
                    <a:pt x="874" y="1329"/>
                  </a:lnTo>
                  <a:lnTo>
                    <a:pt x="872" y="1332"/>
                  </a:lnTo>
                  <a:lnTo>
                    <a:pt x="872" y="1334"/>
                  </a:lnTo>
                  <a:lnTo>
                    <a:pt x="872" y="1334"/>
                  </a:lnTo>
                  <a:lnTo>
                    <a:pt x="872" y="1334"/>
                  </a:lnTo>
                  <a:lnTo>
                    <a:pt x="872" y="1337"/>
                  </a:lnTo>
                  <a:lnTo>
                    <a:pt x="872" y="1337"/>
                  </a:lnTo>
                  <a:lnTo>
                    <a:pt x="872" y="1337"/>
                  </a:lnTo>
                  <a:lnTo>
                    <a:pt x="870" y="1337"/>
                  </a:lnTo>
                  <a:lnTo>
                    <a:pt x="867" y="1339"/>
                  </a:lnTo>
                  <a:lnTo>
                    <a:pt x="867" y="1339"/>
                  </a:lnTo>
                  <a:lnTo>
                    <a:pt x="865" y="1339"/>
                  </a:lnTo>
                  <a:lnTo>
                    <a:pt x="865" y="1339"/>
                  </a:lnTo>
                  <a:lnTo>
                    <a:pt x="865" y="1341"/>
                  </a:lnTo>
                  <a:lnTo>
                    <a:pt x="865" y="1341"/>
                  </a:lnTo>
                  <a:lnTo>
                    <a:pt x="863" y="1344"/>
                  </a:lnTo>
                  <a:lnTo>
                    <a:pt x="860" y="1344"/>
                  </a:lnTo>
                  <a:lnTo>
                    <a:pt x="860" y="1344"/>
                  </a:lnTo>
                  <a:lnTo>
                    <a:pt x="855" y="1344"/>
                  </a:lnTo>
                  <a:lnTo>
                    <a:pt x="855" y="1344"/>
                  </a:lnTo>
                  <a:lnTo>
                    <a:pt x="853" y="1341"/>
                  </a:lnTo>
                  <a:lnTo>
                    <a:pt x="853" y="1341"/>
                  </a:lnTo>
                  <a:lnTo>
                    <a:pt x="848" y="1341"/>
                  </a:lnTo>
                  <a:lnTo>
                    <a:pt x="848" y="1344"/>
                  </a:lnTo>
                  <a:lnTo>
                    <a:pt x="846" y="1344"/>
                  </a:lnTo>
                  <a:lnTo>
                    <a:pt x="846" y="1344"/>
                  </a:lnTo>
                  <a:lnTo>
                    <a:pt x="846" y="1344"/>
                  </a:lnTo>
                  <a:lnTo>
                    <a:pt x="844" y="1344"/>
                  </a:lnTo>
                  <a:lnTo>
                    <a:pt x="844" y="1344"/>
                  </a:lnTo>
                  <a:lnTo>
                    <a:pt x="844" y="1346"/>
                  </a:lnTo>
                  <a:lnTo>
                    <a:pt x="844" y="1346"/>
                  </a:lnTo>
                  <a:lnTo>
                    <a:pt x="841" y="1346"/>
                  </a:lnTo>
                  <a:lnTo>
                    <a:pt x="841" y="1344"/>
                  </a:lnTo>
                  <a:lnTo>
                    <a:pt x="841" y="1346"/>
                  </a:lnTo>
                  <a:lnTo>
                    <a:pt x="839" y="1344"/>
                  </a:lnTo>
                  <a:lnTo>
                    <a:pt x="839" y="1346"/>
                  </a:lnTo>
                  <a:lnTo>
                    <a:pt x="839" y="1346"/>
                  </a:lnTo>
                  <a:lnTo>
                    <a:pt x="839" y="1346"/>
                  </a:lnTo>
                  <a:lnTo>
                    <a:pt x="839" y="1346"/>
                  </a:lnTo>
                  <a:lnTo>
                    <a:pt x="837" y="1346"/>
                  </a:lnTo>
                  <a:lnTo>
                    <a:pt x="837" y="1346"/>
                  </a:lnTo>
                  <a:lnTo>
                    <a:pt x="837" y="1346"/>
                  </a:lnTo>
                  <a:lnTo>
                    <a:pt x="837" y="1346"/>
                  </a:lnTo>
                  <a:lnTo>
                    <a:pt x="834" y="1346"/>
                  </a:lnTo>
                  <a:lnTo>
                    <a:pt x="834" y="1346"/>
                  </a:lnTo>
                  <a:lnTo>
                    <a:pt x="834" y="1346"/>
                  </a:lnTo>
                  <a:lnTo>
                    <a:pt x="832" y="1346"/>
                  </a:lnTo>
                  <a:lnTo>
                    <a:pt x="832" y="1344"/>
                  </a:lnTo>
                  <a:lnTo>
                    <a:pt x="832" y="1346"/>
                  </a:lnTo>
                  <a:lnTo>
                    <a:pt x="832" y="1344"/>
                  </a:lnTo>
                  <a:lnTo>
                    <a:pt x="829" y="1346"/>
                  </a:lnTo>
                  <a:lnTo>
                    <a:pt x="829" y="1344"/>
                  </a:lnTo>
                  <a:lnTo>
                    <a:pt x="829" y="1346"/>
                  </a:lnTo>
                  <a:lnTo>
                    <a:pt x="827" y="1344"/>
                  </a:lnTo>
                  <a:lnTo>
                    <a:pt x="827" y="1346"/>
                  </a:lnTo>
                  <a:lnTo>
                    <a:pt x="825" y="1348"/>
                  </a:lnTo>
                  <a:lnTo>
                    <a:pt x="825" y="1346"/>
                  </a:lnTo>
                  <a:lnTo>
                    <a:pt x="825" y="1346"/>
                  </a:lnTo>
                  <a:lnTo>
                    <a:pt x="822" y="1346"/>
                  </a:lnTo>
                  <a:lnTo>
                    <a:pt x="822" y="1346"/>
                  </a:lnTo>
                  <a:lnTo>
                    <a:pt x="820" y="1346"/>
                  </a:lnTo>
                  <a:lnTo>
                    <a:pt x="820" y="1346"/>
                  </a:lnTo>
                  <a:lnTo>
                    <a:pt x="820" y="1346"/>
                  </a:lnTo>
                  <a:lnTo>
                    <a:pt x="820" y="1346"/>
                  </a:lnTo>
                  <a:lnTo>
                    <a:pt x="820" y="1346"/>
                  </a:lnTo>
                  <a:lnTo>
                    <a:pt x="820" y="1344"/>
                  </a:lnTo>
                  <a:lnTo>
                    <a:pt x="818" y="1344"/>
                  </a:lnTo>
                  <a:lnTo>
                    <a:pt x="818" y="1344"/>
                  </a:lnTo>
                  <a:lnTo>
                    <a:pt x="818" y="1344"/>
                  </a:lnTo>
                  <a:lnTo>
                    <a:pt x="815" y="1344"/>
                  </a:lnTo>
                  <a:lnTo>
                    <a:pt x="815" y="1344"/>
                  </a:lnTo>
                  <a:lnTo>
                    <a:pt x="813" y="1344"/>
                  </a:lnTo>
                  <a:lnTo>
                    <a:pt x="813" y="1341"/>
                  </a:lnTo>
                  <a:lnTo>
                    <a:pt x="815" y="1344"/>
                  </a:lnTo>
                  <a:lnTo>
                    <a:pt x="815" y="1341"/>
                  </a:lnTo>
                  <a:lnTo>
                    <a:pt x="813" y="1341"/>
                  </a:lnTo>
                  <a:lnTo>
                    <a:pt x="813" y="1339"/>
                  </a:lnTo>
                  <a:lnTo>
                    <a:pt x="813" y="1339"/>
                  </a:lnTo>
                  <a:lnTo>
                    <a:pt x="813" y="1341"/>
                  </a:lnTo>
                  <a:lnTo>
                    <a:pt x="811" y="1339"/>
                  </a:lnTo>
                  <a:lnTo>
                    <a:pt x="811" y="1341"/>
                  </a:lnTo>
                  <a:lnTo>
                    <a:pt x="811" y="1339"/>
                  </a:lnTo>
                  <a:lnTo>
                    <a:pt x="811" y="1339"/>
                  </a:lnTo>
                  <a:lnTo>
                    <a:pt x="811" y="1339"/>
                  </a:lnTo>
                  <a:lnTo>
                    <a:pt x="811" y="1339"/>
                  </a:lnTo>
                  <a:lnTo>
                    <a:pt x="808" y="1339"/>
                  </a:lnTo>
                  <a:lnTo>
                    <a:pt x="808" y="1337"/>
                  </a:lnTo>
                  <a:lnTo>
                    <a:pt x="808" y="1337"/>
                  </a:lnTo>
                  <a:lnTo>
                    <a:pt x="808" y="1337"/>
                  </a:lnTo>
                  <a:lnTo>
                    <a:pt x="808" y="1337"/>
                  </a:lnTo>
                  <a:lnTo>
                    <a:pt x="808" y="1334"/>
                  </a:lnTo>
                  <a:lnTo>
                    <a:pt x="808" y="1337"/>
                  </a:lnTo>
                  <a:lnTo>
                    <a:pt x="806" y="1337"/>
                  </a:lnTo>
                  <a:lnTo>
                    <a:pt x="806" y="1337"/>
                  </a:lnTo>
                  <a:lnTo>
                    <a:pt x="806" y="1334"/>
                  </a:lnTo>
                  <a:lnTo>
                    <a:pt x="806" y="1337"/>
                  </a:lnTo>
                  <a:lnTo>
                    <a:pt x="806" y="1334"/>
                  </a:lnTo>
                  <a:lnTo>
                    <a:pt x="803" y="1334"/>
                  </a:lnTo>
                  <a:lnTo>
                    <a:pt x="806" y="1334"/>
                  </a:lnTo>
                  <a:lnTo>
                    <a:pt x="803" y="1334"/>
                  </a:lnTo>
                  <a:lnTo>
                    <a:pt x="801" y="1334"/>
                  </a:lnTo>
                  <a:lnTo>
                    <a:pt x="801" y="1334"/>
                  </a:lnTo>
                  <a:lnTo>
                    <a:pt x="799" y="1334"/>
                  </a:lnTo>
                  <a:lnTo>
                    <a:pt x="801" y="1334"/>
                  </a:lnTo>
                  <a:lnTo>
                    <a:pt x="801" y="1334"/>
                  </a:lnTo>
                  <a:lnTo>
                    <a:pt x="799" y="1334"/>
                  </a:lnTo>
                  <a:lnTo>
                    <a:pt x="799" y="1334"/>
                  </a:lnTo>
                  <a:lnTo>
                    <a:pt x="799" y="1334"/>
                  </a:lnTo>
                  <a:lnTo>
                    <a:pt x="796" y="1334"/>
                  </a:lnTo>
                  <a:lnTo>
                    <a:pt x="796" y="1332"/>
                  </a:lnTo>
                  <a:lnTo>
                    <a:pt x="796" y="1332"/>
                  </a:lnTo>
                  <a:lnTo>
                    <a:pt x="794" y="1329"/>
                  </a:lnTo>
                  <a:lnTo>
                    <a:pt x="794" y="1329"/>
                  </a:lnTo>
                  <a:lnTo>
                    <a:pt x="792" y="1329"/>
                  </a:lnTo>
                  <a:lnTo>
                    <a:pt x="792" y="1329"/>
                  </a:lnTo>
                  <a:lnTo>
                    <a:pt x="792" y="1329"/>
                  </a:lnTo>
                  <a:lnTo>
                    <a:pt x="789" y="1329"/>
                  </a:lnTo>
                  <a:lnTo>
                    <a:pt x="789" y="1329"/>
                  </a:lnTo>
                  <a:lnTo>
                    <a:pt x="787" y="1329"/>
                  </a:lnTo>
                  <a:lnTo>
                    <a:pt x="787" y="1329"/>
                  </a:lnTo>
                  <a:lnTo>
                    <a:pt x="785" y="1329"/>
                  </a:lnTo>
                  <a:lnTo>
                    <a:pt x="785" y="1329"/>
                  </a:lnTo>
                  <a:lnTo>
                    <a:pt x="785" y="1327"/>
                  </a:lnTo>
                  <a:lnTo>
                    <a:pt x="782" y="1327"/>
                  </a:lnTo>
                  <a:lnTo>
                    <a:pt x="782" y="1327"/>
                  </a:lnTo>
                  <a:lnTo>
                    <a:pt x="782" y="1325"/>
                  </a:lnTo>
                  <a:lnTo>
                    <a:pt x="780" y="1325"/>
                  </a:lnTo>
                  <a:lnTo>
                    <a:pt x="780" y="1325"/>
                  </a:lnTo>
                  <a:lnTo>
                    <a:pt x="780" y="1325"/>
                  </a:lnTo>
                  <a:lnTo>
                    <a:pt x="777" y="1327"/>
                  </a:lnTo>
                  <a:lnTo>
                    <a:pt x="777" y="1325"/>
                  </a:lnTo>
                  <a:lnTo>
                    <a:pt x="777" y="1327"/>
                  </a:lnTo>
                  <a:lnTo>
                    <a:pt x="777" y="1325"/>
                  </a:lnTo>
                  <a:lnTo>
                    <a:pt x="777" y="1325"/>
                  </a:lnTo>
                  <a:lnTo>
                    <a:pt x="775" y="1325"/>
                  </a:lnTo>
                  <a:lnTo>
                    <a:pt x="775" y="1325"/>
                  </a:lnTo>
                  <a:lnTo>
                    <a:pt x="773" y="1325"/>
                  </a:lnTo>
                  <a:lnTo>
                    <a:pt x="773" y="1322"/>
                  </a:lnTo>
                  <a:lnTo>
                    <a:pt x="773" y="1322"/>
                  </a:lnTo>
                  <a:lnTo>
                    <a:pt x="770" y="1320"/>
                  </a:lnTo>
                  <a:lnTo>
                    <a:pt x="773" y="1320"/>
                  </a:lnTo>
                  <a:lnTo>
                    <a:pt x="770" y="1320"/>
                  </a:lnTo>
                  <a:lnTo>
                    <a:pt x="770" y="1320"/>
                  </a:lnTo>
                  <a:lnTo>
                    <a:pt x="770" y="1320"/>
                  </a:lnTo>
                  <a:lnTo>
                    <a:pt x="768" y="1320"/>
                  </a:lnTo>
                  <a:lnTo>
                    <a:pt x="768" y="1318"/>
                  </a:lnTo>
                  <a:lnTo>
                    <a:pt x="768" y="1318"/>
                  </a:lnTo>
                  <a:lnTo>
                    <a:pt x="768" y="1318"/>
                  </a:lnTo>
                  <a:lnTo>
                    <a:pt x="768" y="1318"/>
                  </a:lnTo>
                  <a:lnTo>
                    <a:pt x="768" y="1318"/>
                  </a:lnTo>
                  <a:lnTo>
                    <a:pt x="768" y="1315"/>
                  </a:lnTo>
                  <a:lnTo>
                    <a:pt x="768" y="1315"/>
                  </a:lnTo>
                  <a:lnTo>
                    <a:pt x="768" y="1315"/>
                  </a:lnTo>
                  <a:lnTo>
                    <a:pt x="768" y="1315"/>
                  </a:lnTo>
                  <a:lnTo>
                    <a:pt x="768" y="1313"/>
                  </a:lnTo>
                  <a:lnTo>
                    <a:pt x="768" y="1311"/>
                  </a:lnTo>
                  <a:lnTo>
                    <a:pt x="768" y="1311"/>
                  </a:lnTo>
                  <a:lnTo>
                    <a:pt x="768" y="1311"/>
                  </a:lnTo>
                  <a:lnTo>
                    <a:pt x="766" y="1311"/>
                  </a:lnTo>
                  <a:lnTo>
                    <a:pt x="766" y="1311"/>
                  </a:lnTo>
                  <a:lnTo>
                    <a:pt x="763" y="1308"/>
                  </a:lnTo>
                  <a:lnTo>
                    <a:pt x="763" y="1311"/>
                  </a:lnTo>
                  <a:lnTo>
                    <a:pt x="763" y="1311"/>
                  </a:lnTo>
                  <a:lnTo>
                    <a:pt x="761" y="1308"/>
                  </a:lnTo>
                  <a:lnTo>
                    <a:pt x="761" y="1306"/>
                  </a:lnTo>
                  <a:lnTo>
                    <a:pt x="761" y="1308"/>
                  </a:lnTo>
                  <a:lnTo>
                    <a:pt x="761" y="1308"/>
                  </a:lnTo>
                  <a:lnTo>
                    <a:pt x="761" y="1308"/>
                  </a:lnTo>
                  <a:lnTo>
                    <a:pt x="759" y="1308"/>
                  </a:lnTo>
                  <a:lnTo>
                    <a:pt x="759" y="1308"/>
                  </a:lnTo>
                  <a:lnTo>
                    <a:pt x="759" y="1306"/>
                  </a:lnTo>
                  <a:lnTo>
                    <a:pt x="756" y="1308"/>
                  </a:lnTo>
                  <a:lnTo>
                    <a:pt x="756" y="1306"/>
                  </a:lnTo>
                  <a:lnTo>
                    <a:pt x="754" y="1308"/>
                  </a:lnTo>
                  <a:lnTo>
                    <a:pt x="754" y="1306"/>
                  </a:lnTo>
                  <a:lnTo>
                    <a:pt x="751" y="1308"/>
                  </a:lnTo>
                  <a:lnTo>
                    <a:pt x="751" y="1306"/>
                  </a:lnTo>
                  <a:lnTo>
                    <a:pt x="749" y="1308"/>
                  </a:lnTo>
                  <a:lnTo>
                    <a:pt x="749" y="1306"/>
                  </a:lnTo>
                  <a:lnTo>
                    <a:pt x="749" y="1306"/>
                  </a:lnTo>
                  <a:lnTo>
                    <a:pt x="747" y="1306"/>
                  </a:lnTo>
                  <a:lnTo>
                    <a:pt x="747" y="1306"/>
                  </a:lnTo>
                  <a:lnTo>
                    <a:pt x="744" y="1306"/>
                  </a:lnTo>
                  <a:lnTo>
                    <a:pt x="744" y="1306"/>
                  </a:lnTo>
                  <a:lnTo>
                    <a:pt x="744" y="1306"/>
                  </a:lnTo>
                  <a:lnTo>
                    <a:pt x="742" y="1303"/>
                  </a:lnTo>
                  <a:lnTo>
                    <a:pt x="742" y="1306"/>
                  </a:lnTo>
                  <a:lnTo>
                    <a:pt x="742" y="1306"/>
                  </a:lnTo>
                  <a:lnTo>
                    <a:pt x="740" y="1303"/>
                  </a:lnTo>
                  <a:lnTo>
                    <a:pt x="740" y="1301"/>
                  </a:lnTo>
                  <a:lnTo>
                    <a:pt x="740" y="1301"/>
                  </a:lnTo>
                  <a:lnTo>
                    <a:pt x="737" y="1301"/>
                  </a:lnTo>
                  <a:lnTo>
                    <a:pt x="737" y="1301"/>
                  </a:lnTo>
                  <a:lnTo>
                    <a:pt x="735" y="1301"/>
                  </a:lnTo>
                  <a:lnTo>
                    <a:pt x="737" y="1301"/>
                  </a:lnTo>
                  <a:lnTo>
                    <a:pt x="735" y="1301"/>
                  </a:lnTo>
                  <a:lnTo>
                    <a:pt x="735" y="1301"/>
                  </a:lnTo>
                  <a:lnTo>
                    <a:pt x="735" y="1301"/>
                  </a:lnTo>
                  <a:lnTo>
                    <a:pt x="733" y="1299"/>
                  </a:lnTo>
                  <a:lnTo>
                    <a:pt x="733" y="1299"/>
                  </a:lnTo>
                  <a:lnTo>
                    <a:pt x="730" y="1296"/>
                  </a:lnTo>
                  <a:lnTo>
                    <a:pt x="730" y="1299"/>
                  </a:lnTo>
                  <a:lnTo>
                    <a:pt x="730" y="1299"/>
                  </a:lnTo>
                  <a:lnTo>
                    <a:pt x="730" y="1299"/>
                  </a:lnTo>
                  <a:lnTo>
                    <a:pt x="728" y="1299"/>
                  </a:lnTo>
                  <a:lnTo>
                    <a:pt x="730" y="1299"/>
                  </a:lnTo>
                  <a:lnTo>
                    <a:pt x="728" y="1299"/>
                  </a:lnTo>
                  <a:lnTo>
                    <a:pt x="728" y="1299"/>
                  </a:lnTo>
                  <a:lnTo>
                    <a:pt x="728" y="1299"/>
                  </a:lnTo>
                  <a:lnTo>
                    <a:pt x="730" y="1296"/>
                  </a:lnTo>
                  <a:lnTo>
                    <a:pt x="726" y="1296"/>
                  </a:lnTo>
                  <a:lnTo>
                    <a:pt x="723" y="1296"/>
                  </a:lnTo>
                  <a:lnTo>
                    <a:pt x="723" y="1296"/>
                  </a:lnTo>
                  <a:lnTo>
                    <a:pt x="723" y="1299"/>
                  </a:lnTo>
                  <a:lnTo>
                    <a:pt x="723" y="1299"/>
                  </a:lnTo>
                  <a:lnTo>
                    <a:pt x="721" y="1296"/>
                  </a:lnTo>
                  <a:lnTo>
                    <a:pt x="721" y="1296"/>
                  </a:lnTo>
                  <a:lnTo>
                    <a:pt x="721" y="1296"/>
                  </a:lnTo>
                  <a:lnTo>
                    <a:pt x="718" y="1296"/>
                  </a:lnTo>
                  <a:lnTo>
                    <a:pt x="718" y="1296"/>
                  </a:lnTo>
                  <a:lnTo>
                    <a:pt x="716" y="1294"/>
                  </a:lnTo>
                  <a:lnTo>
                    <a:pt x="716" y="1296"/>
                  </a:lnTo>
                  <a:lnTo>
                    <a:pt x="716" y="1294"/>
                  </a:lnTo>
                  <a:lnTo>
                    <a:pt x="716" y="1294"/>
                  </a:lnTo>
                  <a:lnTo>
                    <a:pt x="714" y="1294"/>
                  </a:lnTo>
                  <a:lnTo>
                    <a:pt x="714" y="1292"/>
                  </a:lnTo>
                  <a:lnTo>
                    <a:pt x="714" y="1294"/>
                  </a:lnTo>
                  <a:lnTo>
                    <a:pt x="714" y="1292"/>
                  </a:lnTo>
                  <a:lnTo>
                    <a:pt x="714" y="1289"/>
                  </a:lnTo>
                  <a:lnTo>
                    <a:pt x="714" y="1292"/>
                  </a:lnTo>
                  <a:lnTo>
                    <a:pt x="714" y="1289"/>
                  </a:lnTo>
                  <a:lnTo>
                    <a:pt x="714" y="1289"/>
                  </a:lnTo>
                  <a:lnTo>
                    <a:pt x="714" y="1287"/>
                  </a:lnTo>
                  <a:lnTo>
                    <a:pt x="711" y="1287"/>
                  </a:lnTo>
                  <a:lnTo>
                    <a:pt x="709" y="1285"/>
                  </a:lnTo>
                  <a:lnTo>
                    <a:pt x="709" y="1285"/>
                  </a:lnTo>
                  <a:lnTo>
                    <a:pt x="709" y="1287"/>
                  </a:lnTo>
                  <a:lnTo>
                    <a:pt x="709" y="1287"/>
                  </a:lnTo>
                  <a:lnTo>
                    <a:pt x="707" y="1285"/>
                  </a:lnTo>
                  <a:lnTo>
                    <a:pt x="707" y="1285"/>
                  </a:lnTo>
                  <a:lnTo>
                    <a:pt x="707" y="1285"/>
                  </a:lnTo>
                  <a:lnTo>
                    <a:pt x="704" y="1285"/>
                  </a:lnTo>
                  <a:lnTo>
                    <a:pt x="702" y="1285"/>
                  </a:lnTo>
                  <a:lnTo>
                    <a:pt x="700" y="1285"/>
                  </a:lnTo>
                  <a:lnTo>
                    <a:pt x="700" y="1285"/>
                  </a:lnTo>
                  <a:lnTo>
                    <a:pt x="700" y="1285"/>
                  </a:lnTo>
                  <a:lnTo>
                    <a:pt x="697" y="1285"/>
                  </a:lnTo>
                  <a:lnTo>
                    <a:pt x="697" y="1285"/>
                  </a:lnTo>
                  <a:lnTo>
                    <a:pt x="697" y="1287"/>
                  </a:lnTo>
                  <a:lnTo>
                    <a:pt x="697" y="1287"/>
                  </a:lnTo>
                  <a:lnTo>
                    <a:pt x="697" y="1287"/>
                  </a:lnTo>
                  <a:lnTo>
                    <a:pt x="695" y="1287"/>
                  </a:lnTo>
                  <a:lnTo>
                    <a:pt x="695" y="1287"/>
                  </a:lnTo>
                  <a:lnTo>
                    <a:pt x="692" y="1287"/>
                  </a:lnTo>
                  <a:lnTo>
                    <a:pt x="692" y="1287"/>
                  </a:lnTo>
                  <a:lnTo>
                    <a:pt x="690" y="1287"/>
                  </a:lnTo>
                  <a:lnTo>
                    <a:pt x="690" y="1289"/>
                  </a:lnTo>
                  <a:lnTo>
                    <a:pt x="690" y="1289"/>
                  </a:lnTo>
                  <a:lnTo>
                    <a:pt x="688" y="1289"/>
                  </a:lnTo>
                  <a:lnTo>
                    <a:pt x="688" y="1289"/>
                  </a:lnTo>
                  <a:lnTo>
                    <a:pt x="688" y="1292"/>
                  </a:lnTo>
                  <a:lnTo>
                    <a:pt x="688" y="1292"/>
                  </a:lnTo>
                  <a:lnTo>
                    <a:pt x="688" y="1292"/>
                  </a:lnTo>
                  <a:lnTo>
                    <a:pt x="685" y="1292"/>
                  </a:lnTo>
                  <a:lnTo>
                    <a:pt x="685" y="1292"/>
                  </a:lnTo>
                  <a:lnTo>
                    <a:pt x="683" y="1292"/>
                  </a:lnTo>
                  <a:lnTo>
                    <a:pt x="683" y="1292"/>
                  </a:lnTo>
                  <a:lnTo>
                    <a:pt x="681" y="1292"/>
                  </a:lnTo>
                  <a:lnTo>
                    <a:pt x="681" y="1292"/>
                  </a:lnTo>
                  <a:lnTo>
                    <a:pt x="683" y="1294"/>
                  </a:lnTo>
                  <a:lnTo>
                    <a:pt x="681" y="1294"/>
                  </a:lnTo>
                  <a:lnTo>
                    <a:pt x="681" y="1294"/>
                  </a:lnTo>
                  <a:lnTo>
                    <a:pt x="681" y="1294"/>
                  </a:lnTo>
                  <a:lnTo>
                    <a:pt x="678" y="1294"/>
                  </a:lnTo>
                  <a:lnTo>
                    <a:pt x="678" y="1294"/>
                  </a:lnTo>
                  <a:lnTo>
                    <a:pt x="678" y="1296"/>
                  </a:lnTo>
                  <a:lnTo>
                    <a:pt x="678" y="1296"/>
                  </a:lnTo>
                  <a:lnTo>
                    <a:pt x="678" y="1299"/>
                  </a:lnTo>
                  <a:lnTo>
                    <a:pt x="678" y="1299"/>
                  </a:lnTo>
                  <a:lnTo>
                    <a:pt x="676" y="1299"/>
                  </a:lnTo>
                  <a:lnTo>
                    <a:pt x="676" y="1299"/>
                  </a:lnTo>
                  <a:lnTo>
                    <a:pt x="676" y="1299"/>
                  </a:lnTo>
                  <a:lnTo>
                    <a:pt x="674" y="1299"/>
                  </a:lnTo>
                  <a:lnTo>
                    <a:pt x="674" y="1299"/>
                  </a:lnTo>
                  <a:lnTo>
                    <a:pt x="671" y="1299"/>
                  </a:lnTo>
                  <a:lnTo>
                    <a:pt x="671" y="1301"/>
                  </a:lnTo>
                  <a:lnTo>
                    <a:pt x="671" y="1299"/>
                  </a:lnTo>
                  <a:lnTo>
                    <a:pt x="671" y="1299"/>
                  </a:lnTo>
                  <a:lnTo>
                    <a:pt x="671" y="1299"/>
                  </a:lnTo>
                  <a:lnTo>
                    <a:pt x="671" y="1299"/>
                  </a:lnTo>
                  <a:lnTo>
                    <a:pt x="669" y="1296"/>
                  </a:lnTo>
                  <a:lnTo>
                    <a:pt x="669" y="1299"/>
                  </a:lnTo>
                  <a:lnTo>
                    <a:pt x="669" y="1299"/>
                  </a:lnTo>
                  <a:lnTo>
                    <a:pt x="669" y="1299"/>
                  </a:lnTo>
                  <a:lnTo>
                    <a:pt x="666" y="1299"/>
                  </a:lnTo>
                  <a:lnTo>
                    <a:pt x="666" y="1301"/>
                  </a:lnTo>
                  <a:lnTo>
                    <a:pt x="666" y="1301"/>
                  </a:lnTo>
                  <a:lnTo>
                    <a:pt x="664" y="1301"/>
                  </a:lnTo>
                  <a:lnTo>
                    <a:pt x="662" y="1303"/>
                  </a:lnTo>
                  <a:lnTo>
                    <a:pt x="662" y="1303"/>
                  </a:lnTo>
                  <a:lnTo>
                    <a:pt x="659" y="1303"/>
                  </a:lnTo>
                  <a:lnTo>
                    <a:pt x="659" y="1306"/>
                  </a:lnTo>
                  <a:lnTo>
                    <a:pt x="657" y="1306"/>
                  </a:lnTo>
                  <a:lnTo>
                    <a:pt x="657" y="1303"/>
                  </a:lnTo>
                  <a:lnTo>
                    <a:pt x="657" y="1303"/>
                  </a:lnTo>
                  <a:lnTo>
                    <a:pt x="657" y="1301"/>
                  </a:lnTo>
                  <a:lnTo>
                    <a:pt x="655" y="1301"/>
                  </a:lnTo>
                  <a:lnTo>
                    <a:pt x="655" y="1303"/>
                  </a:lnTo>
                  <a:lnTo>
                    <a:pt x="652" y="1301"/>
                  </a:lnTo>
                  <a:lnTo>
                    <a:pt x="652" y="1301"/>
                  </a:lnTo>
                  <a:lnTo>
                    <a:pt x="652" y="1299"/>
                  </a:lnTo>
                  <a:lnTo>
                    <a:pt x="650" y="1301"/>
                  </a:lnTo>
                  <a:lnTo>
                    <a:pt x="650" y="1301"/>
                  </a:lnTo>
                  <a:lnTo>
                    <a:pt x="650" y="1301"/>
                  </a:lnTo>
                  <a:lnTo>
                    <a:pt x="650" y="1301"/>
                  </a:lnTo>
                  <a:lnTo>
                    <a:pt x="650" y="1303"/>
                  </a:lnTo>
                  <a:lnTo>
                    <a:pt x="650" y="1303"/>
                  </a:lnTo>
                  <a:lnTo>
                    <a:pt x="648" y="1303"/>
                  </a:lnTo>
                  <a:lnTo>
                    <a:pt x="648" y="1303"/>
                  </a:lnTo>
                  <a:lnTo>
                    <a:pt x="645" y="1306"/>
                  </a:lnTo>
                  <a:lnTo>
                    <a:pt x="643" y="1303"/>
                  </a:lnTo>
                  <a:lnTo>
                    <a:pt x="640" y="1303"/>
                  </a:lnTo>
                  <a:lnTo>
                    <a:pt x="643" y="1306"/>
                  </a:lnTo>
                  <a:lnTo>
                    <a:pt x="640" y="1306"/>
                  </a:lnTo>
                  <a:lnTo>
                    <a:pt x="640" y="1306"/>
                  </a:lnTo>
                  <a:lnTo>
                    <a:pt x="638" y="1306"/>
                  </a:lnTo>
                  <a:lnTo>
                    <a:pt x="638" y="1306"/>
                  </a:lnTo>
                  <a:lnTo>
                    <a:pt x="638" y="1306"/>
                  </a:lnTo>
                  <a:lnTo>
                    <a:pt x="636" y="1306"/>
                  </a:lnTo>
                  <a:lnTo>
                    <a:pt x="636" y="1306"/>
                  </a:lnTo>
                  <a:lnTo>
                    <a:pt x="633" y="1306"/>
                  </a:lnTo>
                  <a:lnTo>
                    <a:pt x="633" y="1303"/>
                  </a:lnTo>
                  <a:lnTo>
                    <a:pt x="633" y="1306"/>
                  </a:lnTo>
                  <a:lnTo>
                    <a:pt x="633" y="1306"/>
                  </a:lnTo>
                  <a:lnTo>
                    <a:pt x="633" y="1306"/>
                  </a:lnTo>
                  <a:lnTo>
                    <a:pt x="631" y="1306"/>
                  </a:lnTo>
                  <a:lnTo>
                    <a:pt x="631" y="1306"/>
                  </a:lnTo>
                  <a:lnTo>
                    <a:pt x="631" y="1306"/>
                  </a:lnTo>
                  <a:lnTo>
                    <a:pt x="631" y="1306"/>
                  </a:lnTo>
                  <a:lnTo>
                    <a:pt x="629" y="1306"/>
                  </a:lnTo>
                  <a:lnTo>
                    <a:pt x="629" y="1306"/>
                  </a:lnTo>
                  <a:lnTo>
                    <a:pt x="629" y="1303"/>
                  </a:lnTo>
                  <a:lnTo>
                    <a:pt x="626" y="1306"/>
                  </a:lnTo>
                  <a:lnTo>
                    <a:pt x="626" y="1303"/>
                  </a:lnTo>
                  <a:lnTo>
                    <a:pt x="624" y="1303"/>
                  </a:lnTo>
                  <a:lnTo>
                    <a:pt x="624" y="1303"/>
                  </a:lnTo>
                  <a:lnTo>
                    <a:pt x="622" y="1303"/>
                  </a:lnTo>
                  <a:lnTo>
                    <a:pt x="622" y="1306"/>
                  </a:lnTo>
                  <a:lnTo>
                    <a:pt x="622" y="1306"/>
                  </a:lnTo>
                  <a:lnTo>
                    <a:pt x="619" y="1306"/>
                  </a:lnTo>
                  <a:lnTo>
                    <a:pt x="619" y="1306"/>
                  </a:lnTo>
                  <a:lnTo>
                    <a:pt x="617" y="1308"/>
                  </a:lnTo>
                  <a:lnTo>
                    <a:pt x="617" y="1308"/>
                  </a:lnTo>
                  <a:lnTo>
                    <a:pt x="617" y="1308"/>
                  </a:lnTo>
                  <a:lnTo>
                    <a:pt x="614" y="1311"/>
                  </a:lnTo>
                  <a:lnTo>
                    <a:pt x="614" y="1311"/>
                  </a:lnTo>
                  <a:lnTo>
                    <a:pt x="614" y="1313"/>
                  </a:lnTo>
                  <a:lnTo>
                    <a:pt x="614" y="1313"/>
                  </a:lnTo>
                  <a:lnTo>
                    <a:pt x="612" y="1313"/>
                  </a:lnTo>
                  <a:lnTo>
                    <a:pt x="610" y="1313"/>
                  </a:lnTo>
                  <a:lnTo>
                    <a:pt x="610" y="1315"/>
                  </a:lnTo>
                  <a:lnTo>
                    <a:pt x="607" y="1318"/>
                  </a:lnTo>
                  <a:lnTo>
                    <a:pt x="610" y="1318"/>
                  </a:lnTo>
                  <a:lnTo>
                    <a:pt x="610" y="1318"/>
                  </a:lnTo>
                  <a:lnTo>
                    <a:pt x="612" y="1318"/>
                  </a:lnTo>
                  <a:lnTo>
                    <a:pt x="610" y="1320"/>
                  </a:lnTo>
                  <a:lnTo>
                    <a:pt x="610" y="1320"/>
                  </a:lnTo>
                  <a:lnTo>
                    <a:pt x="607" y="1320"/>
                  </a:lnTo>
                  <a:lnTo>
                    <a:pt x="610" y="1320"/>
                  </a:lnTo>
                  <a:lnTo>
                    <a:pt x="610" y="1322"/>
                  </a:lnTo>
                  <a:lnTo>
                    <a:pt x="610" y="1322"/>
                  </a:lnTo>
                  <a:lnTo>
                    <a:pt x="607" y="1322"/>
                  </a:lnTo>
                  <a:lnTo>
                    <a:pt x="607" y="1325"/>
                  </a:lnTo>
                  <a:lnTo>
                    <a:pt x="607" y="1325"/>
                  </a:lnTo>
                  <a:lnTo>
                    <a:pt x="607" y="1327"/>
                  </a:lnTo>
                  <a:lnTo>
                    <a:pt x="605" y="1325"/>
                  </a:lnTo>
                  <a:lnTo>
                    <a:pt x="605" y="1327"/>
                  </a:lnTo>
                  <a:lnTo>
                    <a:pt x="605" y="1327"/>
                  </a:lnTo>
                  <a:lnTo>
                    <a:pt x="605" y="1329"/>
                  </a:lnTo>
                  <a:lnTo>
                    <a:pt x="605" y="1329"/>
                  </a:lnTo>
                  <a:lnTo>
                    <a:pt x="603" y="1332"/>
                  </a:lnTo>
                  <a:lnTo>
                    <a:pt x="603" y="1334"/>
                  </a:lnTo>
                  <a:lnTo>
                    <a:pt x="600" y="1332"/>
                  </a:lnTo>
                  <a:lnTo>
                    <a:pt x="598" y="1334"/>
                  </a:lnTo>
                  <a:lnTo>
                    <a:pt x="596" y="1334"/>
                  </a:lnTo>
                  <a:lnTo>
                    <a:pt x="593" y="1337"/>
                  </a:lnTo>
                  <a:lnTo>
                    <a:pt x="593" y="1337"/>
                  </a:lnTo>
                  <a:lnTo>
                    <a:pt x="591" y="1339"/>
                  </a:lnTo>
                  <a:lnTo>
                    <a:pt x="591" y="1339"/>
                  </a:lnTo>
                  <a:lnTo>
                    <a:pt x="591" y="1339"/>
                  </a:lnTo>
                  <a:lnTo>
                    <a:pt x="591" y="1341"/>
                  </a:lnTo>
                  <a:lnTo>
                    <a:pt x="591" y="1341"/>
                  </a:lnTo>
                  <a:lnTo>
                    <a:pt x="591" y="1344"/>
                  </a:lnTo>
                  <a:lnTo>
                    <a:pt x="593" y="1341"/>
                  </a:lnTo>
                  <a:lnTo>
                    <a:pt x="593" y="1344"/>
                  </a:lnTo>
                  <a:lnTo>
                    <a:pt x="591" y="1346"/>
                  </a:lnTo>
                  <a:lnTo>
                    <a:pt x="589" y="1348"/>
                  </a:lnTo>
                  <a:lnTo>
                    <a:pt x="589" y="1351"/>
                  </a:lnTo>
                  <a:lnTo>
                    <a:pt x="586" y="1351"/>
                  </a:lnTo>
                  <a:lnTo>
                    <a:pt x="586" y="1351"/>
                  </a:lnTo>
                  <a:lnTo>
                    <a:pt x="586" y="1353"/>
                  </a:lnTo>
                  <a:lnTo>
                    <a:pt x="586" y="1353"/>
                  </a:lnTo>
                  <a:lnTo>
                    <a:pt x="584" y="1353"/>
                  </a:lnTo>
                  <a:lnTo>
                    <a:pt x="584" y="1358"/>
                  </a:lnTo>
                  <a:lnTo>
                    <a:pt x="581" y="1358"/>
                  </a:lnTo>
                  <a:lnTo>
                    <a:pt x="581" y="1358"/>
                  </a:lnTo>
                  <a:lnTo>
                    <a:pt x="579" y="1358"/>
                  </a:lnTo>
                  <a:lnTo>
                    <a:pt x="579" y="1358"/>
                  </a:lnTo>
                  <a:lnTo>
                    <a:pt x="577" y="1360"/>
                  </a:lnTo>
                  <a:lnTo>
                    <a:pt x="577" y="1360"/>
                  </a:lnTo>
                  <a:lnTo>
                    <a:pt x="577" y="1363"/>
                  </a:lnTo>
                  <a:lnTo>
                    <a:pt x="574" y="1363"/>
                  </a:lnTo>
                  <a:lnTo>
                    <a:pt x="574" y="1365"/>
                  </a:lnTo>
                  <a:lnTo>
                    <a:pt x="570" y="1363"/>
                  </a:lnTo>
                  <a:lnTo>
                    <a:pt x="567" y="1365"/>
                  </a:lnTo>
                  <a:lnTo>
                    <a:pt x="565" y="1365"/>
                  </a:lnTo>
                  <a:lnTo>
                    <a:pt x="563" y="1365"/>
                  </a:lnTo>
                  <a:lnTo>
                    <a:pt x="560" y="1365"/>
                  </a:lnTo>
                  <a:lnTo>
                    <a:pt x="560" y="1365"/>
                  </a:lnTo>
                  <a:lnTo>
                    <a:pt x="560" y="1365"/>
                  </a:lnTo>
                  <a:lnTo>
                    <a:pt x="558" y="1365"/>
                  </a:lnTo>
                  <a:lnTo>
                    <a:pt x="558" y="1367"/>
                  </a:lnTo>
                  <a:lnTo>
                    <a:pt x="555" y="1365"/>
                  </a:lnTo>
                  <a:lnTo>
                    <a:pt x="558" y="1367"/>
                  </a:lnTo>
                  <a:lnTo>
                    <a:pt x="558" y="1367"/>
                  </a:lnTo>
                  <a:lnTo>
                    <a:pt x="558" y="1367"/>
                  </a:lnTo>
                  <a:lnTo>
                    <a:pt x="555" y="1367"/>
                  </a:lnTo>
                  <a:lnTo>
                    <a:pt x="555" y="1370"/>
                  </a:lnTo>
                  <a:lnTo>
                    <a:pt x="551" y="1367"/>
                  </a:lnTo>
                  <a:lnTo>
                    <a:pt x="551" y="1370"/>
                  </a:lnTo>
                  <a:lnTo>
                    <a:pt x="551" y="1370"/>
                  </a:lnTo>
                  <a:lnTo>
                    <a:pt x="551" y="1367"/>
                  </a:lnTo>
                  <a:lnTo>
                    <a:pt x="551" y="1367"/>
                  </a:lnTo>
                  <a:lnTo>
                    <a:pt x="551" y="1370"/>
                  </a:lnTo>
                  <a:lnTo>
                    <a:pt x="548" y="1367"/>
                  </a:lnTo>
                  <a:lnTo>
                    <a:pt x="548" y="1370"/>
                  </a:lnTo>
                  <a:lnTo>
                    <a:pt x="546" y="1370"/>
                  </a:lnTo>
                  <a:lnTo>
                    <a:pt x="546" y="1372"/>
                  </a:lnTo>
                  <a:lnTo>
                    <a:pt x="544" y="1372"/>
                  </a:lnTo>
                  <a:lnTo>
                    <a:pt x="544" y="1372"/>
                  </a:lnTo>
                  <a:lnTo>
                    <a:pt x="544" y="1372"/>
                  </a:lnTo>
                  <a:lnTo>
                    <a:pt x="544" y="1372"/>
                  </a:lnTo>
                  <a:lnTo>
                    <a:pt x="541" y="1372"/>
                  </a:lnTo>
                  <a:lnTo>
                    <a:pt x="541" y="1370"/>
                  </a:lnTo>
                  <a:lnTo>
                    <a:pt x="541" y="1370"/>
                  </a:lnTo>
                  <a:lnTo>
                    <a:pt x="539" y="1372"/>
                  </a:lnTo>
                  <a:lnTo>
                    <a:pt x="537" y="1372"/>
                  </a:lnTo>
                  <a:lnTo>
                    <a:pt x="537" y="1372"/>
                  </a:lnTo>
                  <a:lnTo>
                    <a:pt x="537" y="1374"/>
                  </a:lnTo>
                  <a:lnTo>
                    <a:pt x="537" y="1374"/>
                  </a:lnTo>
                  <a:lnTo>
                    <a:pt x="534" y="1374"/>
                  </a:lnTo>
                  <a:lnTo>
                    <a:pt x="532" y="1377"/>
                  </a:lnTo>
                  <a:lnTo>
                    <a:pt x="532" y="1377"/>
                  </a:lnTo>
                  <a:lnTo>
                    <a:pt x="532" y="1379"/>
                  </a:lnTo>
                  <a:lnTo>
                    <a:pt x="532" y="1381"/>
                  </a:lnTo>
                  <a:lnTo>
                    <a:pt x="529" y="1379"/>
                  </a:lnTo>
                  <a:lnTo>
                    <a:pt x="527" y="1377"/>
                  </a:lnTo>
                  <a:lnTo>
                    <a:pt x="527" y="1374"/>
                  </a:lnTo>
                  <a:lnTo>
                    <a:pt x="522" y="1374"/>
                  </a:lnTo>
                  <a:lnTo>
                    <a:pt x="520" y="1374"/>
                  </a:lnTo>
                  <a:lnTo>
                    <a:pt x="520" y="1372"/>
                  </a:lnTo>
                  <a:lnTo>
                    <a:pt x="518" y="1370"/>
                  </a:lnTo>
                  <a:lnTo>
                    <a:pt x="518" y="1370"/>
                  </a:lnTo>
                  <a:lnTo>
                    <a:pt x="515" y="1370"/>
                  </a:lnTo>
                  <a:lnTo>
                    <a:pt x="515" y="1367"/>
                  </a:lnTo>
                  <a:lnTo>
                    <a:pt x="511" y="1367"/>
                  </a:lnTo>
                  <a:lnTo>
                    <a:pt x="511" y="1367"/>
                  </a:lnTo>
                  <a:lnTo>
                    <a:pt x="511" y="1365"/>
                  </a:lnTo>
                  <a:lnTo>
                    <a:pt x="511" y="1365"/>
                  </a:lnTo>
                  <a:lnTo>
                    <a:pt x="513" y="1363"/>
                  </a:lnTo>
                  <a:lnTo>
                    <a:pt x="511" y="1363"/>
                  </a:lnTo>
                  <a:lnTo>
                    <a:pt x="511" y="1360"/>
                  </a:lnTo>
                  <a:lnTo>
                    <a:pt x="511" y="1360"/>
                  </a:lnTo>
                  <a:lnTo>
                    <a:pt x="511" y="1360"/>
                  </a:lnTo>
                  <a:lnTo>
                    <a:pt x="508" y="1358"/>
                  </a:lnTo>
                  <a:lnTo>
                    <a:pt x="506" y="1355"/>
                  </a:lnTo>
                  <a:lnTo>
                    <a:pt x="506" y="1355"/>
                  </a:lnTo>
                  <a:lnTo>
                    <a:pt x="506" y="1358"/>
                  </a:lnTo>
                  <a:lnTo>
                    <a:pt x="503" y="1358"/>
                  </a:lnTo>
                  <a:lnTo>
                    <a:pt x="503" y="1358"/>
                  </a:lnTo>
                  <a:lnTo>
                    <a:pt x="503" y="1358"/>
                  </a:lnTo>
                  <a:lnTo>
                    <a:pt x="503" y="1355"/>
                  </a:lnTo>
                  <a:lnTo>
                    <a:pt x="501" y="1355"/>
                  </a:lnTo>
                  <a:lnTo>
                    <a:pt x="501" y="1355"/>
                  </a:lnTo>
                  <a:lnTo>
                    <a:pt x="501" y="1353"/>
                  </a:lnTo>
                  <a:lnTo>
                    <a:pt x="501" y="1353"/>
                  </a:lnTo>
                  <a:lnTo>
                    <a:pt x="503" y="1351"/>
                  </a:lnTo>
                  <a:lnTo>
                    <a:pt x="503" y="1351"/>
                  </a:lnTo>
                  <a:lnTo>
                    <a:pt x="503" y="1351"/>
                  </a:lnTo>
                  <a:lnTo>
                    <a:pt x="503" y="1348"/>
                  </a:lnTo>
                  <a:lnTo>
                    <a:pt x="501" y="1348"/>
                  </a:lnTo>
                  <a:lnTo>
                    <a:pt x="501" y="1348"/>
                  </a:lnTo>
                  <a:lnTo>
                    <a:pt x="501" y="1346"/>
                  </a:lnTo>
                  <a:lnTo>
                    <a:pt x="501" y="1346"/>
                  </a:lnTo>
                  <a:lnTo>
                    <a:pt x="501" y="1346"/>
                  </a:lnTo>
                  <a:lnTo>
                    <a:pt x="501" y="1344"/>
                  </a:lnTo>
                  <a:lnTo>
                    <a:pt x="501" y="1344"/>
                  </a:lnTo>
                  <a:lnTo>
                    <a:pt x="499" y="1341"/>
                  </a:lnTo>
                  <a:lnTo>
                    <a:pt x="499" y="1339"/>
                  </a:lnTo>
                  <a:lnTo>
                    <a:pt x="499" y="1337"/>
                  </a:lnTo>
                  <a:lnTo>
                    <a:pt x="496" y="1337"/>
                  </a:lnTo>
                  <a:lnTo>
                    <a:pt x="496" y="1334"/>
                  </a:lnTo>
                  <a:lnTo>
                    <a:pt x="496" y="1332"/>
                  </a:lnTo>
                  <a:lnTo>
                    <a:pt x="494" y="1332"/>
                  </a:lnTo>
                  <a:lnTo>
                    <a:pt x="492" y="1337"/>
                  </a:lnTo>
                  <a:lnTo>
                    <a:pt x="475" y="1320"/>
                  </a:lnTo>
                  <a:lnTo>
                    <a:pt x="463" y="1329"/>
                  </a:lnTo>
                  <a:lnTo>
                    <a:pt x="461" y="1329"/>
                  </a:lnTo>
                  <a:lnTo>
                    <a:pt x="461" y="1327"/>
                  </a:lnTo>
                  <a:lnTo>
                    <a:pt x="461" y="1329"/>
                  </a:lnTo>
                  <a:lnTo>
                    <a:pt x="459" y="1327"/>
                  </a:lnTo>
                  <a:lnTo>
                    <a:pt x="459" y="1327"/>
                  </a:lnTo>
                  <a:lnTo>
                    <a:pt x="459" y="1327"/>
                  </a:lnTo>
                  <a:lnTo>
                    <a:pt x="456" y="1327"/>
                  </a:lnTo>
                  <a:lnTo>
                    <a:pt x="456" y="1327"/>
                  </a:lnTo>
                  <a:lnTo>
                    <a:pt x="456" y="1322"/>
                  </a:lnTo>
                  <a:lnTo>
                    <a:pt x="454" y="1320"/>
                  </a:lnTo>
                  <a:lnTo>
                    <a:pt x="451" y="1320"/>
                  </a:lnTo>
                  <a:lnTo>
                    <a:pt x="449" y="1322"/>
                  </a:lnTo>
                  <a:lnTo>
                    <a:pt x="447" y="1320"/>
                  </a:lnTo>
                  <a:lnTo>
                    <a:pt x="447" y="1318"/>
                  </a:lnTo>
                  <a:lnTo>
                    <a:pt x="444" y="1315"/>
                  </a:lnTo>
                  <a:lnTo>
                    <a:pt x="442" y="1318"/>
                  </a:lnTo>
                  <a:lnTo>
                    <a:pt x="442" y="1315"/>
                  </a:lnTo>
                  <a:lnTo>
                    <a:pt x="442" y="1315"/>
                  </a:lnTo>
                  <a:lnTo>
                    <a:pt x="442" y="1313"/>
                  </a:lnTo>
                  <a:lnTo>
                    <a:pt x="437" y="1313"/>
                  </a:lnTo>
                  <a:lnTo>
                    <a:pt x="435" y="1313"/>
                  </a:lnTo>
                  <a:lnTo>
                    <a:pt x="437" y="1311"/>
                  </a:lnTo>
                  <a:lnTo>
                    <a:pt x="435" y="1308"/>
                  </a:lnTo>
                  <a:lnTo>
                    <a:pt x="433" y="1308"/>
                  </a:lnTo>
                  <a:lnTo>
                    <a:pt x="433" y="1308"/>
                  </a:lnTo>
                  <a:lnTo>
                    <a:pt x="433" y="1308"/>
                  </a:lnTo>
                  <a:lnTo>
                    <a:pt x="430" y="1308"/>
                  </a:lnTo>
                  <a:lnTo>
                    <a:pt x="430" y="1308"/>
                  </a:lnTo>
                  <a:lnTo>
                    <a:pt x="430" y="1308"/>
                  </a:lnTo>
                  <a:lnTo>
                    <a:pt x="428" y="1308"/>
                  </a:lnTo>
                  <a:lnTo>
                    <a:pt x="428" y="1308"/>
                  </a:lnTo>
                  <a:lnTo>
                    <a:pt x="428" y="1308"/>
                  </a:lnTo>
                  <a:lnTo>
                    <a:pt x="428" y="1306"/>
                  </a:lnTo>
                  <a:lnTo>
                    <a:pt x="426" y="1306"/>
                  </a:lnTo>
                  <a:lnTo>
                    <a:pt x="426" y="1301"/>
                  </a:lnTo>
                  <a:lnTo>
                    <a:pt x="423" y="1301"/>
                  </a:lnTo>
                  <a:lnTo>
                    <a:pt x="423" y="1301"/>
                  </a:lnTo>
                  <a:lnTo>
                    <a:pt x="423" y="1301"/>
                  </a:lnTo>
                  <a:lnTo>
                    <a:pt x="423" y="1299"/>
                  </a:lnTo>
                  <a:lnTo>
                    <a:pt x="423" y="1299"/>
                  </a:lnTo>
                  <a:lnTo>
                    <a:pt x="423" y="1299"/>
                  </a:lnTo>
                  <a:lnTo>
                    <a:pt x="421" y="1296"/>
                  </a:lnTo>
                  <a:lnTo>
                    <a:pt x="421" y="1296"/>
                  </a:lnTo>
                  <a:lnTo>
                    <a:pt x="421" y="1296"/>
                  </a:lnTo>
                  <a:lnTo>
                    <a:pt x="418" y="1294"/>
                  </a:lnTo>
                  <a:lnTo>
                    <a:pt x="418" y="1292"/>
                  </a:lnTo>
                  <a:lnTo>
                    <a:pt x="418" y="1292"/>
                  </a:lnTo>
                  <a:lnTo>
                    <a:pt x="416" y="1289"/>
                  </a:lnTo>
                  <a:lnTo>
                    <a:pt x="414" y="1289"/>
                  </a:lnTo>
                  <a:lnTo>
                    <a:pt x="414" y="1289"/>
                  </a:lnTo>
                  <a:lnTo>
                    <a:pt x="414" y="1289"/>
                  </a:lnTo>
                  <a:lnTo>
                    <a:pt x="411" y="1287"/>
                  </a:lnTo>
                  <a:lnTo>
                    <a:pt x="411" y="1280"/>
                  </a:lnTo>
                  <a:lnTo>
                    <a:pt x="411" y="1278"/>
                  </a:lnTo>
                  <a:lnTo>
                    <a:pt x="411" y="1275"/>
                  </a:lnTo>
                  <a:lnTo>
                    <a:pt x="411" y="1275"/>
                  </a:lnTo>
                  <a:lnTo>
                    <a:pt x="409" y="1278"/>
                  </a:lnTo>
                  <a:lnTo>
                    <a:pt x="407" y="1278"/>
                  </a:lnTo>
                  <a:lnTo>
                    <a:pt x="407" y="1275"/>
                  </a:lnTo>
                  <a:lnTo>
                    <a:pt x="407" y="1273"/>
                  </a:lnTo>
                  <a:lnTo>
                    <a:pt x="407" y="1273"/>
                  </a:lnTo>
                  <a:lnTo>
                    <a:pt x="407" y="1273"/>
                  </a:lnTo>
                  <a:lnTo>
                    <a:pt x="407" y="1273"/>
                  </a:lnTo>
                  <a:lnTo>
                    <a:pt x="407" y="1270"/>
                  </a:lnTo>
                  <a:lnTo>
                    <a:pt x="409" y="1268"/>
                  </a:lnTo>
                  <a:lnTo>
                    <a:pt x="407" y="1268"/>
                  </a:lnTo>
                  <a:lnTo>
                    <a:pt x="407" y="1268"/>
                  </a:lnTo>
                  <a:lnTo>
                    <a:pt x="407" y="1266"/>
                  </a:lnTo>
                  <a:lnTo>
                    <a:pt x="409" y="1266"/>
                  </a:lnTo>
                  <a:lnTo>
                    <a:pt x="409" y="1266"/>
                  </a:lnTo>
                  <a:lnTo>
                    <a:pt x="407" y="1266"/>
                  </a:lnTo>
                  <a:lnTo>
                    <a:pt x="407" y="1263"/>
                  </a:lnTo>
                  <a:lnTo>
                    <a:pt x="407" y="1263"/>
                  </a:lnTo>
                  <a:lnTo>
                    <a:pt x="409" y="1261"/>
                  </a:lnTo>
                  <a:lnTo>
                    <a:pt x="407" y="1261"/>
                  </a:lnTo>
                  <a:lnTo>
                    <a:pt x="404" y="1259"/>
                  </a:lnTo>
                  <a:lnTo>
                    <a:pt x="404" y="1259"/>
                  </a:lnTo>
                  <a:lnTo>
                    <a:pt x="404" y="1259"/>
                  </a:lnTo>
                  <a:lnTo>
                    <a:pt x="402" y="1259"/>
                  </a:lnTo>
                  <a:lnTo>
                    <a:pt x="402" y="1256"/>
                  </a:lnTo>
                  <a:lnTo>
                    <a:pt x="404" y="1254"/>
                  </a:lnTo>
                  <a:lnTo>
                    <a:pt x="402" y="1254"/>
                  </a:lnTo>
                  <a:lnTo>
                    <a:pt x="402" y="1254"/>
                  </a:lnTo>
                  <a:lnTo>
                    <a:pt x="402" y="1254"/>
                  </a:lnTo>
                  <a:lnTo>
                    <a:pt x="402" y="1252"/>
                  </a:lnTo>
                  <a:lnTo>
                    <a:pt x="402" y="1252"/>
                  </a:lnTo>
                  <a:lnTo>
                    <a:pt x="402" y="1252"/>
                  </a:lnTo>
                  <a:lnTo>
                    <a:pt x="402" y="1249"/>
                  </a:lnTo>
                  <a:lnTo>
                    <a:pt x="402" y="1249"/>
                  </a:lnTo>
                  <a:lnTo>
                    <a:pt x="402" y="1244"/>
                  </a:lnTo>
                  <a:lnTo>
                    <a:pt x="402" y="1244"/>
                  </a:lnTo>
                  <a:lnTo>
                    <a:pt x="402" y="1244"/>
                  </a:lnTo>
                  <a:lnTo>
                    <a:pt x="402" y="1244"/>
                  </a:lnTo>
                  <a:lnTo>
                    <a:pt x="402" y="1242"/>
                  </a:lnTo>
                  <a:lnTo>
                    <a:pt x="402" y="1242"/>
                  </a:lnTo>
                  <a:lnTo>
                    <a:pt x="402" y="1242"/>
                  </a:lnTo>
                  <a:lnTo>
                    <a:pt x="402" y="1240"/>
                  </a:lnTo>
                  <a:lnTo>
                    <a:pt x="402" y="1237"/>
                  </a:lnTo>
                  <a:lnTo>
                    <a:pt x="402" y="1235"/>
                  </a:lnTo>
                  <a:lnTo>
                    <a:pt x="402" y="1235"/>
                  </a:lnTo>
                  <a:lnTo>
                    <a:pt x="402" y="1235"/>
                  </a:lnTo>
                  <a:lnTo>
                    <a:pt x="402" y="1233"/>
                  </a:lnTo>
                  <a:lnTo>
                    <a:pt x="402" y="1230"/>
                  </a:lnTo>
                  <a:lnTo>
                    <a:pt x="402" y="1228"/>
                  </a:lnTo>
                  <a:lnTo>
                    <a:pt x="402" y="1226"/>
                  </a:lnTo>
                  <a:lnTo>
                    <a:pt x="402" y="1223"/>
                  </a:lnTo>
                  <a:lnTo>
                    <a:pt x="402" y="1218"/>
                  </a:lnTo>
                  <a:lnTo>
                    <a:pt x="402" y="1216"/>
                  </a:lnTo>
                  <a:lnTo>
                    <a:pt x="407" y="1209"/>
                  </a:lnTo>
                  <a:lnTo>
                    <a:pt x="407" y="1209"/>
                  </a:lnTo>
                  <a:lnTo>
                    <a:pt x="409" y="1207"/>
                  </a:lnTo>
                  <a:lnTo>
                    <a:pt x="411" y="1204"/>
                  </a:lnTo>
                  <a:lnTo>
                    <a:pt x="411" y="1202"/>
                  </a:lnTo>
                  <a:lnTo>
                    <a:pt x="416" y="1200"/>
                  </a:lnTo>
                  <a:lnTo>
                    <a:pt x="418" y="1200"/>
                  </a:lnTo>
                  <a:lnTo>
                    <a:pt x="418" y="1195"/>
                  </a:lnTo>
                  <a:lnTo>
                    <a:pt x="418" y="1192"/>
                  </a:lnTo>
                  <a:lnTo>
                    <a:pt x="418" y="1190"/>
                  </a:lnTo>
                  <a:lnTo>
                    <a:pt x="416" y="1188"/>
                  </a:lnTo>
                  <a:lnTo>
                    <a:pt x="418" y="1183"/>
                  </a:lnTo>
                  <a:lnTo>
                    <a:pt x="418" y="1183"/>
                  </a:lnTo>
                  <a:lnTo>
                    <a:pt x="418" y="1181"/>
                  </a:lnTo>
                  <a:lnTo>
                    <a:pt x="418" y="1183"/>
                  </a:lnTo>
                  <a:lnTo>
                    <a:pt x="421" y="1181"/>
                  </a:lnTo>
                  <a:lnTo>
                    <a:pt x="423" y="1181"/>
                  </a:lnTo>
                  <a:lnTo>
                    <a:pt x="421" y="1178"/>
                  </a:lnTo>
                  <a:lnTo>
                    <a:pt x="423" y="1174"/>
                  </a:lnTo>
                  <a:lnTo>
                    <a:pt x="423" y="1171"/>
                  </a:lnTo>
                  <a:lnTo>
                    <a:pt x="421" y="1169"/>
                  </a:lnTo>
                  <a:lnTo>
                    <a:pt x="421" y="1166"/>
                  </a:lnTo>
                  <a:lnTo>
                    <a:pt x="418" y="1166"/>
                  </a:lnTo>
                  <a:lnTo>
                    <a:pt x="418" y="1166"/>
                  </a:lnTo>
                  <a:lnTo>
                    <a:pt x="416" y="1166"/>
                  </a:lnTo>
                  <a:lnTo>
                    <a:pt x="414" y="1166"/>
                  </a:lnTo>
                  <a:lnTo>
                    <a:pt x="411" y="1164"/>
                  </a:lnTo>
                  <a:lnTo>
                    <a:pt x="411" y="1171"/>
                  </a:lnTo>
                  <a:lnTo>
                    <a:pt x="409" y="1171"/>
                  </a:lnTo>
                  <a:lnTo>
                    <a:pt x="407" y="1174"/>
                  </a:lnTo>
                  <a:lnTo>
                    <a:pt x="362" y="1171"/>
                  </a:lnTo>
                  <a:lnTo>
                    <a:pt x="274" y="1169"/>
                  </a:lnTo>
                  <a:lnTo>
                    <a:pt x="185" y="1166"/>
                  </a:lnTo>
                  <a:lnTo>
                    <a:pt x="182" y="1117"/>
                  </a:lnTo>
                  <a:lnTo>
                    <a:pt x="177" y="1063"/>
                  </a:lnTo>
                  <a:lnTo>
                    <a:pt x="135" y="1015"/>
                  </a:lnTo>
                  <a:lnTo>
                    <a:pt x="144" y="1013"/>
                  </a:lnTo>
                  <a:lnTo>
                    <a:pt x="175" y="1013"/>
                  </a:lnTo>
                  <a:lnTo>
                    <a:pt x="173" y="952"/>
                  </a:lnTo>
                  <a:lnTo>
                    <a:pt x="170" y="952"/>
                  </a:lnTo>
                  <a:lnTo>
                    <a:pt x="166" y="949"/>
                  </a:lnTo>
                  <a:lnTo>
                    <a:pt x="166" y="947"/>
                  </a:lnTo>
                  <a:lnTo>
                    <a:pt x="166" y="944"/>
                  </a:lnTo>
                  <a:lnTo>
                    <a:pt x="166" y="944"/>
                  </a:lnTo>
                  <a:lnTo>
                    <a:pt x="166" y="942"/>
                  </a:lnTo>
                  <a:lnTo>
                    <a:pt x="166" y="940"/>
                  </a:lnTo>
                  <a:lnTo>
                    <a:pt x="163" y="940"/>
                  </a:lnTo>
                  <a:lnTo>
                    <a:pt x="166" y="940"/>
                  </a:lnTo>
                  <a:lnTo>
                    <a:pt x="163" y="940"/>
                  </a:lnTo>
                  <a:lnTo>
                    <a:pt x="163" y="937"/>
                  </a:lnTo>
                  <a:lnTo>
                    <a:pt x="163" y="935"/>
                  </a:lnTo>
                  <a:lnTo>
                    <a:pt x="163" y="935"/>
                  </a:lnTo>
                  <a:lnTo>
                    <a:pt x="161" y="933"/>
                  </a:lnTo>
                  <a:lnTo>
                    <a:pt x="161" y="933"/>
                  </a:lnTo>
                  <a:lnTo>
                    <a:pt x="161" y="933"/>
                  </a:lnTo>
                  <a:lnTo>
                    <a:pt x="161" y="933"/>
                  </a:lnTo>
                  <a:lnTo>
                    <a:pt x="159" y="930"/>
                  </a:lnTo>
                  <a:lnTo>
                    <a:pt x="161" y="930"/>
                  </a:lnTo>
                  <a:lnTo>
                    <a:pt x="159" y="930"/>
                  </a:lnTo>
                  <a:lnTo>
                    <a:pt x="159" y="928"/>
                  </a:lnTo>
                  <a:lnTo>
                    <a:pt x="159" y="926"/>
                  </a:lnTo>
                  <a:lnTo>
                    <a:pt x="156" y="926"/>
                  </a:lnTo>
                  <a:lnTo>
                    <a:pt x="156" y="926"/>
                  </a:lnTo>
                  <a:lnTo>
                    <a:pt x="156" y="926"/>
                  </a:lnTo>
                  <a:lnTo>
                    <a:pt x="156" y="926"/>
                  </a:lnTo>
                  <a:lnTo>
                    <a:pt x="156" y="926"/>
                  </a:lnTo>
                  <a:lnTo>
                    <a:pt x="156" y="923"/>
                  </a:lnTo>
                  <a:lnTo>
                    <a:pt x="156" y="923"/>
                  </a:lnTo>
                  <a:lnTo>
                    <a:pt x="156" y="923"/>
                  </a:lnTo>
                  <a:lnTo>
                    <a:pt x="156" y="923"/>
                  </a:lnTo>
                  <a:lnTo>
                    <a:pt x="156" y="921"/>
                  </a:lnTo>
                  <a:lnTo>
                    <a:pt x="156" y="921"/>
                  </a:lnTo>
                  <a:lnTo>
                    <a:pt x="156" y="921"/>
                  </a:lnTo>
                  <a:lnTo>
                    <a:pt x="156" y="921"/>
                  </a:lnTo>
                  <a:lnTo>
                    <a:pt x="156" y="918"/>
                  </a:lnTo>
                  <a:lnTo>
                    <a:pt x="156" y="916"/>
                  </a:lnTo>
                  <a:lnTo>
                    <a:pt x="156" y="918"/>
                  </a:lnTo>
                  <a:lnTo>
                    <a:pt x="156" y="916"/>
                  </a:lnTo>
                  <a:lnTo>
                    <a:pt x="156" y="918"/>
                  </a:lnTo>
                  <a:lnTo>
                    <a:pt x="156" y="916"/>
                  </a:lnTo>
                  <a:lnTo>
                    <a:pt x="156" y="916"/>
                  </a:lnTo>
                  <a:lnTo>
                    <a:pt x="154" y="916"/>
                  </a:lnTo>
                  <a:lnTo>
                    <a:pt x="154" y="916"/>
                  </a:lnTo>
                  <a:lnTo>
                    <a:pt x="154" y="916"/>
                  </a:lnTo>
                  <a:lnTo>
                    <a:pt x="154" y="916"/>
                  </a:lnTo>
                  <a:lnTo>
                    <a:pt x="154" y="916"/>
                  </a:lnTo>
                  <a:lnTo>
                    <a:pt x="154" y="914"/>
                  </a:lnTo>
                  <a:lnTo>
                    <a:pt x="151" y="914"/>
                  </a:lnTo>
                  <a:lnTo>
                    <a:pt x="151" y="911"/>
                  </a:lnTo>
                  <a:lnTo>
                    <a:pt x="151" y="911"/>
                  </a:lnTo>
                  <a:lnTo>
                    <a:pt x="151" y="911"/>
                  </a:lnTo>
                  <a:lnTo>
                    <a:pt x="149" y="909"/>
                  </a:lnTo>
                  <a:lnTo>
                    <a:pt x="149" y="907"/>
                  </a:lnTo>
                  <a:lnTo>
                    <a:pt x="149" y="907"/>
                  </a:lnTo>
                  <a:lnTo>
                    <a:pt x="149" y="907"/>
                  </a:lnTo>
                  <a:lnTo>
                    <a:pt x="149" y="904"/>
                  </a:lnTo>
                  <a:lnTo>
                    <a:pt x="149" y="904"/>
                  </a:lnTo>
                  <a:lnTo>
                    <a:pt x="151" y="902"/>
                  </a:lnTo>
                  <a:lnTo>
                    <a:pt x="151" y="902"/>
                  </a:lnTo>
                  <a:lnTo>
                    <a:pt x="149" y="902"/>
                  </a:lnTo>
                  <a:lnTo>
                    <a:pt x="149" y="900"/>
                  </a:lnTo>
                  <a:lnTo>
                    <a:pt x="147" y="897"/>
                  </a:lnTo>
                  <a:lnTo>
                    <a:pt x="147" y="897"/>
                  </a:lnTo>
                  <a:lnTo>
                    <a:pt x="147" y="895"/>
                  </a:lnTo>
                  <a:lnTo>
                    <a:pt x="147" y="895"/>
                  </a:lnTo>
                  <a:lnTo>
                    <a:pt x="144" y="895"/>
                  </a:lnTo>
                  <a:lnTo>
                    <a:pt x="144" y="895"/>
                  </a:lnTo>
                  <a:lnTo>
                    <a:pt x="144" y="892"/>
                  </a:lnTo>
                  <a:lnTo>
                    <a:pt x="147" y="892"/>
                  </a:lnTo>
                  <a:lnTo>
                    <a:pt x="147" y="890"/>
                  </a:lnTo>
                  <a:lnTo>
                    <a:pt x="147" y="890"/>
                  </a:lnTo>
                  <a:lnTo>
                    <a:pt x="147" y="888"/>
                  </a:lnTo>
                  <a:lnTo>
                    <a:pt x="147" y="888"/>
                  </a:lnTo>
                  <a:lnTo>
                    <a:pt x="147" y="885"/>
                  </a:lnTo>
                  <a:lnTo>
                    <a:pt x="147" y="885"/>
                  </a:lnTo>
                  <a:lnTo>
                    <a:pt x="147" y="883"/>
                  </a:lnTo>
                  <a:lnTo>
                    <a:pt x="147" y="883"/>
                  </a:lnTo>
                  <a:lnTo>
                    <a:pt x="147" y="883"/>
                  </a:lnTo>
                  <a:lnTo>
                    <a:pt x="149" y="883"/>
                  </a:lnTo>
                  <a:lnTo>
                    <a:pt x="151" y="881"/>
                  </a:lnTo>
                  <a:lnTo>
                    <a:pt x="154" y="878"/>
                  </a:lnTo>
                  <a:lnTo>
                    <a:pt x="154" y="878"/>
                  </a:lnTo>
                  <a:lnTo>
                    <a:pt x="154" y="876"/>
                  </a:lnTo>
                  <a:lnTo>
                    <a:pt x="156" y="874"/>
                  </a:lnTo>
                  <a:lnTo>
                    <a:pt x="156" y="874"/>
                  </a:lnTo>
                  <a:lnTo>
                    <a:pt x="156" y="871"/>
                  </a:lnTo>
                  <a:lnTo>
                    <a:pt x="156" y="869"/>
                  </a:lnTo>
                  <a:lnTo>
                    <a:pt x="156" y="869"/>
                  </a:lnTo>
                  <a:lnTo>
                    <a:pt x="156" y="869"/>
                  </a:lnTo>
                  <a:lnTo>
                    <a:pt x="156" y="869"/>
                  </a:lnTo>
                  <a:lnTo>
                    <a:pt x="159" y="869"/>
                  </a:lnTo>
                  <a:lnTo>
                    <a:pt x="159" y="869"/>
                  </a:lnTo>
                  <a:lnTo>
                    <a:pt x="159" y="866"/>
                  </a:lnTo>
                  <a:lnTo>
                    <a:pt x="154" y="866"/>
                  </a:lnTo>
                  <a:lnTo>
                    <a:pt x="154" y="864"/>
                  </a:lnTo>
                  <a:lnTo>
                    <a:pt x="154" y="866"/>
                  </a:lnTo>
                  <a:lnTo>
                    <a:pt x="154" y="864"/>
                  </a:lnTo>
                  <a:lnTo>
                    <a:pt x="156" y="864"/>
                  </a:lnTo>
                  <a:lnTo>
                    <a:pt x="154" y="864"/>
                  </a:lnTo>
                  <a:lnTo>
                    <a:pt x="154" y="862"/>
                  </a:lnTo>
                  <a:lnTo>
                    <a:pt x="154" y="862"/>
                  </a:lnTo>
                  <a:lnTo>
                    <a:pt x="154" y="862"/>
                  </a:lnTo>
                  <a:lnTo>
                    <a:pt x="151" y="862"/>
                  </a:lnTo>
                  <a:lnTo>
                    <a:pt x="151" y="862"/>
                  </a:lnTo>
                  <a:lnTo>
                    <a:pt x="151" y="862"/>
                  </a:lnTo>
                  <a:lnTo>
                    <a:pt x="151" y="862"/>
                  </a:lnTo>
                  <a:lnTo>
                    <a:pt x="151" y="857"/>
                  </a:lnTo>
                  <a:lnTo>
                    <a:pt x="149" y="857"/>
                  </a:lnTo>
                  <a:lnTo>
                    <a:pt x="151" y="855"/>
                  </a:lnTo>
                  <a:lnTo>
                    <a:pt x="151" y="855"/>
                  </a:lnTo>
                  <a:lnTo>
                    <a:pt x="149" y="855"/>
                  </a:lnTo>
                  <a:lnTo>
                    <a:pt x="149" y="855"/>
                  </a:lnTo>
                  <a:lnTo>
                    <a:pt x="147" y="855"/>
                  </a:lnTo>
                  <a:lnTo>
                    <a:pt x="147" y="857"/>
                  </a:lnTo>
                  <a:lnTo>
                    <a:pt x="147" y="855"/>
                  </a:lnTo>
                  <a:lnTo>
                    <a:pt x="147" y="855"/>
                  </a:lnTo>
                  <a:lnTo>
                    <a:pt x="149" y="852"/>
                  </a:lnTo>
                  <a:lnTo>
                    <a:pt x="149" y="852"/>
                  </a:lnTo>
                  <a:lnTo>
                    <a:pt x="149" y="850"/>
                  </a:lnTo>
                  <a:lnTo>
                    <a:pt x="147" y="850"/>
                  </a:lnTo>
                  <a:lnTo>
                    <a:pt x="147" y="850"/>
                  </a:lnTo>
                  <a:lnTo>
                    <a:pt x="147" y="850"/>
                  </a:lnTo>
                  <a:lnTo>
                    <a:pt x="144" y="850"/>
                  </a:lnTo>
                  <a:lnTo>
                    <a:pt x="147" y="848"/>
                  </a:lnTo>
                  <a:lnTo>
                    <a:pt x="147" y="848"/>
                  </a:lnTo>
                  <a:lnTo>
                    <a:pt x="147" y="848"/>
                  </a:lnTo>
                  <a:lnTo>
                    <a:pt x="144" y="848"/>
                  </a:lnTo>
                  <a:lnTo>
                    <a:pt x="144" y="848"/>
                  </a:lnTo>
                  <a:lnTo>
                    <a:pt x="147" y="848"/>
                  </a:lnTo>
                  <a:lnTo>
                    <a:pt x="147" y="848"/>
                  </a:lnTo>
                  <a:lnTo>
                    <a:pt x="149" y="845"/>
                  </a:lnTo>
                  <a:lnTo>
                    <a:pt x="147" y="845"/>
                  </a:lnTo>
                  <a:lnTo>
                    <a:pt x="147" y="843"/>
                  </a:lnTo>
                  <a:lnTo>
                    <a:pt x="147" y="843"/>
                  </a:lnTo>
                  <a:lnTo>
                    <a:pt x="149" y="843"/>
                  </a:lnTo>
                  <a:lnTo>
                    <a:pt x="147" y="843"/>
                  </a:lnTo>
                  <a:lnTo>
                    <a:pt x="144" y="843"/>
                  </a:lnTo>
                  <a:lnTo>
                    <a:pt x="144" y="843"/>
                  </a:lnTo>
                  <a:lnTo>
                    <a:pt x="144" y="843"/>
                  </a:lnTo>
                  <a:lnTo>
                    <a:pt x="142" y="843"/>
                  </a:lnTo>
                  <a:lnTo>
                    <a:pt x="140" y="843"/>
                  </a:lnTo>
                  <a:lnTo>
                    <a:pt x="142" y="841"/>
                  </a:lnTo>
                  <a:lnTo>
                    <a:pt x="142" y="841"/>
                  </a:lnTo>
                  <a:lnTo>
                    <a:pt x="140" y="841"/>
                  </a:lnTo>
                  <a:lnTo>
                    <a:pt x="137" y="841"/>
                  </a:lnTo>
                  <a:lnTo>
                    <a:pt x="137" y="841"/>
                  </a:lnTo>
                  <a:lnTo>
                    <a:pt x="137" y="841"/>
                  </a:lnTo>
                  <a:lnTo>
                    <a:pt x="137" y="841"/>
                  </a:lnTo>
                  <a:lnTo>
                    <a:pt x="135" y="841"/>
                  </a:lnTo>
                  <a:lnTo>
                    <a:pt x="135" y="838"/>
                  </a:lnTo>
                  <a:lnTo>
                    <a:pt x="135" y="838"/>
                  </a:lnTo>
                  <a:lnTo>
                    <a:pt x="135" y="838"/>
                  </a:lnTo>
                  <a:lnTo>
                    <a:pt x="133" y="838"/>
                  </a:lnTo>
                  <a:lnTo>
                    <a:pt x="133" y="836"/>
                  </a:lnTo>
                  <a:lnTo>
                    <a:pt x="133" y="838"/>
                  </a:lnTo>
                  <a:lnTo>
                    <a:pt x="130" y="838"/>
                  </a:lnTo>
                  <a:lnTo>
                    <a:pt x="130" y="836"/>
                  </a:lnTo>
                  <a:lnTo>
                    <a:pt x="130" y="836"/>
                  </a:lnTo>
                  <a:lnTo>
                    <a:pt x="130" y="836"/>
                  </a:lnTo>
                  <a:lnTo>
                    <a:pt x="130" y="833"/>
                  </a:lnTo>
                  <a:lnTo>
                    <a:pt x="128" y="833"/>
                  </a:lnTo>
                  <a:lnTo>
                    <a:pt x="128" y="833"/>
                  </a:lnTo>
                  <a:lnTo>
                    <a:pt x="125" y="833"/>
                  </a:lnTo>
                  <a:lnTo>
                    <a:pt x="125" y="836"/>
                  </a:lnTo>
                  <a:lnTo>
                    <a:pt x="125" y="836"/>
                  </a:lnTo>
                  <a:lnTo>
                    <a:pt x="125" y="833"/>
                  </a:lnTo>
                  <a:lnTo>
                    <a:pt x="125" y="836"/>
                  </a:lnTo>
                  <a:lnTo>
                    <a:pt x="123" y="833"/>
                  </a:lnTo>
                  <a:lnTo>
                    <a:pt x="121" y="833"/>
                  </a:lnTo>
                  <a:lnTo>
                    <a:pt x="121" y="831"/>
                  </a:lnTo>
                  <a:lnTo>
                    <a:pt x="118" y="831"/>
                  </a:lnTo>
                  <a:lnTo>
                    <a:pt x="118" y="833"/>
                  </a:lnTo>
                  <a:lnTo>
                    <a:pt x="118" y="831"/>
                  </a:lnTo>
                  <a:lnTo>
                    <a:pt x="118" y="829"/>
                  </a:lnTo>
                  <a:lnTo>
                    <a:pt x="116" y="829"/>
                  </a:lnTo>
                  <a:lnTo>
                    <a:pt x="116" y="829"/>
                  </a:lnTo>
                  <a:lnTo>
                    <a:pt x="118" y="829"/>
                  </a:lnTo>
                  <a:lnTo>
                    <a:pt x="118" y="826"/>
                  </a:lnTo>
                  <a:lnTo>
                    <a:pt x="118" y="826"/>
                  </a:lnTo>
                  <a:lnTo>
                    <a:pt x="118" y="826"/>
                  </a:lnTo>
                  <a:lnTo>
                    <a:pt x="118" y="824"/>
                  </a:lnTo>
                  <a:lnTo>
                    <a:pt x="118" y="824"/>
                  </a:lnTo>
                  <a:lnTo>
                    <a:pt x="118" y="824"/>
                  </a:lnTo>
                  <a:lnTo>
                    <a:pt x="118" y="824"/>
                  </a:lnTo>
                  <a:lnTo>
                    <a:pt x="121" y="824"/>
                  </a:lnTo>
                  <a:lnTo>
                    <a:pt x="118" y="824"/>
                  </a:lnTo>
                  <a:lnTo>
                    <a:pt x="121" y="822"/>
                  </a:lnTo>
                  <a:lnTo>
                    <a:pt x="121" y="822"/>
                  </a:lnTo>
                  <a:lnTo>
                    <a:pt x="121" y="822"/>
                  </a:lnTo>
                  <a:lnTo>
                    <a:pt x="123" y="819"/>
                  </a:lnTo>
                  <a:lnTo>
                    <a:pt x="123" y="819"/>
                  </a:lnTo>
                  <a:lnTo>
                    <a:pt x="123" y="819"/>
                  </a:lnTo>
                  <a:lnTo>
                    <a:pt x="123" y="819"/>
                  </a:lnTo>
                  <a:lnTo>
                    <a:pt x="125" y="819"/>
                  </a:lnTo>
                  <a:lnTo>
                    <a:pt x="125" y="817"/>
                  </a:lnTo>
                  <a:lnTo>
                    <a:pt x="125" y="817"/>
                  </a:lnTo>
                  <a:lnTo>
                    <a:pt x="125" y="817"/>
                  </a:lnTo>
                  <a:lnTo>
                    <a:pt x="125" y="815"/>
                  </a:lnTo>
                  <a:lnTo>
                    <a:pt x="128" y="815"/>
                  </a:lnTo>
                  <a:lnTo>
                    <a:pt x="128" y="815"/>
                  </a:lnTo>
                  <a:lnTo>
                    <a:pt x="130" y="812"/>
                  </a:lnTo>
                  <a:lnTo>
                    <a:pt x="133" y="815"/>
                  </a:lnTo>
                  <a:lnTo>
                    <a:pt x="133" y="815"/>
                  </a:lnTo>
                  <a:lnTo>
                    <a:pt x="133" y="812"/>
                  </a:lnTo>
                  <a:lnTo>
                    <a:pt x="135" y="812"/>
                  </a:lnTo>
                  <a:lnTo>
                    <a:pt x="137" y="812"/>
                  </a:lnTo>
                  <a:lnTo>
                    <a:pt x="137" y="810"/>
                  </a:lnTo>
                  <a:lnTo>
                    <a:pt x="137" y="810"/>
                  </a:lnTo>
                  <a:lnTo>
                    <a:pt x="137" y="810"/>
                  </a:lnTo>
                  <a:lnTo>
                    <a:pt x="140" y="810"/>
                  </a:lnTo>
                  <a:lnTo>
                    <a:pt x="140" y="807"/>
                  </a:lnTo>
                  <a:lnTo>
                    <a:pt x="144" y="805"/>
                  </a:lnTo>
                  <a:lnTo>
                    <a:pt x="147" y="803"/>
                  </a:lnTo>
                  <a:lnTo>
                    <a:pt x="147" y="805"/>
                  </a:lnTo>
                  <a:lnTo>
                    <a:pt x="147" y="803"/>
                  </a:lnTo>
                  <a:lnTo>
                    <a:pt x="149" y="803"/>
                  </a:lnTo>
                  <a:lnTo>
                    <a:pt x="149" y="803"/>
                  </a:lnTo>
                  <a:lnTo>
                    <a:pt x="154" y="803"/>
                  </a:lnTo>
                  <a:lnTo>
                    <a:pt x="154" y="803"/>
                  </a:lnTo>
                  <a:lnTo>
                    <a:pt x="156" y="800"/>
                  </a:lnTo>
                  <a:lnTo>
                    <a:pt x="156" y="800"/>
                  </a:lnTo>
                  <a:lnTo>
                    <a:pt x="156" y="798"/>
                  </a:lnTo>
                  <a:lnTo>
                    <a:pt x="159" y="798"/>
                  </a:lnTo>
                  <a:lnTo>
                    <a:pt x="159" y="796"/>
                  </a:lnTo>
                  <a:lnTo>
                    <a:pt x="159" y="793"/>
                  </a:lnTo>
                  <a:lnTo>
                    <a:pt x="159" y="793"/>
                  </a:lnTo>
                  <a:lnTo>
                    <a:pt x="161" y="793"/>
                  </a:lnTo>
                  <a:lnTo>
                    <a:pt x="159" y="791"/>
                  </a:lnTo>
                  <a:lnTo>
                    <a:pt x="159" y="789"/>
                  </a:lnTo>
                  <a:lnTo>
                    <a:pt x="161" y="789"/>
                  </a:lnTo>
                  <a:lnTo>
                    <a:pt x="161" y="786"/>
                  </a:lnTo>
                  <a:lnTo>
                    <a:pt x="161" y="786"/>
                  </a:lnTo>
                  <a:lnTo>
                    <a:pt x="161" y="786"/>
                  </a:lnTo>
                  <a:lnTo>
                    <a:pt x="161" y="784"/>
                  </a:lnTo>
                  <a:lnTo>
                    <a:pt x="161" y="784"/>
                  </a:lnTo>
                  <a:lnTo>
                    <a:pt x="161" y="784"/>
                  </a:lnTo>
                  <a:lnTo>
                    <a:pt x="161" y="781"/>
                  </a:lnTo>
                  <a:lnTo>
                    <a:pt x="161" y="781"/>
                  </a:lnTo>
                  <a:lnTo>
                    <a:pt x="161" y="779"/>
                  </a:lnTo>
                  <a:lnTo>
                    <a:pt x="161" y="779"/>
                  </a:lnTo>
                  <a:lnTo>
                    <a:pt x="161" y="777"/>
                  </a:lnTo>
                  <a:lnTo>
                    <a:pt x="161" y="779"/>
                  </a:lnTo>
                  <a:lnTo>
                    <a:pt x="163" y="777"/>
                  </a:lnTo>
                  <a:lnTo>
                    <a:pt x="163" y="777"/>
                  </a:lnTo>
                  <a:lnTo>
                    <a:pt x="163" y="774"/>
                  </a:lnTo>
                  <a:lnTo>
                    <a:pt x="163" y="774"/>
                  </a:lnTo>
                  <a:lnTo>
                    <a:pt x="166" y="772"/>
                  </a:lnTo>
                  <a:lnTo>
                    <a:pt x="166" y="772"/>
                  </a:lnTo>
                  <a:lnTo>
                    <a:pt x="166" y="770"/>
                  </a:lnTo>
                  <a:lnTo>
                    <a:pt x="166" y="770"/>
                  </a:lnTo>
                  <a:lnTo>
                    <a:pt x="166" y="767"/>
                  </a:lnTo>
                  <a:lnTo>
                    <a:pt x="168" y="765"/>
                  </a:lnTo>
                  <a:lnTo>
                    <a:pt x="168" y="765"/>
                  </a:lnTo>
                  <a:lnTo>
                    <a:pt x="168" y="763"/>
                  </a:lnTo>
                  <a:lnTo>
                    <a:pt x="170" y="763"/>
                  </a:lnTo>
                  <a:lnTo>
                    <a:pt x="170" y="763"/>
                  </a:lnTo>
                  <a:lnTo>
                    <a:pt x="173" y="758"/>
                  </a:lnTo>
                  <a:lnTo>
                    <a:pt x="173" y="758"/>
                  </a:lnTo>
                  <a:lnTo>
                    <a:pt x="173" y="755"/>
                  </a:lnTo>
                  <a:lnTo>
                    <a:pt x="173" y="755"/>
                  </a:lnTo>
                  <a:lnTo>
                    <a:pt x="173" y="753"/>
                  </a:lnTo>
                  <a:lnTo>
                    <a:pt x="173" y="753"/>
                  </a:lnTo>
                  <a:lnTo>
                    <a:pt x="170" y="751"/>
                  </a:lnTo>
                  <a:lnTo>
                    <a:pt x="173" y="751"/>
                  </a:lnTo>
                  <a:lnTo>
                    <a:pt x="173" y="748"/>
                  </a:lnTo>
                  <a:lnTo>
                    <a:pt x="173" y="748"/>
                  </a:lnTo>
                  <a:lnTo>
                    <a:pt x="175" y="746"/>
                  </a:lnTo>
                  <a:lnTo>
                    <a:pt x="175" y="746"/>
                  </a:lnTo>
                  <a:lnTo>
                    <a:pt x="177" y="746"/>
                  </a:lnTo>
                  <a:lnTo>
                    <a:pt x="177" y="744"/>
                  </a:lnTo>
                  <a:lnTo>
                    <a:pt x="180" y="744"/>
                  </a:lnTo>
                  <a:lnTo>
                    <a:pt x="180" y="741"/>
                  </a:lnTo>
                  <a:lnTo>
                    <a:pt x="180" y="741"/>
                  </a:lnTo>
                  <a:lnTo>
                    <a:pt x="180" y="739"/>
                  </a:lnTo>
                  <a:lnTo>
                    <a:pt x="182" y="739"/>
                  </a:lnTo>
                  <a:lnTo>
                    <a:pt x="182" y="737"/>
                  </a:lnTo>
                  <a:lnTo>
                    <a:pt x="182" y="737"/>
                  </a:lnTo>
                  <a:lnTo>
                    <a:pt x="182" y="737"/>
                  </a:lnTo>
                  <a:lnTo>
                    <a:pt x="185" y="734"/>
                  </a:lnTo>
                  <a:lnTo>
                    <a:pt x="187" y="737"/>
                  </a:lnTo>
                  <a:lnTo>
                    <a:pt x="187" y="734"/>
                  </a:lnTo>
                  <a:lnTo>
                    <a:pt x="189" y="734"/>
                  </a:lnTo>
                  <a:lnTo>
                    <a:pt x="189" y="734"/>
                  </a:lnTo>
                  <a:lnTo>
                    <a:pt x="189" y="737"/>
                  </a:lnTo>
                  <a:lnTo>
                    <a:pt x="192" y="734"/>
                  </a:lnTo>
                  <a:lnTo>
                    <a:pt x="192" y="734"/>
                  </a:lnTo>
                  <a:lnTo>
                    <a:pt x="194" y="729"/>
                  </a:lnTo>
                  <a:lnTo>
                    <a:pt x="196" y="727"/>
                  </a:lnTo>
                  <a:lnTo>
                    <a:pt x="199" y="722"/>
                  </a:lnTo>
                  <a:lnTo>
                    <a:pt x="196" y="718"/>
                  </a:lnTo>
                  <a:lnTo>
                    <a:pt x="199" y="713"/>
                  </a:lnTo>
                  <a:lnTo>
                    <a:pt x="199" y="711"/>
                  </a:lnTo>
                  <a:lnTo>
                    <a:pt x="196" y="706"/>
                  </a:lnTo>
                  <a:lnTo>
                    <a:pt x="196" y="704"/>
                  </a:lnTo>
                  <a:lnTo>
                    <a:pt x="196" y="704"/>
                  </a:lnTo>
                  <a:lnTo>
                    <a:pt x="199" y="699"/>
                  </a:lnTo>
                  <a:lnTo>
                    <a:pt x="199" y="694"/>
                  </a:lnTo>
                  <a:lnTo>
                    <a:pt x="199" y="692"/>
                  </a:lnTo>
                  <a:lnTo>
                    <a:pt x="199" y="692"/>
                  </a:lnTo>
                  <a:lnTo>
                    <a:pt x="199" y="689"/>
                  </a:lnTo>
                  <a:lnTo>
                    <a:pt x="201" y="687"/>
                  </a:lnTo>
                  <a:lnTo>
                    <a:pt x="201" y="687"/>
                  </a:lnTo>
                  <a:lnTo>
                    <a:pt x="203" y="687"/>
                  </a:lnTo>
                  <a:lnTo>
                    <a:pt x="203" y="685"/>
                  </a:lnTo>
                  <a:lnTo>
                    <a:pt x="203" y="682"/>
                  </a:lnTo>
                  <a:lnTo>
                    <a:pt x="203" y="682"/>
                  </a:lnTo>
                  <a:lnTo>
                    <a:pt x="206" y="680"/>
                  </a:lnTo>
                  <a:lnTo>
                    <a:pt x="208" y="678"/>
                  </a:lnTo>
                  <a:lnTo>
                    <a:pt x="211" y="678"/>
                  </a:lnTo>
                  <a:lnTo>
                    <a:pt x="213" y="675"/>
                  </a:lnTo>
                  <a:lnTo>
                    <a:pt x="215" y="673"/>
                  </a:lnTo>
                  <a:lnTo>
                    <a:pt x="215" y="673"/>
                  </a:lnTo>
                  <a:lnTo>
                    <a:pt x="215" y="673"/>
                  </a:lnTo>
                  <a:lnTo>
                    <a:pt x="218" y="673"/>
                  </a:lnTo>
                  <a:lnTo>
                    <a:pt x="218" y="670"/>
                  </a:lnTo>
                  <a:lnTo>
                    <a:pt x="218" y="670"/>
                  </a:lnTo>
                  <a:lnTo>
                    <a:pt x="220" y="670"/>
                  </a:lnTo>
                  <a:lnTo>
                    <a:pt x="220" y="670"/>
                  </a:lnTo>
                  <a:lnTo>
                    <a:pt x="220" y="670"/>
                  </a:lnTo>
                  <a:lnTo>
                    <a:pt x="222" y="670"/>
                  </a:lnTo>
                  <a:lnTo>
                    <a:pt x="222" y="670"/>
                  </a:lnTo>
                  <a:lnTo>
                    <a:pt x="225" y="673"/>
                  </a:lnTo>
                  <a:lnTo>
                    <a:pt x="227" y="670"/>
                  </a:lnTo>
                  <a:lnTo>
                    <a:pt x="227" y="670"/>
                  </a:lnTo>
                  <a:lnTo>
                    <a:pt x="227" y="668"/>
                  </a:lnTo>
                  <a:lnTo>
                    <a:pt x="227" y="663"/>
                  </a:lnTo>
                  <a:lnTo>
                    <a:pt x="229" y="663"/>
                  </a:lnTo>
                  <a:lnTo>
                    <a:pt x="229" y="661"/>
                  </a:lnTo>
                  <a:lnTo>
                    <a:pt x="229" y="659"/>
                  </a:lnTo>
                  <a:lnTo>
                    <a:pt x="229" y="659"/>
                  </a:lnTo>
                  <a:lnTo>
                    <a:pt x="229" y="659"/>
                  </a:lnTo>
                  <a:lnTo>
                    <a:pt x="232" y="656"/>
                  </a:lnTo>
                  <a:lnTo>
                    <a:pt x="232" y="656"/>
                  </a:lnTo>
                  <a:lnTo>
                    <a:pt x="234" y="654"/>
                  </a:lnTo>
                  <a:lnTo>
                    <a:pt x="237" y="654"/>
                  </a:lnTo>
                  <a:lnTo>
                    <a:pt x="222" y="640"/>
                  </a:lnTo>
                  <a:lnTo>
                    <a:pt x="220" y="640"/>
                  </a:lnTo>
                  <a:lnTo>
                    <a:pt x="220" y="640"/>
                  </a:lnTo>
                  <a:lnTo>
                    <a:pt x="220" y="640"/>
                  </a:lnTo>
                  <a:lnTo>
                    <a:pt x="220" y="637"/>
                  </a:lnTo>
                  <a:lnTo>
                    <a:pt x="220" y="637"/>
                  </a:lnTo>
                  <a:lnTo>
                    <a:pt x="220" y="635"/>
                  </a:lnTo>
                  <a:lnTo>
                    <a:pt x="220" y="633"/>
                  </a:lnTo>
                  <a:lnTo>
                    <a:pt x="220" y="630"/>
                  </a:lnTo>
                  <a:lnTo>
                    <a:pt x="220" y="630"/>
                  </a:lnTo>
                  <a:lnTo>
                    <a:pt x="220" y="628"/>
                  </a:lnTo>
                  <a:lnTo>
                    <a:pt x="220" y="623"/>
                  </a:lnTo>
                  <a:lnTo>
                    <a:pt x="218" y="621"/>
                  </a:lnTo>
                  <a:lnTo>
                    <a:pt x="218" y="621"/>
                  </a:lnTo>
                  <a:lnTo>
                    <a:pt x="218" y="618"/>
                  </a:lnTo>
                  <a:lnTo>
                    <a:pt x="215" y="616"/>
                  </a:lnTo>
                  <a:lnTo>
                    <a:pt x="213" y="616"/>
                  </a:lnTo>
                  <a:lnTo>
                    <a:pt x="213" y="616"/>
                  </a:lnTo>
                  <a:lnTo>
                    <a:pt x="213" y="616"/>
                  </a:lnTo>
                  <a:lnTo>
                    <a:pt x="213" y="616"/>
                  </a:lnTo>
                  <a:lnTo>
                    <a:pt x="211" y="614"/>
                  </a:lnTo>
                  <a:lnTo>
                    <a:pt x="211" y="611"/>
                  </a:lnTo>
                  <a:lnTo>
                    <a:pt x="211" y="611"/>
                  </a:lnTo>
                  <a:lnTo>
                    <a:pt x="211" y="611"/>
                  </a:lnTo>
                  <a:lnTo>
                    <a:pt x="211" y="609"/>
                  </a:lnTo>
                  <a:lnTo>
                    <a:pt x="211" y="609"/>
                  </a:lnTo>
                  <a:lnTo>
                    <a:pt x="211" y="607"/>
                  </a:lnTo>
                  <a:lnTo>
                    <a:pt x="211" y="607"/>
                  </a:lnTo>
                  <a:lnTo>
                    <a:pt x="211" y="607"/>
                  </a:lnTo>
                  <a:lnTo>
                    <a:pt x="211" y="607"/>
                  </a:lnTo>
                  <a:lnTo>
                    <a:pt x="211" y="607"/>
                  </a:lnTo>
                  <a:lnTo>
                    <a:pt x="211" y="604"/>
                  </a:lnTo>
                  <a:lnTo>
                    <a:pt x="208" y="602"/>
                  </a:lnTo>
                  <a:lnTo>
                    <a:pt x="211" y="602"/>
                  </a:lnTo>
                  <a:lnTo>
                    <a:pt x="211" y="602"/>
                  </a:lnTo>
                  <a:lnTo>
                    <a:pt x="211" y="602"/>
                  </a:lnTo>
                  <a:lnTo>
                    <a:pt x="208" y="600"/>
                  </a:lnTo>
                  <a:lnTo>
                    <a:pt x="211" y="597"/>
                  </a:lnTo>
                  <a:lnTo>
                    <a:pt x="208" y="597"/>
                  </a:lnTo>
                  <a:lnTo>
                    <a:pt x="208" y="597"/>
                  </a:lnTo>
                  <a:lnTo>
                    <a:pt x="206" y="595"/>
                  </a:lnTo>
                  <a:lnTo>
                    <a:pt x="203" y="595"/>
                  </a:lnTo>
                  <a:lnTo>
                    <a:pt x="203" y="595"/>
                  </a:lnTo>
                  <a:lnTo>
                    <a:pt x="203" y="595"/>
                  </a:lnTo>
                  <a:lnTo>
                    <a:pt x="201" y="595"/>
                  </a:lnTo>
                  <a:lnTo>
                    <a:pt x="201" y="595"/>
                  </a:lnTo>
                  <a:lnTo>
                    <a:pt x="199" y="595"/>
                  </a:lnTo>
                  <a:lnTo>
                    <a:pt x="199" y="592"/>
                  </a:lnTo>
                  <a:lnTo>
                    <a:pt x="199" y="592"/>
                  </a:lnTo>
                  <a:lnTo>
                    <a:pt x="199" y="592"/>
                  </a:lnTo>
                  <a:lnTo>
                    <a:pt x="196" y="590"/>
                  </a:lnTo>
                  <a:lnTo>
                    <a:pt x="196" y="590"/>
                  </a:lnTo>
                  <a:lnTo>
                    <a:pt x="196" y="590"/>
                  </a:lnTo>
                  <a:lnTo>
                    <a:pt x="196" y="590"/>
                  </a:lnTo>
                  <a:lnTo>
                    <a:pt x="194" y="590"/>
                  </a:lnTo>
                  <a:lnTo>
                    <a:pt x="194" y="590"/>
                  </a:lnTo>
                  <a:lnTo>
                    <a:pt x="194" y="588"/>
                  </a:lnTo>
                  <a:lnTo>
                    <a:pt x="194" y="588"/>
                  </a:lnTo>
                  <a:lnTo>
                    <a:pt x="194" y="585"/>
                  </a:lnTo>
                  <a:lnTo>
                    <a:pt x="194" y="588"/>
                  </a:lnTo>
                  <a:lnTo>
                    <a:pt x="194" y="585"/>
                  </a:lnTo>
                  <a:lnTo>
                    <a:pt x="194" y="585"/>
                  </a:lnTo>
                  <a:lnTo>
                    <a:pt x="194" y="585"/>
                  </a:lnTo>
                  <a:lnTo>
                    <a:pt x="194" y="583"/>
                  </a:lnTo>
                  <a:lnTo>
                    <a:pt x="194" y="583"/>
                  </a:lnTo>
                  <a:lnTo>
                    <a:pt x="194" y="583"/>
                  </a:lnTo>
                  <a:lnTo>
                    <a:pt x="194" y="583"/>
                  </a:lnTo>
                  <a:lnTo>
                    <a:pt x="194" y="581"/>
                  </a:lnTo>
                  <a:lnTo>
                    <a:pt x="194" y="581"/>
                  </a:lnTo>
                  <a:lnTo>
                    <a:pt x="194" y="581"/>
                  </a:lnTo>
                  <a:lnTo>
                    <a:pt x="194" y="581"/>
                  </a:lnTo>
                  <a:lnTo>
                    <a:pt x="194" y="581"/>
                  </a:lnTo>
                  <a:lnTo>
                    <a:pt x="194" y="578"/>
                  </a:lnTo>
                  <a:lnTo>
                    <a:pt x="194" y="578"/>
                  </a:lnTo>
                  <a:lnTo>
                    <a:pt x="194" y="578"/>
                  </a:lnTo>
                  <a:lnTo>
                    <a:pt x="194" y="576"/>
                  </a:lnTo>
                  <a:lnTo>
                    <a:pt x="194" y="576"/>
                  </a:lnTo>
                  <a:lnTo>
                    <a:pt x="194" y="576"/>
                  </a:lnTo>
                  <a:lnTo>
                    <a:pt x="192" y="574"/>
                  </a:lnTo>
                  <a:lnTo>
                    <a:pt x="194" y="571"/>
                  </a:lnTo>
                  <a:lnTo>
                    <a:pt x="192" y="571"/>
                  </a:lnTo>
                  <a:lnTo>
                    <a:pt x="192" y="571"/>
                  </a:lnTo>
                  <a:lnTo>
                    <a:pt x="192" y="569"/>
                  </a:lnTo>
                  <a:lnTo>
                    <a:pt x="192" y="567"/>
                  </a:lnTo>
                  <a:lnTo>
                    <a:pt x="192" y="567"/>
                  </a:lnTo>
                  <a:lnTo>
                    <a:pt x="192" y="567"/>
                  </a:lnTo>
                  <a:lnTo>
                    <a:pt x="192" y="564"/>
                  </a:lnTo>
                  <a:lnTo>
                    <a:pt x="192" y="564"/>
                  </a:lnTo>
                  <a:lnTo>
                    <a:pt x="192" y="562"/>
                  </a:lnTo>
                  <a:lnTo>
                    <a:pt x="194" y="562"/>
                  </a:lnTo>
                  <a:lnTo>
                    <a:pt x="192" y="562"/>
                  </a:lnTo>
                  <a:lnTo>
                    <a:pt x="194" y="559"/>
                  </a:lnTo>
                  <a:lnTo>
                    <a:pt x="192" y="559"/>
                  </a:lnTo>
                  <a:lnTo>
                    <a:pt x="194" y="557"/>
                  </a:lnTo>
                  <a:lnTo>
                    <a:pt x="192" y="557"/>
                  </a:lnTo>
                  <a:lnTo>
                    <a:pt x="194" y="555"/>
                  </a:lnTo>
                  <a:lnTo>
                    <a:pt x="192" y="555"/>
                  </a:lnTo>
                  <a:lnTo>
                    <a:pt x="194" y="555"/>
                  </a:lnTo>
                  <a:lnTo>
                    <a:pt x="194" y="555"/>
                  </a:lnTo>
                  <a:lnTo>
                    <a:pt x="194" y="555"/>
                  </a:lnTo>
                  <a:lnTo>
                    <a:pt x="194" y="552"/>
                  </a:lnTo>
                  <a:lnTo>
                    <a:pt x="196" y="552"/>
                  </a:lnTo>
                  <a:lnTo>
                    <a:pt x="194" y="552"/>
                  </a:lnTo>
                  <a:lnTo>
                    <a:pt x="196" y="552"/>
                  </a:lnTo>
                  <a:lnTo>
                    <a:pt x="194" y="552"/>
                  </a:lnTo>
                  <a:lnTo>
                    <a:pt x="196" y="550"/>
                  </a:lnTo>
                  <a:lnTo>
                    <a:pt x="196" y="552"/>
                  </a:lnTo>
                  <a:lnTo>
                    <a:pt x="196" y="550"/>
                  </a:lnTo>
                  <a:lnTo>
                    <a:pt x="199" y="550"/>
                  </a:lnTo>
                  <a:lnTo>
                    <a:pt x="199" y="550"/>
                  </a:lnTo>
                  <a:lnTo>
                    <a:pt x="201" y="548"/>
                  </a:lnTo>
                  <a:lnTo>
                    <a:pt x="201" y="548"/>
                  </a:lnTo>
                  <a:lnTo>
                    <a:pt x="201" y="545"/>
                  </a:lnTo>
                  <a:lnTo>
                    <a:pt x="203" y="543"/>
                  </a:lnTo>
                  <a:lnTo>
                    <a:pt x="203" y="543"/>
                  </a:lnTo>
                  <a:lnTo>
                    <a:pt x="203" y="543"/>
                  </a:lnTo>
                  <a:lnTo>
                    <a:pt x="203" y="543"/>
                  </a:lnTo>
                  <a:lnTo>
                    <a:pt x="206" y="543"/>
                  </a:lnTo>
                  <a:lnTo>
                    <a:pt x="206" y="541"/>
                  </a:lnTo>
                  <a:lnTo>
                    <a:pt x="208" y="541"/>
                  </a:lnTo>
                  <a:lnTo>
                    <a:pt x="208" y="538"/>
                  </a:lnTo>
                  <a:lnTo>
                    <a:pt x="211" y="536"/>
                  </a:lnTo>
                  <a:lnTo>
                    <a:pt x="213" y="536"/>
                  </a:lnTo>
                  <a:lnTo>
                    <a:pt x="215" y="533"/>
                  </a:lnTo>
                  <a:lnTo>
                    <a:pt x="215" y="533"/>
                  </a:lnTo>
                  <a:lnTo>
                    <a:pt x="215" y="533"/>
                  </a:lnTo>
                  <a:lnTo>
                    <a:pt x="218" y="533"/>
                  </a:lnTo>
                  <a:lnTo>
                    <a:pt x="218" y="531"/>
                  </a:lnTo>
                  <a:lnTo>
                    <a:pt x="218" y="529"/>
                  </a:lnTo>
                  <a:lnTo>
                    <a:pt x="218" y="529"/>
                  </a:lnTo>
                  <a:lnTo>
                    <a:pt x="218" y="526"/>
                  </a:lnTo>
                  <a:lnTo>
                    <a:pt x="218" y="524"/>
                  </a:lnTo>
                  <a:lnTo>
                    <a:pt x="218" y="524"/>
                  </a:lnTo>
                  <a:lnTo>
                    <a:pt x="218" y="524"/>
                  </a:lnTo>
                  <a:lnTo>
                    <a:pt x="218" y="524"/>
                  </a:lnTo>
                  <a:lnTo>
                    <a:pt x="218" y="522"/>
                  </a:lnTo>
                  <a:lnTo>
                    <a:pt x="218" y="519"/>
                  </a:lnTo>
                  <a:lnTo>
                    <a:pt x="215" y="517"/>
                  </a:lnTo>
                  <a:lnTo>
                    <a:pt x="213" y="517"/>
                  </a:lnTo>
                  <a:lnTo>
                    <a:pt x="213" y="515"/>
                  </a:lnTo>
                  <a:lnTo>
                    <a:pt x="211" y="512"/>
                  </a:lnTo>
                  <a:lnTo>
                    <a:pt x="211" y="510"/>
                  </a:lnTo>
                  <a:lnTo>
                    <a:pt x="211" y="507"/>
                  </a:lnTo>
                  <a:lnTo>
                    <a:pt x="211" y="505"/>
                  </a:lnTo>
                  <a:lnTo>
                    <a:pt x="211" y="503"/>
                  </a:lnTo>
                  <a:lnTo>
                    <a:pt x="211" y="503"/>
                  </a:lnTo>
                  <a:lnTo>
                    <a:pt x="211" y="503"/>
                  </a:lnTo>
                  <a:lnTo>
                    <a:pt x="213" y="503"/>
                  </a:lnTo>
                  <a:lnTo>
                    <a:pt x="211" y="503"/>
                  </a:lnTo>
                  <a:lnTo>
                    <a:pt x="211" y="500"/>
                  </a:lnTo>
                  <a:lnTo>
                    <a:pt x="211" y="500"/>
                  </a:lnTo>
                  <a:lnTo>
                    <a:pt x="208" y="500"/>
                  </a:lnTo>
                  <a:lnTo>
                    <a:pt x="208" y="498"/>
                  </a:lnTo>
                  <a:lnTo>
                    <a:pt x="208" y="498"/>
                  </a:lnTo>
                  <a:lnTo>
                    <a:pt x="208" y="498"/>
                  </a:lnTo>
                  <a:lnTo>
                    <a:pt x="211" y="498"/>
                  </a:lnTo>
                  <a:lnTo>
                    <a:pt x="208" y="496"/>
                  </a:lnTo>
                  <a:lnTo>
                    <a:pt x="211" y="496"/>
                  </a:lnTo>
                  <a:lnTo>
                    <a:pt x="211" y="493"/>
                  </a:lnTo>
                  <a:lnTo>
                    <a:pt x="208" y="493"/>
                  </a:lnTo>
                  <a:lnTo>
                    <a:pt x="208" y="493"/>
                  </a:lnTo>
                  <a:lnTo>
                    <a:pt x="208" y="493"/>
                  </a:lnTo>
                  <a:lnTo>
                    <a:pt x="206" y="493"/>
                  </a:lnTo>
                  <a:lnTo>
                    <a:pt x="206" y="493"/>
                  </a:lnTo>
                  <a:lnTo>
                    <a:pt x="203" y="493"/>
                  </a:lnTo>
                  <a:lnTo>
                    <a:pt x="203" y="493"/>
                  </a:lnTo>
                  <a:lnTo>
                    <a:pt x="203" y="493"/>
                  </a:lnTo>
                  <a:lnTo>
                    <a:pt x="201" y="493"/>
                  </a:lnTo>
                  <a:lnTo>
                    <a:pt x="199" y="493"/>
                  </a:lnTo>
                  <a:lnTo>
                    <a:pt x="199" y="491"/>
                  </a:lnTo>
                  <a:lnTo>
                    <a:pt x="196" y="491"/>
                  </a:lnTo>
                  <a:lnTo>
                    <a:pt x="196" y="491"/>
                  </a:lnTo>
                  <a:lnTo>
                    <a:pt x="196" y="491"/>
                  </a:lnTo>
                  <a:lnTo>
                    <a:pt x="194" y="491"/>
                  </a:lnTo>
                  <a:lnTo>
                    <a:pt x="194" y="491"/>
                  </a:lnTo>
                  <a:lnTo>
                    <a:pt x="194" y="491"/>
                  </a:lnTo>
                  <a:lnTo>
                    <a:pt x="192" y="491"/>
                  </a:lnTo>
                  <a:lnTo>
                    <a:pt x="192" y="491"/>
                  </a:lnTo>
                  <a:lnTo>
                    <a:pt x="189" y="491"/>
                  </a:lnTo>
                  <a:lnTo>
                    <a:pt x="189" y="491"/>
                  </a:lnTo>
                  <a:lnTo>
                    <a:pt x="187" y="491"/>
                  </a:lnTo>
                  <a:lnTo>
                    <a:pt x="185" y="491"/>
                  </a:lnTo>
                  <a:lnTo>
                    <a:pt x="185" y="491"/>
                  </a:lnTo>
                  <a:lnTo>
                    <a:pt x="182" y="493"/>
                  </a:lnTo>
                  <a:lnTo>
                    <a:pt x="182" y="491"/>
                  </a:lnTo>
                  <a:lnTo>
                    <a:pt x="180" y="491"/>
                  </a:lnTo>
                  <a:lnTo>
                    <a:pt x="180" y="491"/>
                  </a:lnTo>
                  <a:lnTo>
                    <a:pt x="177" y="491"/>
                  </a:lnTo>
                  <a:lnTo>
                    <a:pt x="175" y="491"/>
                  </a:lnTo>
                  <a:lnTo>
                    <a:pt x="173" y="491"/>
                  </a:lnTo>
                  <a:lnTo>
                    <a:pt x="173" y="491"/>
                  </a:lnTo>
                  <a:lnTo>
                    <a:pt x="173" y="489"/>
                  </a:lnTo>
                  <a:lnTo>
                    <a:pt x="173" y="489"/>
                  </a:lnTo>
                  <a:lnTo>
                    <a:pt x="173" y="486"/>
                  </a:lnTo>
                  <a:lnTo>
                    <a:pt x="173" y="486"/>
                  </a:lnTo>
                  <a:lnTo>
                    <a:pt x="170" y="486"/>
                  </a:lnTo>
                  <a:lnTo>
                    <a:pt x="170" y="486"/>
                  </a:lnTo>
                  <a:lnTo>
                    <a:pt x="170" y="484"/>
                  </a:lnTo>
                  <a:lnTo>
                    <a:pt x="168" y="486"/>
                  </a:lnTo>
                  <a:lnTo>
                    <a:pt x="168" y="486"/>
                  </a:lnTo>
                  <a:lnTo>
                    <a:pt x="166" y="489"/>
                  </a:lnTo>
                  <a:lnTo>
                    <a:pt x="163" y="489"/>
                  </a:lnTo>
                  <a:lnTo>
                    <a:pt x="163" y="489"/>
                  </a:lnTo>
                  <a:lnTo>
                    <a:pt x="163" y="491"/>
                  </a:lnTo>
                  <a:lnTo>
                    <a:pt x="163" y="491"/>
                  </a:lnTo>
                  <a:lnTo>
                    <a:pt x="163" y="491"/>
                  </a:lnTo>
                  <a:lnTo>
                    <a:pt x="161" y="491"/>
                  </a:lnTo>
                  <a:lnTo>
                    <a:pt x="161" y="491"/>
                  </a:lnTo>
                  <a:lnTo>
                    <a:pt x="159" y="491"/>
                  </a:lnTo>
                  <a:lnTo>
                    <a:pt x="159" y="491"/>
                  </a:lnTo>
                  <a:lnTo>
                    <a:pt x="156" y="489"/>
                  </a:lnTo>
                  <a:lnTo>
                    <a:pt x="156" y="489"/>
                  </a:lnTo>
                  <a:lnTo>
                    <a:pt x="156" y="489"/>
                  </a:lnTo>
                  <a:lnTo>
                    <a:pt x="156" y="486"/>
                  </a:lnTo>
                  <a:lnTo>
                    <a:pt x="156" y="486"/>
                  </a:lnTo>
                  <a:lnTo>
                    <a:pt x="154" y="486"/>
                  </a:lnTo>
                  <a:lnTo>
                    <a:pt x="156" y="484"/>
                  </a:lnTo>
                  <a:lnTo>
                    <a:pt x="154" y="484"/>
                  </a:lnTo>
                  <a:lnTo>
                    <a:pt x="154" y="481"/>
                  </a:lnTo>
                  <a:lnTo>
                    <a:pt x="151" y="484"/>
                  </a:lnTo>
                  <a:lnTo>
                    <a:pt x="151" y="484"/>
                  </a:lnTo>
                  <a:lnTo>
                    <a:pt x="151" y="479"/>
                  </a:lnTo>
                  <a:lnTo>
                    <a:pt x="151" y="479"/>
                  </a:lnTo>
                  <a:lnTo>
                    <a:pt x="151" y="479"/>
                  </a:lnTo>
                  <a:lnTo>
                    <a:pt x="151" y="477"/>
                  </a:lnTo>
                  <a:lnTo>
                    <a:pt x="149" y="477"/>
                  </a:lnTo>
                  <a:lnTo>
                    <a:pt x="81" y="477"/>
                  </a:lnTo>
                  <a:lnTo>
                    <a:pt x="26" y="477"/>
                  </a:lnTo>
                  <a:lnTo>
                    <a:pt x="10" y="474"/>
                  </a:lnTo>
                  <a:lnTo>
                    <a:pt x="10" y="474"/>
                  </a:lnTo>
                  <a:lnTo>
                    <a:pt x="12" y="474"/>
                  </a:lnTo>
                  <a:lnTo>
                    <a:pt x="14" y="474"/>
                  </a:lnTo>
                  <a:lnTo>
                    <a:pt x="14" y="472"/>
                  </a:lnTo>
                  <a:lnTo>
                    <a:pt x="14" y="472"/>
                  </a:lnTo>
                  <a:lnTo>
                    <a:pt x="14" y="470"/>
                  </a:lnTo>
                  <a:lnTo>
                    <a:pt x="14" y="467"/>
                  </a:lnTo>
                  <a:lnTo>
                    <a:pt x="14" y="465"/>
                  </a:lnTo>
                  <a:lnTo>
                    <a:pt x="14" y="465"/>
                  </a:lnTo>
                  <a:lnTo>
                    <a:pt x="14" y="463"/>
                  </a:lnTo>
                  <a:lnTo>
                    <a:pt x="14" y="463"/>
                  </a:lnTo>
                  <a:lnTo>
                    <a:pt x="14" y="463"/>
                  </a:lnTo>
                  <a:lnTo>
                    <a:pt x="14" y="460"/>
                  </a:lnTo>
                  <a:lnTo>
                    <a:pt x="14" y="458"/>
                  </a:lnTo>
                  <a:lnTo>
                    <a:pt x="17" y="455"/>
                  </a:lnTo>
                  <a:lnTo>
                    <a:pt x="17" y="453"/>
                  </a:lnTo>
                  <a:lnTo>
                    <a:pt x="17" y="453"/>
                  </a:lnTo>
                  <a:lnTo>
                    <a:pt x="17" y="451"/>
                  </a:lnTo>
                  <a:lnTo>
                    <a:pt x="17" y="451"/>
                  </a:lnTo>
                  <a:lnTo>
                    <a:pt x="17" y="448"/>
                  </a:lnTo>
                  <a:lnTo>
                    <a:pt x="17" y="451"/>
                  </a:lnTo>
                  <a:lnTo>
                    <a:pt x="19" y="451"/>
                  </a:lnTo>
                  <a:lnTo>
                    <a:pt x="19" y="451"/>
                  </a:lnTo>
                  <a:lnTo>
                    <a:pt x="19" y="451"/>
                  </a:lnTo>
                  <a:lnTo>
                    <a:pt x="19" y="451"/>
                  </a:lnTo>
                  <a:lnTo>
                    <a:pt x="19" y="446"/>
                  </a:lnTo>
                  <a:lnTo>
                    <a:pt x="19" y="446"/>
                  </a:lnTo>
                  <a:lnTo>
                    <a:pt x="19" y="444"/>
                  </a:lnTo>
                  <a:lnTo>
                    <a:pt x="19" y="444"/>
                  </a:lnTo>
                  <a:lnTo>
                    <a:pt x="19" y="441"/>
                  </a:lnTo>
                  <a:lnTo>
                    <a:pt x="19" y="441"/>
                  </a:lnTo>
                  <a:lnTo>
                    <a:pt x="19" y="441"/>
                  </a:lnTo>
                  <a:lnTo>
                    <a:pt x="19" y="441"/>
                  </a:lnTo>
                  <a:lnTo>
                    <a:pt x="17" y="439"/>
                  </a:lnTo>
                  <a:lnTo>
                    <a:pt x="17" y="437"/>
                  </a:lnTo>
                  <a:lnTo>
                    <a:pt x="19" y="434"/>
                  </a:lnTo>
                  <a:lnTo>
                    <a:pt x="19" y="434"/>
                  </a:lnTo>
                  <a:lnTo>
                    <a:pt x="19" y="434"/>
                  </a:lnTo>
                  <a:lnTo>
                    <a:pt x="19" y="432"/>
                  </a:lnTo>
                  <a:lnTo>
                    <a:pt x="19" y="429"/>
                  </a:lnTo>
                  <a:lnTo>
                    <a:pt x="19" y="429"/>
                  </a:lnTo>
                  <a:lnTo>
                    <a:pt x="19" y="429"/>
                  </a:lnTo>
                  <a:lnTo>
                    <a:pt x="19" y="427"/>
                  </a:lnTo>
                  <a:lnTo>
                    <a:pt x="19" y="425"/>
                  </a:lnTo>
                  <a:lnTo>
                    <a:pt x="19" y="425"/>
                  </a:lnTo>
                  <a:lnTo>
                    <a:pt x="19" y="420"/>
                  </a:lnTo>
                  <a:lnTo>
                    <a:pt x="22" y="420"/>
                  </a:lnTo>
                  <a:lnTo>
                    <a:pt x="22" y="418"/>
                  </a:lnTo>
                  <a:lnTo>
                    <a:pt x="19" y="415"/>
                  </a:lnTo>
                  <a:lnTo>
                    <a:pt x="19" y="411"/>
                  </a:lnTo>
                  <a:lnTo>
                    <a:pt x="22" y="408"/>
                  </a:lnTo>
                  <a:lnTo>
                    <a:pt x="19" y="406"/>
                  </a:lnTo>
                  <a:lnTo>
                    <a:pt x="22" y="406"/>
                  </a:lnTo>
                  <a:lnTo>
                    <a:pt x="22" y="401"/>
                  </a:lnTo>
                  <a:lnTo>
                    <a:pt x="22" y="401"/>
                  </a:lnTo>
                  <a:lnTo>
                    <a:pt x="19" y="401"/>
                  </a:lnTo>
                  <a:lnTo>
                    <a:pt x="19" y="401"/>
                  </a:lnTo>
                  <a:lnTo>
                    <a:pt x="22" y="399"/>
                  </a:lnTo>
                  <a:lnTo>
                    <a:pt x="19" y="399"/>
                  </a:lnTo>
                  <a:lnTo>
                    <a:pt x="19" y="399"/>
                  </a:lnTo>
                  <a:lnTo>
                    <a:pt x="17" y="399"/>
                  </a:lnTo>
                  <a:lnTo>
                    <a:pt x="17" y="396"/>
                  </a:lnTo>
                  <a:lnTo>
                    <a:pt x="17" y="392"/>
                  </a:lnTo>
                  <a:lnTo>
                    <a:pt x="17" y="392"/>
                  </a:lnTo>
                  <a:lnTo>
                    <a:pt x="14" y="389"/>
                  </a:lnTo>
                  <a:lnTo>
                    <a:pt x="14" y="389"/>
                  </a:lnTo>
                  <a:lnTo>
                    <a:pt x="12" y="389"/>
                  </a:lnTo>
                  <a:lnTo>
                    <a:pt x="12" y="389"/>
                  </a:lnTo>
                  <a:lnTo>
                    <a:pt x="10" y="389"/>
                  </a:lnTo>
                  <a:lnTo>
                    <a:pt x="10" y="387"/>
                  </a:lnTo>
                  <a:lnTo>
                    <a:pt x="12" y="387"/>
                  </a:lnTo>
                  <a:lnTo>
                    <a:pt x="10" y="382"/>
                  </a:lnTo>
                  <a:lnTo>
                    <a:pt x="7" y="380"/>
                  </a:lnTo>
                  <a:lnTo>
                    <a:pt x="7" y="380"/>
                  </a:lnTo>
                  <a:lnTo>
                    <a:pt x="7" y="378"/>
                  </a:lnTo>
                  <a:lnTo>
                    <a:pt x="7" y="375"/>
                  </a:lnTo>
                  <a:lnTo>
                    <a:pt x="7" y="373"/>
                  </a:lnTo>
                  <a:lnTo>
                    <a:pt x="10" y="373"/>
                  </a:lnTo>
                  <a:lnTo>
                    <a:pt x="10" y="373"/>
                  </a:lnTo>
                  <a:lnTo>
                    <a:pt x="10" y="370"/>
                  </a:lnTo>
                  <a:lnTo>
                    <a:pt x="10" y="370"/>
                  </a:lnTo>
                  <a:lnTo>
                    <a:pt x="7" y="368"/>
                  </a:lnTo>
                  <a:lnTo>
                    <a:pt x="7" y="368"/>
                  </a:lnTo>
                  <a:lnTo>
                    <a:pt x="5" y="368"/>
                  </a:lnTo>
                  <a:lnTo>
                    <a:pt x="5" y="368"/>
                  </a:lnTo>
                  <a:lnTo>
                    <a:pt x="5" y="363"/>
                  </a:lnTo>
                  <a:lnTo>
                    <a:pt x="5" y="361"/>
                  </a:lnTo>
                  <a:lnTo>
                    <a:pt x="7" y="359"/>
                  </a:lnTo>
                  <a:lnTo>
                    <a:pt x="7" y="359"/>
                  </a:lnTo>
                  <a:lnTo>
                    <a:pt x="7" y="359"/>
                  </a:lnTo>
                  <a:lnTo>
                    <a:pt x="7" y="354"/>
                  </a:lnTo>
                  <a:lnTo>
                    <a:pt x="7" y="354"/>
                  </a:lnTo>
                  <a:lnTo>
                    <a:pt x="7" y="354"/>
                  </a:lnTo>
                  <a:lnTo>
                    <a:pt x="10" y="352"/>
                  </a:lnTo>
                  <a:lnTo>
                    <a:pt x="12" y="347"/>
                  </a:lnTo>
                  <a:lnTo>
                    <a:pt x="12" y="347"/>
                  </a:lnTo>
                  <a:lnTo>
                    <a:pt x="14" y="344"/>
                  </a:lnTo>
                  <a:lnTo>
                    <a:pt x="14" y="342"/>
                  </a:lnTo>
                  <a:lnTo>
                    <a:pt x="12" y="342"/>
                  </a:lnTo>
                  <a:lnTo>
                    <a:pt x="14" y="340"/>
                  </a:lnTo>
                  <a:lnTo>
                    <a:pt x="14" y="340"/>
                  </a:lnTo>
                  <a:lnTo>
                    <a:pt x="14" y="340"/>
                  </a:lnTo>
                  <a:lnTo>
                    <a:pt x="14" y="337"/>
                  </a:lnTo>
                  <a:lnTo>
                    <a:pt x="14" y="337"/>
                  </a:lnTo>
                  <a:lnTo>
                    <a:pt x="14" y="335"/>
                  </a:lnTo>
                  <a:lnTo>
                    <a:pt x="17" y="333"/>
                  </a:lnTo>
                  <a:lnTo>
                    <a:pt x="17" y="330"/>
                  </a:lnTo>
                  <a:lnTo>
                    <a:pt x="17" y="328"/>
                  </a:lnTo>
                  <a:lnTo>
                    <a:pt x="14" y="326"/>
                  </a:lnTo>
                  <a:lnTo>
                    <a:pt x="14" y="323"/>
                  </a:lnTo>
                  <a:lnTo>
                    <a:pt x="14" y="323"/>
                  </a:lnTo>
                  <a:lnTo>
                    <a:pt x="14" y="321"/>
                  </a:lnTo>
                  <a:lnTo>
                    <a:pt x="14" y="321"/>
                  </a:lnTo>
                  <a:lnTo>
                    <a:pt x="12" y="318"/>
                  </a:lnTo>
                  <a:lnTo>
                    <a:pt x="10" y="318"/>
                  </a:lnTo>
                  <a:lnTo>
                    <a:pt x="14" y="316"/>
                  </a:lnTo>
                  <a:lnTo>
                    <a:pt x="14" y="314"/>
                  </a:lnTo>
                  <a:lnTo>
                    <a:pt x="10" y="311"/>
                  </a:lnTo>
                  <a:lnTo>
                    <a:pt x="7" y="311"/>
                  </a:lnTo>
                  <a:lnTo>
                    <a:pt x="7" y="309"/>
                  </a:lnTo>
                  <a:lnTo>
                    <a:pt x="10" y="309"/>
                  </a:lnTo>
                  <a:lnTo>
                    <a:pt x="12" y="309"/>
                  </a:lnTo>
                  <a:lnTo>
                    <a:pt x="14" y="309"/>
                  </a:lnTo>
                  <a:lnTo>
                    <a:pt x="14" y="307"/>
                  </a:lnTo>
                  <a:lnTo>
                    <a:pt x="17" y="307"/>
                  </a:lnTo>
                  <a:lnTo>
                    <a:pt x="17" y="304"/>
                  </a:lnTo>
                  <a:lnTo>
                    <a:pt x="17" y="302"/>
                  </a:lnTo>
                  <a:lnTo>
                    <a:pt x="17" y="302"/>
                  </a:lnTo>
                  <a:lnTo>
                    <a:pt x="19" y="300"/>
                  </a:lnTo>
                  <a:lnTo>
                    <a:pt x="19" y="297"/>
                  </a:lnTo>
                  <a:lnTo>
                    <a:pt x="19" y="297"/>
                  </a:lnTo>
                  <a:lnTo>
                    <a:pt x="19" y="297"/>
                  </a:lnTo>
                  <a:lnTo>
                    <a:pt x="19" y="297"/>
                  </a:lnTo>
                  <a:lnTo>
                    <a:pt x="17" y="297"/>
                  </a:lnTo>
                  <a:lnTo>
                    <a:pt x="17" y="297"/>
                  </a:lnTo>
                  <a:lnTo>
                    <a:pt x="17" y="292"/>
                  </a:lnTo>
                  <a:lnTo>
                    <a:pt x="17" y="290"/>
                  </a:lnTo>
                  <a:lnTo>
                    <a:pt x="17" y="290"/>
                  </a:lnTo>
                  <a:lnTo>
                    <a:pt x="17" y="290"/>
                  </a:lnTo>
                  <a:lnTo>
                    <a:pt x="17" y="290"/>
                  </a:lnTo>
                  <a:lnTo>
                    <a:pt x="17" y="288"/>
                  </a:lnTo>
                  <a:lnTo>
                    <a:pt x="14" y="288"/>
                  </a:lnTo>
                  <a:lnTo>
                    <a:pt x="14" y="285"/>
                  </a:lnTo>
                  <a:lnTo>
                    <a:pt x="14" y="285"/>
                  </a:lnTo>
                  <a:lnTo>
                    <a:pt x="10" y="283"/>
                  </a:lnTo>
                  <a:lnTo>
                    <a:pt x="10" y="283"/>
                  </a:lnTo>
                  <a:lnTo>
                    <a:pt x="14" y="281"/>
                  </a:lnTo>
                  <a:lnTo>
                    <a:pt x="10" y="278"/>
                  </a:lnTo>
                  <a:lnTo>
                    <a:pt x="7" y="278"/>
                  </a:lnTo>
                  <a:lnTo>
                    <a:pt x="7" y="278"/>
                  </a:lnTo>
                  <a:lnTo>
                    <a:pt x="7" y="276"/>
                  </a:lnTo>
                  <a:lnTo>
                    <a:pt x="7" y="276"/>
                  </a:lnTo>
                  <a:lnTo>
                    <a:pt x="10" y="274"/>
                  </a:lnTo>
                  <a:lnTo>
                    <a:pt x="10" y="274"/>
                  </a:lnTo>
                  <a:lnTo>
                    <a:pt x="10" y="271"/>
                  </a:lnTo>
                  <a:lnTo>
                    <a:pt x="10" y="271"/>
                  </a:lnTo>
                  <a:lnTo>
                    <a:pt x="10" y="269"/>
                  </a:lnTo>
                  <a:lnTo>
                    <a:pt x="10" y="267"/>
                  </a:lnTo>
                  <a:lnTo>
                    <a:pt x="10" y="267"/>
                  </a:lnTo>
                  <a:lnTo>
                    <a:pt x="7" y="264"/>
                  </a:lnTo>
                  <a:lnTo>
                    <a:pt x="5" y="264"/>
                  </a:lnTo>
                  <a:lnTo>
                    <a:pt x="3" y="264"/>
                  </a:lnTo>
                  <a:lnTo>
                    <a:pt x="3" y="262"/>
                  </a:lnTo>
                  <a:lnTo>
                    <a:pt x="0" y="264"/>
                  </a:lnTo>
                  <a:lnTo>
                    <a:pt x="0" y="262"/>
                  </a:lnTo>
                  <a:lnTo>
                    <a:pt x="0" y="259"/>
                  </a:lnTo>
                  <a:lnTo>
                    <a:pt x="3" y="259"/>
                  </a:lnTo>
                  <a:lnTo>
                    <a:pt x="3" y="257"/>
                  </a:lnTo>
                  <a:lnTo>
                    <a:pt x="3" y="255"/>
                  </a:lnTo>
                  <a:lnTo>
                    <a:pt x="3" y="252"/>
                  </a:lnTo>
                  <a:lnTo>
                    <a:pt x="3" y="252"/>
                  </a:lnTo>
                  <a:lnTo>
                    <a:pt x="0" y="252"/>
                  </a:lnTo>
                  <a:lnTo>
                    <a:pt x="0" y="252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 cap="flat">
              <a:solidFill>
                <a:schemeClr val="bg2">
                  <a:lumMod val="7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>
                <a:solidFill>
                  <a:srgbClr val="000000"/>
                </a:solidFill>
              </a:endParaRPr>
            </a:p>
          </p:txBody>
        </p:sp>
        <p:sp>
          <p:nvSpPr>
            <p:cNvPr id="89" name="Freeform 22"/>
            <p:cNvSpPr>
              <a:spLocks/>
            </p:cNvSpPr>
            <p:nvPr/>
          </p:nvSpPr>
          <p:spPr bwMode="gray">
            <a:xfrm>
              <a:off x="1807606" y="4808247"/>
              <a:ext cx="742593" cy="789594"/>
            </a:xfrm>
            <a:custGeom>
              <a:avLst/>
              <a:gdLst/>
              <a:ahLst/>
              <a:cxnLst>
                <a:cxn ang="0">
                  <a:pos x="54" y="68"/>
                </a:cxn>
                <a:cxn ang="0">
                  <a:pos x="61" y="63"/>
                </a:cxn>
                <a:cxn ang="0">
                  <a:pos x="87" y="89"/>
                </a:cxn>
                <a:cxn ang="0">
                  <a:pos x="118" y="82"/>
                </a:cxn>
                <a:cxn ang="0">
                  <a:pos x="151" y="54"/>
                </a:cxn>
                <a:cxn ang="0">
                  <a:pos x="174" y="26"/>
                </a:cxn>
                <a:cxn ang="0">
                  <a:pos x="200" y="18"/>
                </a:cxn>
                <a:cxn ang="0">
                  <a:pos x="231" y="14"/>
                </a:cxn>
                <a:cxn ang="0">
                  <a:pos x="252" y="2"/>
                </a:cxn>
                <a:cxn ang="0">
                  <a:pos x="278" y="11"/>
                </a:cxn>
                <a:cxn ang="0">
                  <a:pos x="302" y="18"/>
                </a:cxn>
                <a:cxn ang="0">
                  <a:pos x="328" y="30"/>
                </a:cxn>
                <a:cxn ang="0">
                  <a:pos x="349" y="44"/>
                </a:cxn>
                <a:cxn ang="0">
                  <a:pos x="371" y="54"/>
                </a:cxn>
                <a:cxn ang="0">
                  <a:pos x="392" y="59"/>
                </a:cxn>
                <a:cxn ang="0">
                  <a:pos x="423" y="59"/>
                </a:cxn>
                <a:cxn ang="0">
                  <a:pos x="458" y="42"/>
                </a:cxn>
                <a:cxn ang="0">
                  <a:pos x="484" y="61"/>
                </a:cxn>
                <a:cxn ang="0">
                  <a:pos x="517" y="56"/>
                </a:cxn>
                <a:cxn ang="0">
                  <a:pos x="550" y="18"/>
                </a:cxn>
                <a:cxn ang="0">
                  <a:pos x="541" y="80"/>
                </a:cxn>
                <a:cxn ang="0">
                  <a:pos x="550" y="101"/>
                </a:cxn>
                <a:cxn ang="0">
                  <a:pos x="578" y="106"/>
                </a:cxn>
                <a:cxn ang="0">
                  <a:pos x="604" y="108"/>
                </a:cxn>
                <a:cxn ang="0">
                  <a:pos x="654" y="151"/>
                </a:cxn>
                <a:cxn ang="0">
                  <a:pos x="666" y="191"/>
                </a:cxn>
                <a:cxn ang="0">
                  <a:pos x="732" y="207"/>
                </a:cxn>
                <a:cxn ang="0">
                  <a:pos x="763" y="224"/>
                </a:cxn>
                <a:cxn ang="0">
                  <a:pos x="786" y="236"/>
                </a:cxn>
                <a:cxn ang="0">
                  <a:pos x="812" y="250"/>
                </a:cxn>
                <a:cxn ang="0">
                  <a:pos x="848" y="259"/>
                </a:cxn>
                <a:cxn ang="0">
                  <a:pos x="881" y="274"/>
                </a:cxn>
                <a:cxn ang="0">
                  <a:pos x="916" y="300"/>
                </a:cxn>
                <a:cxn ang="0">
                  <a:pos x="909" y="370"/>
                </a:cxn>
                <a:cxn ang="0">
                  <a:pos x="836" y="451"/>
                </a:cxn>
                <a:cxn ang="0">
                  <a:pos x="798" y="526"/>
                </a:cxn>
                <a:cxn ang="0">
                  <a:pos x="765" y="600"/>
                </a:cxn>
                <a:cxn ang="0">
                  <a:pos x="680" y="682"/>
                </a:cxn>
                <a:cxn ang="0">
                  <a:pos x="604" y="737"/>
                </a:cxn>
                <a:cxn ang="0">
                  <a:pos x="526" y="829"/>
                </a:cxn>
                <a:cxn ang="0">
                  <a:pos x="474" y="883"/>
                </a:cxn>
                <a:cxn ang="0">
                  <a:pos x="432" y="876"/>
                </a:cxn>
                <a:cxn ang="0">
                  <a:pos x="394" y="890"/>
                </a:cxn>
                <a:cxn ang="0">
                  <a:pos x="354" y="888"/>
                </a:cxn>
                <a:cxn ang="0">
                  <a:pos x="340" y="845"/>
                </a:cxn>
                <a:cxn ang="0">
                  <a:pos x="333" y="798"/>
                </a:cxn>
                <a:cxn ang="0">
                  <a:pos x="321" y="753"/>
                </a:cxn>
                <a:cxn ang="0">
                  <a:pos x="314" y="706"/>
                </a:cxn>
                <a:cxn ang="0">
                  <a:pos x="276" y="668"/>
                </a:cxn>
                <a:cxn ang="0">
                  <a:pos x="241" y="661"/>
                </a:cxn>
                <a:cxn ang="0">
                  <a:pos x="219" y="642"/>
                </a:cxn>
                <a:cxn ang="0">
                  <a:pos x="198" y="659"/>
                </a:cxn>
                <a:cxn ang="0">
                  <a:pos x="174" y="666"/>
                </a:cxn>
                <a:cxn ang="0">
                  <a:pos x="149" y="661"/>
                </a:cxn>
                <a:cxn ang="0">
                  <a:pos x="120" y="659"/>
                </a:cxn>
                <a:cxn ang="0">
                  <a:pos x="99" y="659"/>
                </a:cxn>
                <a:cxn ang="0">
                  <a:pos x="71" y="642"/>
                </a:cxn>
                <a:cxn ang="0">
                  <a:pos x="30" y="647"/>
                </a:cxn>
                <a:cxn ang="0">
                  <a:pos x="28" y="597"/>
                </a:cxn>
                <a:cxn ang="0">
                  <a:pos x="37" y="519"/>
                </a:cxn>
                <a:cxn ang="0">
                  <a:pos x="37" y="467"/>
                </a:cxn>
                <a:cxn ang="0">
                  <a:pos x="7" y="401"/>
                </a:cxn>
                <a:cxn ang="0">
                  <a:pos x="37" y="368"/>
                </a:cxn>
              </a:cxnLst>
              <a:rect l="0" t="0" r="r" b="b"/>
              <a:pathLst>
                <a:path w="919" h="902">
                  <a:moveTo>
                    <a:pt x="16" y="311"/>
                  </a:moveTo>
                  <a:lnTo>
                    <a:pt x="35" y="271"/>
                  </a:lnTo>
                  <a:lnTo>
                    <a:pt x="49" y="243"/>
                  </a:lnTo>
                  <a:lnTo>
                    <a:pt x="59" y="243"/>
                  </a:lnTo>
                  <a:lnTo>
                    <a:pt x="61" y="241"/>
                  </a:lnTo>
                  <a:lnTo>
                    <a:pt x="59" y="241"/>
                  </a:lnTo>
                  <a:lnTo>
                    <a:pt x="61" y="238"/>
                  </a:lnTo>
                  <a:lnTo>
                    <a:pt x="59" y="236"/>
                  </a:lnTo>
                  <a:lnTo>
                    <a:pt x="56" y="236"/>
                  </a:lnTo>
                  <a:lnTo>
                    <a:pt x="56" y="236"/>
                  </a:lnTo>
                  <a:lnTo>
                    <a:pt x="56" y="226"/>
                  </a:lnTo>
                  <a:lnTo>
                    <a:pt x="52" y="226"/>
                  </a:lnTo>
                  <a:lnTo>
                    <a:pt x="78" y="139"/>
                  </a:lnTo>
                  <a:lnTo>
                    <a:pt x="89" y="139"/>
                  </a:lnTo>
                  <a:lnTo>
                    <a:pt x="89" y="137"/>
                  </a:lnTo>
                  <a:lnTo>
                    <a:pt x="89" y="137"/>
                  </a:lnTo>
                  <a:lnTo>
                    <a:pt x="87" y="137"/>
                  </a:lnTo>
                  <a:lnTo>
                    <a:pt x="87" y="134"/>
                  </a:lnTo>
                  <a:lnTo>
                    <a:pt x="87" y="134"/>
                  </a:lnTo>
                  <a:lnTo>
                    <a:pt x="87" y="134"/>
                  </a:lnTo>
                  <a:lnTo>
                    <a:pt x="85" y="134"/>
                  </a:lnTo>
                  <a:lnTo>
                    <a:pt x="85" y="134"/>
                  </a:lnTo>
                  <a:lnTo>
                    <a:pt x="85" y="134"/>
                  </a:lnTo>
                  <a:lnTo>
                    <a:pt x="75" y="125"/>
                  </a:lnTo>
                  <a:lnTo>
                    <a:pt x="73" y="122"/>
                  </a:lnTo>
                  <a:lnTo>
                    <a:pt x="73" y="115"/>
                  </a:lnTo>
                  <a:lnTo>
                    <a:pt x="56" y="85"/>
                  </a:lnTo>
                  <a:lnTo>
                    <a:pt x="61" y="85"/>
                  </a:lnTo>
                  <a:lnTo>
                    <a:pt x="61" y="82"/>
                  </a:lnTo>
                  <a:lnTo>
                    <a:pt x="56" y="78"/>
                  </a:lnTo>
                  <a:lnTo>
                    <a:pt x="59" y="73"/>
                  </a:lnTo>
                  <a:lnTo>
                    <a:pt x="56" y="70"/>
                  </a:lnTo>
                  <a:lnTo>
                    <a:pt x="56" y="70"/>
                  </a:lnTo>
                  <a:lnTo>
                    <a:pt x="54" y="68"/>
                  </a:lnTo>
                  <a:lnTo>
                    <a:pt x="54" y="68"/>
                  </a:lnTo>
                  <a:lnTo>
                    <a:pt x="52" y="63"/>
                  </a:lnTo>
                  <a:lnTo>
                    <a:pt x="49" y="63"/>
                  </a:lnTo>
                  <a:lnTo>
                    <a:pt x="49" y="61"/>
                  </a:lnTo>
                  <a:lnTo>
                    <a:pt x="49" y="59"/>
                  </a:lnTo>
                  <a:lnTo>
                    <a:pt x="49" y="59"/>
                  </a:lnTo>
                  <a:lnTo>
                    <a:pt x="49" y="56"/>
                  </a:lnTo>
                  <a:lnTo>
                    <a:pt x="49" y="59"/>
                  </a:lnTo>
                  <a:lnTo>
                    <a:pt x="49" y="56"/>
                  </a:lnTo>
                  <a:lnTo>
                    <a:pt x="49" y="54"/>
                  </a:lnTo>
                  <a:lnTo>
                    <a:pt x="47" y="54"/>
                  </a:lnTo>
                  <a:lnTo>
                    <a:pt x="49" y="54"/>
                  </a:lnTo>
                  <a:lnTo>
                    <a:pt x="49" y="54"/>
                  </a:lnTo>
                  <a:lnTo>
                    <a:pt x="47" y="54"/>
                  </a:lnTo>
                  <a:lnTo>
                    <a:pt x="47" y="54"/>
                  </a:lnTo>
                  <a:lnTo>
                    <a:pt x="49" y="52"/>
                  </a:lnTo>
                  <a:lnTo>
                    <a:pt x="49" y="52"/>
                  </a:lnTo>
                  <a:lnTo>
                    <a:pt x="47" y="52"/>
                  </a:lnTo>
                  <a:lnTo>
                    <a:pt x="47" y="49"/>
                  </a:lnTo>
                  <a:lnTo>
                    <a:pt x="47" y="49"/>
                  </a:lnTo>
                  <a:lnTo>
                    <a:pt x="52" y="52"/>
                  </a:lnTo>
                  <a:lnTo>
                    <a:pt x="54" y="47"/>
                  </a:lnTo>
                  <a:lnTo>
                    <a:pt x="56" y="47"/>
                  </a:lnTo>
                  <a:lnTo>
                    <a:pt x="56" y="49"/>
                  </a:lnTo>
                  <a:lnTo>
                    <a:pt x="56" y="52"/>
                  </a:lnTo>
                  <a:lnTo>
                    <a:pt x="59" y="52"/>
                  </a:lnTo>
                  <a:lnTo>
                    <a:pt x="59" y="54"/>
                  </a:lnTo>
                  <a:lnTo>
                    <a:pt x="59" y="56"/>
                  </a:lnTo>
                  <a:lnTo>
                    <a:pt x="61" y="59"/>
                  </a:lnTo>
                  <a:lnTo>
                    <a:pt x="61" y="59"/>
                  </a:lnTo>
                  <a:lnTo>
                    <a:pt x="61" y="61"/>
                  </a:lnTo>
                  <a:lnTo>
                    <a:pt x="61" y="61"/>
                  </a:lnTo>
                  <a:lnTo>
                    <a:pt x="61" y="61"/>
                  </a:lnTo>
                  <a:lnTo>
                    <a:pt x="61" y="63"/>
                  </a:lnTo>
                  <a:lnTo>
                    <a:pt x="61" y="63"/>
                  </a:lnTo>
                  <a:lnTo>
                    <a:pt x="63" y="63"/>
                  </a:lnTo>
                  <a:lnTo>
                    <a:pt x="63" y="66"/>
                  </a:lnTo>
                  <a:lnTo>
                    <a:pt x="63" y="66"/>
                  </a:lnTo>
                  <a:lnTo>
                    <a:pt x="63" y="66"/>
                  </a:lnTo>
                  <a:lnTo>
                    <a:pt x="61" y="68"/>
                  </a:lnTo>
                  <a:lnTo>
                    <a:pt x="61" y="68"/>
                  </a:lnTo>
                  <a:lnTo>
                    <a:pt x="61" y="70"/>
                  </a:lnTo>
                  <a:lnTo>
                    <a:pt x="61" y="70"/>
                  </a:lnTo>
                  <a:lnTo>
                    <a:pt x="63" y="70"/>
                  </a:lnTo>
                  <a:lnTo>
                    <a:pt x="63" y="73"/>
                  </a:lnTo>
                  <a:lnTo>
                    <a:pt x="63" y="73"/>
                  </a:lnTo>
                  <a:lnTo>
                    <a:pt x="63" y="73"/>
                  </a:lnTo>
                  <a:lnTo>
                    <a:pt x="66" y="73"/>
                  </a:lnTo>
                  <a:lnTo>
                    <a:pt x="66" y="70"/>
                  </a:lnTo>
                  <a:lnTo>
                    <a:pt x="66" y="70"/>
                  </a:lnTo>
                  <a:lnTo>
                    <a:pt x="68" y="73"/>
                  </a:lnTo>
                  <a:lnTo>
                    <a:pt x="71" y="75"/>
                  </a:lnTo>
                  <a:lnTo>
                    <a:pt x="71" y="75"/>
                  </a:lnTo>
                  <a:lnTo>
                    <a:pt x="71" y="75"/>
                  </a:lnTo>
                  <a:lnTo>
                    <a:pt x="71" y="78"/>
                  </a:lnTo>
                  <a:lnTo>
                    <a:pt x="73" y="78"/>
                  </a:lnTo>
                  <a:lnTo>
                    <a:pt x="71" y="80"/>
                  </a:lnTo>
                  <a:lnTo>
                    <a:pt x="71" y="80"/>
                  </a:lnTo>
                  <a:lnTo>
                    <a:pt x="71" y="82"/>
                  </a:lnTo>
                  <a:lnTo>
                    <a:pt x="71" y="82"/>
                  </a:lnTo>
                  <a:lnTo>
                    <a:pt x="75" y="82"/>
                  </a:lnTo>
                  <a:lnTo>
                    <a:pt x="75" y="85"/>
                  </a:lnTo>
                  <a:lnTo>
                    <a:pt x="78" y="85"/>
                  </a:lnTo>
                  <a:lnTo>
                    <a:pt x="78" y="85"/>
                  </a:lnTo>
                  <a:lnTo>
                    <a:pt x="80" y="87"/>
                  </a:lnTo>
                  <a:lnTo>
                    <a:pt x="80" y="89"/>
                  </a:lnTo>
                  <a:lnTo>
                    <a:pt x="82" y="89"/>
                  </a:lnTo>
                  <a:lnTo>
                    <a:pt x="87" y="89"/>
                  </a:lnTo>
                  <a:lnTo>
                    <a:pt x="87" y="92"/>
                  </a:lnTo>
                  <a:lnTo>
                    <a:pt x="89" y="94"/>
                  </a:lnTo>
                  <a:lnTo>
                    <a:pt x="92" y="96"/>
                  </a:lnTo>
                  <a:lnTo>
                    <a:pt x="92" y="94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94" y="89"/>
                  </a:lnTo>
                  <a:lnTo>
                    <a:pt x="97" y="89"/>
                  </a:lnTo>
                  <a:lnTo>
                    <a:pt x="97" y="89"/>
                  </a:lnTo>
                  <a:lnTo>
                    <a:pt x="97" y="87"/>
                  </a:lnTo>
                  <a:lnTo>
                    <a:pt x="97" y="87"/>
                  </a:lnTo>
                  <a:lnTo>
                    <a:pt x="99" y="87"/>
                  </a:lnTo>
                  <a:lnTo>
                    <a:pt x="101" y="85"/>
                  </a:lnTo>
                  <a:lnTo>
                    <a:pt x="101" y="85"/>
                  </a:lnTo>
                  <a:lnTo>
                    <a:pt x="101" y="87"/>
                  </a:lnTo>
                  <a:lnTo>
                    <a:pt x="104" y="87"/>
                  </a:lnTo>
                  <a:lnTo>
                    <a:pt x="104" y="87"/>
                  </a:lnTo>
                  <a:lnTo>
                    <a:pt x="104" y="87"/>
                  </a:lnTo>
                  <a:lnTo>
                    <a:pt x="104" y="87"/>
                  </a:lnTo>
                  <a:lnTo>
                    <a:pt x="106" y="87"/>
                  </a:lnTo>
                  <a:lnTo>
                    <a:pt x="106" y="85"/>
                  </a:lnTo>
                  <a:lnTo>
                    <a:pt x="108" y="85"/>
                  </a:lnTo>
                  <a:lnTo>
                    <a:pt x="108" y="82"/>
                  </a:lnTo>
                  <a:lnTo>
                    <a:pt x="111" y="85"/>
                  </a:lnTo>
                  <a:lnTo>
                    <a:pt x="111" y="82"/>
                  </a:lnTo>
                  <a:lnTo>
                    <a:pt x="111" y="82"/>
                  </a:lnTo>
                  <a:lnTo>
                    <a:pt x="111" y="85"/>
                  </a:lnTo>
                  <a:lnTo>
                    <a:pt x="111" y="85"/>
                  </a:lnTo>
                  <a:lnTo>
                    <a:pt x="111" y="82"/>
                  </a:lnTo>
                  <a:lnTo>
                    <a:pt x="115" y="85"/>
                  </a:lnTo>
                  <a:lnTo>
                    <a:pt x="115" y="82"/>
                  </a:lnTo>
                  <a:lnTo>
                    <a:pt x="118" y="82"/>
                  </a:lnTo>
                  <a:lnTo>
                    <a:pt x="118" y="82"/>
                  </a:lnTo>
                  <a:lnTo>
                    <a:pt x="118" y="82"/>
                  </a:lnTo>
                  <a:lnTo>
                    <a:pt x="115" y="80"/>
                  </a:lnTo>
                  <a:lnTo>
                    <a:pt x="118" y="82"/>
                  </a:lnTo>
                  <a:lnTo>
                    <a:pt x="118" y="80"/>
                  </a:lnTo>
                  <a:lnTo>
                    <a:pt x="120" y="80"/>
                  </a:lnTo>
                  <a:lnTo>
                    <a:pt x="120" y="80"/>
                  </a:lnTo>
                  <a:lnTo>
                    <a:pt x="120" y="80"/>
                  </a:lnTo>
                  <a:lnTo>
                    <a:pt x="123" y="80"/>
                  </a:lnTo>
                  <a:lnTo>
                    <a:pt x="125" y="80"/>
                  </a:lnTo>
                  <a:lnTo>
                    <a:pt x="127" y="80"/>
                  </a:lnTo>
                  <a:lnTo>
                    <a:pt x="130" y="78"/>
                  </a:lnTo>
                  <a:lnTo>
                    <a:pt x="134" y="80"/>
                  </a:lnTo>
                  <a:lnTo>
                    <a:pt x="134" y="78"/>
                  </a:lnTo>
                  <a:lnTo>
                    <a:pt x="137" y="78"/>
                  </a:lnTo>
                  <a:lnTo>
                    <a:pt x="137" y="75"/>
                  </a:lnTo>
                  <a:lnTo>
                    <a:pt x="137" y="75"/>
                  </a:lnTo>
                  <a:lnTo>
                    <a:pt x="139" y="73"/>
                  </a:lnTo>
                  <a:lnTo>
                    <a:pt x="139" y="73"/>
                  </a:lnTo>
                  <a:lnTo>
                    <a:pt x="141" y="73"/>
                  </a:lnTo>
                  <a:lnTo>
                    <a:pt x="141" y="73"/>
                  </a:lnTo>
                  <a:lnTo>
                    <a:pt x="144" y="73"/>
                  </a:lnTo>
                  <a:lnTo>
                    <a:pt x="144" y="68"/>
                  </a:lnTo>
                  <a:lnTo>
                    <a:pt x="146" y="68"/>
                  </a:lnTo>
                  <a:lnTo>
                    <a:pt x="146" y="68"/>
                  </a:lnTo>
                  <a:lnTo>
                    <a:pt x="146" y="66"/>
                  </a:lnTo>
                  <a:lnTo>
                    <a:pt x="146" y="66"/>
                  </a:lnTo>
                  <a:lnTo>
                    <a:pt x="149" y="66"/>
                  </a:lnTo>
                  <a:lnTo>
                    <a:pt x="149" y="63"/>
                  </a:lnTo>
                  <a:lnTo>
                    <a:pt x="151" y="61"/>
                  </a:lnTo>
                  <a:lnTo>
                    <a:pt x="153" y="59"/>
                  </a:lnTo>
                  <a:lnTo>
                    <a:pt x="153" y="56"/>
                  </a:lnTo>
                  <a:lnTo>
                    <a:pt x="151" y="59"/>
                  </a:lnTo>
                  <a:lnTo>
                    <a:pt x="151" y="56"/>
                  </a:lnTo>
                  <a:lnTo>
                    <a:pt x="151" y="56"/>
                  </a:lnTo>
                  <a:lnTo>
                    <a:pt x="151" y="54"/>
                  </a:lnTo>
                  <a:lnTo>
                    <a:pt x="151" y="54"/>
                  </a:lnTo>
                  <a:lnTo>
                    <a:pt x="151" y="54"/>
                  </a:lnTo>
                  <a:lnTo>
                    <a:pt x="153" y="52"/>
                  </a:lnTo>
                  <a:lnTo>
                    <a:pt x="153" y="52"/>
                  </a:lnTo>
                  <a:lnTo>
                    <a:pt x="156" y="49"/>
                  </a:lnTo>
                  <a:lnTo>
                    <a:pt x="158" y="49"/>
                  </a:lnTo>
                  <a:lnTo>
                    <a:pt x="160" y="47"/>
                  </a:lnTo>
                  <a:lnTo>
                    <a:pt x="163" y="49"/>
                  </a:lnTo>
                  <a:lnTo>
                    <a:pt x="163" y="47"/>
                  </a:lnTo>
                  <a:lnTo>
                    <a:pt x="165" y="44"/>
                  </a:lnTo>
                  <a:lnTo>
                    <a:pt x="165" y="44"/>
                  </a:lnTo>
                  <a:lnTo>
                    <a:pt x="165" y="42"/>
                  </a:lnTo>
                  <a:lnTo>
                    <a:pt x="165" y="42"/>
                  </a:lnTo>
                  <a:lnTo>
                    <a:pt x="165" y="40"/>
                  </a:lnTo>
                  <a:lnTo>
                    <a:pt x="167" y="42"/>
                  </a:lnTo>
                  <a:lnTo>
                    <a:pt x="167" y="40"/>
                  </a:lnTo>
                  <a:lnTo>
                    <a:pt x="167" y="40"/>
                  </a:lnTo>
                  <a:lnTo>
                    <a:pt x="167" y="37"/>
                  </a:lnTo>
                  <a:lnTo>
                    <a:pt x="170" y="37"/>
                  </a:lnTo>
                  <a:lnTo>
                    <a:pt x="170" y="37"/>
                  </a:lnTo>
                  <a:lnTo>
                    <a:pt x="170" y="35"/>
                  </a:lnTo>
                  <a:lnTo>
                    <a:pt x="167" y="35"/>
                  </a:lnTo>
                  <a:lnTo>
                    <a:pt x="170" y="35"/>
                  </a:lnTo>
                  <a:lnTo>
                    <a:pt x="170" y="35"/>
                  </a:lnTo>
                  <a:lnTo>
                    <a:pt x="172" y="33"/>
                  </a:lnTo>
                  <a:lnTo>
                    <a:pt x="170" y="33"/>
                  </a:lnTo>
                  <a:lnTo>
                    <a:pt x="170" y="33"/>
                  </a:lnTo>
                  <a:lnTo>
                    <a:pt x="167" y="33"/>
                  </a:lnTo>
                  <a:lnTo>
                    <a:pt x="170" y="30"/>
                  </a:lnTo>
                  <a:lnTo>
                    <a:pt x="170" y="28"/>
                  </a:lnTo>
                  <a:lnTo>
                    <a:pt x="172" y="28"/>
                  </a:lnTo>
                  <a:lnTo>
                    <a:pt x="174" y="28"/>
                  </a:lnTo>
                  <a:lnTo>
                    <a:pt x="174" y="28"/>
                  </a:lnTo>
                  <a:lnTo>
                    <a:pt x="174" y="26"/>
                  </a:lnTo>
                  <a:lnTo>
                    <a:pt x="174" y="26"/>
                  </a:lnTo>
                  <a:lnTo>
                    <a:pt x="177" y="23"/>
                  </a:lnTo>
                  <a:lnTo>
                    <a:pt x="177" y="23"/>
                  </a:lnTo>
                  <a:lnTo>
                    <a:pt x="177" y="23"/>
                  </a:lnTo>
                  <a:lnTo>
                    <a:pt x="179" y="21"/>
                  </a:lnTo>
                  <a:lnTo>
                    <a:pt x="179" y="21"/>
                  </a:lnTo>
                  <a:lnTo>
                    <a:pt x="182" y="21"/>
                  </a:lnTo>
                  <a:lnTo>
                    <a:pt x="182" y="21"/>
                  </a:lnTo>
                  <a:lnTo>
                    <a:pt x="182" y="18"/>
                  </a:lnTo>
                  <a:lnTo>
                    <a:pt x="184" y="18"/>
                  </a:lnTo>
                  <a:lnTo>
                    <a:pt x="184" y="18"/>
                  </a:lnTo>
                  <a:lnTo>
                    <a:pt x="186" y="18"/>
                  </a:lnTo>
                  <a:lnTo>
                    <a:pt x="186" y="21"/>
                  </a:lnTo>
                  <a:lnTo>
                    <a:pt x="189" y="18"/>
                  </a:lnTo>
                  <a:lnTo>
                    <a:pt x="189" y="21"/>
                  </a:lnTo>
                  <a:lnTo>
                    <a:pt x="189" y="21"/>
                  </a:lnTo>
                  <a:lnTo>
                    <a:pt x="191" y="21"/>
                  </a:lnTo>
                  <a:lnTo>
                    <a:pt x="191" y="21"/>
                  </a:lnTo>
                  <a:lnTo>
                    <a:pt x="191" y="21"/>
                  </a:lnTo>
                  <a:lnTo>
                    <a:pt x="191" y="21"/>
                  </a:lnTo>
                  <a:lnTo>
                    <a:pt x="193" y="21"/>
                  </a:lnTo>
                  <a:lnTo>
                    <a:pt x="193" y="21"/>
                  </a:lnTo>
                  <a:lnTo>
                    <a:pt x="193" y="21"/>
                  </a:lnTo>
                  <a:lnTo>
                    <a:pt x="193" y="18"/>
                  </a:lnTo>
                  <a:lnTo>
                    <a:pt x="193" y="21"/>
                  </a:lnTo>
                  <a:lnTo>
                    <a:pt x="196" y="21"/>
                  </a:lnTo>
                  <a:lnTo>
                    <a:pt x="196" y="21"/>
                  </a:lnTo>
                  <a:lnTo>
                    <a:pt x="198" y="21"/>
                  </a:lnTo>
                  <a:lnTo>
                    <a:pt x="198" y="21"/>
                  </a:lnTo>
                  <a:lnTo>
                    <a:pt x="198" y="21"/>
                  </a:lnTo>
                  <a:lnTo>
                    <a:pt x="200" y="21"/>
                  </a:lnTo>
                  <a:lnTo>
                    <a:pt x="200" y="21"/>
                  </a:lnTo>
                  <a:lnTo>
                    <a:pt x="203" y="21"/>
                  </a:lnTo>
                  <a:lnTo>
                    <a:pt x="200" y="18"/>
                  </a:lnTo>
                  <a:lnTo>
                    <a:pt x="203" y="18"/>
                  </a:lnTo>
                  <a:lnTo>
                    <a:pt x="205" y="21"/>
                  </a:lnTo>
                  <a:lnTo>
                    <a:pt x="208" y="18"/>
                  </a:lnTo>
                  <a:lnTo>
                    <a:pt x="208" y="18"/>
                  </a:lnTo>
                  <a:lnTo>
                    <a:pt x="210" y="18"/>
                  </a:lnTo>
                  <a:lnTo>
                    <a:pt x="210" y="18"/>
                  </a:lnTo>
                  <a:lnTo>
                    <a:pt x="210" y="16"/>
                  </a:lnTo>
                  <a:lnTo>
                    <a:pt x="210" y="16"/>
                  </a:lnTo>
                  <a:lnTo>
                    <a:pt x="210" y="16"/>
                  </a:lnTo>
                  <a:lnTo>
                    <a:pt x="210" y="16"/>
                  </a:lnTo>
                  <a:lnTo>
                    <a:pt x="212" y="14"/>
                  </a:lnTo>
                  <a:lnTo>
                    <a:pt x="212" y="16"/>
                  </a:lnTo>
                  <a:lnTo>
                    <a:pt x="212" y="16"/>
                  </a:lnTo>
                  <a:lnTo>
                    <a:pt x="215" y="18"/>
                  </a:lnTo>
                  <a:lnTo>
                    <a:pt x="215" y="16"/>
                  </a:lnTo>
                  <a:lnTo>
                    <a:pt x="217" y="16"/>
                  </a:lnTo>
                  <a:lnTo>
                    <a:pt x="217" y="18"/>
                  </a:lnTo>
                  <a:lnTo>
                    <a:pt x="217" y="18"/>
                  </a:lnTo>
                  <a:lnTo>
                    <a:pt x="217" y="21"/>
                  </a:lnTo>
                  <a:lnTo>
                    <a:pt x="219" y="21"/>
                  </a:lnTo>
                  <a:lnTo>
                    <a:pt x="219" y="18"/>
                  </a:lnTo>
                  <a:lnTo>
                    <a:pt x="222" y="18"/>
                  </a:lnTo>
                  <a:lnTo>
                    <a:pt x="222" y="18"/>
                  </a:lnTo>
                  <a:lnTo>
                    <a:pt x="224" y="16"/>
                  </a:lnTo>
                  <a:lnTo>
                    <a:pt x="226" y="16"/>
                  </a:lnTo>
                  <a:lnTo>
                    <a:pt x="226" y="16"/>
                  </a:lnTo>
                  <a:lnTo>
                    <a:pt x="226" y="14"/>
                  </a:lnTo>
                  <a:lnTo>
                    <a:pt x="229" y="14"/>
                  </a:lnTo>
                  <a:lnTo>
                    <a:pt x="229" y="14"/>
                  </a:lnTo>
                  <a:lnTo>
                    <a:pt x="229" y="14"/>
                  </a:lnTo>
                  <a:lnTo>
                    <a:pt x="229" y="11"/>
                  </a:lnTo>
                  <a:lnTo>
                    <a:pt x="231" y="14"/>
                  </a:lnTo>
                  <a:lnTo>
                    <a:pt x="231" y="14"/>
                  </a:lnTo>
                  <a:lnTo>
                    <a:pt x="231" y="14"/>
                  </a:lnTo>
                  <a:lnTo>
                    <a:pt x="231" y="14"/>
                  </a:lnTo>
                  <a:lnTo>
                    <a:pt x="231" y="16"/>
                  </a:lnTo>
                  <a:lnTo>
                    <a:pt x="231" y="14"/>
                  </a:lnTo>
                  <a:lnTo>
                    <a:pt x="234" y="14"/>
                  </a:lnTo>
                  <a:lnTo>
                    <a:pt x="234" y="14"/>
                  </a:lnTo>
                  <a:lnTo>
                    <a:pt x="236" y="14"/>
                  </a:lnTo>
                  <a:lnTo>
                    <a:pt x="236" y="14"/>
                  </a:lnTo>
                  <a:lnTo>
                    <a:pt x="236" y="14"/>
                  </a:lnTo>
                  <a:lnTo>
                    <a:pt x="238" y="14"/>
                  </a:lnTo>
                  <a:lnTo>
                    <a:pt x="238" y="14"/>
                  </a:lnTo>
                  <a:lnTo>
                    <a:pt x="238" y="11"/>
                  </a:lnTo>
                  <a:lnTo>
                    <a:pt x="238" y="11"/>
                  </a:lnTo>
                  <a:lnTo>
                    <a:pt x="238" y="9"/>
                  </a:lnTo>
                  <a:lnTo>
                    <a:pt x="238" y="9"/>
                  </a:lnTo>
                  <a:lnTo>
                    <a:pt x="241" y="9"/>
                  </a:lnTo>
                  <a:lnTo>
                    <a:pt x="241" y="9"/>
                  </a:lnTo>
                  <a:lnTo>
                    <a:pt x="241" y="9"/>
                  </a:lnTo>
                  <a:lnTo>
                    <a:pt x="243" y="9"/>
                  </a:lnTo>
                  <a:lnTo>
                    <a:pt x="241" y="7"/>
                  </a:lnTo>
                  <a:lnTo>
                    <a:pt x="241" y="7"/>
                  </a:lnTo>
                  <a:lnTo>
                    <a:pt x="243" y="7"/>
                  </a:lnTo>
                  <a:lnTo>
                    <a:pt x="243" y="7"/>
                  </a:lnTo>
                  <a:lnTo>
                    <a:pt x="245" y="7"/>
                  </a:lnTo>
                  <a:lnTo>
                    <a:pt x="245" y="7"/>
                  </a:lnTo>
                  <a:lnTo>
                    <a:pt x="248" y="7"/>
                  </a:lnTo>
                  <a:lnTo>
                    <a:pt x="248" y="7"/>
                  </a:lnTo>
                  <a:lnTo>
                    <a:pt x="248" y="7"/>
                  </a:lnTo>
                  <a:lnTo>
                    <a:pt x="248" y="4"/>
                  </a:lnTo>
                  <a:lnTo>
                    <a:pt x="248" y="4"/>
                  </a:lnTo>
                  <a:lnTo>
                    <a:pt x="250" y="4"/>
                  </a:lnTo>
                  <a:lnTo>
                    <a:pt x="250" y="4"/>
                  </a:lnTo>
                  <a:lnTo>
                    <a:pt x="250" y="2"/>
                  </a:lnTo>
                  <a:lnTo>
                    <a:pt x="252" y="2"/>
                  </a:lnTo>
                  <a:lnTo>
                    <a:pt x="252" y="2"/>
                  </a:lnTo>
                  <a:lnTo>
                    <a:pt x="255" y="2"/>
                  </a:lnTo>
                  <a:lnTo>
                    <a:pt x="255" y="2"/>
                  </a:lnTo>
                  <a:lnTo>
                    <a:pt x="257" y="2"/>
                  </a:lnTo>
                  <a:lnTo>
                    <a:pt x="257" y="2"/>
                  </a:lnTo>
                  <a:lnTo>
                    <a:pt x="257" y="2"/>
                  </a:lnTo>
                  <a:lnTo>
                    <a:pt x="257" y="0"/>
                  </a:lnTo>
                  <a:lnTo>
                    <a:pt x="257" y="0"/>
                  </a:lnTo>
                  <a:lnTo>
                    <a:pt x="260" y="0"/>
                  </a:lnTo>
                  <a:lnTo>
                    <a:pt x="260" y="0"/>
                  </a:lnTo>
                  <a:lnTo>
                    <a:pt x="260" y="0"/>
                  </a:lnTo>
                  <a:lnTo>
                    <a:pt x="262" y="0"/>
                  </a:lnTo>
                  <a:lnTo>
                    <a:pt x="264" y="0"/>
                  </a:lnTo>
                  <a:lnTo>
                    <a:pt x="267" y="0"/>
                  </a:lnTo>
                  <a:lnTo>
                    <a:pt x="267" y="0"/>
                  </a:lnTo>
                  <a:lnTo>
                    <a:pt x="267" y="0"/>
                  </a:lnTo>
                  <a:lnTo>
                    <a:pt x="269" y="2"/>
                  </a:lnTo>
                  <a:lnTo>
                    <a:pt x="269" y="2"/>
                  </a:lnTo>
                  <a:lnTo>
                    <a:pt x="269" y="0"/>
                  </a:lnTo>
                  <a:lnTo>
                    <a:pt x="269" y="0"/>
                  </a:lnTo>
                  <a:lnTo>
                    <a:pt x="271" y="2"/>
                  </a:lnTo>
                  <a:lnTo>
                    <a:pt x="274" y="2"/>
                  </a:lnTo>
                  <a:lnTo>
                    <a:pt x="274" y="4"/>
                  </a:lnTo>
                  <a:lnTo>
                    <a:pt x="274" y="4"/>
                  </a:lnTo>
                  <a:lnTo>
                    <a:pt x="274" y="7"/>
                  </a:lnTo>
                  <a:lnTo>
                    <a:pt x="274" y="4"/>
                  </a:lnTo>
                  <a:lnTo>
                    <a:pt x="274" y="7"/>
                  </a:lnTo>
                  <a:lnTo>
                    <a:pt x="274" y="9"/>
                  </a:lnTo>
                  <a:lnTo>
                    <a:pt x="274" y="7"/>
                  </a:lnTo>
                  <a:lnTo>
                    <a:pt x="274" y="9"/>
                  </a:lnTo>
                  <a:lnTo>
                    <a:pt x="276" y="9"/>
                  </a:lnTo>
                  <a:lnTo>
                    <a:pt x="276" y="9"/>
                  </a:lnTo>
                  <a:lnTo>
                    <a:pt x="276" y="11"/>
                  </a:lnTo>
                  <a:lnTo>
                    <a:pt x="276" y="9"/>
                  </a:lnTo>
                  <a:lnTo>
                    <a:pt x="278" y="11"/>
                  </a:lnTo>
                  <a:lnTo>
                    <a:pt x="278" y="11"/>
                  </a:lnTo>
                  <a:lnTo>
                    <a:pt x="281" y="11"/>
                  </a:lnTo>
                  <a:lnTo>
                    <a:pt x="281" y="11"/>
                  </a:lnTo>
                  <a:lnTo>
                    <a:pt x="281" y="11"/>
                  </a:lnTo>
                  <a:lnTo>
                    <a:pt x="283" y="14"/>
                  </a:lnTo>
                  <a:lnTo>
                    <a:pt x="283" y="14"/>
                  </a:lnTo>
                  <a:lnTo>
                    <a:pt x="283" y="11"/>
                  </a:lnTo>
                  <a:lnTo>
                    <a:pt x="283" y="11"/>
                  </a:lnTo>
                  <a:lnTo>
                    <a:pt x="286" y="11"/>
                  </a:lnTo>
                  <a:lnTo>
                    <a:pt x="290" y="11"/>
                  </a:lnTo>
                  <a:lnTo>
                    <a:pt x="288" y="14"/>
                  </a:lnTo>
                  <a:lnTo>
                    <a:pt x="288" y="14"/>
                  </a:lnTo>
                  <a:lnTo>
                    <a:pt x="288" y="14"/>
                  </a:lnTo>
                  <a:lnTo>
                    <a:pt x="290" y="14"/>
                  </a:lnTo>
                  <a:lnTo>
                    <a:pt x="288" y="14"/>
                  </a:lnTo>
                  <a:lnTo>
                    <a:pt x="290" y="14"/>
                  </a:lnTo>
                  <a:lnTo>
                    <a:pt x="290" y="14"/>
                  </a:lnTo>
                  <a:lnTo>
                    <a:pt x="290" y="14"/>
                  </a:lnTo>
                  <a:lnTo>
                    <a:pt x="290" y="11"/>
                  </a:lnTo>
                  <a:lnTo>
                    <a:pt x="293" y="14"/>
                  </a:lnTo>
                  <a:lnTo>
                    <a:pt x="293" y="14"/>
                  </a:lnTo>
                  <a:lnTo>
                    <a:pt x="295" y="16"/>
                  </a:lnTo>
                  <a:lnTo>
                    <a:pt x="295" y="16"/>
                  </a:lnTo>
                  <a:lnTo>
                    <a:pt x="295" y="16"/>
                  </a:lnTo>
                  <a:lnTo>
                    <a:pt x="297" y="16"/>
                  </a:lnTo>
                  <a:lnTo>
                    <a:pt x="295" y="16"/>
                  </a:lnTo>
                  <a:lnTo>
                    <a:pt x="297" y="16"/>
                  </a:lnTo>
                  <a:lnTo>
                    <a:pt x="297" y="16"/>
                  </a:lnTo>
                  <a:lnTo>
                    <a:pt x="300" y="16"/>
                  </a:lnTo>
                  <a:lnTo>
                    <a:pt x="300" y="16"/>
                  </a:lnTo>
                  <a:lnTo>
                    <a:pt x="300" y="18"/>
                  </a:lnTo>
                  <a:lnTo>
                    <a:pt x="302" y="21"/>
                  </a:lnTo>
                  <a:lnTo>
                    <a:pt x="302" y="21"/>
                  </a:lnTo>
                  <a:lnTo>
                    <a:pt x="302" y="18"/>
                  </a:lnTo>
                  <a:lnTo>
                    <a:pt x="304" y="21"/>
                  </a:lnTo>
                  <a:lnTo>
                    <a:pt x="304" y="21"/>
                  </a:lnTo>
                  <a:lnTo>
                    <a:pt x="304" y="21"/>
                  </a:lnTo>
                  <a:lnTo>
                    <a:pt x="307" y="21"/>
                  </a:lnTo>
                  <a:lnTo>
                    <a:pt x="307" y="21"/>
                  </a:lnTo>
                  <a:lnTo>
                    <a:pt x="309" y="21"/>
                  </a:lnTo>
                  <a:lnTo>
                    <a:pt x="309" y="21"/>
                  </a:lnTo>
                  <a:lnTo>
                    <a:pt x="309" y="23"/>
                  </a:lnTo>
                  <a:lnTo>
                    <a:pt x="311" y="21"/>
                  </a:lnTo>
                  <a:lnTo>
                    <a:pt x="311" y="23"/>
                  </a:lnTo>
                  <a:lnTo>
                    <a:pt x="314" y="21"/>
                  </a:lnTo>
                  <a:lnTo>
                    <a:pt x="314" y="23"/>
                  </a:lnTo>
                  <a:lnTo>
                    <a:pt x="316" y="21"/>
                  </a:lnTo>
                  <a:lnTo>
                    <a:pt x="316" y="23"/>
                  </a:lnTo>
                  <a:lnTo>
                    <a:pt x="319" y="21"/>
                  </a:lnTo>
                  <a:lnTo>
                    <a:pt x="319" y="23"/>
                  </a:lnTo>
                  <a:lnTo>
                    <a:pt x="319" y="23"/>
                  </a:lnTo>
                  <a:lnTo>
                    <a:pt x="321" y="23"/>
                  </a:lnTo>
                  <a:lnTo>
                    <a:pt x="321" y="23"/>
                  </a:lnTo>
                  <a:lnTo>
                    <a:pt x="321" y="23"/>
                  </a:lnTo>
                  <a:lnTo>
                    <a:pt x="321" y="21"/>
                  </a:lnTo>
                  <a:lnTo>
                    <a:pt x="321" y="23"/>
                  </a:lnTo>
                  <a:lnTo>
                    <a:pt x="323" y="26"/>
                  </a:lnTo>
                  <a:lnTo>
                    <a:pt x="323" y="26"/>
                  </a:lnTo>
                  <a:lnTo>
                    <a:pt x="323" y="23"/>
                  </a:lnTo>
                  <a:lnTo>
                    <a:pt x="326" y="26"/>
                  </a:lnTo>
                  <a:lnTo>
                    <a:pt x="326" y="26"/>
                  </a:lnTo>
                  <a:lnTo>
                    <a:pt x="328" y="26"/>
                  </a:lnTo>
                  <a:lnTo>
                    <a:pt x="328" y="26"/>
                  </a:lnTo>
                  <a:lnTo>
                    <a:pt x="328" y="26"/>
                  </a:lnTo>
                  <a:lnTo>
                    <a:pt x="328" y="28"/>
                  </a:lnTo>
                  <a:lnTo>
                    <a:pt x="328" y="30"/>
                  </a:lnTo>
                  <a:lnTo>
                    <a:pt x="328" y="30"/>
                  </a:lnTo>
                  <a:lnTo>
                    <a:pt x="328" y="30"/>
                  </a:lnTo>
                  <a:lnTo>
                    <a:pt x="328" y="30"/>
                  </a:lnTo>
                  <a:lnTo>
                    <a:pt x="328" y="33"/>
                  </a:lnTo>
                  <a:lnTo>
                    <a:pt x="328" y="33"/>
                  </a:lnTo>
                  <a:lnTo>
                    <a:pt x="328" y="33"/>
                  </a:lnTo>
                  <a:lnTo>
                    <a:pt x="328" y="33"/>
                  </a:lnTo>
                  <a:lnTo>
                    <a:pt x="328" y="33"/>
                  </a:lnTo>
                  <a:lnTo>
                    <a:pt x="328" y="35"/>
                  </a:lnTo>
                  <a:lnTo>
                    <a:pt x="330" y="35"/>
                  </a:lnTo>
                  <a:lnTo>
                    <a:pt x="330" y="35"/>
                  </a:lnTo>
                  <a:lnTo>
                    <a:pt x="330" y="35"/>
                  </a:lnTo>
                  <a:lnTo>
                    <a:pt x="333" y="35"/>
                  </a:lnTo>
                  <a:lnTo>
                    <a:pt x="330" y="35"/>
                  </a:lnTo>
                  <a:lnTo>
                    <a:pt x="333" y="37"/>
                  </a:lnTo>
                  <a:lnTo>
                    <a:pt x="333" y="37"/>
                  </a:lnTo>
                  <a:lnTo>
                    <a:pt x="333" y="40"/>
                  </a:lnTo>
                  <a:lnTo>
                    <a:pt x="335" y="40"/>
                  </a:lnTo>
                  <a:lnTo>
                    <a:pt x="335" y="40"/>
                  </a:lnTo>
                  <a:lnTo>
                    <a:pt x="337" y="40"/>
                  </a:lnTo>
                  <a:lnTo>
                    <a:pt x="337" y="40"/>
                  </a:lnTo>
                  <a:lnTo>
                    <a:pt x="337" y="42"/>
                  </a:lnTo>
                  <a:lnTo>
                    <a:pt x="337" y="40"/>
                  </a:lnTo>
                  <a:lnTo>
                    <a:pt x="337" y="42"/>
                  </a:lnTo>
                  <a:lnTo>
                    <a:pt x="340" y="40"/>
                  </a:lnTo>
                  <a:lnTo>
                    <a:pt x="340" y="40"/>
                  </a:lnTo>
                  <a:lnTo>
                    <a:pt x="340" y="40"/>
                  </a:lnTo>
                  <a:lnTo>
                    <a:pt x="342" y="40"/>
                  </a:lnTo>
                  <a:lnTo>
                    <a:pt x="342" y="42"/>
                  </a:lnTo>
                  <a:lnTo>
                    <a:pt x="342" y="42"/>
                  </a:lnTo>
                  <a:lnTo>
                    <a:pt x="345" y="42"/>
                  </a:lnTo>
                  <a:lnTo>
                    <a:pt x="345" y="44"/>
                  </a:lnTo>
                  <a:lnTo>
                    <a:pt x="345" y="44"/>
                  </a:lnTo>
                  <a:lnTo>
                    <a:pt x="347" y="44"/>
                  </a:lnTo>
                  <a:lnTo>
                    <a:pt x="347" y="44"/>
                  </a:lnTo>
                  <a:lnTo>
                    <a:pt x="349" y="44"/>
                  </a:lnTo>
                  <a:lnTo>
                    <a:pt x="349" y="44"/>
                  </a:lnTo>
                  <a:lnTo>
                    <a:pt x="352" y="44"/>
                  </a:lnTo>
                  <a:lnTo>
                    <a:pt x="352" y="44"/>
                  </a:lnTo>
                  <a:lnTo>
                    <a:pt x="352" y="44"/>
                  </a:lnTo>
                  <a:lnTo>
                    <a:pt x="354" y="44"/>
                  </a:lnTo>
                  <a:lnTo>
                    <a:pt x="354" y="44"/>
                  </a:lnTo>
                  <a:lnTo>
                    <a:pt x="356" y="47"/>
                  </a:lnTo>
                  <a:lnTo>
                    <a:pt x="356" y="47"/>
                  </a:lnTo>
                  <a:lnTo>
                    <a:pt x="356" y="49"/>
                  </a:lnTo>
                  <a:lnTo>
                    <a:pt x="359" y="49"/>
                  </a:lnTo>
                  <a:lnTo>
                    <a:pt x="359" y="49"/>
                  </a:lnTo>
                  <a:lnTo>
                    <a:pt x="359" y="49"/>
                  </a:lnTo>
                  <a:lnTo>
                    <a:pt x="361" y="49"/>
                  </a:lnTo>
                  <a:lnTo>
                    <a:pt x="361" y="49"/>
                  </a:lnTo>
                  <a:lnTo>
                    <a:pt x="359" y="49"/>
                  </a:lnTo>
                  <a:lnTo>
                    <a:pt x="361" y="49"/>
                  </a:lnTo>
                  <a:lnTo>
                    <a:pt x="361" y="49"/>
                  </a:lnTo>
                  <a:lnTo>
                    <a:pt x="363" y="49"/>
                  </a:lnTo>
                  <a:lnTo>
                    <a:pt x="366" y="49"/>
                  </a:lnTo>
                  <a:lnTo>
                    <a:pt x="363" y="49"/>
                  </a:lnTo>
                  <a:lnTo>
                    <a:pt x="366" y="49"/>
                  </a:lnTo>
                  <a:lnTo>
                    <a:pt x="366" y="52"/>
                  </a:lnTo>
                  <a:lnTo>
                    <a:pt x="366" y="49"/>
                  </a:lnTo>
                  <a:lnTo>
                    <a:pt x="366" y="52"/>
                  </a:lnTo>
                  <a:lnTo>
                    <a:pt x="366" y="52"/>
                  </a:lnTo>
                  <a:lnTo>
                    <a:pt x="368" y="52"/>
                  </a:lnTo>
                  <a:lnTo>
                    <a:pt x="368" y="49"/>
                  </a:lnTo>
                  <a:lnTo>
                    <a:pt x="368" y="52"/>
                  </a:lnTo>
                  <a:lnTo>
                    <a:pt x="368" y="52"/>
                  </a:lnTo>
                  <a:lnTo>
                    <a:pt x="368" y="52"/>
                  </a:lnTo>
                  <a:lnTo>
                    <a:pt x="368" y="52"/>
                  </a:lnTo>
                  <a:lnTo>
                    <a:pt x="368" y="54"/>
                  </a:lnTo>
                  <a:lnTo>
                    <a:pt x="371" y="54"/>
                  </a:lnTo>
                  <a:lnTo>
                    <a:pt x="371" y="54"/>
                  </a:lnTo>
                  <a:lnTo>
                    <a:pt x="371" y="54"/>
                  </a:lnTo>
                  <a:lnTo>
                    <a:pt x="371" y="54"/>
                  </a:lnTo>
                  <a:lnTo>
                    <a:pt x="371" y="56"/>
                  </a:lnTo>
                  <a:lnTo>
                    <a:pt x="371" y="54"/>
                  </a:lnTo>
                  <a:lnTo>
                    <a:pt x="373" y="56"/>
                  </a:lnTo>
                  <a:lnTo>
                    <a:pt x="373" y="54"/>
                  </a:lnTo>
                  <a:lnTo>
                    <a:pt x="373" y="54"/>
                  </a:lnTo>
                  <a:lnTo>
                    <a:pt x="373" y="56"/>
                  </a:lnTo>
                  <a:lnTo>
                    <a:pt x="375" y="56"/>
                  </a:lnTo>
                  <a:lnTo>
                    <a:pt x="375" y="59"/>
                  </a:lnTo>
                  <a:lnTo>
                    <a:pt x="373" y="56"/>
                  </a:lnTo>
                  <a:lnTo>
                    <a:pt x="373" y="59"/>
                  </a:lnTo>
                  <a:lnTo>
                    <a:pt x="375" y="59"/>
                  </a:lnTo>
                  <a:lnTo>
                    <a:pt x="375" y="59"/>
                  </a:lnTo>
                  <a:lnTo>
                    <a:pt x="378" y="59"/>
                  </a:lnTo>
                  <a:lnTo>
                    <a:pt x="378" y="59"/>
                  </a:lnTo>
                  <a:lnTo>
                    <a:pt x="378" y="59"/>
                  </a:lnTo>
                  <a:lnTo>
                    <a:pt x="380" y="59"/>
                  </a:lnTo>
                  <a:lnTo>
                    <a:pt x="380" y="61"/>
                  </a:lnTo>
                  <a:lnTo>
                    <a:pt x="380" y="61"/>
                  </a:lnTo>
                  <a:lnTo>
                    <a:pt x="380" y="61"/>
                  </a:lnTo>
                  <a:lnTo>
                    <a:pt x="380" y="61"/>
                  </a:lnTo>
                  <a:lnTo>
                    <a:pt x="380" y="61"/>
                  </a:lnTo>
                  <a:lnTo>
                    <a:pt x="382" y="61"/>
                  </a:lnTo>
                  <a:lnTo>
                    <a:pt x="382" y="61"/>
                  </a:lnTo>
                  <a:lnTo>
                    <a:pt x="385" y="61"/>
                  </a:lnTo>
                  <a:lnTo>
                    <a:pt x="385" y="61"/>
                  </a:lnTo>
                  <a:lnTo>
                    <a:pt x="385" y="63"/>
                  </a:lnTo>
                  <a:lnTo>
                    <a:pt x="387" y="61"/>
                  </a:lnTo>
                  <a:lnTo>
                    <a:pt x="387" y="59"/>
                  </a:lnTo>
                  <a:lnTo>
                    <a:pt x="389" y="61"/>
                  </a:lnTo>
                  <a:lnTo>
                    <a:pt x="389" y="59"/>
                  </a:lnTo>
                  <a:lnTo>
                    <a:pt x="389" y="61"/>
                  </a:lnTo>
                  <a:lnTo>
                    <a:pt x="392" y="59"/>
                  </a:lnTo>
                  <a:lnTo>
                    <a:pt x="392" y="61"/>
                  </a:lnTo>
                  <a:lnTo>
                    <a:pt x="392" y="59"/>
                  </a:lnTo>
                  <a:lnTo>
                    <a:pt x="392" y="61"/>
                  </a:lnTo>
                  <a:lnTo>
                    <a:pt x="394" y="61"/>
                  </a:lnTo>
                  <a:lnTo>
                    <a:pt x="394" y="61"/>
                  </a:lnTo>
                  <a:lnTo>
                    <a:pt x="394" y="61"/>
                  </a:lnTo>
                  <a:lnTo>
                    <a:pt x="397" y="61"/>
                  </a:lnTo>
                  <a:lnTo>
                    <a:pt x="397" y="61"/>
                  </a:lnTo>
                  <a:lnTo>
                    <a:pt x="397" y="61"/>
                  </a:lnTo>
                  <a:lnTo>
                    <a:pt x="397" y="61"/>
                  </a:lnTo>
                  <a:lnTo>
                    <a:pt x="399" y="61"/>
                  </a:lnTo>
                  <a:lnTo>
                    <a:pt x="399" y="61"/>
                  </a:lnTo>
                  <a:lnTo>
                    <a:pt x="399" y="61"/>
                  </a:lnTo>
                  <a:lnTo>
                    <a:pt x="399" y="61"/>
                  </a:lnTo>
                  <a:lnTo>
                    <a:pt x="399" y="59"/>
                  </a:lnTo>
                  <a:lnTo>
                    <a:pt x="401" y="61"/>
                  </a:lnTo>
                  <a:lnTo>
                    <a:pt x="401" y="59"/>
                  </a:lnTo>
                  <a:lnTo>
                    <a:pt x="401" y="61"/>
                  </a:lnTo>
                  <a:lnTo>
                    <a:pt x="404" y="61"/>
                  </a:lnTo>
                  <a:lnTo>
                    <a:pt x="404" y="61"/>
                  </a:lnTo>
                  <a:lnTo>
                    <a:pt x="404" y="59"/>
                  </a:lnTo>
                  <a:lnTo>
                    <a:pt x="404" y="59"/>
                  </a:lnTo>
                  <a:lnTo>
                    <a:pt x="406" y="59"/>
                  </a:lnTo>
                  <a:lnTo>
                    <a:pt x="406" y="59"/>
                  </a:lnTo>
                  <a:lnTo>
                    <a:pt x="406" y="59"/>
                  </a:lnTo>
                  <a:lnTo>
                    <a:pt x="408" y="59"/>
                  </a:lnTo>
                  <a:lnTo>
                    <a:pt x="408" y="56"/>
                  </a:lnTo>
                  <a:lnTo>
                    <a:pt x="413" y="56"/>
                  </a:lnTo>
                  <a:lnTo>
                    <a:pt x="413" y="56"/>
                  </a:lnTo>
                  <a:lnTo>
                    <a:pt x="415" y="59"/>
                  </a:lnTo>
                  <a:lnTo>
                    <a:pt x="415" y="59"/>
                  </a:lnTo>
                  <a:lnTo>
                    <a:pt x="420" y="59"/>
                  </a:lnTo>
                  <a:lnTo>
                    <a:pt x="420" y="59"/>
                  </a:lnTo>
                  <a:lnTo>
                    <a:pt x="423" y="59"/>
                  </a:lnTo>
                  <a:lnTo>
                    <a:pt x="425" y="56"/>
                  </a:lnTo>
                  <a:lnTo>
                    <a:pt x="425" y="56"/>
                  </a:lnTo>
                  <a:lnTo>
                    <a:pt x="425" y="54"/>
                  </a:lnTo>
                  <a:lnTo>
                    <a:pt x="425" y="54"/>
                  </a:lnTo>
                  <a:lnTo>
                    <a:pt x="427" y="54"/>
                  </a:lnTo>
                  <a:lnTo>
                    <a:pt x="427" y="54"/>
                  </a:lnTo>
                  <a:lnTo>
                    <a:pt x="430" y="52"/>
                  </a:lnTo>
                  <a:lnTo>
                    <a:pt x="432" y="52"/>
                  </a:lnTo>
                  <a:lnTo>
                    <a:pt x="432" y="52"/>
                  </a:lnTo>
                  <a:lnTo>
                    <a:pt x="432" y="52"/>
                  </a:lnTo>
                  <a:lnTo>
                    <a:pt x="432" y="49"/>
                  </a:lnTo>
                  <a:lnTo>
                    <a:pt x="432" y="49"/>
                  </a:lnTo>
                  <a:lnTo>
                    <a:pt x="432" y="49"/>
                  </a:lnTo>
                  <a:lnTo>
                    <a:pt x="432" y="47"/>
                  </a:lnTo>
                  <a:lnTo>
                    <a:pt x="434" y="44"/>
                  </a:lnTo>
                  <a:lnTo>
                    <a:pt x="437" y="44"/>
                  </a:lnTo>
                  <a:lnTo>
                    <a:pt x="437" y="44"/>
                  </a:lnTo>
                  <a:lnTo>
                    <a:pt x="439" y="44"/>
                  </a:lnTo>
                  <a:lnTo>
                    <a:pt x="439" y="44"/>
                  </a:lnTo>
                  <a:lnTo>
                    <a:pt x="439" y="42"/>
                  </a:lnTo>
                  <a:lnTo>
                    <a:pt x="441" y="42"/>
                  </a:lnTo>
                  <a:lnTo>
                    <a:pt x="441" y="44"/>
                  </a:lnTo>
                  <a:lnTo>
                    <a:pt x="441" y="42"/>
                  </a:lnTo>
                  <a:lnTo>
                    <a:pt x="444" y="42"/>
                  </a:lnTo>
                  <a:lnTo>
                    <a:pt x="446" y="42"/>
                  </a:lnTo>
                  <a:lnTo>
                    <a:pt x="446" y="42"/>
                  </a:lnTo>
                  <a:lnTo>
                    <a:pt x="449" y="42"/>
                  </a:lnTo>
                  <a:lnTo>
                    <a:pt x="451" y="42"/>
                  </a:lnTo>
                  <a:lnTo>
                    <a:pt x="453" y="40"/>
                  </a:lnTo>
                  <a:lnTo>
                    <a:pt x="456" y="40"/>
                  </a:lnTo>
                  <a:lnTo>
                    <a:pt x="456" y="40"/>
                  </a:lnTo>
                  <a:lnTo>
                    <a:pt x="456" y="40"/>
                  </a:lnTo>
                  <a:lnTo>
                    <a:pt x="458" y="40"/>
                  </a:lnTo>
                  <a:lnTo>
                    <a:pt x="458" y="42"/>
                  </a:lnTo>
                  <a:lnTo>
                    <a:pt x="460" y="40"/>
                  </a:lnTo>
                  <a:lnTo>
                    <a:pt x="460" y="40"/>
                  </a:lnTo>
                  <a:lnTo>
                    <a:pt x="463" y="40"/>
                  </a:lnTo>
                  <a:lnTo>
                    <a:pt x="465" y="40"/>
                  </a:lnTo>
                  <a:lnTo>
                    <a:pt x="467" y="42"/>
                  </a:lnTo>
                  <a:lnTo>
                    <a:pt x="467" y="42"/>
                  </a:lnTo>
                  <a:lnTo>
                    <a:pt x="467" y="42"/>
                  </a:lnTo>
                  <a:lnTo>
                    <a:pt x="467" y="42"/>
                  </a:lnTo>
                  <a:lnTo>
                    <a:pt x="467" y="44"/>
                  </a:lnTo>
                  <a:lnTo>
                    <a:pt x="467" y="44"/>
                  </a:lnTo>
                  <a:lnTo>
                    <a:pt x="467" y="44"/>
                  </a:lnTo>
                  <a:lnTo>
                    <a:pt x="470" y="47"/>
                  </a:lnTo>
                  <a:lnTo>
                    <a:pt x="474" y="47"/>
                  </a:lnTo>
                  <a:lnTo>
                    <a:pt x="474" y="49"/>
                  </a:lnTo>
                  <a:lnTo>
                    <a:pt x="474" y="47"/>
                  </a:lnTo>
                  <a:lnTo>
                    <a:pt x="477" y="49"/>
                  </a:lnTo>
                  <a:lnTo>
                    <a:pt x="477" y="49"/>
                  </a:lnTo>
                  <a:lnTo>
                    <a:pt x="477" y="49"/>
                  </a:lnTo>
                  <a:lnTo>
                    <a:pt x="477" y="52"/>
                  </a:lnTo>
                  <a:lnTo>
                    <a:pt x="479" y="52"/>
                  </a:lnTo>
                  <a:lnTo>
                    <a:pt x="479" y="52"/>
                  </a:lnTo>
                  <a:lnTo>
                    <a:pt x="479" y="54"/>
                  </a:lnTo>
                  <a:lnTo>
                    <a:pt x="479" y="52"/>
                  </a:lnTo>
                  <a:lnTo>
                    <a:pt x="479" y="54"/>
                  </a:lnTo>
                  <a:lnTo>
                    <a:pt x="479" y="54"/>
                  </a:lnTo>
                  <a:lnTo>
                    <a:pt x="479" y="56"/>
                  </a:lnTo>
                  <a:lnTo>
                    <a:pt x="479" y="56"/>
                  </a:lnTo>
                  <a:lnTo>
                    <a:pt x="479" y="56"/>
                  </a:lnTo>
                  <a:lnTo>
                    <a:pt x="482" y="56"/>
                  </a:lnTo>
                  <a:lnTo>
                    <a:pt x="479" y="59"/>
                  </a:lnTo>
                  <a:lnTo>
                    <a:pt x="479" y="61"/>
                  </a:lnTo>
                  <a:lnTo>
                    <a:pt x="482" y="61"/>
                  </a:lnTo>
                  <a:lnTo>
                    <a:pt x="484" y="63"/>
                  </a:lnTo>
                  <a:lnTo>
                    <a:pt x="484" y="61"/>
                  </a:lnTo>
                  <a:lnTo>
                    <a:pt x="484" y="63"/>
                  </a:lnTo>
                  <a:lnTo>
                    <a:pt x="484" y="63"/>
                  </a:lnTo>
                  <a:lnTo>
                    <a:pt x="486" y="63"/>
                  </a:lnTo>
                  <a:lnTo>
                    <a:pt x="486" y="63"/>
                  </a:lnTo>
                  <a:lnTo>
                    <a:pt x="489" y="63"/>
                  </a:lnTo>
                  <a:lnTo>
                    <a:pt x="489" y="63"/>
                  </a:lnTo>
                  <a:lnTo>
                    <a:pt x="491" y="63"/>
                  </a:lnTo>
                  <a:lnTo>
                    <a:pt x="491" y="63"/>
                  </a:lnTo>
                  <a:lnTo>
                    <a:pt x="493" y="63"/>
                  </a:lnTo>
                  <a:lnTo>
                    <a:pt x="493" y="63"/>
                  </a:lnTo>
                  <a:lnTo>
                    <a:pt x="496" y="61"/>
                  </a:lnTo>
                  <a:lnTo>
                    <a:pt x="496" y="61"/>
                  </a:lnTo>
                  <a:lnTo>
                    <a:pt x="498" y="59"/>
                  </a:lnTo>
                  <a:lnTo>
                    <a:pt x="498" y="59"/>
                  </a:lnTo>
                  <a:lnTo>
                    <a:pt x="500" y="59"/>
                  </a:lnTo>
                  <a:lnTo>
                    <a:pt x="503" y="59"/>
                  </a:lnTo>
                  <a:lnTo>
                    <a:pt x="503" y="59"/>
                  </a:lnTo>
                  <a:lnTo>
                    <a:pt x="503" y="59"/>
                  </a:lnTo>
                  <a:lnTo>
                    <a:pt x="505" y="56"/>
                  </a:lnTo>
                  <a:lnTo>
                    <a:pt x="505" y="56"/>
                  </a:lnTo>
                  <a:lnTo>
                    <a:pt x="508" y="56"/>
                  </a:lnTo>
                  <a:lnTo>
                    <a:pt x="508" y="56"/>
                  </a:lnTo>
                  <a:lnTo>
                    <a:pt x="510" y="59"/>
                  </a:lnTo>
                  <a:lnTo>
                    <a:pt x="510" y="56"/>
                  </a:lnTo>
                  <a:lnTo>
                    <a:pt x="512" y="59"/>
                  </a:lnTo>
                  <a:lnTo>
                    <a:pt x="512" y="59"/>
                  </a:lnTo>
                  <a:lnTo>
                    <a:pt x="515" y="59"/>
                  </a:lnTo>
                  <a:lnTo>
                    <a:pt x="515" y="59"/>
                  </a:lnTo>
                  <a:lnTo>
                    <a:pt x="515" y="59"/>
                  </a:lnTo>
                  <a:lnTo>
                    <a:pt x="515" y="59"/>
                  </a:lnTo>
                  <a:lnTo>
                    <a:pt x="517" y="59"/>
                  </a:lnTo>
                  <a:lnTo>
                    <a:pt x="517" y="59"/>
                  </a:lnTo>
                  <a:lnTo>
                    <a:pt x="519" y="59"/>
                  </a:lnTo>
                  <a:lnTo>
                    <a:pt x="517" y="56"/>
                  </a:lnTo>
                  <a:lnTo>
                    <a:pt x="519" y="54"/>
                  </a:lnTo>
                  <a:lnTo>
                    <a:pt x="519" y="54"/>
                  </a:lnTo>
                  <a:lnTo>
                    <a:pt x="522" y="52"/>
                  </a:lnTo>
                  <a:lnTo>
                    <a:pt x="522" y="52"/>
                  </a:lnTo>
                  <a:lnTo>
                    <a:pt x="522" y="49"/>
                  </a:lnTo>
                  <a:lnTo>
                    <a:pt x="522" y="47"/>
                  </a:lnTo>
                  <a:lnTo>
                    <a:pt x="522" y="47"/>
                  </a:lnTo>
                  <a:lnTo>
                    <a:pt x="522" y="47"/>
                  </a:lnTo>
                  <a:lnTo>
                    <a:pt x="522" y="44"/>
                  </a:lnTo>
                  <a:lnTo>
                    <a:pt x="522" y="44"/>
                  </a:lnTo>
                  <a:lnTo>
                    <a:pt x="522" y="42"/>
                  </a:lnTo>
                  <a:lnTo>
                    <a:pt x="522" y="44"/>
                  </a:lnTo>
                  <a:lnTo>
                    <a:pt x="522" y="42"/>
                  </a:lnTo>
                  <a:lnTo>
                    <a:pt x="524" y="42"/>
                  </a:lnTo>
                  <a:lnTo>
                    <a:pt x="524" y="42"/>
                  </a:lnTo>
                  <a:lnTo>
                    <a:pt x="524" y="40"/>
                  </a:lnTo>
                  <a:lnTo>
                    <a:pt x="529" y="40"/>
                  </a:lnTo>
                  <a:lnTo>
                    <a:pt x="529" y="40"/>
                  </a:lnTo>
                  <a:lnTo>
                    <a:pt x="531" y="40"/>
                  </a:lnTo>
                  <a:lnTo>
                    <a:pt x="531" y="40"/>
                  </a:lnTo>
                  <a:lnTo>
                    <a:pt x="531" y="40"/>
                  </a:lnTo>
                  <a:lnTo>
                    <a:pt x="531" y="37"/>
                  </a:lnTo>
                  <a:lnTo>
                    <a:pt x="534" y="37"/>
                  </a:lnTo>
                  <a:lnTo>
                    <a:pt x="536" y="35"/>
                  </a:lnTo>
                  <a:lnTo>
                    <a:pt x="538" y="35"/>
                  </a:lnTo>
                  <a:lnTo>
                    <a:pt x="538" y="33"/>
                  </a:lnTo>
                  <a:lnTo>
                    <a:pt x="538" y="33"/>
                  </a:lnTo>
                  <a:lnTo>
                    <a:pt x="541" y="33"/>
                  </a:lnTo>
                  <a:lnTo>
                    <a:pt x="543" y="28"/>
                  </a:lnTo>
                  <a:lnTo>
                    <a:pt x="543" y="26"/>
                  </a:lnTo>
                  <a:lnTo>
                    <a:pt x="545" y="26"/>
                  </a:lnTo>
                  <a:lnTo>
                    <a:pt x="550" y="23"/>
                  </a:lnTo>
                  <a:lnTo>
                    <a:pt x="550" y="21"/>
                  </a:lnTo>
                  <a:lnTo>
                    <a:pt x="550" y="18"/>
                  </a:lnTo>
                  <a:lnTo>
                    <a:pt x="550" y="18"/>
                  </a:lnTo>
                  <a:lnTo>
                    <a:pt x="552" y="16"/>
                  </a:lnTo>
                  <a:lnTo>
                    <a:pt x="552" y="14"/>
                  </a:lnTo>
                  <a:lnTo>
                    <a:pt x="557" y="14"/>
                  </a:lnTo>
                  <a:lnTo>
                    <a:pt x="557" y="11"/>
                  </a:lnTo>
                  <a:lnTo>
                    <a:pt x="560" y="11"/>
                  </a:lnTo>
                  <a:lnTo>
                    <a:pt x="560" y="9"/>
                  </a:lnTo>
                  <a:lnTo>
                    <a:pt x="560" y="9"/>
                  </a:lnTo>
                  <a:lnTo>
                    <a:pt x="560" y="9"/>
                  </a:lnTo>
                  <a:lnTo>
                    <a:pt x="562" y="7"/>
                  </a:lnTo>
                  <a:lnTo>
                    <a:pt x="567" y="7"/>
                  </a:lnTo>
                  <a:lnTo>
                    <a:pt x="567" y="7"/>
                  </a:lnTo>
                  <a:lnTo>
                    <a:pt x="567" y="9"/>
                  </a:lnTo>
                  <a:lnTo>
                    <a:pt x="569" y="11"/>
                  </a:lnTo>
                  <a:lnTo>
                    <a:pt x="567" y="63"/>
                  </a:lnTo>
                  <a:lnTo>
                    <a:pt x="567" y="63"/>
                  </a:lnTo>
                  <a:lnTo>
                    <a:pt x="564" y="63"/>
                  </a:lnTo>
                  <a:lnTo>
                    <a:pt x="562" y="63"/>
                  </a:lnTo>
                  <a:lnTo>
                    <a:pt x="560" y="66"/>
                  </a:lnTo>
                  <a:lnTo>
                    <a:pt x="560" y="66"/>
                  </a:lnTo>
                  <a:lnTo>
                    <a:pt x="557" y="66"/>
                  </a:lnTo>
                  <a:lnTo>
                    <a:pt x="557" y="66"/>
                  </a:lnTo>
                  <a:lnTo>
                    <a:pt x="555" y="66"/>
                  </a:lnTo>
                  <a:lnTo>
                    <a:pt x="552" y="66"/>
                  </a:lnTo>
                  <a:lnTo>
                    <a:pt x="552" y="66"/>
                  </a:lnTo>
                  <a:lnTo>
                    <a:pt x="548" y="68"/>
                  </a:lnTo>
                  <a:lnTo>
                    <a:pt x="548" y="68"/>
                  </a:lnTo>
                  <a:lnTo>
                    <a:pt x="548" y="70"/>
                  </a:lnTo>
                  <a:lnTo>
                    <a:pt x="545" y="73"/>
                  </a:lnTo>
                  <a:lnTo>
                    <a:pt x="543" y="73"/>
                  </a:lnTo>
                  <a:lnTo>
                    <a:pt x="543" y="73"/>
                  </a:lnTo>
                  <a:lnTo>
                    <a:pt x="543" y="75"/>
                  </a:lnTo>
                  <a:lnTo>
                    <a:pt x="541" y="78"/>
                  </a:lnTo>
                  <a:lnTo>
                    <a:pt x="541" y="80"/>
                  </a:lnTo>
                  <a:lnTo>
                    <a:pt x="541" y="80"/>
                  </a:lnTo>
                  <a:lnTo>
                    <a:pt x="541" y="82"/>
                  </a:lnTo>
                  <a:lnTo>
                    <a:pt x="536" y="87"/>
                  </a:lnTo>
                  <a:lnTo>
                    <a:pt x="536" y="89"/>
                  </a:lnTo>
                  <a:lnTo>
                    <a:pt x="536" y="89"/>
                  </a:lnTo>
                  <a:lnTo>
                    <a:pt x="534" y="92"/>
                  </a:lnTo>
                  <a:lnTo>
                    <a:pt x="534" y="92"/>
                  </a:lnTo>
                  <a:lnTo>
                    <a:pt x="534" y="94"/>
                  </a:lnTo>
                  <a:lnTo>
                    <a:pt x="536" y="94"/>
                  </a:lnTo>
                  <a:lnTo>
                    <a:pt x="534" y="96"/>
                  </a:lnTo>
                  <a:lnTo>
                    <a:pt x="536" y="96"/>
                  </a:lnTo>
                  <a:lnTo>
                    <a:pt x="534" y="96"/>
                  </a:lnTo>
                  <a:lnTo>
                    <a:pt x="536" y="99"/>
                  </a:lnTo>
                  <a:lnTo>
                    <a:pt x="536" y="96"/>
                  </a:lnTo>
                  <a:lnTo>
                    <a:pt x="536" y="96"/>
                  </a:lnTo>
                  <a:lnTo>
                    <a:pt x="538" y="96"/>
                  </a:lnTo>
                  <a:lnTo>
                    <a:pt x="538" y="96"/>
                  </a:lnTo>
                  <a:lnTo>
                    <a:pt x="541" y="96"/>
                  </a:lnTo>
                  <a:lnTo>
                    <a:pt x="541" y="96"/>
                  </a:lnTo>
                  <a:lnTo>
                    <a:pt x="541" y="96"/>
                  </a:lnTo>
                  <a:lnTo>
                    <a:pt x="541" y="96"/>
                  </a:lnTo>
                  <a:lnTo>
                    <a:pt x="543" y="96"/>
                  </a:lnTo>
                  <a:lnTo>
                    <a:pt x="543" y="99"/>
                  </a:lnTo>
                  <a:lnTo>
                    <a:pt x="545" y="99"/>
                  </a:lnTo>
                  <a:lnTo>
                    <a:pt x="543" y="96"/>
                  </a:lnTo>
                  <a:lnTo>
                    <a:pt x="545" y="96"/>
                  </a:lnTo>
                  <a:lnTo>
                    <a:pt x="545" y="99"/>
                  </a:lnTo>
                  <a:lnTo>
                    <a:pt x="548" y="99"/>
                  </a:lnTo>
                  <a:lnTo>
                    <a:pt x="548" y="99"/>
                  </a:lnTo>
                  <a:lnTo>
                    <a:pt x="548" y="99"/>
                  </a:lnTo>
                  <a:lnTo>
                    <a:pt x="548" y="99"/>
                  </a:lnTo>
                  <a:lnTo>
                    <a:pt x="548" y="99"/>
                  </a:lnTo>
                  <a:lnTo>
                    <a:pt x="550" y="99"/>
                  </a:lnTo>
                  <a:lnTo>
                    <a:pt x="550" y="101"/>
                  </a:lnTo>
                  <a:lnTo>
                    <a:pt x="550" y="101"/>
                  </a:lnTo>
                  <a:lnTo>
                    <a:pt x="550" y="101"/>
                  </a:lnTo>
                  <a:lnTo>
                    <a:pt x="550" y="104"/>
                  </a:lnTo>
                  <a:lnTo>
                    <a:pt x="550" y="104"/>
                  </a:lnTo>
                  <a:lnTo>
                    <a:pt x="552" y="104"/>
                  </a:lnTo>
                  <a:lnTo>
                    <a:pt x="552" y="104"/>
                  </a:lnTo>
                  <a:lnTo>
                    <a:pt x="552" y="104"/>
                  </a:lnTo>
                  <a:lnTo>
                    <a:pt x="552" y="104"/>
                  </a:lnTo>
                  <a:lnTo>
                    <a:pt x="552" y="104"/>
                  </a:lnTo>
                  <a:lnTo>
                    <a:pt x="552" y="106"/>
                  </a:lnTo>
                  <a:lnTo>
                    <a:pt x="555" y="106"/>
                  </a:lnTo>
                  <a:lnTo>
                    <a:pt x="555" y="106"/>
                  </a:lnTo>
                  <a:lnTo>
                    <a:pt x="555" y="106"/>
                  </a:lnTo>
                  <a:lnTo>
                    <a:pt x="555" y="106"/>
                  </a:lnTo>
                  <a:lnTo>
                    <a:pt x="555" y="106"/>
                  </a:lnTo>
                  <a:lnTo>
                    <a:pt x="557" y="108"/>
                  </a:lnTo>
                  <a:lnTo>
                    <a:pt x="557" y="108"/>
                  </a:lnTo>
                  <a:lnTo>
                    <a:pt x="562" y="108"/>
                  </a:lnTo>
                  <a:lnTo>
                    <a:pt x="562" y="108"/>
                  </a:lnTo>
                  <a:lnTo>
                    <a:pt x="562" y="108"/>
                  </a:lnTo>
                  <a:lnTo>
                    <a:pt x="564" y="108"/>
                  </a:lnTo>
                  <a:lnTo>
                    <a:pt x="564" y="108"/>
                  </a:lnTo>
                  <a:lnTo>
                    <a:pt x="564" y="108"/>
                  </a:lnTo>
                  <a:lnTo>
                    <a:pt x="567" y="108"/>
                  </a:lnTo>
                  <a:lnTo>
                    <a:pt x="567" y="111"/>
                  </a:lnTo>
                  <a:lnTo>
                    <a:pt x="569" y="108"/>
                  </a:lnTo>
                  <a:lnTo>
                    <a:pt x="569" y="108"/>
                  </a:lnTo>
                  <a:lnTo>
                    <a:pt x="569" y="106"/>
                  </a:lnTo>
                  <a:lnTo>
                    <a:pt x="571" y="106"/>
                  </a:lnTo>
                  <a:lnTo>
                    <a:pt x="571" y="106"/>
                  </a:lnTo>
                  <a:lnTo>
                    <a:pt x="576" y="106"/>
                  </a:lnTo>
                  <a:lnTo>
                    <a:pt x="576" y="106"/>
                  </a:lnTo>
                  <a:lnTo>
                    <a:pt x="576" y="106"/>
                  </a:lnTo>
                  <a:lnTo>
                    <a:pt x="578" y="106"/>
                  </a:lnTo>
                  <a:lnTo>
                    <a:pt x="578" y="106"/>
                  </a:lnTo>
                  <a:lnTo>
                    <a:pt x="578" y="108"/>
                  </a:lnTo>
                  <a:lnTo>
                    <a:pt x="581" y="108"/>
                  </a:lnTo>
                  <a:lnTo>
                    <a:pt x="581" y="108"/>
                  </a:lnTo>
                  <a:lnTo>
                    <a:pt x="583" y="108"/>
                  </a:lnTo>
                  <a:lnTo>
                    <a:pt x="583" y="108"/>
                  </a:lnTo>
                  <a:lnTo>
                    <a:pt x="586" y="108"/>
                  </a:lnTo>
                  <a:lnTo>
                    <a:pt x="586" y="111"/>
                  </a:lnTo>
                  <a:lnTo>
                    <a:pt x="586" y="111"/>
                  </a:lnTo>
                  <a:lnTo>
                    <a:pt x="588" y="111"/>
                  </a:lnTo>
                  <a:lnTo>
                    <a:pt x="590" y="111"/>
                  </a:lnTo>
                  <a:lnTo>
                    <a:pt x="590" y="113"/>
                  </a:lnTo>
                  <a:lnTo>
                    <a:pt x="590" y="113"/>
                  </a:lnTo>
                  <a:lnTo>
                    <a:pt x="593" y="113"/>
                  </a:lnTo>
                  <a:lnTo>
                    <a:pt x="595" y="113"/>
                  </a:lnTo>
                  <a:lnTo>
                    <a:pt x="595" y="113"/>
                  </a:lnTo>
                  <a:lnTo>
                    <a:pt x="595" y="113"/>
                  </a:lnTo>
                  <a:lnTo>
                    <a:pt x="597" y="111"/>
                  </a:lnTo>
                  <a:lnTo>
                    <a:pt x="597" y="111"/>
                  </a:lnTo>
                  <a:lnTo>
                    <a:pt x="597" y="108"/>
                  </a:lnTo>
                  <a:lnTo>
                    <a:pt x="597" y="108"/>
                  </a:lnTo>
                  <a:lnTo>
                    <a:pt x="597" y="106"/>
                  </a:lnTo>
                  <a:lnTo>
                    <a:pt x="600" y="108"/>
                  </a:lnTo>
                  <a:lnTo>
                    <a:pt x="600" y="106"/>
                  </a:lnTo>
                  <a:lnTo>
                    <a:pt x="600" y="106"/>
                  </a:lnTo>
                  <a:lnTo>
                    <a:pt x="600" y="106"/>
                  </a:lnTo>
                  <a:lnTo>
                    <a:pt x="600" y="106"/>
                  </a:lnTo>
                  <a:lnTo>
                    <a:pt x="600" y="106"/>
                  </a:lnTo>
                  <a:lnTo>
                    <a:pt x="602" y="106"/>
                  </a:lnTo>
                  <a:lnTo>
                    <a:pt x="602" y="106"/>
                  </a:lnTo>
                  <a:lnTo>
                    <a:pt x="602" y="108"/>
                  </a:lnTo>
                  <a:lnTo>
                    <a:pt x="604" y="106"/>
                  </a:lnTo>
                  <a:lnTo>
                    <a:pt x="604" y="108"/>
                  </a:lnTo>
                  <a:lnTo>
                    <a:pt x="604" y="108"/>
                  </a:lnTo>
                  <a:lnTo>
                    <a:pt x="607" y="108"/>
                  </a:lnTo>
                  <a:lnTo>
                    <a:pt x="609" y="108"/>
                  </a:lnTo>
                  <a:lnTo>
                    <a:pt x="612" y="108"/>
                  </a:lnTo>
                  <a:lnTo>
                    <a:pt x="614" y="108"/>
                  </a:lnTo>
                  <a:lnTo>
                    <a:pt x="614" y="108"/>
                  </a:lnTo>
                  <a:lnTo>
                    <a:pt x="616" y="108"/>
                  </a:lnTo>
                  <a:lnTo>
                    <a:pt x="623" y="108"/>
                  </a:lnTo>
                  <a:lnTo>
                    <a:pt x="626" y="108"/>
                  </a:lnTo>
                  <a:lnTo>
                    <a:pt x="626" y="108"/>
                  </a:lnTo>
                  <a:lnTo>
                    <a:pt x="628" y="111"/>
                  </a:lnTo>
                  <a:lnTo>
                    <a:pt x="630" y="111"/>
                  </a:lnTo>
                  <a:lnTo>
                    <a:pt x="630" y="111"/>
                  </a:lnTo>
                  <a:lnTo>
                    <a:pt x="630" y="113"/>
                  </a:lnTo>
                  <a:lnTo>
                    <a:pt x="633" y="113"/>
                  </a:lnTo>
                  <a:lnTo>
                    <a:pt x="647" y="113"/>
                  </a:lnTo>
                  <a:lnTo>
                    <a:pt x="645" y="115"/>
                  </a:lnTo>
                  <a:lnTo>
                    <a:pt x="645" y="115"/>
                  </a:lnTo>
                  <a:lnTo>
                    <a:pt x="645" y="115"/>
                  </a:lnTo>
                  <a:lnTo>
                    <a:pt x="640" y="115"/>
                  </a:lnTo>
                  <a:lnTo>
                    <a:pt x="640" y="115"/>
                  </a:lnTo>
                  <a:lnTo>
                    <a:pt x="637" y="118"/>
                  </a:lnTo>
                  <a:lnTo>
                    <a:pt x="637" y="118"/>
                  </a:lnTo>
                  <a:lnTo>
                    <a:pt x="637" y="122"/>
                  </a:lnTo>
                  <a:lnTo>
                    <a:pt x="640" y="127"/>
                  </a:lnTo>
                  <a:lnTo>
                    <a:pt x="640" y="130"/>
                  </a:lnTo>
                  <a:lnTo>
                    <a:pt x="642" y="137"/>
                  </a:lnTo>
                  <a:lnTo>
                    <a:pt x="642" y="141"/>
                  </a:lnTo>
                  <a:lnTo>
                    <a:pt x="642" y="144"/>
                  </a:lnTo>
                  <a:lnTo>
                    <a:pt x="642" y="148"/>
                  </a:lnTo>
                  <a:lnTo>
                    <a:pt x="647" y="153"/>
                  </a:lnTo>
                  <a:lnTo>
                    <a:pt x="649" y="153"/>
                  </a:lnTo>
                  <a:lnTo>
                    <a:pt x="652" y="153"/>
                  </a:lnTo>
                  <a:lnTo>
                    <a:pt x="652" y="153"/>
                  </a:lnTo>
                  <a:lnTo>
                    <a:pt x="654" y="151"/>
                  </a:lnTo>
                  <a:lnTo>
                    <a:pt x="659" y="148"/>
                  </a:lnTo>
                  <a:lnTo>
                    <a:pt x="661" y="146"/>
                  </a:lnTo>
                  <a:lnTo>
                    <a:pt x="666" y="146"/>
                  </a:lnTo>
                  <a:lnTo>
                    <a:pt x="671" y="148"/>
                  </a:lnTo>
                  <a:lnTo>
                    <a:pt x="678" y="148"/>
                  </a:lnTo>
                  <a:lnTo>
                    <a:pt x="678" y="148"/>
                  </a:lnTo>
                  <a:lnTo>
                    <a:pt x="680" y="151"/>
                  </a:lnTo>
                  <a:lnTo>
                    <a:pt x="682" y="151"/>
                  </a:lnTo>
                  <a:lnTo>
                    <a:pt x="685" y="153"/>
                  </a:lnTo>
                  <a:lnTo>
                    <a:pt x="685" y="153"/>
                  </a:lnTo>
                  <a:lnTo>
                    <a:pt x="687" y="153"/>
                  </a:lnTo>
                  <a:lnTo>
                    <a:pt x="685" y="156"/>
                  </a:lnTo>
                  <a:lnTo>
                    <a:pt x="682" y="160"/>
                  </a:lnTo>
                  <a:lnTo>
                    <a:pt x="680" y="163"/>
                  </a:lnTo>
                  <a:lnTo>
                    <a:pt x="675" y="163"/>
                  </a:lnTo>
                  <a:lnTo>
                    <a:pt x="673" y="163"/>
                  </a:lnTo>
                  <a:lnTo>
                    <a:pt x="673" y="163"/>
                  </a:lnTo>
                  <a:lnTo>
                    <a:pt x="671" y="165"/>
                  </a:lnTo>
                  <a:lnTo>
                    <a:pt x="671" y="165"/>
                  </a:lnTo>
                  <a:lnTo>
                    <a:pt x="671" y="170"/>
                  </a:lnTo>
                  <a:lnTo>
                    <a:pt x="668" y="170"/>
                  </a:lnTo>
                  <a:lnTo>
                    <a:pt x="668" y="172"/>
                  </a:lnTo>
                  <a:lnTo>
                    <a:pt x="666" y="174"/>
                  </a:lnTo>
                  <a:lnTo>
                    <a:pt x="663" y="177"/>
                  </a:lnTo>
                  <a:lnTo>
                    <a:pt x="661" y="179"/>
                  </a:lnTo>
                  <a:lnTo>
                    <a:pt x="661" y="179"/>
                  </a:lnTo>
                  <a:lnTo>
                    <a:pt x="661" y="181"/>
                  </a:lnTo>
                  <a:lnTo>
                    <a:pt x="661" y="184"/>
                  </a:lnTo>
                  <a:lnTo>
                    <a:pt x="663" y="186"/>
                  </a:lnTo>
                  <a:lnTo>
                    <a:pt x="663" y="186"/>
                  </a:lnTo>
                  <a:lnTo>
                    <a:pt x="663" y="189"/>
                  </a:lnTo>
                  <a:lnTo>
                    <a:pt x="666" y="189"/>
                  </a:lnTo>
                  <a:lnTo>
                    <a:pt x="666" y="189"/>
                  </a:lnTo>
                  <a:lnTo>
                    <a:pt x="666" y="191"/>
                  </a:lnTo>
                  <a:lnTo>
                    <a:pt x="671" y="193"/>
                  </a:lnTo>
                  <a:lnTo>
                    <a:pt x="675" y="196"/>
                  </a:lnTo>
                  <a:lnTo>
                    <a:pt x="675" y="196"/>
                  </a:lnTo>
                  <a:lnTo>
                    <a:pt x="675" y="196"/>
                  </a:lnTo>
                  <a:lnTo>
                    <a:pt x="678" y="196"/>
                  </a:lnTo>
                  <a:lnTo>
                    <a:pt x="680" y="196"/>
                  </a:lnTo>
                  <a:lnTo>
                    <a:pt x="682" y="198"/>
                  </a:lnTo>
                  <a:lnTo>
                    <a:pt x="685" y="198"/>
                  </a:lnTo>
                  <a:lnTo>
                    <a:pt x="687" y="198"/>
                  </a:lnTo>
                  <a:lnTo>
                    <a:pt x="689" y="198"/>
                  </a:lnTo>
                  <a:lnTo>
                    <a:pt x="692" y="198"/>
                  </a:lnTo>
                  <a:lnTo>
                    <a:pt x="697" y="198"/>
                  </a:lnTo>
                  <a:lnTo>
                    <a:pt x="697" y="198"/>
                  </a:lnTo>
                  <a:lnTo>
                    <a:pt x="701" y="198"/>
                  </a:lnTo>
                  <a:lnTo>
                    <a:pt x="701" y="198"/>
                  </a:lnTo>
                  <a:lnTo>
                    <a:pt x="704" y="198"/>
                  </a:lnTo>
                  <a:lnTo>
                    <a:pt x="706" y="198"/>
                  </a:lnTo>
                  <a:lnTo>
                    <a:pt x="708" y="198"/>
                  </a:lnTo>
                  <a:lnTo>
                    <a:pt x="711" y="196"/>
                  </a:lnTo>
                  <a:lnTo>
                    <a:pt x="713" y="196"/>
                  </a:lnTo>
                  <a:lnTo>
                    <a:pt x="713" y="193"/>
                  </a:lnTo>
                  <a:lnTo>
                    <a:pt x="715" y="193"/>
                  </a:lnTo>
                  <a:lnTo>
                    <a:pt x="715" y="196"/>
                  </a:lnTo>
                  <a:lnTo>
                    <a:pt x="715" y="196"/>
                  </a:lnTo>
                  <a:lnTo>
                    <a:pt x="718" y="196"/>
                  </a:lnTo>
                  <a:lnTo>
                    <a:pt x="723" y="198"/>
                  </a:lnTo>
                  <a:lnTo>
                    <a:pt x="725" y="198"/>
                  </a:lnTo>
                  <a:lnTo>
                    <a:pt x="727" y="203"/>
                  </a:lnTo>
                  <a:lnTo>
                    <a:pt x="727" y="205"/>
                  </a:lnTo>
                  <a:lnTo>
                    <a:pt x="730" y="205"/>
                  </a:lnTo>
                  <a:lnTo>
                    <a:pt x="730" y="205"/>
                  </a:lnTo>
                  <a:lnTo>
                    <a:pt x="730" y="207"/>
                  </a:lnTo>
                  <a:lnTo>
                    <a:pt x="732" y="207"/>
                  </a:lnTo>
                  <a:lnTo>
                    <a:pt x="732" y="207"/>
                  </a:lnTo>
                  <a:lnTo>
                    <a:pt x="734" y="210"/>
                  </a:lnTo>
                  <a:lnTo>
                    <a:pt x="734" y="212"/>
                  </a:lnTo>
                  <a:lnTo>
                    <a:pt x="737" y="212"/>
                  </a:lnTo>
                  <a:lnTo>
                    <a:pt x="734" y="212"/>
                  </a:lnTo>
                  <a:lnTo>
                    <a:pt x="737" y="212"/>
                  </a:lnTo>
                  <a:lnTo>
                    <a:pt x="737" y="215"/>
                  </a:lnTo>
                  <a:lnTo>
                    <a:pt x="737" y="215"/>
                  </a:lnTo>
                  <a:lnTo>
                    <a:pt x="739" y="215"/>
                  </a:lnTo>
                  <a:lnTo>
                    <a:pt x="739" y="215"/>
                  </a:lnTo>
                  <a:lnTo>
                    <a:pt x="739" y="215"/>
                  </a:lnTo>
                  <a:lnTo>
                    <a:pt x="739" y="217"/>
                  </a:lnTo>
                  <a:lnTo>
                    <a:pt x="741" y="217"/>
                  </a:lnTo>
                  <a:lnTo>
                    <a:pt x="744" y="217"/>
                  </a:lnTo>
                  <a:lnTo>
                    <a:pt x="744" y="217"/>
                  </a:lnTo>
                  <a:lnTo>
                    <a:pt x="744" y="217"/>
                  </a:lnTo>
                  <a:lnTo>
                    <a:pt x="746" y="217"/>
                  </a:lnTo>
                  <a:lnTo>
                    <a:pt x="749" y="217"/>
                  </a:lnTo>
                  <a:lnTo>
                    <a:pt x="749" y="217"/>
                  </a:lnTo>
                  <a:lnTo>
                    <a:pt x="751" y="217"/>
                  </a:lnTo>
                  <a:lnTo>
                    <a:pt x="753" y="217"/>
                  </a:lnTo>
                  <a:lnTo>
                    <a:pt x="756" y="219"/>
                  </a:lnTo>
                  <a:lnTo>
                    <a:pt x="756" y="219"/>
                  </a:lnTo>
                  <a:lnTo>
                    <a:pt x="756" y="219"/>
                  </a:lnTo>
                  <a:lnTo>
                    <a:pt x="756" y="219"/>
                  </a:lnTo>
                  <a:lnTo>
                    <a:pt x="758" y="219"/>
                  </a:lnTo>
                  <a:lnTo>
                    <a:pt x="760" y="219"/>
                  </a:lnTo>
                  <a:lnTo>
                    <a:pt x="760" y="219"/>
                  </a:lnTo>
                  <a:lnTo>
                    <a:pt x="760" y="219"/>
                  </a:lnTo>
                  <a:lnTo>
                    <a:pt x="760" y="219"/>
                  </a:lnTo>
                  <a:lnTo>
                    <a:pt x="760" y="222"/>
                  </a:lnTo>
                  <a:lnTo>
                    <a:pt x="760" y="224"/>
                  </a:lnTo>
                  <a:lnTo>
                    <a:pt x="763" y="224"/>
                  </a:lnTo>
                  <a:lnTo>
                    <a:pt x="763" y="224"/>
                  </a:lnTo>
                  <a:lnTo>
                    <a:pt x="763" y="224"/>
                  </a:lnTo>
                  <a:lnTo>
                    <a:pt x="765" y="224"/>
                  </a:lnTo>
                  <a:lnTo>
                    <a:pt x="765" y="226"/>
                  </a:lnTo>
                  <a:lnTo>
                    <a:pt x="765" y="226"/>
                  </a:lnTo>
                  <a:lnTo>
                    <a:pt x="767" y="226"/>
                  </a:lnTo>
                  <a:lnTo>
                    <a:pt x="767" y="226"/>
                  </a:lnTo>
                  <a:lnTo>
                    <a:pt x="770" y="226"/>
                  </a:lnTo>
                  <a:lnTo>
                    <a:pt x="770" y="229"/>
                  </a:lnTo>
                  <a:lnTo>
                    <a:pt x="770" y="229"/>
                  </a:lnTo>
                  <a:lnTo>
                    <a:pt x="770" y="229"/>
                  </a:lnTo>
                  <a:lnTo>
                    <a:pt x="770" y="231"/>
                  </a:lnTo>
                  <a:lnTo>
                    <a:pt x="772" y="231"/>
                  </a:lnTo>
                  <a:lnTo>
                    <a:pt x="770" y="231"/>
                  </a:lnTo>
                  <a:lnTo>
                    <a:pt x="770" y="231"/>
                  </a:lnTo>
                  <a:lnTo>
                    <a:pt x="772" y="231"/>
                  </a:lnTo>
                  <a:lnTo>
                    <a:pt x="772" y="233"/>
                  </a:lnTo>
                  <a:lnTo>
                    <a:pt x="775" y="233"/>
                  </a:lnTo>
                  <a:lnTo>
                    <a:pt x="775" y="231"/>
                  </a:lnTo>
                  <a:lnTo>
                    <a:pt x="775" y="233"/>
                  </a:lnTo>
                  <a:lnTo>
                    <a:pt x="777" y="233"/>
                  </a:lnTo>
                  <a:lnTo>
                    <a:pt x="777" y="233"/>
                  </a:lnTo>
                  <a:lnTo>
                    <a:pt x="777" y="233"/>
                  </a:lnTo>
                  <a:lnTo>
                    <a:pt x="777" y="233"/>
                  </a:lnTo>
                  <a:lnTo>
                    <a:pt x="779" y="233"/>
                  </a:lnTo>
                  <a:lnTo>
                    <a:pt x="779" y="233"/>
                  </a:lnTo>
                  <a:lnTo>
                    <a:pt x="782" y="236"/>
                  </a:lnTo>
                  <a:lnTo>
                    <a:pt x="779" y="236"/>
                  </a:lnTo>
                  <a:lnTo>
                    <a:pt x="779" y="236"/>
                  </a:lnTo>
                  <a:lnTo>
                    <a:pt x="782" y="236"/>
                  </a:lnTo>
                  <a:lnTo>
                    <a:pt x="782" y="236"/>
                  </a:lnTo>
                  <a:lnTo>
                    <a:pt x="782" y="233"/>
                  </a:lnTo>
                  <a:lnTo>
                    <a:pt x="782" y="236"/>
                  </a:lnTo>
                  <a:lnTo>
                    <a:pt x="784" y="236"/>
                  </a:lnTo>
                  <a:lnTo>
                    <a:pt x="784" y="236"/>
                  </a:lnTo>
                  <a:lnTo>
                    <a:pt x="786" y="236"/>
                  </a:lnTo>
                  <a:lnTo>
                    <a:pt x="786" y="236"/>
                  </a:lnTo>
                  <a:lnTo>
                    <a:pt x="786" y="233"/>
                  </a:lnTo>
                  <a:lnTo>
                    <a:pt x="786" y="236"/>
                  </a:lnTo>
                  <a:lnTo>
                    <a:pt x="789" y="236"/>
                  </a:lnTo>
                  <a:lnTo>
                    <a:pt x="789" y="236"/>
                  </a:lnTo>
                  <a:lnTo>
                    <a:pt x="789" y="236"/>
                  </a:lnTo>
                  <a:lnTo>
                    <a:pt x="789" y="236"/>
                  </a:lnTo>
                  <a:lnTo>
                    <a:pt x="791" y="236"/>
                  </a:lnTo>
                  <a:lnTo>
                    <a:pt x="791" y="236"/>
                  </a:lnTo>
                  <a:lnTo>
                    <a:pt x="791" y="236"/>
                  </a:lnTo>
                  <a:lnTo>
                    <a:pt x="793" y="236"/>
                  </a:lnTo>
                  <a:lnTo>
                    <a:pt x="793" y="238"/>
                  </a:lnTo>
                  <a:lnTo>
                    <a:pt x="796" y="238"/>
                  </a:lnTo>
                  <a:lnTo>
                    <a:pt x="796" y="241"/>
                  </a:lnTo>
                  <a:lnTo>
                    <a:pt x="796" y="241"/>
                  </a:lnTo>
                  <a:lnTo>
                    <a:pt x="798" y="241"/>
                  </a:lnTo>
                  <a:lnTo>
                    <a:pt x="798" y="243"/>
                  </a:lnTo>
                  <a:lnTo>
                    <a:pt x="798" y="243"/>
                  </a:lnTo>
                  <a:lnTo>
                    <a:pt x="798" y="243"/>
                  </a:lnTo>
                  <a:lnTo>
                    <a:pt x="800" y="245"/>
                  </a:lnTo>
                  <a:lnTo>
                    <a:pt x="800" y="245"/>
                  </a:lnTo>
                  <a:lnTo>
                    <a:pt x="800" y="245"/>
                  </a:lnTo>
                  <a:lnTo>
                    <a:pt x="803" y="245"/>
                  </a:lnTo>
                  <a:lnTo>
                    <a:pt x="803" y="245"/>
                  </a:lnTo>
                  <a:lnTo>
                    <a:pt x="803" y="245"/>
                  </a:lnTo>
                  <a:lnTo>
                    <a:pt x="803" y="245"/>
                  </a:lnTo>
                  <a:lnTo>
                    <a:pt x="805" y="245"/>
                  </a:lnTo>
                  <a:lnTo>
                    <a:pt x="808" y="248"/>
                  </a:lnTo>
                  <a:lnTo>
                    <a:pt x="808" y="248"/>
                  </a:lnTo>
                  <a:lnTo>
                    <a:pt x="810" y="248"/>
                  </a:lnTo>
                  <a:lnTo>
                    <a:pt x="808" y="248"/>
                  </a:lnTo>
                  <a:lnTo>
                    <a:pt x="810" y="250"/>
                  </a:lnTo>
                  <a:lnTo>
                    <a:pt x="810" y="248"/>
                  </a:lnTo>
                  <a:lnTo>
                    <a:pt x="812" y="250"/>
                  </a:lnTo>
                  <a:lnTo>
                    <a:pt x="815" y="250"/>
                  </a:lnTo>
                  <a:lnTo>
                    <a:pt x="815" y="250"/>
                  </a:lnTo>
                  <a:lnTo>
                    <a:pt x="815" y="250"/>
                  </a:lnTo>
                  <a:lnTo>
                    <a:pt x="815" y="252"/>
                  </a:lnTo>
                  <a:lnTo>
                    <a:pt x="815" y="252"/>
                  </a:lnTo>
                  <a:lnTo>
                    <a:pt x="815" y="252"/>
                  </a:lnTo>
                  <a:lnTo>
                    <a:pt x="817" y="252"/>
                  </a:lnTo>
                  <a:lnTo>
                    <a:pt x="817" y="252"/>
                  </a:lnTo>
                  <a:lnTo>
                    <a:pt x="817" y="252"/>
                  </a:lnTo>
                  <a:lnTo>
                    <a:pt x="819" y="252"/>
                  </a:lnTo>
                  <a:lnTo>
                    <a:pt x="819" y="252"/>
                  </a:lnTo>
                  <a:lnTo>
                    <a:pt x="819" y="252"/>
                  </a:lnTo>
                  <a:lnTo>
                    <a:pt x="819" y="255"/>
                  </a:lnTo>
                  <a:lnTo>
                    <a:pt x="822" y="255"/>
                  </a:lnTo>
                  <a:lnTo>
                    <a:pt x="826" y="257"/>
                  </a:lnTo>
                  <a:lnTo>
                    <a:pt x="826" y="255"/>
                  </a:lnTo>
                  <a:lnTo>
                    <a:pt x="829" y="255"/>
                  </a:lnTo>
                  <a:lnTo>
                    <a:pt x="829" y="257"/>
                  </a:lnTo>
                  <a:lnTo>
                    <a:pt x="831" y="257"/>
                  </a:lnTo>
                  <a:lnTo>
                    <a:pt x="831" y="257"/>
                  </a:lnTo>
                  <a:lnTo>
                    <a:pt x="834" y="257"/>
                  </a:lnTo>
                  <a:lnTo>
                    <a:pt x="834" y="255"/>
                  </a:lnTo>
                  <a:lnTo>
                    <a:pt x="836" y="255"/>
                  </a:lnTo>
                  <a:lnTo>
                    <a:pt x="836" y="257"/>
                  </a:lnTo>
                  <a:lnTo>
                    <a:pt x="838" y="257"/>
                  </a:lnTo>
                  <a:lnTo>
                    <a:pt x="838" y="257"/>
                  </a:lnTo>
                  <a:lnTo>
                    <a:pt x="841" y="257"/>
                  </a:lnTo>
                  <a:lnTo>
                    <a:pt x="843" y="257"/>
                  </a:lnTo>
                  <a:lnTo>
                    <a:pt x="845" y="259"/>
                  </a:lnTo>
                  <a:lnTo>
                    <a:pt x="845" y="259"/>
                  </a:lnTo>
                  <a:lnTo>
                    <a:pt x="845" y="259"/>
                  </a:lnTo>
                  <a:lnTo>
                    <a:pt x="845" y="259"/>
                  </a:lnTo>
                  <a:lnTo>
                    <a:pt x="848" y="259"/>
                  </a:lnTo>
                  <a:lnTo>
                    <a:pt x="848" y="259"/>
                  </a:lnTo>
                  <a:lnTo>
                    <a:pt x="850" y="262"/>
                  </a:lnTo>
                  <a:lnTo>
                    <a:pt x="852" y="259"/>
                  </a:lnTo>
                  <a:lnTo>
                    <a:pt x="852" y="259"/>
                  </a:lnTo>
                  <a:lnTo>
                    <a:pt x="852" y="262"/>
                  </a:lnTo>
                  <a:lnTo>
                    <a:pt x="855" y="262"/>
                  </a:lnTo>
                  <a:lnTo>
                    <a:pt x="855" y="262"/>
                  </a:lnTo>
                  <a:lnTo>
                    <a:pt x="857" y="262"/>
                  </a:lnTo>
                  <a:lnTo>
                    <a:pt x="857" y="262"/>
                  </a:lnTo>
                  <a:lnTo>
                    <a:pt x="857" y="262"/>
                  </a:lnTo>
                  <a:lnTo>
                    <a:pt x="857" y="262"/>
                  </a:lnTo>
                  <a:lnTo>
                    <a:pt x="857" y="264"/>
                  </a:lnTo>
                  <a:lnTo>
                    <a:pt x="857" y="264"/>
                  </a:lnTo>
                  <a:lnTo>
                    <a:pt x="860" y="264"/>
                  </a:lnTo>
                  <a:lnTo>
                    <a:pt x="862" y="264"/>
                  </a:lnTo>
                  <a:lnTo>
                    <a:pt x="862" y="264"/>
                  </a:lnTo>
                  <a:lnTo>
                    <a:pt x="862" y="267"/>
                  </a:lnTo>
                  <a:lnTo>
                    <a:pt x="862" y="267"/>
                  </a:lnTo>
                  <a:lnTo>
                    <a:pt x="862" y="269"/>
                  </a:lnTo>
                  <a:lnTo>
                    <a:pt x="864" y="267"/>
                  </a:lnTo>
                  <a:lnTo>
                    <a:pt x="867" y="269"/>
                  </a:lnTo>
                  <a:lnTo>
                    <a:pt x="871" y="269"/>
                  </a:lnTo>
                  <a:lnTo>
                    <a:pt x="871" y="271"/>
                  </a:lnTo>
                  <a:lnTo>
                    <a:pt x="871" y="271"/>
                  </a:lnTo>
                  <a:lnTo>
                    <a:pt x="871" y="271"/>
                  </a:lnTo>
                  <a:lnTo>
                    <a:pt x="874" y="271"/>
                  </a:lnTo>
                  <a:lnTo>
                    <a:pt x="874" y="271"/>
                  </a:lnTo>
                  <a:lnTo>
                    <a:pt x="874" y="274"/>
                  </a:lnTo>
                  <a:lnTo>
                    <a:pt x="876" y="274"/>
                  </a:lnTo>
                  <a:lnTo>
                    <a:pt x="878" y="274"/>
                  </a:lnTo>
                  <a:lnTo>
                    <a:pt x="878" y="274"/>
                  </a:lnTo>
                  <a:lnTo>
                    <a:pt x="881" y="274"/>
                  </a:lnTo>
                  <a:lnTo>
                    <a:pt x="881" y="274"/>
                  </a:lnTo>
                  <a:lnTo>
                    <a:pt x="881" y="274"/>
                  </a:lnTo>
                  <a:lnTo>
                    <a:pt x="881" y="274"/>
                  </a:lnTo>
                  <a:lnTo>
                    <a:pt x="883" y="274"/>
                  </a:lnTo>
                  <a:lnTo>
                    <a:pt x="883" y="274"/>
                  </a:lnTo>
                  <a:lnTo>
                    <a:pt x="883" y="274"/>
                  </a:lnTo>
                  <a:lnTo>
                    <a:pt x="886" y="274"/>
                  </a:lnTo>
                  <a:lnTo>
                    <a:pt x="886" y="276"/>
                  </a:lnTo>
                  <a:lnTo>
                    <a:pt x="888" y="276"/>
                  </a:lnTo>
                  <a:lnTo>
                    <a:pt x="890" y="276"/>
                  </a:lnTo>
                  <a:lnTo>
                    <a:pt x="893" y="278"/>
                  </a:lnTo>
                  <a:lnTo>
                    <a:pt x="895" y="278"/>
                  </a:lnTo>
                  <a:lnTo>
                    <a:pt x="895" y="278"/>
                  </a:lnTo>
                  <a:lnTo>
                    <a:pt x="897" y="278"/>
                  </a:lnTo>
                  <a:lnTo>
                    <a:pt x="897" y="278"/>
                  </a:lnTo>
                  <a:lnTo>
                    <a:pt x="897" y="281"/>
                  </a:lnTo>
                  <a:lnTo>
                    <a:pt x="900" y="281"/>
                  </a:lnTo>
                  <a:lnTo>
                    <a:pt x="900" y="283"/>
                  </a:lnTo>
                  <a:lnTo>
                    <a:pt x="902" y="281"/>
                  </a:lnTo>
                  <a:lnTo>
                    <a:pt x="902" y="283"/>
                  </a:lnTo>
                  <a:lnTo>
                    <a:pt x="904" y="283"/>
                  </a:lnTo>
                  <a:lnTo>
                    <a:pt x="904" y="285"/>
                  </a:lnTo>
                  <a:lnTo>
                    <a:pt x="904" y="285"/>
                  </a:lnTo>
                  <a:lnTo>
                    <a:pt x="907" y="288"/>
                  </a:lnTo>
                  <a:lnTo>
                    <a:pt x="907" y="290"/>
                  </a:lnTo>
                  <a:lnTo>
                    <a:pt x="907" y="290"/>
                  </a:lnTo>
                  <a:lnTo>
                    <a:pt x="904" y="290"/>
                  </a:lnTo>
                  <a:lnTo>
                    <a:pt x="907" y="293"/>
                  </a:lnTo>
                  <a:lnTo>
                    <a:pt x="909" y="290"/>
                  </a:lnTo>
                  <a:lnTo>
                    <a:pt x="909" y="293"/>
                  </a:lnTo>
                  <a:lnTo>
                    <a:pt x="909" y="293"/>
                  </a:lnTo>
                  <a:lnTo>
                    <a:pt x="912" y="293"/>
                  </a:lnTo>
                  <a:lnTo>
                    <a:pt x="912" y="295"/>
                  </a:lnTo>
                  <a:lnTo>
                    <a:pt x="914" y="295"/>
                  </a:lnTo>
                  <a:lnTo>
                    <a:pt x="916" y="297"/>
                  </a:lnTo>
                  <a:lnTo>
                    <a:pt x="916" y="297"/>
                  </a:lnTo>
                  <a:lnTo>
                    <a:pt x="916" y="300"/>
                  </a:lnTo>
                  <a:lnTo>
                    <a:pt x="916" y="300"/>
                  </a:lnTo>
                  <a:lnTo>
                    <a:pt x="916" y="300"/>
                  </a:lnTo>
                  <a:lnTo>
                    <a:pt x="914" y="302"/>
                  </a:lnTo>
                  <a:lnTo>
                    <a:pt x="914" y="304"/>
                  </a:lnTo>
                  <a:lnTo>
                    <a:pt x="919" y="309"/>
                  </a:lnTo>
                  <a:lnTo>
                    <a:pt x="919" y="311"/>
                  </a:lnTo>
                  <a:lnTo>
                    <a:pt x="919" y="314"/>
                  </a:lnTo>
                  <a:lnTo>
                    <a:pt x="919" y="316"/>
                  </a:lnTo>
                  <a:lnTo>
                    <a:pt x="916" y="316"/>
                  </a:lnTo>
                  <a:lnTo>
                    <a:pt x="916" y="316"/>
                  </a:lnTo>
                  <a:lnTo>
                    <a:pt x="914" y="316"/>
                  </a:lnTo>
                  <a:lnTo>
                    <a:pt x="912" y="316"/>
                  </a:lnTo>
                  <a:lnTo>
                    <a:pt x="912" y="316"/>
                  </a:lnTo>
                  <a:lnTo>
                    <a:pt x="909" y="318"/>
                  </a:lnTo>
                  <a:lnTo>
                    <a:pt x="907" y="326"/>
                  </a:lnTo>
                  <a:lnTo>
                    <a:pt x="907" y="326"/>
                  </a:lnTo>
                  <a:lnTo>
                    <a:pt x="904" y="328"/>
                  </a:lnTo>
                  <a:lnTo>
                    <a:pt x="904" y="333"/>
                  </a:lnTo>
                  <a:lnTo>
                    <a:pt x="902" y="335"/>
                  </a:lnTo>
                  <a:lnTo>
                    <a:pt x="902" y="335"/>
                  </a:lnTo>
                  <a:lnTo>
                    <a:pt x="907" y="337"/>
                  </a:lnTo>
                  <a:lnTo>
                    <a:pt x="904" y="340"/>
                  </a:lnTo>
                  <a:lnTo>
                    <a:pt x="904" y="342"/>
                  </a:lnTo>
                  <a:lnTo>
                    <a:pt x="904" y="342"/>
                  </a:lnTo>
                  <a:lnTo>
                    <a:pt x="907" y="344"/>
                  </a:lnTo>
                  <a:lnTo>
                    <a:pt x="907" y="349"/>
                  </a:lnTo>
                  <a:lnTo>
                    <a:pt x="907" y="352"/>
                  </a:lnTo>
                  <a:lnTo>
                    <a:pt x="907" y="354"/>
                  </a:lnTo>
                  <a:lnTo>
                    <a:pt x="909" y="356"/>
                  </a:lnTo>
                  <a:lnTo>
                    <a:pt x="909" y="356"/>
                  </a:lnTo>
                  <a:lnTo>
                    <a:pt x="909" y="359"/>
                  </a:lnTo>
                  <a:lnTo>
                    <a:pt x="909" y="359"/>
                  </a:lnTo>
                  <a:lnTo>
                    <a:pt x="907" y="366"/>
                  </a:lnTo>
                  <a:lnTo>
                    <a:pt x="909" y="370"/>
                  </a:lnTo>
                  <a:lnTo>
                    <a:pt x="909" y="373"/>
                  </a:lnTo>
                  <a:lnTo>
                    <a:pt x="907" y="375"/>
                  </a:lnTo>
                  <a:lnTo>
                    <a:pt x="907" y="375"/>
                  </a:lnTo>
                  <a:lnTo>
                    <a:pt x="909" y="380"/>
                  </a:lnTo>
                  <a:lnTo>
                    <a:pt x="909" y="380"/>
                  </a:lnTo>
                  <a:lnTo>
                    <a:pt x="909" y="382"/>
                  </a:lnTo>
                  <a:lnTo>
                    <a:pt x="907" y="389"/>
                  </a:lnTo>
                  <a:lnTo>
                    <a:pt x="902" y="394"/>
                  </a:lnTo>
                  <a:lnTo>
                    <a:pt x="902" y="401"/>
                  </a:lnTo>
                  <a:lnTo>
                    <a:pt x="900" y="401"/>
                  </a:lnTo>
                  <a:lnTo>
                    <a:pt x="897" y="406"/>
                  </a:lnTo>
                  <a:lnTo>
                    <a:pt x="895" y="406"/>
                  </a:lnTo>
                  <a:lnTo>
                    <a:pt x="893" y="408"/>
                  </a:lnTo>
                  <a:lnTo>
                    <a:pt x="890" y="408"/>
                  </a:lnTo>
                  <a:lnTo>
                    <a:pt x="890" y="408"/>
                  </a:lnTo>
                  <a:lnTo>
                    <a:pt x="888" y="411"/>
                  </a:lnTo>
                  <a:lnTo>
                    <a:pt x="883" y="411"/>
                  </a:lnTo>
                  <a:lnTo>
                    <a:pt x="878" y="411"/>
                  </a:lnTo>
                  <a:lnTo>
                    <a:pt x="871" y="413"/>
                  </a:lnTo>
                  <a:lnTo>
                    <a:pt x="869" y="413"/>
                  </a:lnTo>
                  <a:lnTo>
                    <a:pt x="867" y="415"/>
                  </a:lnTo>
                  <a:lnTo>
                    <a:pt x="864" y="415"/>
                  </a:lnTo>
                  <a:lnTo>
                    <a:pt x="864" y="418"/>
                  </a:lnTo>
                  <a:lnTo>
                    <a:pt x="864" y="420"/>
                  </a:lnTo>
                  <a:lnTo>
                    <a:pt x="862" y="420"/>
                  </a:lnTo>
                  <a:lnTo>
                    <a:pt x="857" y="430"/>
                  </a:lnTo>
                  <a:lnTo>
                    <a:pt x="857" y="430"/>
                  </a:lnTo>
                  <a:lnTo>
                    <a:pt x="855" y="430"/>
                  </a:lnTo>
                  <a:lnTo>
                    <a:pt x="852" y="434"/>
                  </a:lnTo>
                  <a:lnTo>
                    <a:pt x="850" y="434"/>
                  </a:lnTo>
                  <a:lnTo>
                    <a:pt x="845" y="441"/>
                  </a:lnTo>
                  <a:lnTo>
                    <a:pt x="845" y="444"/>
                  </a:lnTo>
                  <a:lnTo>
                    <a:pt x="843" y="446"/>
                  </a:lnTo>
                  <a:lnTo>
                    <a:pt x="836" y="451"/>
                  </a:lnTo>
                  <a:lnTo>
                    <a:pt x="836" y="451"/>
                  </a:lnTo>
                  <a:lnTo>
                    <a:pt x="836" y="453"/>
                  </a:lnTo>
                  <a:lnTo>
                    <a:pt x="836" y="453"/>
                  </a:lnTo>
                  <a:lnTo>
                    <a:pt x="834" y="453"/>
                  </a:lnTo>
                  <a:lnTo>
                    <a:pt x="834" y="455"/>
                  </a:lnTo>
                  <a:lnTo>
                    <a:pt x="829" y="465"/>
                  </a:lnTo>
                  <a:lnTo>
                    <a:pt x="829" y="467"/>
                  </a:lnTo>
                  <a:lnTo>
                    <a:pt x="829" y="472"/>
                  </a:lnTo>
                  <a:lnTo>
                    <a:pt x="829" y="472"/>
                  </a:lnTo>
                  <a:lnTo>
                    <a:pt x="829" y="472"/>
                  </a:lnTo>
                  <a:lnTo>
                    <a:pt x="829" y="477"/>
                  </a:lnTo>
                  <a:lnTo>
                    <a:pt x="829" y="481"/>
                  </a:lnTo>
                  <a:lnTo>
                    <a:pt x="829" y="484"/>
                  </a:lnTo>
                  <a:lnTo>
                    <a:pt x="831" y="486"/>
                  </a:lnTo>
                  <a:lnTo>
                    <a:pt x="831" y="491"/>
                  </a:lnTo>
                  <a:lnTo>
                    <a:pt x="829" y="493"/>
                  </a:lnTo>
                  <a:lnTo>
                    <a:pt x="824" y="496"/>
                  </a:lnTo>
                  <a:lnTo>
                    <a:pt x="824" y="496"/>
                  </a:lnTo>
                  <a:lnTo>
                    <a:pt x="819" y="496"/>
                  </a:lnTo>
                  <a:lnTo>
                    <a:pt x="817" y="498"/>
                  </a:lnTo>
                  <a:lnTo>
                    <a:pt x="815" y="503"/>
                  </a:lnTo>
                  <a:lnTo>
                    <a:pt x="812" y="505"/>
                  </a:lnTo>
                  <a:lnTo>
                    <a:pt x="810" y="507"/>
                  </a:lnTo>
                  <a:lnTo>
                    <a:pt x="810" y="510"/>
                  </a:lnTo>
                  <a:lnTo>
                    <a:pt x="810" y="515"/>
                  </a:lnTo>
                  <a:lnTo>
                    <a:pt x="808" y="515"/>
                  </a:lnTo>
                  <a:lnTo>
                    <a:pt x="805" y="517"/>
                  </a:lnTo>
                  <a:lnTo>
                    <a:pt x="805" y="517"/>
                  </a:lnTo>
                  <a:lnTo>
                    <a:pt x="803" y="517"/>
                  </a:lnTo>
                  <a:lnTo>
                    <a:pt x="798" y="517"/>
                  </a:lnTo>
                  <a:lnTo>
                    <a:pt x="798" y="519"/>
                  </a:lnTo>
                  <a:lnTo>
                    <a:pt x="798" y="519"/>
                  </a:lnTo>
                  <a:lnTo>
                    <a:pt x="798" y="524"/>
                  </a:lnTo>
                  <a:lnTo>
                    <a:pt x="798" y="526"/>
                  </a:lnTo>
                  <a:lnTo>
                    <a:pt x="798" y="526"/>
                  </a:lnTo>
                  <a:lnTo>
                    <a:pt x="800" y="529"/>
                  </a:lnTo>
                  <a:lnTo>
                    <a:pt x="800" y="536"/>
                  </a:lnTo>
                  <a:lnTo>
                    <a:pt x="800" y="536"/>
                  </a:lnTo>
                  <a:lnTo>
                    <a:pt x="800" y="541"/>
                  </a:lnTo>
                  <a:lnTo>
                    <a:pt x="800" y="543"/>
                  </a:lnTo>
                  <a:lnTo>
                    <a:pt x="800" y="545"/>
                  </a:lnTo>
                  <a:lnTo>
                    <a:pt x="800" y="545"/>
                  </a:lnTo>
                  <a:lnTo>
                    <a:pt x="800" y="545"/>
                  </a:lnTo>
                  <a:lnTo>
                    <a:pt x="798" y="548"/>
                  </a:lnTo>
                  <a:lnTo>
                    <a:pt x="793" y="550"/>
                  </a:lnTo>
                  <a:lnTo>
                    <a:pt x="793" y="555"/>
                  </a:lnTo>
                  <a:lnTo>
                    <a:pt x="791" y="557"/>
                  </a:lnTo>
                  <a:lnTo>
                    <a:pt x="791" y="559"/>
                  </a:lnTo>
                  <a:lnTo>
                    <a:pt x="789" y="562"/>
                  </a:lnTo>
                  <a:lnTo>
                    <a:pt x="786" y="564"/>
                  </a:lnTo>
                  <a:lnTo>
                    <a:pt x="786" y="567"/>
                  </a:lnTo>
                  <a:lnTo>
                    <a:pt x="782" y="567"/>
                  </a:lnTo>
                  <a:lnTo>
                    <a:pt x="779" y="567"/>
                  </a:lnTo>
                  <a:lnTo>
                    <a:pt x="775" y="567"/>
                  </a:lnTo>
                  <a:lnTo>
                    <a:pt x="775" y="567"/>
                  </a:lnTo>
                  <a:lnTo>
                    <a:pt x="772" y="567"/>
                  </a:lnTo>
                  <a:lnTo>
                    <a:pt x="770" y="571"/>
                  </a:lnTo>
                  <a:lnTo>
                    <a:pt x="770" y="574"/>
                  </a:lnTo>
                  <a:lnTo>
                    <a:pt x="770" y="576"/>
                  </a:lnTo>
                  <a:lnTo>
                    <a:pt x="775" y="578"/>
                  </a:lnTo>
                  <a:lnTo>
                    <a:pt x="775" y="581"/>
                  </a:lnTo>
                  <a:lnTo>
                    <a:pt x="775" y="585"/>
                  </a:lnTo>
                  <a:lnTo>
                    <a:pt x="775" y="588"/>
                  </a:lnTo>
                  <a:lnTo>
                    <a:pt x="775" y="588"/>
                  </a:lnTo>
                  <a:lnTo>
                    <a:pt x="772" y="595"/>
                  </a:lnTo>
                  <a:lnTo>
                    <a:pt x="770" y="595"/>
                  </a:lnTo>
                  <a:lnTo>
                    <a:pt x="770" y="597"/>
                  </a:lnTo>
                  <a:lnTo>
                    <a:pt x="765" y="600"/>
                  </a:lnTo>
                  <a:lnTo>
                    <a:pt x="763" y="602"/>
                  </a:lnTo>
                  <a:lnTo>
                    <a:pt x="760" y="607"/>
                  </a:lnTo>
                  <a:lnTo>
                    <a:pt x="760" y="609"/>
                  </a:lnTo>
                  <a:lnTo>
                    <a:pt x="758" y="611"/>
                  </a:lnTo>
                  <a:lnTo>
                    <a:pt x="753" y="616"/>
                  </a:lnTo>
                  <a:lnTo>
                    <a:pt x="751" y="618"/>
                  </a:lnTo>
                  <a:lnTo>
                    <a:pt x="749" y="618"/>
                  </a:lnTo>
                  <a:lnTo>
                    <a:pt x="749" y="621"/>
                  </a:lnTo>
                  <a:lnTo>
                    <a:pt x="746" y="621"/>
                  </a:lnTo>
                  <a:lnTo>
                    <a:pt x="744" y="626"/>
                  </a:lnTo>
                  <a:lnTo>
                    <a:pt x="741" y="628"/>
                  </a:lnTo>
                  <a:lnTo>
                    <a:pt x="739" y="640"/>
                  </a:lnTo>
                  <a:lnTo>
                    <a:pt x="734" y="644"/>
                  </a:lnTo>
                  <a:lnTo>
                    <a:pt x="732" y="647"/>
                  </a:lnTo>
                  <a:lnTo>
                    <a:pt x="732" y="647"/>
                  </a:lnTo>
                  <a:lnTo>
                    <a:pt x="732" y="649"/>
                  </a:lnTo>
                  <a:lnTo>
                    <a:pt x="725" y="654"/>
                  </a:lnTo>
                  <a:lnTo>
                    <a:pt x="725" y="656"/>
                  </a:lnTo>
                  <a:lnTo>
                    <a:pt x="723" y="659"/>
                  </a:lnTo>
                  <a:lnTo>
                    <a:pt x="720" y="659"/>
                  </a:lnTo>
                  <a:lnTo>
                    <a:pt x="720" y="659"/>
                  </a:lnTo>
                  <a:lnTo>
                    <a:pt x="718" y="661"/>
                  </a:lnTo>
                  <a:lnTo>
                    <a:pt x="715" y="661"/>
                  </a:lnTo>
                  <a:lnTo>
                    <a:pt x="713" y="663"/>
                  </a:lnTo>
                  <a:lnTo>
                    <a:pt x="708" y="663"/>
                  </a:lnTo>
                  <a:lnTo>
                    <a:pt x="706" y="666"/>
                  </a:lnTo>
                  <a:lnTo>
                    <a:pt x="704" y="668"/>
                  </a:lnTo>
                  <a:lnTo>
                    <a:pt x="701" y="668"/>
                  </a:lnTo>
                  <a:lnTo>
                    <a:pt x="699" y="670"/>
                  </a:lnTo>
                  <a:lnTo>
                    <a:pt x="694" y="673"/>
                  </a:lnTo>
                  <a:lnTo>
                    <a:pt x="689" y="675"/>
                  </a:lnTo>
                  <a:lnTo>
                    <a:pt x="687" y="675"/>
                  </a:lnTo>
                  <a:lnTo>
                    <a:pt x="680" y="680"/>
                  </a:lnTo>
                  <a:lnTo>
                    <a:pt x="680" y="682"/>
                  </a:lnTo>
                  <a:lnTo>
                    <a:pt x="675" y="685"/>
                  </a:lnTo>
                  <a:lnTo>
                    <a:pt x="673" y="689"/>
                  </a:lnTo>
                  <a:lnTo>
                    <a:pt x="673" y="689"/>
                  </a:lnTo>
                  <a:lnTo>
                    <a:pt x="671" y="692"/>
                  </a:lnTo>
                  <a:lnTo>
                    <a:pt x="663" y="692"/>
                  </a:lnTo>
                  <a:lnTo>
                    <a:pt x="661" y="694"/>
                  </a:lnTo>
                  <a:lnTo>
                    <a:pt x="661" y="694"/>
                  </a:lnTo>
                  <a:lnTo>
                    <a:pt x="656" y="696"/>
                  </a:lnTo>
                  <a:lnTo>
                    <a:pt x="654" y="699"/>
                  </a:lnTo>
                  <a:lnTo>
                    <a:pt x="654" y="699"/>
                  </a:lnTo>
                  <a:lnTo>
                    <a:pt x="649" y="701"/>
                  </a:lnTo>
                  <a:lnTo>
                    <a:pt x="647" y="701"/>
                  </a:lnTo>
                  <a:lnTo>
                    <a:pt x="645" y="704"/>
                  </a:lnTo>
                  <a:lnTo>
                    <a:pt x="642" y="708"/>
                  </a:lnTo>
                  <a:lnTo>
                    <a:pt x="642" y="711"/>
                  </a:lnTo>
                  <a:lnTo>
                    <a:pt x="642" y="711"/>
                  </a:lnTo>
                  <a:lnTo>
                    <a:pt x="642" y="711"/>
                  </a:lnTo>
                  <a:lnTo>
                    <a:pt x="642" y="713"/>
                  </a:lnTo>
                  <a:lnTo>
                    <a:pt x="640" y="715"/>
                  </a:lnTo>
                  <a:lnTo>
                    <a:pt x="640" y="715"/>
                  </a:lnTo>
                  <a:lnTo>
                    <a:pt x="633" y="725"/>
                  </a:lnTo>
                  <a:lnTo>
                    <a:pt x="630" y="725"/>
                  </a:lnTo>
                  <a:lnTo>
                    <a:pt x="630" y="727"/>
                  </a:lnTo>
                  <a:lnTo>
                    <a:pt x="628" y="727"/>
                  </a:lnTo>
                  <a:lnTo>
                    <a:pt x="626" y="727"/>
                  </a:lnTo>
                  <a:lnTo>
                    <a:pt x="626" y="727"/>
                  </a:lnTo>
                  <a:lnTo>
                    <a:pt x="623" y="727"/>
                  </a:lnTo>
                  <a:lnTo>
                    <a:pt x="616" y="730"/>
                  </a:lnTo>
                  <a:lnTo>
                    <a:pt x="614" y="732"/>
                  </a:lnTo>
                  <a:lnTo>
                    <a:pt x="612" y="732"/>
                  </a:lnTo>
                  <a:lnTo>
                    <a:pt x="609" y="732"/>
                  </a:lnTo>
                  <a:lnTo>
                    <a:pt x="609" y="734"/>
                  </a:lnTo>
                  <a:lnTo>
                    <a:pt x="607" y="737"/>
                  </a:lnTo>
                  <a:lnTo>
                    <a:pt x="604" y="737"/>
                  </a:lnTo>
                  <a:lnTo>
                    <a:pt x="604" y="737"/>
                  </a:lnTo>
                  <a:lnTo>
                    <a:pt x="604" y="739"/>
                  </a:lnTo>
                  <a:lnTo>
                    <a:pt x="600" y="741"/>
                  </a:lnTo>
                  <a:lnTo>
                    <a:pt x="597" y="741"/>
                  </a:lnTo>
                  <a:lnTo>
                    <a:pt x="595" y="744"/>
                  </a:lnTo>
                  <a:lnTo>
                    <a:pt x="590" y="746"/>
                  </a:lnTo>
                  <a:lnTo>
                    <a:pt x="588" y="746"/>
                  </a:lnTo>
                  <a:lnTo>
                    <a:pt x="586" y="748"/>
                  </a:lnTo>
                  <a:lnTo>
                    <a:pt x="586" y="751"/>
                  </a:lnTo>
                  <a:lnTo>
                    <a:pt x="586" y="751"/>
                  </a:lnTo>
                  <a:lnTo>
                    <a:pt x="583" y="753"/>
                  </a:lnTo>
                  <a:lnTo>
                    <a:pt x="581" y="753"/>
                  </a:lnTo>
                  <a:lnTo>
                    <a:pt x="578" y="755"/>
                  </a:lnTo>
                  <a:lnTo>
                    <a:pt x="578" y="758"/>
                  </a:lnTo>
                  <a:lnTo>
                    <a:pt x="576" y="763"/>
                  </a:lnTo>
                  <a:lnTo>
                    <a:pt x="576" y="763"/>
                  </a:lnTo>
                  <a:lnTo>
                    <a:pt x="576" y="779"/>
                  </a:lnTo>
                  <a:lnTo>
                    <a:pt x="571" y="781"/>
                  </a:lnTo>
                  <a:lnTo>
                    <a:pt x="571" y="784"/>
                  </a:lnTo>
                  <a:lnTo>
                    <a:pt x="569" y="789"/>
                  </a:lnTo>
                  <a:lnTo>
                    <a:pt x="567" y="796"/>
                  </a:lnTo>
                  <a:lnTo>
                    <a:pt x="564" y="798"/>
                  </a:lnTo>
                  <a:lnTo>
                    <a:pt x="564" y="800"/>
                  </a:lnTo>
                  <a:lnTo>
                    <a:pt x="562" y="803"/>
                  </a:lnTo>
                  <a:lnTo>
                    <a:pt x="560" y="810"/>
                  </a:lnTo>
                  <a:lnTo>
                    <a:pt x="557" y="810"/>
                  </a:lnTo>
                  <a:lnTo>
                    <a:pt x="552" y="812"/>
                  </a:lnTo>
                  <a:lnTo>
                    <a:pt x="543" y="817"/>
                  </a:lnTo>
                  <a:lnTo>
                    <a:pt x="538" y="822"/>
                  </a:lnTo>
                  <a:lnTo>
                    <a:pt x="534" y="819"/>
                  </a:lnTo>
                  <a:lnTo>
                    <a:pt x="534" y="822"/>
                  </a:lnTo>
                  <a:lnTo>
                    <a:pt x="531" y="822"/>
                  </a:lnTo>
                  <a:lnTo>
                    <a:pt x="531" y="822"/>
                  </a:lnTo>
                  <a:lnTo>
                    <a:pt x="526" y="829"/>
                  </a:lnTo>
                  <a:lnTo>
                    <a:pt x="526" y="833"/>
                  </a:lnTo>
                  <a:lnTo>
                    <a:pt x="526" y="838"/>
                  </a:lnTo>
                  <a:lnTo>
                    <a:pt x="524" y="843"/>
                  </a:lnTo>
                  <a:lnTo>
                    <a:pt x="524" y="848"/>
                  </a:lnTo>
                  <a:lnTo>
                    <a:pt x="524" y="850"/>
                  </a:lnTo>
                  <a:lnTo>
                    <a:pt x="522" y="852"/>
                  </a:lnTo>
                  <a:lnTo>
                    <a:pt x="522" y="857"/>
                  </a:lnTo>
                  <a:lnTo>
                    <a:pt x="522" y="857"/>
                  </a:lnTo>
                  <a:lnTo>
                    <a:pt x="519" y="862"/>
                  </a:lnTo>
                  <a:lnTo>
                    <a:pt x="517" y="867"/>
                  </a:lnTo>
                  <a:lnTo>
                    <a:pt x="517" y="869"/>
                  </a:lnTo>
                  <a:lnTo>
                    <a:pt x="517" y="871"/>
                  </a:lnTo>
                  <a:lnTo>
                    <a:pt x="517" y="871"/>
                  </a:lnTo>
                  <a:lnTo>
                    <a:pt x="517" y="876"/>
                  </a:lnTo>
                  <a:lnTo>
                    <a:pt x="517" y="878"/>
                  </a:lnTo>
                  <a:lnTo>
                    <a:pt x="515" y="885"/>
                  </a:lnTo>
                  <a:lnTo>
                    <a:pt x="515" y="888"/>
                  </a:lnTo>
                  <a:lnTo>
                    <a:pt x="512" y="890"/>
                  </a:lnTo>
                  <a:lnTo>
                    <a:pt x="508" y="892"/>
                  </a:lnTo>
                  <a:lnTo>
                    <a:pt x="498" y="900"/>
                  </a:lnTo>
                  <a:lnTo>
                    <a:pt x="493" y="900"/>
                  </a:lnTo>
                  <a:lnTo>
                    <a:pt x="493" y="900"/>
                  </a:lnTo>
                  <a:lnTo>
                    <a:pt x="493" y="902"/>
                  </a:lnTo>
                  <a:lnTo>
                    <a:pt x="489" y="900"/>
                  </a:lnTo>
                  <a:lnTo>
                    <a:pt x="489" y="897"/>
                  </a:lnTo>
                  <a:lnTo>
                    <a:pt x="489" y="895"/>
                  </a:lnTo>
                  <a:lnTo>
                    <a:pt x="489" y="895"/>
                  </a:lnTo>
                  <a:lnTo>
                    <a:pt x="486" y="892"/>
                  </a:lnTo>
                  <a:lnTo>
                    <a:pt x="484" y="895"/>
                  </a:lnTo>
                  <a:lnTo>
                    <a:pt x="482" y="892"/>
                  </a:lnTo>
                  <a:lnTo>
                    <a:pt x="479" y="890"/>
                  </a:lnTo>
                  <a:lnTo>
                    <a:pt x="477" y="888"/>
                  </a:lnTo>
                  <a:lnTo>
                    <a:pt x="477" y="888"/>
                  </a:lnTo>
                  <a:lnTo>
                    <a:pt x="474" y="883"/>
                  </a:lnTo>
                  <a:lnTo>
                    <a:pt x="474" y="881"/>
                  </a:lnTo>
                  <a:lnTo>
                    <a:pt x="474" y="881"/>
                  </a:lnTo>
                  <a:lnTo>
                    <a:pt x="472" y="881"/>
                  </a:lnTo>
                  <a:lnTo>
                    <a:pt x="467" y="878"/>
                  </a:lnTo>
                  <a:lnTo>
                    <a:pt x="465" y="876"/>
                  </a:lnTo>
                  <a:lnTo>
                    <a:pt x="465" y="878"/>
                  </a:lnTo>
                  <a:lnTo>
                    <a:pt x="465" y="878"/>
                  </a:lnTo>
                  <a:lnTo>
                    <a:pt x="463" y="878"/>
                  </a:lnTo>
                  <a:lnTo>
                    <a:pt x="460" y="876"/>
                  </a:lnTo>
                  <a:lnTo>
                    <a:pt x="460" y="876"/>
                  </a:lnTo>
                  <a:lnTo>
                    <a:pt x="458" y="876"/>
                  </a:lnTo>
                  <a:lnTo>
                    <a:pt x="456" y="876"/>
                  </a:lnTo>
                  <a:lnTo>
                    <a:pt x="456" y="876"/>
                  </a:lnTo>
                  <a:lnTo>
                    <a:pt x="458" y="874"/>
                  </a:lnTo>
                  <a:lnTo>
                    <a:pt x="456" y="874"/>
                  </a:lnTo>
                  <a:lnTo>
                    <a:pt x="456" y="871"/>
                  </a:lnTo>
                  <a:lnTo>
                    <a:pt x="453" y="871"/>
                  </a:lnTo>
                  <a:lnTo>
                    <a:pt x="451" y="874"/>
                  </a:lnTo>
                  <a:lnTo>
                    <a:pt x="451" y="874"/>
                  </a:lnTo>
                  <a:lnTo>
                    <a:pt x="451" y="871"/>
                  </a:lnTo>
                  <a:lnTo>
                    <a:pt x="449" y="871"/>
                  </a:lnTo>
                  <a:lnTo>
                    <a:pt x="449" y="871"/>
                  </a:lnTo>
                  <a:lnTo>
                    <a:pt x="446" y="871"/>
                  </a:lnTo>
                  <a:lnTo>
                    <a:pt x="446" y="869"/>
                  </a:lnTo>
                  <a:lnTo>
                    <a:pt x="444" y="869"/>
                  </a:lnTo>
                  <a:lnTo>
                    <a:pt x="444" y="869"/>
                  </a:lnTo>
                  <a:lnTo>
                    <a:pt x="441" y="871"/>
                  </a:lnTo>
                  <a:lnTo>
                    <a:pt x="439" y="871"/>
                  </a:lnTo>
                  <a:lnTo>
                    <a:pt x="439" y="874"/>
                  </a:lnTo>
                  <a:lnTo>
                    <a:pt x="439" y="876"/>
                  </a:lnTo>
                  <a:lnTo>
                    <a:pt x="434" y="876"/>
                  </a:lnTo>
                  <a:lnTo>
                    <a:pt x="434" y="874"/>
                  </a:lnTo>
                  <a:lnTo>
                    <a:pt x="432" y="874"/>
                  </a:lnTo>
                  <a:lnTo>
                    <a:pt x="432" y="876"/>
                  </a:lnTo>
                  <a:lnTo>
                    <a:pt x="430" y="876"/>
                  </a:lnTo>
                  <a:lnTo>
                    <a:pt x="430" y="876"/>
                  </a:lnTo>
                  <a:lnTo>
                    <a:pt x="427" y="876"/>
                  </a:lnTo>
                  <a:lnTo>
                    <a:pt x="427" y="876"/>
                  </a:lnTo>
                  <a:lnTo>
                    <a:pt x="425" y="878"/>
                  </a:lnTo>
                  <a:lnTo>
                    <a:pt x="425" y="878"/>
                  </a:lnTo>
                  <a:lnTo>
                    <a:pt x="423" y="878"/>
                  </a:lnTo>
                  <a:lnTo>
                    <a:pt x="420" y="878"/>
                  </a:lnTo>
                  <a:lnTo>
                    <a:pt x="420" y="881"/>
                  </a:lnTo>
                  <a:lnTo>
                    <a:pt x="420" y="881"/>
                  </a:lnTo>
                  <a:lnTo>
                    <a:pt x="418" y="881"/>
                  </a:lnTo>
                  <a:lnTo>
                    <a:pt x="415" y="878"/>
                  </a:lnTo>
                  <a:lnTo>
                    <a:pt x="415" y="878"/>
                  </a:lnTo>
                  <a:lnTo>
                    <a:pt x="415" y="881"/>
                  </a:lnTo>
                  <a:lnTo>
                    <a:pt x="413" y="881"/>
                  </a:lnTo>
                  <a:lnTo>
                    <a:pt x="413" y="883"/>
                  </a:lnTo>
                  <a:lnTo>
                    <a:pt x="411" y="883"/>
                  </a:lnTo>
                  <a:lnTo>
                    <a:pt x="411" y="883"/>
                  </a:lnTo>
                  <a:lnTo>
                    <a:pt x="411" y="885"/>
                  </a:lnTo>
                  <a:lnTo>
                    <a:pt x="411" y="885"/>
                  </a:lnTo>
                  <a:lnTo>
                    <a:pt x="411" y="888"/>
                  </a:lnTo>
                  <a:lnTo>
                    <a:pt x="411" y="888"/>
                  </a:lnTo>
                  <a:lnTo>
                    <a:pt x="411" y="888"/>
                  </a:lnTo>
                  <a:lnTo>
                    <a:pt x="408" y="888"/>
                  </a:lnTo>
                  <a:lnTo>
                    <a:pt x="408" y="888"/>
                  </a:lnTo>
                  <a:lnTo>
                    <a:pt x="406" y="888"/>
                  </a:lnTo>
                  <a:lnTo>
                    <a:pt x="404" y="888"/>
                  </a:lnTo>
                  <a:lnTo>
                    <a:pt x="404" y="888"/>
                  </a:lnTo>
                  <a:lnTo>
                    <a:pt x="401" y="888"/>
                  </a:lnTo>
                  <a:lnTo>
                    <a:pt x="401" y="888"/>
                  </a:lnTo>
                  <a:lnTo>
                    <a:pt x="399" y="888"/>
                  </a:lnTo>
                  <a:lnTo>
                    <a:pt x="397" y="890"/>
                  </a:lnTo>
                  <a:lnTo>
                    <a:pt x="397" y="890"/>
                  </a:lnTo>
                  <a:lnTo>
                    <a:pt x="394" y="890"/>
                  </a:lnTo>
                  <a:lnTo>
                    <a:pt x="394" y="892"/>
                  </a:lnTo>
                  <a:lnTo>
                    <a:pt x="392" y="890"/>
                  </a:lnTo>
                  <a:lnTo>
                    <a:pt x="392" y="890"/>
                  </a:lnTo>
                  <a:lnTo>
                    <a:pt x="392" y="890"/>
                  </a:lnTo>
                  <a:lnTo>
                    <a:pt x="389" y="890"/>
                  </a:lnTo>
                  <a:lnTo>
                    <a:pt x="389" y="888"/>
                  </a:lnTo>
                  <a:lnTo>
                    <a:pt x="387" y="888"/>
                  </a:lnTo>
                  <a:lnTo>
                    <a:pt x="387" y="890"/>
                  </a:lnTo>
                  <a:lnTo>
                    <a:pt x="385" y="890"/>
                  </a:lnTo>
                  <a:lnTo>
                    <a:pt x="385" y="890"/>
                  </a:lnTo>
                  <a:lnTo>
                    <a:pt x="385" y="890"/>
                  </a:lnTo>
                  <a:lnTo>
                    <a:pt x="382" y="890"/>
                  </a:lnTo>
                  <a:lnTo>
                    <a:pt x="382" y="890"/>
                  </a:lnTo>
                  <a:lnTo>
                    <a:pt x="382" y="890"/>
                  </a:lnTo>
                  <a:lnTo>
                    <a:pt x="378" y="892"/>
                  </a:lnTo>
                  <a:lnTo>
                    <a:pt x="378" y="890"/>
                  </a:lnTo>
                  <a:lnTo>
                    <a:pt x="378" y="890"/>
                  </a:lnTo>
                  <a:lnTo>
                    <a:pt x="375" y="892"/>
                  </a:lnTo>
                  <a:lnTo>
                    <a:pt x="375" y="892"/>
                  </a:lnTo>
                  <a:lnTo>
                    <a:pt x="371" y="892"/>
                  </a:lnTo>
                  <a:lnTo>
                    <a:pt x="368" y="892"/>
                  </a:lnTo>
                  <a:lnTo>
                    <a:pt x="368" y="890"/>
                  </a:lnTo>
                  <a:lnTo>
                    <a:pt x="368" y="890"/>
                  </a:lnTo>
                  <a:lnTo>
                    <a:pt x="368" y="890"/>
                  </a:lnTo>
                  <a:lnTo>
                    <a:pt x="366" y="890"/>
                  </a:lnTo>
                  <a:lnTo>
                    <a:pt x="366" y="890"/>
                  </a:lnTo>
                  <a:lnTo>
                    <a:pt x="363" y="888"/>
                  </a:lnTo>
                  <a:lnTo>
                    <a:pt x="361" y="888"/>
                  </a:lnTo>
                  <a:lnTo>
                    <a:pt x="359" y="892"/>
                  </a:lnTo>
                  <a:lnTo>
                    <a:pt x="359" y="892"/>
                  </a:lnTo>
                  <a:lnTo>
                    <a:pt x="356" y="890"/>
                  </a:lnTo>
                  <a:lnTo>
                    <a:pt x="356" y="890"/>
                  </a:lnTo>
                  <a:lnTo>
                    <a:pt x="354" y="890"/>
                  </a:lnTo>
                  <a:lnTo>
                    <a:pt x="354" y="888"/>
                  </a:lnTo>
                  <a:lnTo>
                    <a:pt x="352" y="888"/>
                  </a:lnTo>
                  <a:lnTo>
                    <a:pt x="352" y="890"/>
                  </a:lnTo>
                  <a:lnTo>
                    <a:pt x="352" y="890"/>
                  </a:lnTo>
                  <a:lnTo>
                    <a:pt x="349" y="888"/>
                  </a:lnTo>
                  <a:lnTo>
                    <a:pt x="349" y="888"/>
                  </a:lnTo>
                  <a:lnTo>
                    <a:pt x="349" y="888"/>
                  </a:lnTo>
                  <a:lnTo>
                    <a:pt x="349" y="885"/>
                  </a:lnTo>
                  <a:lnTo>
                    <a:pt x="349" y="885"/>
                  </a:lnTo>
                  <a:lnTo>
                    <a:pt x="347" y="885"/>
                  </a:lnTo>
                  <a:lnTo>
                    <a:pt x="347" y="883"/>
                  </a:lnTo>
                  <a:lnTo>
                    <a:pt x="345" y="881"/>
                  </a:lnTo>
                  <a:lnTo>
                    <a:pt x="347" y="881"/>
                  </a:lnTo>
                  <a:lnTo>
                    <a:pt x="347" y="876"/>
                  </a:lnTo>
                  <a:lnTo>
                    <a:pt x="347" y="876"/>
                  </a:lnTo>
                  <a:lnTo>
                    <a:pt x="347" y="871"/>
                  </a:lnTo>
                  <a:lnTo>
                    <a:pt x="347" y="869"/>
                  </a:lnTo>
                  <a:lnTo>
                    <a:pt x="345" y="869"/>
                  </a:lnTo>
                  <a:lnTo>
                    <a:pt x="347" y="867"/>
                  </a:lnTo>
                  <a:lnTo>
                    <a:pt x="347" y="862"/>
                  </a:lnTo>
                  <a:lnTo>
                    <a:pt x="345" y="862"/>
                  </a:lnTo>
                  <a:lnTo>
                    <a:pt x="347" y="862"/>
                  </a:lnTo>
                  <a:lnTo>
                    <a:pt x="345" y="859"/>
                  </a:lnTo>
                  <a:lnTo>
                    <a:pt x="347" y="857"/>
                  </a:lnTo>
                  <a:lnTo>
                    <a:pt x="347" y="855"/>
                  </a:lnTo>
                  <a:lnTo>
                    <a:pt x="347" y="855"/>
                  </a:lnTo>
                  <a:lnTo>
                    <a:pt x="345" y="855"/>
                  </a:lnTo>
                  <a:lnTo>
                    <a:pt x="345" y="855"/>
                  </a:lnTo>
                  <a:lnTo>
                    <a:pt x="342" y="855"/>
                  </a:lnTo>
                  <a:lnTo>
                    <a:pt x="342" y="855"/>
                  </a:lnTo>
                  <a:lnTo>
                    <a:pt x="342" y="852"/>
                  </a:lnTo>
                  <a:lnTo>
                    <a:pt x="342" y="850"/>
                  </a:lnTo>
                  <a:lnTo>
                    <a:pt x="342" y="850"/>
                  </a:lnTo>
                  <a:lnTo>
                    <a:pt x="342" y="848"/>
                  </a:lnTo>
                  <a:lnTo>
                    <a:pt x="340" y="845"/>
                  </a:lnTo>
                  <a:lnTo>
                    <a:pt x="340" y="845"/>
                  </a:lnTo>
                  <a:lnTo>
                    <a:pt x="340" y="845"/>
                  </a:lnTo>
                  <a:lnTo>
                    <a:pt x="337" y="845"/>
                  </a:lnTo>
                  <a:lnTo>
                    <a:pt x="337" y="843"/>
                  </a:lnTo>
                  <a:lnTo>
                    <a:pt x="335" y="845"/>
                  </a:lnTo>
                  <a:lnTo>
                    <a:pt x="333" y="843"/>
                  </a:lnTo>
                  <a:lnTo>
                    <a:pt x="333" y="843"/>
                  </a:lnTo>
                  <a:lnTo>
                    <a:pt x="333" y="841"/>
                  </a:lnTo>
                  <a:lnTo>
                    <a:pt x="335" y="838"/>
                  </a:lnTo>
                  <a:lnTo>
                    <a:pt x="335" y="836"/>
                  </a:lnTo>
                  <a:lnTo>
                    <a:pt x="335" y="836"/>
                  </a:lnTo>
                  <a:lnTo>
                    <a:pt x="333" y="833"/>
                  </a:lnTo>
                  <a:lnTo>
                    <a:pt x="333" y="833"/>
                  </a:lnTo>
                  <a:lnTo>
                    <a:pt x="333" y="831"/>
                  </a:lnTo>
                  <a:lnTo>
                    <a:pt x="333" y="831"/>
                  </a:lnTo>
                  <a:lnTo>
                    <a:pt x="333" y="826"/>
                  </a:lnTo>
                  <a:lnTo>
                    <a:pt x="330" y="826"/>
                  </a:lnTo>
                  <a:lnTo>
                    <a:pt x="330" y="826"/>
                  </a:lnTo>
                  <a:lnTo>
                    <a:pt x="330" y="824"/>
                  </a:lnTo>
                  <a:lnTo>
                    <a:pt x="330" y="824"/>
                  </a:lnTo>
                  <a:lnTo>
                    <a:pt x="333" y="824"/>
                  </a:lnTo>
                  <a:lnTo>
                    <a:pt x="333" y="822"/>
                  </a:lnTo>
                  <a:lnTo>
                    <a:pt x="333" y="822"/>
                  </a:lnTo>
                  <a:lnTo>
                    <a:pt x="337" y="815"/>
                  </a:lnTo>
                  <a:lnTo>
                    <a:pt x="337" y="812"/>
                  </a:lnTo>
                  <a:lnTo>
                    <a:pt x="337" y="810"/>
                  </a:lnTo>
                  <a:lnTo>
                    <a:pt x="335" y="810"/>
                  </a:lnTo>
                  <a:lnTo>
                    <a:pt x="335" y="807"/>
                  </a:lnTo>
                  <a:lnTo>
                    <a:pt x="333" y="805"/>
                  </a:lnTo>
                  <a:lnTo>
                    <a:pt x="330" y="803"/>
                  </a:lnTo>
                  <a:lnTo>
                    <a:pt x="333" y="803"/>
                  </a:lnTo>
                  <a:lnTo>
                    <a:pt x="330" y="798"/>
                  </a:lnTo>
                  <a:lnTo>
                    <a:pt x="330" y="798"/>
                  </a:lnTo>
                  <a:lnTo>
                    <a:pt x="333" y="798"/>
                  </a:lnTo>
                  <a:lnTo>
                    <a:pt x="335" y="796"/>
                  </a:lnTo>
                  <a:lnTo>
                    <a:pt x="335" y="796"/>
                  </a:lnTo>
                  <a:lnTo>
                    <a:pt x="333" y="796"/>
                  </a:lnTo>
                  <a:lnTo>
                    <a:pt x="333" y="793"/>
                  </a:lnTo>
                  <a:lnTo>
                    <a:pt x="333" y="793"/>
                  </a:lnTo>
                  <a:lnTo>
                    <a:pt x="333" y="791"/>
                  </a:lnTo>
                  <a:lnTo>
                    <a:pt x="333" y="791"/>
                  </a:lnTo>
                  <a:lnTo>
                    <a:pt x="335" y="789"/>
                  </a:lnTo>
                  <a:lnTo>
                    <a:pt x="335" y="789"/>
                  </a:lnTo>
                  <a:lnTo>
                    <a:pt x="333" y="786"/>
                  </a:lnTo>
                  <a:lnTo>
                    <a:pt x="333" y="784"/>
                  </a:lnTo>
                  <a:lnTo>
                    <a:pt x="330" y="781"/>
                  </a:lnTo>
                  <a:lnTo>
                    <a:pt x="330" y="781"/>
                  </a:lnTo>
                  <a:lnTo>
                    <a:pt x="328" y="781"/>
                  </a:lnTo>
                  <a:lnTo>
                    <a:pt x="326" y="781"/>
                  </a:lnTo>
                  <a:lnTo>
                    <a:pt x="326" y="779"/>
                  </a:lnTo>
                  <a:lnTo>
                    <a:pt x="326" y="777"/>
                  </a:lnTo>
                  <a:lnTo>
                    <a:pt x="326" y="777"/>
                  </a:lnTo>
                  <a:lnTo>
                    <a:pt x="323" y="772"/>
                  </a:lnTo>
                  <a:lnTo>
                    <a:pt x="323" y="772"/>
                  </a:lnTo>
                  <a:lnTo>
                    <a:pt x="323" y="770"/>
                  </a:lnTo>
                  <a:lnTo>
                    <a:pt x="323" y="770"/>
                  </a:lnTo>
                  <a:lnTo>
                    <a:pt x="323" y="767"/>
                  </a:lnTo>
                  <a:lnTo>
                    <a:pt x="323" y="767"/>
                  </a:lnTo>
                  <a:lnTo>
                    <a:pt x="323" y="767"/>
                  </a:lnTo>
                  <a:lnTo>
                    <a:pt x="321" y="765"/>
                  </a:lnTo>
                  <a:lnTo>
                    <a:pt x="321" y="763"/>
                  </a:lnTo>
                  <a:lnTo>
                    <a:pt x="321" y="760"/>
                  </a:lnTo>
                  <a:lnTo>
                    <a:pt x="323" y="760"/>
                  </a:lnTo>
                  <a:lnTo>
                    <a:pt x="321" y="758"/>
                  </a:lnTo>
                  <a:lnTo>
                    <a:pt x="321" y="755"/>
                  </a:lnTo>
                  <a:lnTo>
                    <a:pt x="321" y="755"/>
                  </a:lnTo>
                  <a:lnTo>
                    <a:pt x="319" y="755"/>
                  </a:lnTo>
                  <a:lnTo>
                    <a:pt x="321" y="753"/>
                  </a:lnTo>
                  <a:lnTo>
                    <a:pt x="319" y="753"/>
                  </a:lnTo>
                  <a:lnTo>
                    <a:pt x="321" y="751"/>
                  </a:lnTo>
                  <a:lnTo>
                    <a:pt x="319" y="748"/>
                  </a:lnTo>
                  <a:lnTo>
                    <a:pt x="319" y="748"/>
                  </a:lnTo>
                  <a:lnTo>
                    <a:pt x="319" y="746"/>
                  </a:lnTo>
                  <a:lnTo>
                    <a:pt x="319" y="744"/>
                  </a:lnTo>
                  <a:lnTo>
                    <a:pt x="319" y="741"/>
                  </a:lnTo>
                  <a:lnTo>
                    <a:pt x="319" y="741"/>
                  </a:lnTo>
                  <a:lnTo>
                    <a:pt x="319" y="739"/>
                  </a:lnTo>
                  <a:lnTo>
                    <a:pt x="319" y="739"/>
                  </a:lnTo>
                  <a:lnTo>
                    <a:pt x="319" y="737"/>
                  </a:lnTo>
                  <a:lnTo>
                    <a:pt x="319" y="737"/>
                  </a:lnTo>
                  <a:lnTo>
                    <a:pt x="319" y="734"/>
                  </a:lnTo>
                  <a:lnTo>
                    <a:pt x="321" y="734"/>
                  </a:lnTo>
                  <a:lnTo>
                    <a:pt x="321" y="732"/>
                  </a:lnTo>
                  <a:lnTo>
                    <a:pt x="321" y="732"/>
                  </a:lnTo>
                  <a:lnTo>
                    <a:pt x="323" y="732"/>
                  </a:lnTo>
                  <a:lnTo>
                    <a:pt x="323" y="732"/>
                  </a:lnTo>
                  <a:lnTo>
                    <a:pt x="323" y="730"/>
                  </a:lnTo>
                  <a:lnTo>
                    <a:pt x="323" y="730"/>
                  </a:lnTo>
                  <a:lnTo>
                    <a:pt x="323" y="730"/>
                  </a:lnTo>
                  <a:lnTo>
                    <a:pt x="323" y="727"/>
                  </a:lnTo>
                  <a:lnTo>
                    <a:pt x="323" y="725"/>
                  </a:lnTo>
                  <a:lnTo>
                    <a:pt x="323" y="722"/>
                  </a:lnTo>
                  <a:lnTo>
                    <a:pt x="323" y="722"/>
                  </a:lnTo>
                  <a:lnTo>
                    <a:pt x="323" y="720"/>
                  </a:lnTo>
                  <a:lnTo>
                    <a:pt x="323" y="718"/>
                  </a:lnTo>
                  <a:lnTo>
                    <a:pt x="323" y="715"/>
                  </a:lnTo>
                  <a:lnTo>
                    <a:pt x="323" y="713"/>
                  </a:lnTo>
                  <a:lnTo>
                    <a:pt x="321" y="711"/>
                  </a:lnTo>
                  <a:lnTo>
                    <a:pt x="319" y="711"/>
                  </a:lnTo>
                  <a:lnTo>
                    <a:pt x="316" y="708"/>
                  </a:lnTo>
                  <a:lnTo>
                    <a:pt x="314" y="708"/>
                  </a:lnTo>
                  <a:lnTo>
                    <a:pt x="314" y="706"/>
                  </a:lnTo>
                  <a:lnTo>
                    <a:pt x="314" y="706"/>
                  </a:lnTo>
                  <a:lnTo>
                    <a:pt x="309" y="704"/>
                  </a:lnTo>
                  <a:lnTo>
                    <a:pt x="307" y="696"/>
                  </a:lnTo>
                  <a:lnTo>
                    <a:pt x="307" y="694"/>
                  </a:lnTo>
                  <a:lnTo>
                    <a:pt x="307" y="694"/>
                  </a:lnTo>
                  <a:lnTo>
                    <a:pt x="307" y="692"/>
                  </a:lnTo>
                  <a:lnTo>
                    <a:pt x="309" y="692"/>
                  </a:lnTo>
                  <a:lnTo>
                    <a:pt x="309" y="692"/>
                  </a:lnTo>
                  <a:lnTo>
                    <a:pt x="309" y="687"/>
                  </a:lnTo>
                  <a:lnTo>
                    <a:pt x="309" y="685"/>
                  </a:lnTo>
                  <a:lnTo>
                    <a:pt x="307" y="685"/>
                  </a:lnTo>
                  <a:lnTo>
                    <a:pt x="309" y="682"/>
                  </a:lnTo>
                  <a:lnTo>
                    <a:pt x="307" y="682"/>
                  </a:lnTo>
                  <a:lnTo>
                    <a:pt x="304" y="680"/>
                  </a:lnTo>
                  <a:lnTo>
                    <a:pt x="304" y="682"/>
                  </a:lnTo>
                  <a:lnTo>
                    <a:pt x="302" y="680"/>
                  </a:lnTo>
                  <a:lnTo>
                    <a:pt x="302" y="682"/>
                  </a:lnTo>
                  <a:lnTo>
                    <a:pt x="302" y="680"/>
                  </a:lnTo>
                  <a:lnTo>
                    <a:pt x="300" y="680"/>
                  </a:lnTo>
                  <a:lnTo>
                    <a:pt x="300" y="678"/>
                  </a:lnTo>
                  <a:lnTo>
                    <a:pt x="300" y="678"/>
                  </a:lnTo>
                  <a:lnTo>
                    <a:pt x="297" y="675"/>
                  </a:lnTo>
                  <a:lnTo>
                    <a:pt x="295" y="673"/>
                  </a:lnTo>
                  <a:lnTo>
                    <a:pt x="295" y="670"/>
                  </a:lnTo>
                  <a:lnTo>
                    <a:pt x="293" y="668"/>
                  </a:lnTo>
                  <a:lnTo>
                    <a:pt x="288" y="668"/>
                  </a:lnTo>
                  <a:lnTo>
                    <a:pt x="286" y="668"/>
                  </a:lnTo>
                  <a:lnTo>
                    <a:pt x="286" y="668"/>
                  </a:lnTo>
                  <a:lnTo>
                    <a:pt x="283" y="668"/>
                  </a:lnTo>
                  <a:lnTo>
                    <a:pt x="283" y="668"/>
                  </a:lnTo>
                  <a:lnTo>
                    <a:pt x="281" y="668"/>
                  </a:lnTo>
                  <a:lnTo>
                    <a:pt x="281" y="668"/>
                  </a:lnTo>
                  <a:lnTo>
                    <a:pt x="278" y="668"/>
                  </a:lnTo>
                  <a:lnTo>
                    <a:pt x="276" y="668"/>
                  </a:lnTo>
                  <a:lnTo>
                    <a:pt x="274" y="668"/>
                  </a:lnTo>
                  <a:lnTo>
                    <a:pt x="274" y="670"/>
                  </a:lnTo>
                  <a:lnTo>
                    <a:pt x="274" y="670"/>
                  </a:lnTo>
                  <a:lnTo>
                    <a:pt x="274" y="668"/>
                  </a:lnTo>
                  <a:lnTo>
                    <a:pt x="269" y="668"/>
                  </a:lnTo>
                  <a:lnTo>
                    <a:pt x="267" y="668"/>
                  </a:lnTo>
                  <a:lnTo>
                    <a:pt x="267" y="668"/>
                  </a:lnTo>
                  <a:lnTo>
                    <a:pt x="267" y="668"/>
                  </a:lnTo>
                  <a:lnTo>
                    <a:pt x="264" y="668"/>
                  </a:lnTo>
                  <a:lnTo>
                    <a:pt x="264" y="668"/>
                  </a:lnTo>
                  <a:lnTo>
                    <a:pt x="264" y="668"/>
                  </a:lnTo>
                  <a:lnTo>
                    <a:pt x="264" y="668"/>
                  </a:lnTo>
                  <a:lnTo>
                    <a:pt x="262" y="668"/>
                  </a:lnTo>
                  <a:lnTo>
                    <a:pt x="260" y="666"/>
                  </a:lnTo>
                  <a:lnTo>
                    <a:pt x="260" y="666"/>
                  </a:lnTo>
                  <a:lnTo>
                    <a:pt x="260" y="668"/>
                  </a:lnTo>
                  <a:lnTo>
                    <a:pt x="257" y="668"/>
                  </a:lnTo>
                  <a:lnTo>
                    <a:pt x="257" y="668"/>
                  </a:lnTo>
                  <a:lnTo>
                    <a:pt x="255" y="668"/>
                  </a:lnTo>
                  <a:lnTo>
                    <a:pt x="255" y="668"/>
                  </a:lnTo>
                  <a:lnTo>
                    <a:pt x="255" y="668"/>
                  </a:lnTo>
                  <a:lnTo>
                    <a:pt x="252" y="668"/>
                  </a:lnTo>
                  <a:lnTo>
                    <a:pt x="252" y="668"/>
                  </a:lnTo>
                  <a:lnTo>
                    <a:pt x="250" y="668"/>
                  </a:lnTo>
                  <a:lnTo>
                    <a:pt x="250" y="668"/>
                  </a:lnTo>
                  <a:lnTo>
                    <a:pt x="250" y="666"/>
                  </a:lnTo>
                  <a:lnTo>
                    <a:pt x="250" y="668"/>
                  </a:lnTo>
                  <a:lnTo>
                    <a:pt x="248" y="668"/>
                  </a:lnTo>
                  <a:lnTo>
                    <a:pt x="248" y="668"/>
                  </a:lnTo>
                  <a:lnTo>
                    <a:pt x="248" y="666"/>
                  </a:lnTo>
                  <a:lnTo>
                    <a:pt x="245" y="666"/>
                  </a:lnTo>
                  <a:lnTo>
                    <a:pt x="245" y="663"/>
                  </a:lnTo>
                  <a:lnTo>
                    <a:pt x="245" y="661"/>
                  </a:lnTo>
                  <a:lnTo>
                    <a:pt x="241" y="661"/>
                  </a:lnTo>
                  <a:lnTo>
                    <a:pt x="241" y="661"/>
                  </a:lnTo>
                  <a:lnTo>
                    <a:pt x="241" y="661"/>
                  </a:lnTo>
                  <a:lnTo>
                    <a:pt x="238" y="661"/>
                  </a:lnTo>
                  <a:lnTo>
                    <a:pt x="236" y="659"/>
                  </a:lnTo>
                  <a:lnTo>
                    <a:pt x="236" y="659"/>
                  </a:lnTo>
                  <a:lnTo>
                    <a:pt x="236" y="659"/>
                  </a:lnTo>
                  <a:lnTo>
                    <a:pt x="234" y="659"/>
                  </a:lnTo>
                  <a:lnTo>
                    <a:pt x="234" y="656"/>
                  </a:lnTo>
                  <a:lnTo>
                    <a:pt x="231" y="656"/>
                  </a:lnTo>
                  <a:lnTo>
                    <a:pt x="231" y="656"/>
                  </a:lnTo>
                  <a:lnTo>
                    <a:pt x="231" y="654"/>
                  </a:lnTo>
                  <a:lnTo>
                    <a:pt x="231" y="654"/>
                  </a:lnTo>
                  <a:lnTo>
                    <a:pt x="231" y="654"/>
                  </a:lnTo>
                  <a:lnTo>
                    <a:pt x="229" y="654"/>
                  </a:lnTo>
                  <a:lnTo>
                    <a:pt x="229" y="654"/>
                  </a:lnTo>
                  <a:lnTo>
                    <a:pt x="229" y="652"/>
                  </a:lnTo>
                  <a:lnTo>
                    <a:pt x="229" y="649"/>
                  </a:lnTo>
                  <a:lnTo>
                    <a:pt x="229" y="649"/>
                  </a:lnTo>
                  <a:lnTo>
                    <a:pt x="229" y="647"/>
                  </a:lnTo>
                  <a:lnTo>
                    <a:pt x="226" y="647"/>
                  </a:lnTo>
                  <a:lnTo>
                    <a:pt x="226" y="647"/>
                  </a:lnTo>
                  <a:lnTo>
                    <a:pt x="226" y="647"/>
                  </a:lnTo>
                  <a:lnTo>
                    <a:pt x="226" y="644"/>
                  </a:lnTo>
                  <a:lnTo>
                    <a:pt x="224" y="644"/>
                  </a:lnTo>
                  <a:lnTo>
                    <a:pt x="226" y="642"/>
                  </a:lnTo>
                  <a:lnTo>
                    <a:pt x="226" y="640"/>
                  </a:lnTo>
                  <a:lnTo>
                    <a:pt x="224" y="642"/>
                  </a:lnTo>
                  <a:lnTo>
                    <a:pt x="224" y="642"/>
                  </a:lnTo>
                  <a:lnTo>
                    <a:pt x="222" y="642"/>
                  </a:lnTo>
                  <a:lnTo>
                    <a:pt x="222" y="642"/>
                  </a:lnTo>
                  <a:lnTo>
                    <a:pt x="222" y="642"/>
                  </a:lnTo>
                  <a:lnTo>
                    <a:pt x="219" y="642"/>
                  </a:lnTo>
                  <a:lnTo>
                    <a:pt x="219" y="642"/>
                  </a:lnTo>
                  <a:lnTo>
                    <a:pt x="219" y="642"/>
                  </a:lnTo>
                  <a:lnTo>
                    <a:pt x="217" y="642"/>
                  </a:lnTo>
                  <a:lnTo>
                    <a:pt x="217" y="642"/>
                  </a:lnTo>
                  <a:lnTo>
                    <a:pt x="217" y="642"/>
                  </a:lnTo>
                  <a:lnTo>
                    <a:pt x="217" y="642"/>
                  </a:lnTo>
                  <a:lnTo>
                    <a:pt x="217" y="642"/>
                  </a:lnTo>
                  <a:lnTo>
                    <a:pt x="217" y="642"/>
                  </a:lnTo>
                  <a:lnTo>
                    <a:pt x="215" y="642"/>
                  </a:lnTo>
                  <a:lnTo>
                    <a:pt x="215" y="642"/>
                  </a:lnTo>
                  <a:lnTo>
                    <a:pt x="212" y="642"/>
                  </a:lnTo>
                  <a:lnTo>
                    <a:pt x="210" y="644"/>
                  </a:lnTo>
                  <a:lnTo>
                    <a:pt x="210" y="644"/>
                  </a:lnTo>
                  <a:lnTo>
                    <a:pt x="210" y="644"/>
                  </a:lnTo>
                  <a:lnTo>
                    <a:pt x="210" y="647"/>
                  </a:lnTo>
                  <a:lnTo>
                    <a:pt x="208" y="647"/>
                  </a:lnTo>
                  <a:lnTo>
                    <a:pt x="208" y="649"/>
                  </a:lnTo>
                  <a:lnTo>
                    <a:pt x="210" y="649"/>
                  </a:lnTo>
                  <a:lnTo>
                    <a:pt x="208" y="649"/>
                  </a:lnTo>
                  <a:lnTo>
                    <a:pt x="208" y="652"/>
                  </a:lnTo>
                  <a:lnTo>
                    <a:pt x="208" y="649"/>
                  </a:lnTo>
                  <a:lnTo>
                    <a:pt x="208" y="652"/>
                  </a:lnTo>
                  <a:lnTo>
                    <a:pt x="208" y="652"/>
                  </a:lnTo>
                  <a:lnTo>
                    <a:pt x="205" y="654"/>
                  </a:lnTo>
                  <a:lnTo>
                    <a:pt x="205" y="656"/>
                  </a:lnTo>
                  <a:lnTo>
                    <a:pt x="203" y="656"/>
                  </a:lnTo>
                  <a:lnTo>
                    <a:pt x="205" y="656"/>
                  </a:lnTo>
                  <a:lnTo>
                    <a:pt x="203" y="656"/>
                  </a:lnTo>
                  <a:lnTo>
                    <a:pt x="203" y="659"/>
                  </a:lnTo>
                  <a:lnTo>
                    <a:pt x="203" y="659"/>
                  </a:lnTo>
                  <a:lnTo>
                    <a:pt x="200" y="659"/>
                  </a:lnTo>
                  <a:lnTo>
                    <a:pt x="200" y="659"/>
                  </a:lnTo>
                  <a:lnTo>
                    <a:pt x="200" y="659"/>
                  </a:lnTo>
                  <a:lnTo>
                    <a:pt x="200" y="659"/>
                  </a:lnTo>
                  <a:lnTo>
                    <a:pt x="198" y="659"/>
                  </a:lnTo>
                  <a:lnTo>
                    <a:pt x="198" y="659"/>
                  </a:lnTo>
                  <a:lnTo>
                    <a:pt x="198" y="661"/>
                  </a:lnTo>
                  <a:lnTo>
                    <a:pt x="198" y="661"/>
                  </a:lnTo>
                  <a:lnTo>
                    <a:pt x="196" y="663"/>
                  </a:lnTo>
                  <a:lnTo>
                    <a:pt x="193" y="663"/>
                  </a:lnTo>
                  <a:lnTo>
                    <a:pt x="193" y="663"/>
                  </a:lnTo>
                  <a:lnTo>
                    <a:pt x="193" y="666"/>
                  </a:lnTo>
                  <a:lnTo>
                    <a:pt x="193" y="666"/>
                  </a:lnTo>
                  <a:lnTo>
                    <a:pt x="193" y="666"/>
                  </a:lnTo>
                  <a:lnTo>
                    <a:pt x="191" y="663"/>
                  </a:lnTo>
                  <a:lnTo>
                    <a:pt x="189" y="663"/>
                  </a:lnTo>
                  <a:lnTo>
                    <a:pt x="189" y="661"/>
                  </a:lnTo>
                  <a:lnTo>
                    <a:pt x="189" y="661"/>
                  </a:lnTo>
                  <a:lnTo>
                    <a:pt x="189" y="659"/>
                  </a:lnTo>
                  <a:lnTo>
                    <a:pt x="186" y="661"/>
                  </a:lnTo>
                  <a:lnTo>
                    <a:pt x="186" y="659"/>
                  </a:lnTo>
                  <a:lnTo>
                    <a:pt x="186" y="659"/>
                  </a:lnTo>
                  <a:lnTo>
                    <a:pt x="186" y="659"/>
                  </a:lnTo>
                  <a:lnTo>
                    <a:pt x="186" y="661"/>
                  </a:lnTo>
                  <a:lnTo>
                    <a:pt x="186" y="661"/>
                  </a:lnTo>
                  <a:lnTo>
                    <a:pt x="186" y="661"/>
                  </a:lnTo>
                  <a:lnTo>
                    <a:pt x="186" y="661"/>
                  </a:lnTo>
                  <a:lnTo>
                    <a:pt x="186" y="663"/>
                  </a:lnTo>
                  <a:lnTo>
                    <a:pt x="184" y="663"/>
                  </a:lnTo>
                  <a:lnTo>
                    <a:pt x="184" y="666"/>
                  </a:lnTo>
                  <a:lnTo>
                    <a:pt x="182" y="666"/>
                  </a:lnTo>
                  <a:lnTo>
                    <a:pt x="182" y="663"/>
                  </a:lnTo>
                  <a:lnTo>
                    <a:pt x="182" y="663"/>
                  </a:lnTo>
                  <a:lnTo>
                    <a:pt x="182" y="661"/>
                  </a:lnTo>
                  <a:lnTo>
                    <a:pt x="179" y="663"/>
                  </a:lnTo>
                  <a:lnTo>
                    <a:pt x="179" y="663"/>
                  </a:lnTo>
                  <a:lnTo>
                    <a:pt x="177" y="663"/>
                  </a:lnTo>
                  <a:lnTo>
                    <a:pt x="177" y="663"/>
                  </a:lnTo>
                  <a:lnTo>
                    <a:pt x="177" y="666"/>
                  </a:lnTo>
                  <a:lnTo>
                    <a:pt x="174" y="666"/>
                  </a:lnTo>
                  <a:lnTo>
                    <a:pt x="174" y="663"/>
                  </a:lnTo>
                  <a:lnTo>
                    <a:pt x="174" y="663"/>
                  </a:lnTo>
                  <a:lnTo>
                    <a:pt x="174" y="663"/>
                  </a:lnTo>
                  <a:lnTo>
                    <a:pt x="174" y="663"/>
                  </a:lnTo>
                  <a:lnTo>
                    <a:pt x="172" y="663"/>
                  </a:lnTo>
                  <a:lnTo>
                    <a:pt x="172" y="666"/>
                  </a:lnTo>
                  <a:lnTo>
                    <a:pt x="172" y="666"/>
                  </a:lnTo>
                  <a:lnTo>
                    <a:pt x="172" y="668"/>
                  </a:lnTo>
                  <a:lnTo>
                    <a:pt x="172" y="668"/>
                  </a:lnTo>
                  <a:lnTo>
                    <a:pt x="170" y="670"/>
                  </a:lnTo>
                  <a:lnTo>
                    <a:pt x="167" y="670"/>
                  </a:lnTo>
                  <a:lnTo>
                    <a:pt x="167" y="670"/>
                  </a:lnTo>
                  <a:lnTo>
                    <a:pt x="167" y="668"/>
                  </a:lnTo>
                  <a:lnTo>
                    <a:pt x="165" y="668"/>
                  </a:lnTo>
                  <a:lnTo>
                    <a:pt x="165" y="668"/>
                  </a:lnTo>
                  <a:lnTo>
                    <a:pt x="163" y="668"/>
                  </a:lnTo>
                  <a:lnTo>
                    <a:pt x="165" y="666"/>
                  </a:lnTo>
                  <a:lnTo>
                    <a:pt x="163" y="663"/>
                  </a:lnTo>
                  <a:lnTo>
                    <a:pt x="163" y="663"/>
                  </a:lnTo>
                  <a:lnTo>
                    <a:pt x="160" y="666"/>
                  </a:lnTo>
                  <a:lnTo>
                    <a:pt x="160" y="666"/>
                  </a:lnTo>
                  <a:lnTo>
                    <a:pt x="160" y="666"/>
                  </a:lnTo>
                  <a:lnTo>
                    <a:pt x="158" y="666"/>
                  </a:lnTo>
                  <a:lnTo>
                    <a:pt x="158" y="666"/>
                  </a:lnTo>
                  <a:lnTo>
                    <a:pt x="158" y="666"/>
                  </a:lnTo>
                  <a:lnTo>
                    <a:pt x="158" y="666"/>
                  </a:lnTo>
                  <a:lnTo>
                    <a:pt x="158" y="663"/>
                  </a:lnTo>
                  <a:lnTo>
                    <a:pt x="156" y="666"/>
                  </a:lnTo>
                  <a:lnTo>
                    <a:pt x="156" y="666"/>
                  </a:lnTo>
                  <a:lnTo>
                    <a:pt x="153" y="663"/>
                  </a:lnTo>
                  <a:lnTo>
                    <a:pt x="153" y="661"/>
                  </a:lnTo>
                  <a:lnTo>
                    <a:pt x="151" y="663"/>
                  </a:lnTo>
                  <a:lnTo>
                    <a:pt x="149" y="663"/>
                  </a:lnTo>
                  <a:lnTo>
                    <a:pt x="149" y="661"/>
                  </a:lnTo>
                  <a:lnTo>
                    <a:pt x="149" y="661"/>
                  </a:lnTo>
                  <a:lnTo>
                    <a:pt x="149" y="661"/>
                  </a:lnTo>
                  <a:lnTo>
                    <a:pt x="146" y="661"/>
                  </a:lnTo>
                  <a:lnTo>
                    <a:pt x="146" y="661"/>
                  </a:lnTo>
                  <a:lnTo>
                    <a:pt x="146" y="661"/>
                  </a:lnTo>
                  <a:lnTo>
                    <a:pt x="144" y="661"/>
                  </a:lnTo>
                  <a:lnTo>
                    <a:pt x="144" y="663"/>
                  </a:lnTo>
                  <a:lnTo>
                    <a:pt x="141" y="661"/>
                  </a:lnTo>
                  <a:lnTo>
                    <a:pt x="141" y="661"/>
                  </a:lnTo>
                  <a:lnTo>
                    <a:pt x="139" y="661"/>
                  </a:lnTo>
                  <a:lnTo>
                    <a:pt x="141" y="663"/>
                  </a:lnTo>
                  <a:lnTo>
                    <a:pt x="139" y="663"/>
                  </a:lnTo>
                  <a:lnTo>
                    <a:pt x="139" y="663"/>
                  </a:lnTo>
                  <a:lnTo>
                    <a:pt x="137" y="663"/>
                  </a:lnTo>
                  <a:lnTo>
                    <a:pt x="137" y="663"/>
                  </a:lnTo>
                  <a:lnTo>
                    <a:pt x="137" y="663"/>
                  </a:lnTo>
                  <a:lnTo>
                    <a:pt x="134" y="663"/>
                  </a:lnTo>
                  <a:lnTo>
                    <a:pt x="134" y="663"/>
                  </a:lnTo>
                  <a:lnTo>
                    <a:pt x="134" y="661"/>
                  </a:lnTo>
                  <a:lnTo>
                    <a:pt x="134" y="661"/>
                  </a:lnTo>
                  <a:lnTo>
                    <a:pt x="130" y="661"/>
                  </a:lnTo>
                  <a:lnTo>
                    <a:pt x="130" y="661"/>
                  </a:lnTo>
                  <a:lnTo>
                    <a:pt x="127" y="661"/>
                  </a:lnTo>
                  <a:lnTo>
                    <a:pt x="127" y="661"/>
                  </a:lnTo>
                  <a:lnTo>
                    <a:pt x="127" y="661"/>
                  </a:lnTo>
                  <a:lnTo>
                    <a:pt x="125" y="661"/>
                  </a:lnTo>
                  <a:lnTo>
                    <a:pt x="125" y="661"/>
                  </a:lnTo>
                  <a:lnTo>
                    <a:pt x="125" y="661"/>
                  </a:lnTo>
                  <a:lnTo>
                    <a:pt x="125" y="661"/>
                  </a:lnTo>
                  <a:lnTo>
                    <a:pt x="125" y="659"/>
                  </a:lnTo>
                  <a:lnTo>
                    <a:pt x="123" y="659"/>
                  </a:lnTo>
                  <a:lnTo>
                    <a:pt x="123" y="659"/>
                  </a:lnTo>
                  <a:lnTo>
                    <a:pt x="120" y="659"/>
                  </a:lnTo>
                  <a:lnTo>
                    <a:pt x="120" y="659"/>
                  </a:lnTo>
                  <a:lnTo>
                    <a:pt x="120" y="659"/>
                  </a:lnTo>
                  <a:lnTo>
                    <a:pt x="120" y="661"/>
                  </a:lnTo>
                  <a:lnTo>
                    <a:pt x="123" y="661"/>
                  </a:lnTo>
                  <a:lnTo>
                    <a:pt x="120" y="661"/>
                  </a:lnTo>
                  <a:lnTo>
                    <a:pt x="120" y="661"/>
                  </a:lnTo>
                  <a:lnTo>
                    <a:pt x="118" y="663"/>
                  </a:lnTo>
                  <a:lnTo>
                    <a:pt x="115" y="661"/>
                  </a:lnTo>
                  <a:lnTo>
                    <a:pt x="113" y="661"/>
                  </a:lnTo>
                  <a:lnTo>
                    <a:pt x="113" y="661"/>
                  </a:lnTo>
                  <a:lnTo>
                    <a:pt x="113" y="661"/>
                  </a:lnTo>
                  <a:lnTo>
                    <a:pt x="113" y="661"/>
                  </a:lnTo>
                  <a:lnTo>
                    <a:pt x="111" y="661"/>
                  </a:lnTo>
                  <a:lnTo>
                    <a:pt x="111" y="661"/>
                  </a:lnTo>
                  <a:lnTo>
                    <a:pt x="111" y="659"/>
                  </a:lnTo>
                  <a:lnTo>
                    <a:pt x="108" y="661"/>
                  </a:lnTo>
                  <a:lnTo>
                    <a:pt x="108" y="661"/>
                  </a:lnTo>
                  <a:lnTo>
                    <a:pt x="108" y="661"/>
                  </a:lnTo>
                  <a:lnTo>
                    <a:pt x="108" y="663"/>
                  </a:lnTo>
                  <a:lnTo>
                    <a:pt x="108" y="663"/>
                  </a:lnTo>
                  <a:lnTo>
                    <a:pt x="106" y="661"/>
                  </a:lnTo>
                  <a:lnTo>
                    <a:pt x="106" y="661"/>
                  </a:lnTo>
                  <a:lnTo>
                    <a:pt x="104" y="661"/>
                  </a:lnTo>
                  <a:lnTo>
                    <a:pt x="104" y="661"/>
                  </a:lnTo>
                  <a:lnTo>
                    <a:pt x="104" y="661"/>
                  </a:lnTo>
                  <a:lnTo>
                    <a:pt x="104" y="661"/>
                  </a:lnTo>
                  <a:lnTo>
                    <a:pt x="101" y="661"/>
                  </a:lnTo>
                  <a:lnTo>
                    <a:pt x="101" y="661"/>
                  </a:lnTo>
                  <a:lnTo>
                    <a:pt x="101" y="661"/>
                  </a:lnTo>
                  <a:lnTo>
                    <a:pt x="99" y="661"/>
                  </a:lnTo>
                  <a:lnTo>
                    <a:pt x="101" y="659"/>
                  </a:lnTo>
                  <a:lnTo>
                    <a:pt x="99" y="659"/>
                  </a:lnTo>
                  <a:lnTo>
                    <a:pt x="99" y="659"/>
                  </a:lnTo>
                  <a:lnTo>
                    <a:pt x="99" y="659"/>
                  </a:lnTo>
                  <a:lnTo>
                    <a:pt x="99" y="659"/>
                  </a:lnTo>
                  <a:lnTo>
                    <a:pt x="94" y="656"/>
                  </a:lnTo>
                  <a:lnTo>
                    <a:pt x="94" y="659"/>
                  </a:lnTo>
                  <a:lnTo>
                    <a:pt x="94" y="656"/>
                  </a:lnTo>
                  <a:lnTo>
                    <a:pt x="92" y="656"/>
                  </a:lnTo>
                  <a:lnTo>
                    <a:pt x="92" y="656"/>
                  </a:lnTo>
                  <a:lnTo>
                    <a:pt x="89" y="656"/>
                  </a:lnTo>
                  <a:lnTo>
                    <a:pt x="89" y="656"/>
                  </a:lnTo>
                  <a:lnTo>
                    <a:pt x="89" y="656"/>
                  </a:lnTo>
                  <a:lnTo>
                    <a:pt x="89" y="656"/>
                  </a:lnTo>
                  <a:lnTo>
                    <a:pt x="89" y="656"/>
                  </a:lnTo>
                  <a:lnTo>
                    <a:pt x="87" y="656"/>
                  </a:lnTo>
                  <a:lnTo>
                    <a:pt x="85" y="656"/>
                  </a:lnTo>
                  <a:lnTo>
                    <a:pt x="85" y="656"/>
                  </a:lnTo>
                  <a:lnTo>
                    <a:pt x="85" y="656"/>
                  </a:lnTo>
                  <a:lnTo>
                    <a:pt x="82" y="654"/>
                  </a:lnTo>
                  <a:lnTo>
                    <a:pt x="82" y="654"/>
                  </a:lnTo>
                  <a:lnTo>
                    <a:pt x="80" y="654"/>
                  </a:lnTo>
                  <a:lnTo>
                    <a:pt x="80" y="656"/>
                  </a:lnTo>
                  <a:lnTo>
                    <a:pt x="75" y="654"/>
                  </a:lnTo>
                  <a:lnTo>
                    <a:pt x="75" y="654"/>
                  </a:lnTo>
                  <a:lnTo>
                    <a:pt x="73" y="652"/>
                  </a:lnTo>
                  <a:lnTo>
                    <a:pt x="73" y="649"/>
                  </a:lnTo>
                  <a:lnTo>
                    <a:pt x="73" y="649"/>
                  </a:lnTo>
                  <a:lnTo>
                    <a:pt x="73" y="649"/>
                  </a:lnTo>
                  <a:lnTo>
                    <a:pt x="73" y="649"/>
                  </a:lnTo>
                  <a:lnTo>
                    <a:pt x="73" y="649"/>
                  </a:lnTo>
                  <a:lnTo>
                    <a:pt x="73" y="649"/>
                  </a:lnTo>
                  <a:lnTo>
                    <a:pt x="71" y="649"/>
                  </a:lnTo>
                  <a:lnTo>
                    <a:pt x="71" y="647"/>
                  </a:lnTo>
                  <a:lnTo>
                    <a:pt x="71" y="647"/>
                  </a:lnTo>
                  <a:lnTo>
                    <a:pt x="71" y="647"/>
                  </a:lnTo>
                  <a:lnTo>
                    <a:pt x="71" y="644"/>
                  </a:lnTo>
                  <a:lnTo>
                    <a:pt x="71" y="644"/>
                  </a:lnTo>
                  <a:lnTo>
                    <a:pt x="71" y="642"/>
                  </a:lnTo>
                  <a:lnTo>
                    <a:pt x="66" y="644"/>
                  </a:lnTo>
                  <a:lnTo>
                    <a:pt x="63" y="644"/>
                  </a:lnTo>
                  <a:lnTo>
                    <a:pt x="63" y="644"/>
                  </a:lnTo>
                  <a:lnTo>
                    <a:pt x="61" y="642"/>
                  </a:lnTo>
                  <a:lnTo>
                    <a:pt x="61" y="642"/>
                  </a:lnTo>
                  <a:lnTo>
                    <a:pt x="59" y="642"/>
                  </a:lnTo>
                  <a:lnTo>
                    <a:pt x="59" y="644"/>
                  </a:lnTo>
                  <a:lnTo>
                    <a:pt x="56" y="644"/>
                  </a:lnTo>
                  <a:lnTo>
                    <a:pt x="56" y="647"/>
                  </a:lnTo>
                  <a:lnTo>
                    <a:pt x="56" y="644"/>
                  </a:lnTo>
                  <a:lnTo>
                    <a:pt x="54" y="644"/>
                  </a:lnTo>
                  <a:lnTo>
                    <a:pt x="54" y="644"/>
                  </a:lnTo>
                  <a:lnTo>
                    <a:pt x="54" y="647"/>
                  </a:lnTo>
                  <a:lnTo>
                    <a:pt x="54" y="647"/>
                  </a:lnTo>
                  <a:lnTo>
                    <a:pt x="54" y="649"/>
                  </a:lnTo>
                  <a:lnTo>
                    <a:pt x="54" y="649"/>
                  </a:lnTo>
                  <a:lnTo>
                    <a:pt x="52" y="649"/>
                  </a:lnTo>
                  <a:lnTo>
                    <a:pt x="52" y="649"/>
                  </a:lnTo>
                  <a:lnTo>
                    <a:pt x="49" y="647"/>
                  </a:lnTo>
                  <a:lnTo>
                    <a:pt x="47" y="649"/>
                  </a:lnTo>
                  <a:lnTo>
                    <a:pt x="47" y="652"/>
                  </a:lnTo>
                  <a:lnTo>
                    <a:pt x="47" y="652"/>
                  </a:lnTo>
                  <a:lnTo>
                    <a:pt x="45" y="649"/>
                  </a:lnTo>
                  <a:lnTo>
                    <a:pt x="45" y="649"/>
                  </a:lnTo>
                  <a:lnTo>
                    <a:pt x="45" y="647"/>
                  </a:lnTo>
                  <a:lnTo>
                    <a:pt x="42" y="647"/>
                  </a:lnTo>
                  <a:lnTo>
                    <a:pt x="37" y="649"/>
                  </a:lnTo>
                  <a:lnTo>
                    <a:pt x="40" y="649"/>
                  </a:lnTo>
                  <a:lnTo>
                    <a:pt x="37" y="649"/>
                  </a:lnTo>
                  <a:lnTo>
                    <a:pt x="35" y="649"/>
                  </a:lnTo>
                  <a:lnTo>
                    <a:pt x="35" y="647"/>
                  </a:lnTo>
                  <a:lnTo>
                    <a:pt x="33" y="647"/>
                  </a:lnTo>
                  <a:lnTo>
                    <a:pt x="30" y="647"/>
                  </a:lnTo>
                  <a:lnTo>
                    <a:pt x="30" y="647"/>
                  </a:lnTo>
                  <a:lnTo>
                    <a:pt x="30" y="644"/>
                  </a:lnTo>
                  <a:lnTo>
                    <a:pt x="28" y="642"/>
                  </a:lnTo>
                  <a:lnTo>
                    <a:pt x="28" y="642"/>
                  </a:lnTo>
                  <a:lnTo>
                    <a:pt x="26" y="642"/>
                  </a:lnTo>
                  <a:lnTo>
                    <a:pt x="26" y="642"/>
                  </a:lnTo>
                  <a:lnTo>
                    <a:pt x="23" y="642"/>
                  </a:lnTo>
                  <a:lnTo>
                    <a:pt x="23" y="642"/>
                  </a:lnTo>
                  <a:lnTo>
                    <a:pt x="21" y="642"/>
                  </a:lnTo>
                  <a:lnTo>
                    <a:pt x="23" y="640"/>
                  </a:lnTo>
                  <a:lnTo>
                    <a:pt x="21" y="637"/>
                  </a:lnTo>
                  <a:lnTo>
                    <a:pt x="21" y="637"/>
                  </a:lnTo>
                  <a:lnTo>
                    <a:pt x="21" y="637"/>
                  </a:lnTo>
                  <a:lnTo>
                    <a:pt x="21" y="635"/>
                  </a:lnTo>
                  <a:lnTo>
                    <a:pt x="26" y="633"/>
                  </a:lnTo>
                  <a:lnTo>
                    <a:pt x="26" y="630"/>
                  </a:lnTo>
                  <a:lnTo>
                    <a:pt x="26" y="628"/>
                  </a:lnTo>
                  <a:lnTo>
                    <a:pt x="28" y="628"/>
                  </a:lnTo>
                  <a:lnTo>
                    <a:pt x="28" y="621"/>
                  </a:lnTo>
                  <a:lnTo>
                    <a:pt x="28" y="618"/>
                  </a:lnTo>
                  <a:lnTo>
                    <a:pt x="28" y="618"/>
                  </a:lnTo>
                  <a:lnTo>
                    <a:pt x="28" y="618"/>
                  </a:lnTo>
                  <a:lnTo>
                    <a:pt x="30" y="616"/>
                  </a:lnTo>
                  <a:lnTo>
                    <a:pt x="33" y="616"/>
                  </a:lnTo>
                  <a:lnTo>
                    <a:pt x="33" y="616"/>
                  </a:lnTo>
                  <a:lnTo>
                    <a:pt x="33" y="614"/>
                  </a:lnTo>
                  <a:lnTo>
                    <a:pt x="26" y="611"/>
                  </a:lnTo>
                  <a:lnTo>
                    <a:pt x="26" y="611"/>
                  </a:lnTo>
                  <a:lnTo>
                    <a:pt x="28" y="609"/>
                  </a:lnTo>
                  <a:lnTo>
                    <a:pt x="30" y="609"/>
                  </a:lnTo>
                  <a:lnTo>
                    <a:pt x="33" y="604"/>
                  </a:lnTo>
                  <a:lnTo>
                    <a:pt x="33" y="602"/>
                  </a:lnTo>
                  <a:lnTo>
                    <a:pt x="30" y="602"/>
                  </a:lnTo>
                  <a:lnTo>
                    <a:pt x="28" y="600"/>
                  </a:lnTo>
                  <a:lnTo>
                    <a:pt x="28" y="597"/>
                  </a:lnTo>
                  <a:lnTo>
                    <a:pt x="28" y="597"/>
                  </a:lnTo>
                  <a:lnTo>
                    <a:pt x="28" y="595"/>
                  </a:lnTo>
                  <a:lnTo>
                    <a:pt x="35" y="593"/>
                  </a:lnTo>
                  <a:lnTo>
                    <a:pt x="35" y="590"/>
                  </a:lnTo>
                  <a:lnTo>
                    <a:pt x="35" y="590"/>
                  </a:lnTo>
                  <a:lnTo>
                    <a:pt x="30" y="588"/>
                  </a:lnTo>
                  <a:lnTo>
                    <a:pt x="30" y="585"/>
                  </a:lnTo>
                  <a:lnTo>
                    <a:pt x="28" y="583"/>
                  </a:lnTo>
                  <a:lnTo>
                    <a:pt x="30" y="578"/>
                  </a:lnTo>
                  <a:lnTo>
                    <a:pt x="33" y="578"/>
                  </a:lnTo>
                  <a:lnTo>
                    <a:pt x="33" y="578"/>
                  </a:lnTo>
                  <a:lnTo>
                    <a:pt x="30" y="576"/>
                  </a:lnTo>
                  <a:lnTo>
                    <a:pt x="26" y="574"/>
                  </a:lnTo>
                  <a:lnTo>
                    <a:pt x="26" y="571"/>
                  </a:lnTo>
                  <a:lnTo>
                    <a:pt x="26" y="569"/>
                  </a:lnTo>
                  <a:lnTo>
                    <a:pt x="26" y="567"/>
                  </a:lnTo>
                  <a:lnTo>
                    <a:pt x="28" y="567"/>
                  </a:lnTo>
                  <a:lnTo>
                    <a:pt x="30" y="564"/>
                  </a:lnTo>
                  <a:lnTo>
                    <a:pt x="30" y="562"/>
                  </a:lnTo>
                  <a:lnTo>
                    <a:pt x="30" y="559"/>
                  </a:lnTo>
                  <a:lnTo>
                    <a:pt x="33" y="555"/>
                  </a:lnTo>
                  <a:lnTo>
                    <a:pt x="33" y="552"/>
                  </a:lnTo>
                  <a:lnTo>
                    <a:pt x="37" y="548"/>
                  </a:lnTo>
                  <a:lnTo>
                    <a:pt x="40" y="545"/>
                  </a:lnTo>
                  <a:lnTo>
                    <a:pt x="40" y="543"/>
                  </a:lnTo>
                  <a:lnTo>
                    <a:pt x="40" y="541"/>
                  </a:lnTo>
                  <a:lnTo>
                    <a:pt x="35" y="541"/>
                  </a:lnTo>
                  <a:lnTo>
                    <a:pt x="33" y="538"/>
                  </a:lnTo>
                  <a:lnTo>
                    <a:pt x="30" y="538"/>
                  </a:lnTo>
                  <a:lnTo>
                    <a:pt x="33" y="536"/>
                  </a:lnTo>
                  <a:lnTo>
                    <a:pt x="40" y="531"/>
                  </a:lnTo>
                  <a:lnTo>
                    <a:pt x="40" y="529"/>
                  </a:lnTo>
                  <a:lnTo>
                    <a:pt x="40" y="526"/>
                  </a:lnTo>
                  <a:lnTo>
                    <a:pt x="37" y="519"/>
                  </a:lnTo>
                  <a:lnTo>
                    <a:pt x="37" y="517"/>
                  </a:lnTo>
                  <a:lnTo>
                    <a:pt x="42" y="512"/>
                  </a:lnTo>
                  <a:lnTo>
                    <a:pt x="37" y="510"/>
                  </a:lnTo>
                  <a:lnTo>
                    <a:pt x="37" y="505"/>
                  </a:lnTo>
                  <a:lnTo>
                    <a:pt x="40" y="503"/>
                  </a:lnTo>
                  <a:lnTo>
                    <a:pt x="42" y="500"/>
                  </a:lnTo>
                  <a:lnTo>
                    <a:pt x="45" y="498"/>
                  </a:lnTo>
                  <a:lnTo>
                    <a:pt x="45" y="496"/>
                  </a:lnTo>
                  <a:lnTo>
                    <a:pt x="45" y="493"/>
                  </a:lnTo>
                  <a:lnTo>
                    <a:pt x="45" y="491"/>
                  </a:lnTo>
                  <a:lnTo>
                    <a:pt x="42" y="491"/>
                  </a:lnTo>
                  <a:lnTo>
                    <a:pt x="40" y="493"/>
                  </a:lnTo>
                  <a:lnTo>
                    <a:pt x="37" y="493"/>
                  </a:lnTo>
                  <a:lnTo>
                    <a:pt x="37" y="493"/>
                  </a:lnTo>
                  <a:lnTo>
                    <a:pt x="35" y="489"/>
                  </a:lnTo>
                  <a:lnTo>
                    <a:pt x="35" y="489"/>
                  </a:lnTo>
                  <a:lnTo>
                    <a:pt x="33" y="486"/>
                  </a:lnTo>
                  <a:lnTo>
                    <a:pt x="33" y="489"/>
                  </a:lnTo>
                  <a:lnTo>
                    <a:pt x="30" y="486"/>
                  </a:lnTo>
                  <a:lnTo>
                    <a:pt x="30" y="486"/>
                  </a:lnTo>
                  <a:lnTo>
                    <a:pt x="33" y="484"/>
                  </a:lnTo>
                  <a:lnTo>
                    <a:pt x="37" y="481"/>
                  </a:lnTo>
                  <a:lnTo>
                    <a:pt x="40" y="477"/>
                  </a:lnTo>
                  <a:lnTo>
                    <a:pt x="37" y="477"/>
                  </a:lnTo>
                  <a:lnTo>
                    <a:pt x="35" y="472"/>
                  </a:lnTo>
                  <a:lnTo>
                    <a:pt x="33" y="472"/>
                  </a:lnTo>
                  <a:lnTo>
                    <a:pt x="30" y="474"/>
                  </a:lnTo>
                  <a:lnTo>
                    <a:pt x="28" y="474"/>
                  </a:lnTo>
                  <a:lnTo>
                    <a:pt x="26" y="474"/>
                  </a:lnTo>
                  <a:lnTo>
                    <a:pt x="26" y="472"/>
                  </a:lnTo>
                  <a:lnTo>
                    <a:pt x="28" y="467"/>
                  </a:lnTo>
                  <a:lnTo>
                    <a:pt x="30" y="467"/>
                  </a:lnTo>
                  <a:lnTo>
                    <a:pt x="33" y="467"/>
                  </a:lnTo>
                  <a:lnTo>
                    <a:pt x="37" y="467"/>
                  </a:lnTo>
                  <a:lnTo>
                    <a:pt x="37" y="467"/>
                  </a:lnTo>
                  <a:lnTo>
                    <a:pt x="37" y="467"/>
                  </a:lnTo>
                  <a:lnTo>
                    <a:pt x="37" y="465"/>
                  </a:lnTo>
                  <a:lnTo>
                    <a:pt x="37" y="463"/>
                  </a:lnTo>
                  <a:lnTo>
                    <a:pt x="33" y="458"/>
                  </a:lnTo>
                  <a:lnTo>
                    <a:pt x="33" y="458"/>
                  </a:lnTo>
                  <a:lnTo>
                    <a:pt x="33" y="455"/>
                  </a:lnTo>
                  <a:lnTo>
                    <a:pt x="30" y="455"/>
                  </a:lnTo>
                  <a:lnTo>
                    <a:pt x="30" y="455"/>
                  </a:lnTo>
                  <a:lnTo>
                    <a:pt x="28" y="463"/>
                  </a:lnTo>
                  <a:lnTo>
                    <a:pt x="23" y="463"/>
                  </a:lnTo>
                  <a:lnTo>
                    <a:pt x="23" y="460"/>
                  </a:lnTo>
                  <a:lnTo>
                    <a:pt x="23" y="458"/>
                  </a:lnTo>
                  <a:lnTo>
                    <a:pt x="23" y="455"/>
                  </a:lnTo>
                  <a:lnTo>
                    <a:pt x="26" y="453"/>
                  </a:lnTo>
                  <a:lnTo>
                    <a:pt x="26" y="453"/>
                  </a:lnTo>
                  <a:lnTo>
                    <a:pt x="21" y="453"/>
                  </a:lnTo>
                  <a:lnTo>
                    <a:pt x="19" y="448"/>
                  </a:lnTo>
                  <a:lnTo>
                    <a:pt x="19" y="446"/>
                  </a:lnTo>
                  <a:lnTo>
                    <a:pt x="21" y="444"/>
                  </a:lnTo>
                  <a:lnTo>
                    <a:pt x="19" y="437"/>
                  </a:lnTo>
                  <a:lnTo>
                    <a:pt x="19" y="434"/>
                  </a:lnTo>
                  <a:lnTo>
                    <a:pt x="21" y="430"/>
                  </a:lnTo>
                  <a:lnTo>
                    <a:pt x="21" y="427"/>
                  </a:lnTo>
                  <a:lnTo>
                    <a:pt x="19" y="422"/>
                  </a:lnTo>
                  <a:lnTo>
                    <a:pt x="14" y="420"/>
                  </a:lnTo>
                  <a:lnTo>
                    <a:pt x="9" y="418"/>
                  </a:lnTo>
                  <a:lnTo>
                    <a:pt x="9" y="413"/>
                  </a:lnTo>
                  <a:lnTo>
                    <a:pt x="9" y="411"/>
                  </a:lnTo>
                  <a:lnTo>
                    <a:pt x="9" y="406"/>
                  </a:lnTo>
                  <a:lnTo>
                    <a:pt x="9" y="404"/>
                  </a:lnTo>
                  <a:lnTo>
                    <a:pt x="9" y="404"/>
                  </a:lnTo>
                  <a:lnTo>
                    <a:pt x="9" y="401"/>
                  </a:lnTo>
                  <a:lnTo>
                    <a:pt x="7" y="401"/>
                  </a:lnTo>
                  <a:lnTo>
                    <a:pt x="4" y="404"/>
                  </a:lnTo>
                  <a:lnTo>
                    <a:pt x="2" y="404"/>
                  </a:lnTo>
                  <a:lnTo>
                    <a:pt x="2" y="406"/>
                  </a:lnTo>
                  <a:lnTo>
                    <a:pt x="0" y="404"/>
                  </a:lnTo>
                  <a:lnTo>
                    <a:pt x="0" y="401"/>
                  </a:lnTo>
                  <a:lnTo>
                    <a:pt x="0" y="399"/>
                  </a:lnTo>
                  <a:lnTo>
                    <a:pt x="2" y="399"/>
                  </a:lnTo>
                  <a:lnTo>
                    <a:pt x="4" y="396"/>
                  </a:lnTo>
                  <a:lnTo>
                    <a:pt x="7" y="394"/>
                  </a:lnTo>
                  <a:lnTo>
                    <a:pt x="4" y="394"/>
                  </a:lnTo>
                  <a:lnTo>
                    <a:pt x="4" y="394"/>
                  </a:lnTo>
                  <a:lnTo>
                    <a:pt x="0" y="394"/>
                  </a:lnTo>
                  <a:lnTo>
                    <a:pt x="0" y="392"/>
                  </a:lnTo>
                  <a:lnTo>
                    <a:pt x="0" y="392"/>
                  </a:lnTo>
                  <a:lnTo>
                    <a:pt x="0" y="392"/>
                  </a:lnTo>
                  <a:lnTo>
                    <a:pt x="2" y="389"/>
                  </a:lnTo>
                  <a:lnTo>
                    <a:pt x="4" y="389"/>
                  </a:lnTo>
                  <a:lnTo>
                    <a:pt x="7" y="389"/>
                  </a:lnTo>
                  <a:lnTo>
                    <a:pt x="7" y="385"/>
                  </a:lnTo>
                  <a:lnTo>
                    <a:pt x="9" y="385"/>
                  </a:lnTo>
                  <a:lnTo>
                    <a:pt x="16" y="382"/>
                  </a:lnTo>
                  <a:lnTo>
                    <a:pt x="16" y="382"/>
                  </a:lnTo>
                  <a:lnTo>
                    <a:pt x="16" y="378"/>
                  </a:lnTo>
                  <a:lnTo>
                    <a:pt x="19" y="378"/>
                  </a:lnTo>
                  <a:lnTo>
                    <a:pt x="21" y="378"/>
                  </a:lnTo>
                  <a:lnTo>
                    <a:pt x="23" y="378"/>
                  </a:lnTo>
                  <a:lnTo>
                    <a:pt x="26" y="375"/>
                  </a:lnTo>
                  <a:lnTo>
                    <a:pt x="26" y="373"/>
                  </a:lnTo>
                  <a:lnTo>
                    <a:pt x="28" y="373"/>
                  </a:lnTo>
                  <a:lnTo>
                    <a:pt x="28" y="373"/>
                  </a:lnTo>
                  <a:lnTo>
                    <a:pt x="30" y="373"/>
                  </a:lnTo>
                  <a:lnTo>
                    <a:pt x="33" y="375"/>
                  </a:lnTo>
                  <a:lnTo>
                    <a:pt x="35" y="373"/>
                  </a:lnTo>
                  <a:lnTo>
                    <a:pt x="37" y="368"/>
                  </a:lnTo>
                  <a:lnTo>
                    <a:pt x="40" y="366"/>
                  </a:lnTo>
                  <a:lnTo>
                    <a:pt x="4" y="337"/>
                  </a:lnTo>
                  <a:lnTo>
                    <a:pt x="16" y="311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 cap="flat">
              <a:solidFill>
                <a:schemeClr val="bg2">
                  <a:lumMod val="7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>
                <a:solidFill>
                  <a:srgbClr val="000000"/>
                </a:solidFill>
              </a:endParaRPr>
            </a:p>
          </p:txBody>
        </p:sp>
        <p:sp>
          <p:nvSpPr>
            <p:cNvPr id="90" name="Freeform 17"/>
            <p:cNvSpPr>
              <a:spLocks/>
            </p:cNvSpPr>
            <p:nvPr/>
          </p:nvSpPr>
          <p:spPr bwMode="gray">
            <a:xfrm>
              <a:off x="2820909" y="4617397"/>
              <a:ext cx="99390" cy="62153"/>
            </a:xfrm>
            <a:custGeom>
              <a:avLst/>
              <a:gdLst/>
              <a:ahLst/>
              <a:cxnLst>
                <a:cxn ang="0">
                  <a:pos x="2" y="38"/>
                </a:cxn>
                <a:cxn ang="0">
                  <a:pos x="7" y="33"/>
                </a:cxn>
                <a:cxn ang="0">
                  <a:pos x="9" y="29"/>
                </a:cxn>
                <a:cxn ang="0">
                  <a:pos x="5" y="26"/>
                </a:cxn>
                <a:cxn ang="0">
                  <a:pos x="7" y="17"/>
                </a:cxn>
                <a:cxn ang="0">
                  <a:pos x="9" y="0"/>
                </a:cxn>
                <a:cxn ang="0">
                  <a:pos x="31" y="0"/>
                </a:cxn>
                <a:cxn ang="0">
                  <a:pos x="90" y="0"/>
                </a:cxn>
                <a:cxn ang="0">
                  <a:pos x="109" y="5"/>
                </a:cxn>
                <a:cxn ang="0">
                  <a:pos x="113" y="7"/>
                </a:cxn>
                <a:cxn ang="0">
                  <a:pos x="118" y="10"/>
                </a:cxn>
                <a:cxn ang="0">
                  <a:pos x="123" y="12"/>
                </a:cxn>
                <a:cxn ang="0">
                  <a:pos x="121" y="19"/>
                </a:cxn>
                <a:cxn ang="0">
                  <a:pos x="121" y="22"/>
                </a:cxn>
                <a:cxn ang="0">
                  <a:pos x="123" y="24"/>
                </a:cxn>
                <a:cxn ang="0">
                  <a:pos x="123" y="29"/>
                </a:cxn>
                <a:cxn ang="0">
                  <a:pos x="123" y="31"/>
                </a:cxn>
                <a:cxn ang="0">
                  <a:pos x="123" y="33"/>
                </a:cxn>
                <a:cxn ang="0">
                  <a:pos x="121" y="36"/>
                </a:cxn>
                <a:cxn ang="0">
                  <a:pos x="118" y="38"/>
                </a:cxn>
                <a:cxn ang="0">
                  <a:pos x="118" y="40"/>
                </a:cxn>
                <a:cxn ang="0">
                  <a:pos x="116" y="43"/>
                </a:cxn>
                <a:cxn ang="0">
                  <a:pos x="116" y="45"/>
                </a:cxn>
                <a:cxn ang="0">
                  <a:pos x="116" y="48"/>
                </a:cxn>
                <a:cxn ang="0">
                  <a:pos x="116" y="50"/>
                </a:cxn>
                <a:cxn ang="0">
                  <a:pos x="116" y="52"/>
                </a:cxn>
                <a:cxn ang="0">
                  <a:pos x="116" y="55"/>
                </a:cxn>
                <a:cxn ang="0">
                  <a:pos x="116" y="57"/>
                </a:cxn>
                <a:cxn ang="0">
                  <a:pos x="116" y="57"/>
                </a:cxn>
                <a:cxn ang="0">
                  <a:pos x="116" y="59"/>
                </a:cxn>
                <a:cxn ang="0">
                  <a:pos x="116" y="64"/>
                </a:cxn>
                <a:cxn ang="0">
                  <a:pos x="116" y="64"/>
                </a:cxn>
                <a:cxn ang="0">
                  <a:pos x="118" y="66"/>
                </a:cxn>
                <a:cxn ang="0">
                  <a:pos x="118" y="66"/>
                </a:cxn>
                <a:cxn ang="0">
                  <a:pos x="123" y="69"/>
                </a:cxn>
                <a:cxn ang="0">
                  <a:pos x="123" y="69"/>
                </a:cxn>
                <a:cxn ang="0">
                  <a:pos x="85" y="71"/>
                </a:cxn>
                <a:cxn ang="0">
                  <a:pos x="43" y="71"/>
                </a:cxn>
                <a:cxn ang="0">
                  <a:pos x="24" y="71"/>
                </a:cxn>
                <a:cxn ang="0">
                  <a:pos x="2" y="69"/>
                </a:cxn>
                <a:cxn ang="0">
                  <a:pos x="2" y="62"/>
                </a:cxn>
                <a:cxn ang="0">
                  <a:pos x="5" y="57"/>
                </a:cxn>
                <a:cxn ang="0">
                  <a:pos x="2" y="57"/>
                </a:cxn>
                <a:cxn ang="0">
                  <a:pos x="2" y="55"/>
                </a:cxn>
                <a:cxn ang="0">
                  <a:pos x="0" y="50"/>
                </a:cxn>
                <a:cxn ang="0">
                  <a:pos x="0" y="48"/>
                </a:cxn>
              </a:cxnLst>
              <a:rect l="0" t="0" r="r" b="b"/>
              <a:pathLst>
                <a:path w="123" h="71">
                  <a:moveTo>
                    <a:pt x="0" y="43"/>
                  </a:moveTo>
                  <a:lnTo>
                    <a:pt x="0" y="40"/>
                  </a:lnTo>
                  <a:lnTo>
                    <a:pt x="2" y="38"/>
                  </a:lnTo>
                  <a:lnTo>
                    <a:pt x="5" y="38"/>
                  </a:lnTo>
                  <a:lnTo>
                    <a:pt x="5" y="36"/>
                  </a:lnTo>
                  <a:lnTo>
                    <a:pt x="7" y="33"/>
                  </a:lnTo>
                  <a:lnTo>
                    <a:pt x="9" y="33"/>
                  </a:lnTo>
                  <a:lnTo>
                    <a:pt x="9" y="31"/>
                  </a:lnTo>
                  <a:lnTo>
                    <a:pt x="9" y="29"/>
                  </a:lnTo>
                  <a:lnTo>
                    <a:pt x="7" y="26"/>
                  </a:lnTo>
                  <a:lnTo>
                    <a:pt x="7" y="26"/>
                  </a:lnTo>
                  <a:lnTo>
                    <a:pt x="5" y="26"/>
                  </a:lnTo>
                  <a:lnTo>
                    <a:pt x="5" y="24"/>
                  </a:lnTo>
                  <a:lnTo>
                    <a:pt x="5" y="19"/>
                  </a:lnTo>
                  <a:lnTo>
                    <a:pt x="7" y="17"/>
                  </a:lnTo>
                  <a:lnTo>
                    <a:pt x="7" y="14"/>
                  </a:lnTo>
                  <a:lnTo>
                    <a:pt x="9" y="14"/>
                  </a:lnTo>
                  <a:lnTo>
                    <a:pt x="9" y="0"/>
                  </a:lnTo>
                  <a:lnTo>
                    <a:pt x="9" y="0"/>
                  </a:lnTo>
                  <a:lnTo>
                    <a:pt x="28" y="0"/>
                  </a:lnTo>
                  <a:lnTo>
                    <a:pt x="31" y="0"/>
                  </a:lnTo>
                  <a:lnTo>
                    <a:pt x="64" y="0"/>
                  </a:lnTo>
                  <a:lnTo>
                    <a:pt x="78" y="0"/>
                  </a:lnTo>
                  <a:lnTo>
                    <a:pt x="90" y="0"/>
                  </a:lnTo>
                  <a:lnTo>
                    <a:pt x="99" y="0"/>
                  </a:lnTo>
                  <a:lnTo>
                    <a:pt x="109" y="0"/>
                  </a:lnTo>
                  <a:lnTo>
                    <a:pt x="109" y="5"/>
                  </a:lnTo>
                  <a:lnTo>
                    <a:pt x="111" y="5"/>
                  </a:lnTo>
                  <a:lnTo>
                    <a:pt x="113" y="7"/>
                  </a:lnTo>
                  <a:lnTo>
                    <a:pt x="113" y="7"/>
                  </a:lnTo>
                  <a:lnTo>
                    <a:pt x="113" y="10"/>
                  </a:lnTo>
                  <a:lnTo>
                    <a:pt x="116" y="10"/>
                  </a:lnTo>
                  <a:lnTo>
                    <a:pt x="118" y="10"/>
                  </a:lnTo>
                  <a:lnTo>
                    <a:pt x="121" y="10"/>
                  </a:lnTo>
                  <a:lnTo>
                    <a:pt x="123" y="10"/>
                  </a:lnTo>
                  <a:lnTo>
                    <a:pt x="123" y="12"/>
                  </a:lnTo>
                  <a:lnTo>
                    <a:pt x="123" y="12"/>
                  </a:lnTo>
                  <a:lnTo>
                    <a:pt x="121" y="17"/>
                  </a:lnTo>
                  <a:lnTo>
                    <a:pt x="121" y="19"/>
                  </a:lnTo>
                  <a:lnTo>
                    <a:pt x="121" y="19"/>
                  </a:lnTo>
                  <a:lnTo>
                    <a:pt x="121" y="22"/>
                  </a:lnTo>
                  <a:lnTo>
                    <a:pt x="121" y="22"/>
                  </a:lnTo>
                  <a:lnTo>
                    <a:pt x="121" y="24"/>
                  </a:lnTo>
                  <a:lnTo>
                    <a:pt x="123" y="24"/>
                  </a:lnTo>
                  <a:lnTo>
                    <a:pt x="123" y="24"/>
                  </a:lnTo>
                  <a:lnTo>
                    <a:pt x="123" y="26"/>
                  </a:lnTo>
                  <a:lnTo>
                    <a:pt x="123" y="29"/>
                  </a:lnTo>
                  <a:lnTo>
                    <a:pt x="123" y="29"/>
                  </a:lnTo>
                  <a:lnTo>
                    <a:pt x="123" y="31"/>
                  </a:lnTo>
                  <a:lnTo>
                    <a:pt x="123" y="31"/>
                  </a:lnTo>
                  <a:lnTo>
                    <a:pt x="123" y="31"/>
                  </a:lnTo>
                  <a:lnTo>
                    <a:pt x="123" y="33"/>
                  </a:lnTo>
                  <a:lnTo>
                    <a:pt x="123" y="31"/>
                  </a:lnTo>
                  <a:lnTo>
                    <a:pt x="123" y="33"/>
                  </a:lnTo>
                  <a:lnTo>
                    <a:pt x="121" y="33"/>
                  </a:lnTo>
                  <a:lnTo>
                    <a:pt x="121" y="33"/>
                  </a:lnTo>
                  <a:lnTo>
                    <a:pt x="121" y="36"/>
                  </a:lnTo>
                  <a:lnTo>
                    <a:pt x="121" y="36"/>
                  </a:lnTo>
                  <a:lnTo>
                    <a:pt x="118" y="38"/>
                  </a:lnTo>
                  <a:lnTo>
                    <a:pt x="118" y="38"/>
                  </a:lnTo>
                  <a:lnTo>
                    <a:pt x="118" y="40"/>
                  </a:lnTo>
                  <a:lnTo>
                    <a:pt x="118" y="40"/>
                  </a:lnTo>
                  <a:lnTo>
                    <a:pt x="118" y="40"/>
                  </a:lnTo>
                  <a:lnTo>
                    <a:pt x="116" y="40"/>
                  </a:lnTo>
                  <a:lnTo>
                    <a:pt x="116" y="43"/>
                  </a:lnTo>
                  <a:lnTo>
                    <a:pt x="116" y="43"/>
                  </a:lnTo>
                  <a:lnTo>
                    <a:pt x="116" y="43"/>
                  </a:lnTo>
                  <a:lnTo>
                    <a:pt x="116" y="45"/>
                  </a:lnTo>
                  <a:lnTo>
                    <a:pt x="116" y="45"/>
                  </a:lnTo>
                  <a:lnTo>
                    <a:pt x="116" y="48"/>
                  </a:lnTo>
                  <a:lnTo>
                    <a:pt x="116" y="48"/>
                  </a:lnTo>
                  <a:lnTo>
                    <a:pt x="116" y="48"/>
                  </a:lnTo>
                  <a:lnTo>
                    <a:pt x="116" y="50"/>
                  </a:lnTo>
                  <a:lnTo>
                    <a:pt x="113" y="50"/>
                  </a:lnTo>
                  <a:lnTo>
                    <a:pt x="116" y="50"/>
                  </a:lnTo>
                  <a:lnTo>
                    <a:pt x="116" y="50"/>
                  </a:lnTo>
                  <a:lnTo>
                    <a:pt x="116" y="52"/>
                  </a:lnTo>
                  <a:lnTo>
                    <a:pt x="116" y="52"/>
                  </a:lnTo>
                  <a:lnTo>
                    <a:pt x="116" y="52"/>
                  </a:lnTo>
                  <a:lnTo>
                    <a:pt x="116" y="55"/>
                  </a:lnTo>
                  <a:lnTo>
                    <a:pt x="116" y="55"/>
                  </a:lnTo>
                  <a:lnTo>
                    <a:pt x="116" y="55"/>
                  </a:lnTo>
                  <a:lnTo>
                    <a:pt x="116" y="55"/>
                  </a:lnTo>
                  <a:lnTo>
                    <a:pt x="116" y="57"/>
                  </a:lnTo>
                  <a:lnTo>
                    <a:pt x="116" y="57"/>
                  </a:lnTo>
                  <a:lnTo>
                    <a:pt x="116" y="57"/>
                  </a:lnTo>
                  <a:lnTo>
                    <a:pt x="116" y="57"/>
                  </a:lnTo>
                  <a:lnTo>
                    <a:pt x="116" y="59"/>
                  </a:lnTo>
                  <a:lnTo>
                    <a:pt x="116" y="59"/>
                  </a:lnTo>
                  <a:lnTo>
                    <a:pt x="116" y="59"/>
                  </a:lnTo>
                  <a:lnTo>
                    <a:pt x="116" y="59"/>
                  </a:lnTo>
                  <a:lnTo>
                    <a:pt x="116" y="62"/>
                  </a:lnTo>
                  <a:lnTo>
                    <a:pt x="116" y="64"/>
                  </a:lnTo>
                  <a:lnTo>
                    <a:pt x="116" y="64"/>
                  </a:lnTo>
                  <a:lnTo>
                    <a:pt x="116" y="64"/>
                  </a:lnTo>
                  <a:lnTo>
                    <a:pt x="116" y="64"/>
                  </a:lnTo>
                  <a:lnTo>
                    <a:pt x="116" y="64"/>
                  </a:lnTo>
                  <a:lnTo>
                    <a:pt x="116" y="66"/>
                  </a:lnTo>
                  <a:lnTo>
                    <a:pt x="118" y="66"/>
                  </a:lnTo>
                  <a:lnTo>
                    <a:pt x="118" y="66"/>
                  </a:lnTo>
                  <a:lnTo>
                    <a:pt x="118" y="66"/>
                  </a:lnTo>
                  <a:lnTo>
                    <a:pt x="118" y="66"/>
                  </a:lnTo>
                  <a:lnTo>
                    <a:pt x="121" y="66"/>
                  </a:lnTo>
                  <a:lnTo>
                    <a:pt x="121" y="69"/>
                  </a:lnTo>
                  <a:lnTo>
                    <a:pt x="123" y="69"/>
                  </a:lnTo>
                  <a:lnTo>
                    <a:pt x="123" y="69"/>
                  </a:lnTo>
                  <a:lnTo>
                    <a:pt x="123" y="69"/>
                  </a:lnTo>
                  <a:lnTo>
                    <a:pt x="123" y="69"/>
                  </a:lnTo>
                  <a:lnTo>
                    <a:pt x="123" y="69"/>
                  </a:lnTo>
                  <a:lnTo>
                    <a:pt x="123" y="71"/>
                  </a:lnTo>
                  <a:lnTo>
                    <a:pt x="85" y="71"/>
                  </a:lnTo>
                  <a:lnTo>
                    <a:pt x="76" y="71"/>
                  </a:lnTo>
                  <a:lnTo>
                    <a:pt x="59" y="71"/>
                  </a:lnTo>
                  <a:lnTo>
                    <a:pt x="43" y="71"/>
                  </a:lnTo>
                  <a:lnTo>
                    <a:pt x="33" y="71"/>
                  </a:lnTo>
                  <a:lnTo>
                    <a:pt x="31" y="71"/>
                  </a:lnTo>
                  <a:lnTo>
                    <a:pt x="24" y="71"/>
                  </a:lnTo>
                  <a:lnTo>
                    <a:pt x="0" y="71"/>
                  </a:lnTo>
                  <a:lnTo>
                    <a:pt x="0" y="71"/>
                  </a:lnTo>
                  <a:lnTo>
                    <a:pt x="2" y="69"/>
                  </a:lnTo>
                  <a:lnTo>
                    <a:pt x="2" y="66"/>
                  </a:lnTo>
                  <a:lnTo>
                    <a:pt x="2" y="64"/>
                  </a:lnTo>
                  <a:lnTo>
                    <a:pt x="2" y="62"/>
                  </a:lnTo>
                  <a:lnTo>
                    <a:pt x="2" y="59"/>
                  </a:lnTo>
                  <a:lnTo>
                    <a:pt x="5" y="59"/>
                  </a:lnTo>
                  <a:lnTo>
                    <a:pt x="5" y="57"/>
                  </a:lnTo>
                  <a:lnTo>
                    <a:pt x="5" y="57"/>
                  </a:lnTo>
                  <a:lnTo>
                    <a:pt x="2" y="55"/>
                  </a:lnTo>
                  <a:lnTo>
                    <a:pt x="2" y="57"/>
                  </a:lnTo>
                  <a:lnTo>
                    <a:pt x="0" y="55"/>
                  </a:lnTo>
                  <a:lnTo>
                    <a:pt x="0" y="55"/>
                  </a:lnTo>
                  <a:lnTo>
                    <a:pt x="2" y="55"/>
                  </a:lnTo>
                  <a:lnTo>
                    <a:pt x="2" y="52"/>
                  </a:lnTo>
                  <a:lnTo>
                    <a:pt x="0" y="52"/>
                  </a:lnTo>
                  <a:lnTo>
                    <a:pt x="0" y="50"/>
                  </a:lnTo>
                  <a:lnTo>
                    <a:pt x="0" y="50"/>
                  </a:lnTo>
                  <a:lnTo>
                    <a:pt x="2" y="50"/>
                  </a:lnTo>
                  <a:lnTo>
                    <a:pt x="0" y="48"/>
                  </a:lnTo>
                  <a:lnTo>
                    <a:pt x="0" y="43"/>
                  </a:lnTo>
                  <a:lnTo>
                    <a:pt x="0" y="4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 cap="flat">
              <a:solidFill>
                <a:schemeClr val="bg2">
                  <a:lumMod val="7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>
                <a:solidFill>
                  <a:srgbClr val="000000"/>
                </a:solidFill>
              </a:endParaRPr>
            </a:p>
          </p:txBody>
        </p:sp>
        <p:sp>
          <p:nvSpPr>
            <p:cNvPr id="91" name="Freeform 12"/>
            <p:cNvSpPr>
              <a:spLocks/>
            </p:cNvSpPr>
            <p:nvPr/>
          </p:nvSpPr>
          <p:spPr bwMode="gray">
            <a:xfrm>
              <a:off x="3849533" y="3852209"/>
              <a:ext cx="316754" cy="192583"/>
            </a:xfrm>
            <a:custGeom>
              <a:avLst/>
              <a:gdLst/>
              <a:ahLst/>
              <a:cxnLst>
                <a:cxn ang="0">
                  <a:pos x="19" y="45"/>
                </a:cxn>
                <a:cxn ang="0">
                  <a:pos x="33" y="43"/>
                </a:cxn>
                <a:cxn ang="0">
                  <a:pos x="45" y="29"/>
                </a:cxn>
                <a:cxn ang="0">
                  <a:pos x="55" y="10"/>
                </a:cxn>
                <a:cxn ang="0">
                  <a:pos x="64" y="10"/>
                </a:cxn>
                <a:cxn ang="0">
                  <a:pos x="71" y="19"/>
                </a:cxn>
                <a:cxn ang="0">
                  <a:pos x="76" y="24"/>
                </a:cxn>
                <a:cxn ang="0">
                  <a:pos x="92" y="19"/>
                </a:cxn>
                <a:cxn ang="0">
                  <a:pos x="107" y="31"/>
                </a:cxn>
                <a:cxn ang="0">
                  <a:pos x="128" y="48"/>
                </a:cxn>
                <a:cxn ang="0">
                  <a:pos x="133" y="50"/>
                </a:cxn>
                <a:cxn ang="0">
                  <a:pos x="147" y="57"/>
                </a:cxn>
                <a:cxn ang="0">
                  <a:pos x="163" y="74"/>
                </a:cxn>
                <a:cxn ang="0">
                  <a:pos x="168" y="62"/>
                </a:cxn>
                <a:cxn ang="0">
                  <a:pos x="189" y="59"/>
                </a:cxn>
                <a:cxn ang="0">
                  <a:pos x="206" y="66"/>
                </a:cxn>
                <a:cxn ang="0">
                  <a:pos x="213" y="66"/>
                </a:cxn>
                <a:cxn ang="0">
                  <a:pos x="225" y="55"/>
                </a:cxn>
                <a:cxn ang="0">
                  <a:pos x="232" y="52"/>
                </a:cxn>
                <a:cxn ang="0">
                  <a:pos x="241" y="50"/>
                </a:cxn>
                <a:cxn ang="0">
                  <a:pos x="248" y="45"/>
                </a:cxn>
                <a:cxn ang="0">
                  <a:pos x="255" y="43"/>
                </a:cxn>
                <a:cxn ang="0">
                  <a:pos x="258" y="33"/>
                </a:cxn>
                <a:cxn ang="0">
                  <a:pos x="265" y="29"/>
                </a:cxn>
                <a:cxn ang="0">
                  <a:pos x="267" y="19"/>
                </a:cxn>
                <a:cxn ang="0">
                  <a:pos x="289" y="10"/>
                </a:cxn>
                <a:cxn ang="0">
                  <a:pos x="298" y="5"/>
                </a:cxn>
                <a:cxn ang="0">
                  <a:pos x="312" y="5"/>
                </a:cxn>
                <a:cxn ang="0">
                  <a:pos x="319" y="12"/>
                </a:cxn>
                <a:cxn ang="0">
                  <a:pos x="331" y="7"/>
                </a:cxn>
                <a:cxn ang="0">
                  <a:pos x="343" y="0"/>
                </a:cxn>
                <a:cxn ang="0">
                  <a:pos x="350" y="0"/>
                </a:cxn>
                <a:cxn ang="0">
                  <a:pos x="359" y="3"/>
                </a:cxn>
                <a:cxn ang="0">
                  <a:pos x="383" y="10"/>
                </a:cxn>
                <a:cxn ang="0">
                  <a:pos x="388" y="22"/>
                </a:cxn>
                <a:cxn ang="0">
                  <a:pos x="378" y="36"/>
                </a:cxn>
                <a:cxn ang="0">
                  <a:pos x="374" y="48"/>
                </a:cxn>
                <a:cxn ang="0">
                  <a:pos x="362" y="62"/>
                </a:cxn>
                <a:cxn ang="0">
                  <a:pos x="350" y="74"/>
                </a:cxn>
                <a:cxn ang="0">
                  <a:pos x="336" y="92"/>
                </a:cxn>
                <a:cxn ang="0">
                  <a:pos x="324" y="107"/>
                </a:cxn>
                <a:cxn ang="0">
                  <a:pos x="312" y="116"/>
                </a:cxn>
                <a:cxn ang="0">
                  <a:pos x="289" y="149"/>
                </a:cxn>
                <a:cxn ang="0">
                  <a:pos x="267" y="175"/>
                </a:cxn>
                <a:cxn ang="0">
                  <a:pos x="246" y="194"/>
                </a:cxn>
                <a:cxn ang="0">
                  <a:pos x="237" y="220"/>
                </a:cxn>
                <a:cxn ang="0">
                  <a:pos x="222" y="208"/>
                </a:cxn>
                <a:cxn ang="0">
                  <a:pos x="213" y="196"/>
                </a:cxn>
                <a:cxn ang="0">
                  <a:pos x="201" y="189"/>
                </a:cxn>
                <a:cxn ang="0">
                  <a:pos x="189" y="185"/>
                </a:cxn>
                <a:cxn ang="0">
                  <a:pos x="177" y="177"/>
                </a:cxn>
                <a:cxn ang="0">
                  <a:pos x="163" y="161"/>
                </a:cxn>
                <a:cxn ang="0">
                  <a:pos x="156" y="151"/>
                </a:cxn>
                <a:cxn ang="0">
                  <a:pos x="128" y="140"/>
                </a:cxn>
                <a:cxn ang="0">
                  <a:pos x="111" y="125"/>
                </a:cxn>
                <a:cxn ang="0">
                  <a:pos x="74" y="111"/>
                </a:cxn>
                <a:cxn ang="0">
                  <a:pos x="55" y="102"/>
                </a:cxn>
                <a:cxn ang="0">
                  <a:pos x="31" y="92"/>
                </a:cxn>
                <a:cxn ang="0">
                  <a:pos x="22" y="81"/>
                </a:cxn>
                <a:cxn ang="0">
                  <a:pos x="5" y="76"/>
                </a:cxn>
              </a:cxnLst>
              <a:rect l="0" t="0" r="r" b="b"/>
              <a:pathLst>
                <a:path w="392" h="220">
                  <a:moveTo>
                    <a:pt x="0" y="66"/>
                  </a:moveTo>
                  <a:lnTo>
                    <a:pt x="5" y="62"/>
                  </a:lnTo>
                  <a:lnTo>
                    <a:pt x="7" y="62"/>
                  </a:lnTo>
                  <a:lnTo>
                    <a:pt x="12" y="57"/>
                  </a:lnTo>
                  <a:lnTo>
                    <a:pt x="12" y="57"/>
                  </a:lnTo>
                  <a:lnTo>
                    <a:pt x="12" y="55"/>
                  </a:lnTo>
                  <a:lnTo>
                    <a:pt x="12" y="52"/>
                  </a:lnTo>
                  <a:lnTo>
                    <a:pt x="17" y="50"/>
                  </a:lnTo>
                  <a:lnTo>
                    <a:pt x="19" y="48"/>
                  </a:lnTo>
                  <a:lnTo>
                    <a:pt x="19" y="45"/>
                  </a:lnTo>
                  <a:lnTo>
                    <a:pt x="22" y="45"/>
                  </a:lnTo>
                  <a:lnTo>
                    <a:pt x="22" y="45"/>
                  </a:lnTo>
                  <a:lnTo>
                    <a:pt x="24" y="45"/>
                  </a:lnTo>
                  <a:lnTo>
                    <a:pt x="26" y="45"/>
                  </a:lnTo>
                  <a:lnTo>
                    <a:pt x="26" y="45"/>
                  </a:lnTo>
                  <a:lnTo>
                    <a:pt x="29" y="43"/>
                  </a:lnTo>
                  <a:lnTo>
                    <a:pt x="29" y="43"/>
                  </a:lnTo>
                  <a:lnTo>
                    <a:pt x="31" y="43"/>
                  </a:lnTo>
                  <a:lnTo>
                    <a:pt x="31" y="43"/>
                  </a:lnTo>
                  <a:lnTo>
                    <a:pt x="33" y="43"/>
                  </a:lnTo>
                  <a:lnTo>
                    <a:pt x="36" y="40"/>
                  </a:lnTo>
                  <a:lnTo>
                    <a:pt x="36" y="38"/>
                  </a:lnTo>
                  <a:lnTo>
                    <a:pt x="36" y="38"/>
                  </a:lnTo>
                  <a:lnTo>
                    <a:pt x="38" y="36"/>
                  </a:lnTo>
                  <a:lnTo>
                    <a:pt x="38" y="36"/>
                  </a:lnTo>
                  <a:lnTo>
                    <a:pt x="38" y="33"/>
                  </a:lnTo>
                  <a:lnTo>
                    <a:pt x="43" y="31"/>
                  </a:lnTo>
                  <a:lnTo>
                    <a:pt x="43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8" y="26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2" y="19"/>
                  </a:lnTo>
                  <a:lnTo>
                    <a:pt x="52" y="14"/>
                  </a:lnTo>
                  <a:lnTo>
                    <a:pt x="52" y="14"/>
                  </a:lnTo>
                  <a:lnTo>
                    <a:pt x="55" y="12"/>
                  </a:lnTo>
                  <a:lnTo>
                    <a:pt x="55" y="10"/>
                  </a:lnTo>
                  <a:lnTo>
                    <a:pt x="52" y="10"/>
                  </a:lnTo>
                  <a:lnTo>
                    <a:pt x="55" y="7"/>
                  </a:lnTo>
                  <a:lnTo>
                    <a:pt x="57" y="7"/>
                  </a:lnTo>
                  <a:lnTo>
                    <a:pt x="59" y="5"/>
                  </a:lnTo>
                  <a:lnTo>
                    <a:pt x="59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4" y="5"/>
                  </a:lnTo>
                  <a:lnTo>
                    <a:pt x="64" y="7"/>
                  </a:lnTo>
                  <a:lnTo>
                    <a:pt x="64" y="10"/>
                  </a:lnTo>
                  <a:lnTo>
                    <a:pt x="64" y="10"/>
                  </a:lnTo>
                  <a:lnTo>
                    <a:pt x="64" y="10"/>
                  </a:lnTo>
                  <a:lnTo>
                    <a:pt x="66" y="10"/>
                  </a:lnTo>
                  <a:lnTo>
                    <a:pt x="66" y="12"/>
                  </a:lnTo>
                  <a:lnTo>
                    <a:pt x="69" y="14"/>
                  </a:lnTo>
                  <a:lnTo>
                    <a:pt x="69" y="14"/>
                  </a:lnTo>
                  <a:lnTo>
                    <a:pt x="69" y="17"/>
                  </a:lnTo>
                  <a:lnTo>
                    <a:pt x="71" y="17"/>
                  </a:lnTo>
                  <a:lnTo>
                    <a:pt x="71" y="19"/>
                  </a:lnTo>
                  <a:lnTo>
                    <a:pt x="71" y="19"/>
                  </a:lnTo>
                  <a:lnTo>
                    <a:pt x="71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71" y="22"/>
                  </a:lnTo>
                  <a:lnTo>
                    <a:pt x="71" y="24"/>
                  </a:lnTo>
                  <a:lnTo>
                    <a:pt x="74" y="22"/>
                  </a:lnTo>
                  <a:lnTo>
                    <a:pt x="74" y="22"/>
                  </a:lnTo>
                  <a:lnTo>
                    <a:pt x="74" y="24"/>
                  </a:lnTo>
                  <a:lnTo>
                    <a:pt x="74" y="24"/>
                  </a:lnTo>
                  <a:lnTo>
                    <a:pt x="76" y="24"/>
                  </a:lnTo>
                  <a:lnTo>
                    <a:pt x="81" y="24"/>
                  </a:lnTo>
                  <a:lnTo>
                    <a:pt x="81" y="24"/>
                  </a:lnTo>
                  <a:lnTo>
                    <a:pt x="81" y="24"/>
                  </a:lnTo>
                  <a:lnTo>
                    <a:pt x="81" y="22"/>
                  </a:lnTo>
                  <a:lnTo>
                    <a:pt x="83" y="19"/>
                  </a:lnTo>
                  <a:lnTo>
                    <a:pt x="83" y="19"/>
                  </a:lnTo>
                  <a:lnTo>
                    <a:pt x="85" y="19"/>
                  </a:lnTo>
                  <a:lnTo>
                    <a:pt x="90" y="17"/>
                  </a:lnTo>
                  <a:lnTo>
                    <a:pt x="90" y="19"/>
                  </a:lnTo>
                  <a:lnTo>
                    <a:pt x="92" y="19"/>
                  </a:lnTo>
                  <a:lnTo>
                    <a:pt x="92" y="19"/>
                  </a:lnTo>
                  <a:lnTo>
                    <a:pt x="95" y="19"/>
                  </a:lnTo>
                  <a:lnTo>
                    <a:pt x="95" y="19"/>
                  </a:lnTo>
                  <a:lnTo>
                    <a:pt x="95" y="22"/>
                  </a:lnTo>
                  <a:lnTo>
                    <a:pt x="95" y="24"/>
                  </a:lnTo>
                  <a:lnTo>
                    <a:pt x="100" y="26"/>
                  </a:lnTo>
                  <a:lnTo>
                    <a:pt x="102" y="26"/>
                  </a:lnTo>
                  <a:lnTo>
                    <a:pt x="102" y="26"/>
                  </a:lnTo>
                  <a:lnTo>
                    <a:pt x="104" y="29"/>
                  </a:lnTo>
                  <a:lnTo>
                    <a:pt x="107" y="31"/>
                  </a:lnTo>
                  <a:lnTo>
                    <a:pt x="116" y="33"/>
                  </a:lnTo>
                  <a:lnTo>
                    <a:pt x="116" y="36"/>
                  </a:lnTo>
                  <a:lnTo>
                    <a:pt x="118" y="36"/>
                  </a:lnTo>
                  <a:lnTo>
                    <a:pt x="118" y="36"/>
                  </a:lnTo>
                  <a:lnTo>
                    <a:pt x="118" y="38"/>
                  </a:lnTo>
                  <a:lnTo>
                    <a:pt x="121" y="38"/>
                  </a:lnTo>
                  <a:lnTo>
                    <a:pt x="123" y="43"/>
                  </a:lnTo>
                  <a:lnTo>
                    <a:pt x="123" y="43"/>
                  </a:lnTo>
                  <a:lnTo>
                    <a:pt x="126" y="45"/>
                  </a:lnTo>
                  <a:lnTo>
                    <a:pt x="128" y="48"/>
                  </a:lnTo>
                  <a:lnTo>
                    <a:pt x="128" y="48"/>
                  </a:lnTo>
                  <a:lnTo>
                    <a:pt x="128" y="48"/>
                  </a:lnTo>
                  <a:lnTo>
                    <a:pt x="128" y="50"/>
                  </a:lnTo>
                  <a:lnTo>
                    <a:pt x="128" y="50"/>
                  </a:lnTo>
                  <a:lnTo>
                    <a:pt x="128" y="52"/>
                  </a:lnTo>
                  <a:lnTo>
                    <a:pt x="128" y="52"/>
                  </a:lnTo>
                  <a:lnTo>
                    <a:pt x="128" y="52"/>
                  </a:lnTo>
                  <a:lnTo>
                    <a:pt x="128" y="55"/>
                  </a:lnTo>
                  <a:lnTo>
                    <a:pt x="130" y="52"/>
                  </a:lnTo>
                  <a:lnTo>
                    <a:pt x="133" y="50"/>
                  </a:lnTo>
                  <a:lnTo>
                    <a:pt x="137" y="55"/>
                  </a:lnTo>
                  <a:lnTo>
                    <a:pt x="137" y="57"/>
                  </a:lnTo>
                  <a:lnTo>
                    <a:pt x="137" y="57"/>
                  </a:lnTo>
                  <a:lnTo>
                    <a:pt x="137" y="59"/>
                  </a:lnTo>
                  <a:lnTo>
                    <a:pt x="137" y="59"/>
                  </a:lnTo>
                  <a:lnTo>
                    <a:pt x="140" y="57"/>
                  </a:lnTo>
                  <a:lnTo>
                    <a:pt x="142" y="57"/>
                  </a:lnTo>
                  <a:lnTo>
                    <a:pt x="144" y="55"/>
                  </a:lnTo>
                  <a:lnTo>
                    <a:pt x="144" y="55"/>
                  </a:lnTo>
                  <a:lnTo>
                    <a:pt x="147" y="57"/>
                  </a:lnTo>
                  <a:lnTo>
                    <a:pt x="149" y="57"/>
                  </a:lnTo>
                  <a:lnTo>
                    <a:pt x="152" y="59"/>
                  </a:lnTo>
                  <a:lnTo>
                    <a:pt x="149" y="62"/>
                  </a:lnTo>
                  <a:lnTo>
                    <a:pt x="152" y="64"/>
                  </a:lnTo>
                  <a:lnTo>
                    <a:pt x="152" y="62"/>
                  </a:lnTo>
                  <a:lnTo>
                    <a:pt x="152" y="64"/>
                  </a:lnTo>
                  <a:lnTo>
                    <a:pt x="156" y="64"/>
                  </a:lnTo>
                  <a:lnTo>
                    <a:pt x="159" y="69"/>
                  </a:lnTo>
                  <a:lnTo>
                    <a:pt x="161" y="71"/>
                  </a:lnTo>
                  <a:lnTo>
                    <a:pt x="163" y="74"/>
                  </a:lnTo>
                  <a:lnTo>
                    <a:pt x="166" y="74"/>
                  </a:lnTo>
                  <a:lnTo>
                    <a:pt x="166" y="71"/>
                  </a:lnTo>
                  <a:lnTo>
                    <a:pt x="166" y="71"/>
                  </a:lnTo>
                  <a:lnTo>
                    <a:pt x="166" y="71"/>
                  </a:lnTo>
                  <a:lnTo>
                    <a:pt x="166" y="71"/>
                  </a:lnTo>
                  <a:lnTo>
                    <a:pt x="166" y="69"/>
                  </a:lnTo>
                  <a:lnTo>
                    <a:pt x="168" y="66"/>
                  </a:lnTo>
                  <a:lnTo>
                    <a:pt x="168" y="66"/>
                  </a:lnTo>
                  <a:lnTo>
                    <a:pt x="168" y="66"/>
                  </a:lnTo>
                  <a:lnTo>
                    <a:pt x="168" y="62"/>
                  </a:lnTo>
                  <a:lnTo>
                    <a:pt x="170" y="59"/>
                  </a:lnTo>
                  <a:lnTo>
                    <a:pt x="173" y="59"/>
                  </a:lnTo>
                  <a:lnTo>
                    <a:pt x="175" y="59"/>
                  </a:lnTo>
                  <a:lnTo>
                    <a:pt x="173" y="59"/>
                  </a:lnTo>
                  <a:lnTo>
                    <a:pt x="175" y="59"/>
                  </a:lnTo>
                  <a:lnTo>
                    <a:pt x="177" y="59"/>
                  </a:lnTo>
                  <a:lnTo>
                    <a:pt x="177" y="59"/>
                  </a:lnTo>
                  <a:lnTo>
                    <a:pt x="177" y="62"/>
                  </a:lnTo>
                  <a:lnTo>
                    <a:pt x="185" y="62"/>
                  </a:lnTo>
                  <a:lnTo>
                    <a:pt x="189" y="59"/>
                  </a:lnTo>
                  <a:lnTo>
                    <a:pt x="196" y="59"/>
                  </a:lnTo>
                  <a:lnTo>
                    <a:pt x="199" y="59"/>
                  </a:lnTo>
                  <a:lnTo>
                    <a:pt x="201" y="64"/>
                  </a:lnTo>
                  <a:lnTo>
                    <a:pt x="203" y="64"/>
                  </a:lnTo>
                  <a:lnTo>
                    <a:pt x="203" y="64"/>
                  </a:lnTo>
                  <a:lnTo>
                    <a:pt x="203" y="64"/>
                  </a:lnTo>
                  <a:lnTo>
                    <a:pt x="203" y="64"/>
                  </a:lnTo>
                  <a:lnTo>
                    <a:pt x="203" y="66"/>
                  </a:lnTo>
                  <a:lnTo>
                    <a:pt x="206" y="66"/>
                  </a:lnTo>
                  <a:lnTo>
                    <a:pt x="206" y="66"/>
                  </a:lnTo>
                  <a:lnTo>
                    <a:pt x="206" y="66"/>
                  </a:lnTo>
                  <a:lnTo>
                    <a:pt x="206" y="66"/>
                  </a:lnTo>
                  <a:lnTo>
                    <a:pt x="206" y="66"/>
                  </a:lnTo>
                  <a:lnTo>
                    <a:pt x="208" y="66"/>
                  </a:lnTo>
                  <a:lnTo>
                    <a:pt x="208" y="66"/>
                  </a:lnTo>
                  <a:lnTo>
                    <a:pt x="208" y="69"/>
                  </a:lnTo>
                  <a:lnTo>
                    <a:pt x="211" y="66"/>
                  </a:lnTo>
                  <a:lnTo>
                    <a:pt x="211" y="66"/>
                  </a:lnTo>
                  <a:lnTo>
                    <a:pt x="213" y="66"/>
                  </a:lnTo>
                  <a:lnTo>
                    <a:pt x="213" y="66"/>
                  </a:lnTo>
                  <a:lnTo>
                    <a:pt x="213" y="66"/>
                  </a:lnTo>
                  <a:lnTo>
                    <a:pt x="213" y="64"/>
                  </a:lnTo>
                  <a:lnTo>
                    <a:pt x="213" y="64"/>
                  </a:lnTo>
                  <a:lnTo>
                    <a:pt x="213" y="62"/>
                  </a:lnTo>
                  <a:lnTo>
                    <a:pt x="220" y="59"/>
                  </a:lnTo>
                  <a:lnTo>
                    <a:pt x="222" y="57"/>
                  </a:lnTo>
                  <a:lnTo>
                    <a:pt x="222" y="57"/>
                  </a:lnTo>
                  <a:lnTo>
                    <a:pt x="222" y="57"/>
                  </a:lnTo>
                  <a:lnTo>
                    <a:pt x="222" y="55"/>
                  </a:lnTo>
                  <a:lnTo>
                    <a:pt x="225" y="55"/>
                  </a:lnTo>
                  <a:lnTo>
                    <a:pt x="225" y="55"/>
                  </a:lnTo>
                  <a:lnTo>
                    <a:pt x="227" y="55"/>
                  </a:lnTo>
                  <a:lnTo>
                    <a:pt x="227" y="52"/>
                  </a:lnTo>
                  <a:lnTo>
                    <a:pt x="227" y="52"/>
                  </a:lnTo>
                  <a:lnTo>
                    <a:pt x="227" y="52"/>
                  </a:lnTo>
                  <a:lnTo>
                    <a:pt x="229" y="52"/>
                  </a:lnTo>
                  <a:lnTo>
                    <a:pt x="229" y="50"/>
                  </a:lnTo>
                  <a:lnTo>
                    <a:pt x="232" y="50"/>
                  </a:lnTo>
                  <a:lnTo>
                    <a:pt x="232" y="52"/>
                  </a:lnTo>
                  <a:lnTo>
                    <a:pt x="232" y="52"/>
                  </a:lnTo>
                  <a:lnTo>
                    <a:pt x="232" y="52"/>
                  </a:lnTo>
                  <a:lnTo>
                    <a:pt x="234" y="52"/>
                  </a:lnTo>
                  <a:lnTo>
                    <a:pt x="237" y="52"/>
                  </a:lnTo>
                  <a:lnTo>
                    <a:pt x="237" y="52"/>
                  </a:lnTo>
                  <a:lnTo>
                    <a:pt x="239" y="52"/>
                  </a:lnTo>
                  <a:lnTo>
                    <a:pt x="239" y="52"/>
                  </a:lnTo>
                  <a:lnTo>
                    <a:pt x="241" y="50"/>
                  </a:lnTo>
                  <a:lnTo>
                    <a:pt x="239" y="50"/>
                  </a:lnTo>
                  <a:lnTo>
                    <a:pt x="239" y="50"/>
                  </a:lnTo>
                  <a:lnTo>
                    <a:pt x="241" y="50"/>
                  </a:lnTo>
                  <a:lnTo>
                    <a:pt x="241" y="50"/>
                  </a:lnTo>
                  <a:lnTo>
                    <a:pt x="244" y="50"/>
                  </a:lnTo>
                  <a:lnTo>
                    <a:pt x="244" y="48"/>
                  </a:lnTo>
                  <a:lnTo>
                    <a:pt x="246" y="48"/>
                  </a:lnTo>
                  <a:lnTo>
                    <a:pt x="246" y="45"/>
                  </a:lnTo>
                  <a:lnTo>
                    <a:pt x="246" y="48"/>
                  </a:lnTo>
                  <a:lnTo>
                    <a:pt x="246" y="45"/>
                  </a:lnTo>
                  <a:lnTo>
                    <a:pt x="248" y="48"/>
                  </a:lnTo>
                  <a:lnTo>
                    <a:pt x="248" y="45"/>
                  </a:lnTo>
                  <a:lnTo>
                    <a:pt x="248" y="45"/>
                  </a:lnTo>
                  <a:lnTo>
                    <a:pt x="251" y="45"/>
                  </a:lnTo>
                  <a:lnTo>
                    <a:pt x="251" y="45"/>
                  </a:lnTo>
                  <a:lnTo>
                    <a:pt x="251" y="45"/>
                  </a:lnTo>
                  <a:lnTo>
                    <a:pt x="251" y="48"/>
                  </a:lnTo>
                  <a:lnTo>
                    <a:pt x="253" y="48"/>
                  </a:lnTo>
                  <a:lnTo>
                    <a:pt x="253" y="45"/>
                  </a:lnTo>
                  <a:lnTo>
                    <a:pt x="253" y="48"/>
                  </a:lnTo>
                  <a:lnTo>
                    <a:pt x="255" y="45"/>
                  </a:lnTo>
                  <a:lnTo>
                    <a:pt x="255" y="45"/>
                  </a:lnTo>
                  <a:lnTo>
                    <a:pt x="255" y="43"/>
                  </a:lnTo>
                  <a:lnTo>
                    <a:pt x="255" y="43"/>
                  </a:lnTo>
                  <a:lnTo>
                    <a:pt x="253" y="40"/>
                  </a:lnTo>
                  <a:lnTo>
                    <a:pt x="251" y="40"/>
                  </a:lnTo>
                  <a:lnTo>
                    <a:pt x="251" y="40"/>
                  </a:lnTo>
                  <a:lnTo>
                    <a:pt x="251" y="38"/>
                  </a:lnTo>
                  <a:lnTo>
                    <a:pt x="251" y="38"/>
                  </a:lnTo>
                  <a:lnTo>
                    <a:pt x="251" y="36"/>
                  </a:lnTo>
                  <a:lnTo>
                    <a:pt x="253" y="36"/>
                  </a:lnTo>
                  <a:lnTo>
                    <a:pt x="255" y="36"/>
                  </a:lnTo>
                  <a:lnTo>
                    <a:pt x="258" y="33"/>
                  </a:lnTo>
                  <a:lnTo>
                    <a:pt x="258" y="33"/>
                  </a:lnTo>
                  <a:lnTo>
                    <a:pt x="258" y="33"/>
                  </a:lnTo>
                  <a:lnTo>
                    <a:pt x="258" y="31"/>
                  </a:lnTo>
                  <a:lnTo>
                    <a:pt x="260" y="29"/>
                  </a:lnTo>
                  <a:lnTo>
                    <a:pt x="260" y="29"/>
                  </a:lnTo>
                  <a:lnTo>
                    <a:pt x="260" y="29"/>
                  </a:lnTo>
                  <a:lnTo>
                    <a:pt x="263" y="29"/>
                  </a:lnTo>
                  <a:lnTo>
                    <a:pt x="263" y="29"/>
                  </a:lnTo>
                  <a:lnTo>
                    <a:pt x="265" y="29"/>
                  </a:lnTo>
                  <a:lnTo>
                    <a:pt x="265" y="29"/>
                  </a:lnTo>
                  <a:lnTo>
                    <a:pt x="267" y="29"/>
                  </a:lnTo>
                  <a:lnTo>
                    <a:pt x="267" y="29"/>
                  </a:lnTo>
                  <a:lnTo>
                    <a:pt x="267" y="29"/>
                  </a:lnTo>
                  <a:lnTo>
                    <a:pt x="270" y="26"/>
                  </a:lnTo>
                  <a:lnTo>
                    <a:pt x="270" y="24"/>
                  </a:lnTo>
                  <a:lnTo>
                    <a:pt x="270" y="24"/>
                  </a:lnTo>
                  <a:lnTo>
                    <a:pt x="272" y="24"/>
                  </a:lnTo>
                  <a:lnTo>
                    <a:pt x="270" y="22"/>
                  </a:lnTo>
                  <a:lnTo>
                    <a:pt x="270" y="22"/>
                  </a:lnTo>
                  <a:lnTo>
                    <a:pt x="267" y="19"/>
                  </a:lnTo>
                  <a:lnTo>
                    <a:pt x="270" y="17"/>
                  </a:lnTo>
                  <a:lnTo>
                    <a:pt x="274" y="14"/>
                  </a:lnTo>
                  <a:lnTo>
                    <a:pt x="277" y="12"/>
                  </a:lnTo>
                  <a:lnTo>
                    <a:pt x="281" y="12"/>
                  </a:lnTo>
                  <a:lnTo>
                    <a:pt x="284" y="12"/>
                  </a:lnTo>
                  <a:lnTo>
                    <a:pt x="286" y="10"/>
                  </a:lnTo>
                  <a:lnTo>
                    <a:pt x="289" y="10"/>
                  </a:lnTo>
                  <a:lnTo>
                    <a:pt x="289" y="10"/>
                  </a:lnTo>
                  <a:lnTo>
                    <a:pt x="289" y="10"/>
                  </a:lnTo>
                  <a:lnTo>
                    <a:pt x="289" y="10"/>
                  </a:lnTo>
                  <a:lnTo>
                    <a:pt x="291" y="10"/>
                  </a:lnTo>
                  <a:lnTo>
                    <a:pt x="293" y="7"/>
                  </a:lnTo>
                  <a:lnTo>
                    <a:pt x="293" y="7"/>
                  </a:lnTo>
                  <a:lnTo>
                    <a:pt x="296" y="7"/>
                  </a:lnTo>
                  <a:lnTo>
                    <a:pt x="296" y="5"/>
                  </a:lnTo>
                  <a:lnTo>
                    <a:pt x="296" y="5"/>
                  </a:lnTo>
                  <a:lnTo>
                    <a:pt x="296" y="5"/>
                  </a:lnTo>
                  <a:lnTo>
                    <a:pt x="298" y="5"/>
                  </a:lnTo>
                  <a:lnTo>
                    <a:pt x="298" y="5"/>
                  </a:lnTo>
                  <a:lnTo>
                    <a:pt x="298" y="5"/>
                  </a:lnTo>
                  <a:lnTo>
                    <a:pt x="303" y="5"/>
                  </a:lnTo>
                  <a:lnTo>
                    <a:pt x="305" y="5"/>
                  </a:lnTo>
                  <a:lnTo>
                    <a:pt x="305" y="5"/>
                  </a:lnTo>
                  <a:lnTo>
                    <a:pt x="307" y="5"/>
                  </a:lnTo>
                  <a:lnTo>
                    <a:pt x="307" y="5"/>
                  </a:lnTo>
                  <a:lnTo>
                    <a:pt x="310" y="5"/>
                  </a:lnTo>
                  <a:lnTo>
                    <a:pt x="312" y="3"/>
                  </a:lnTo>
                  <a:lnTo>
                    <a:pt x="312" y="3"/>
                  </a:lnTo>
                  <a:lnTo>
                    <a:pt x="312" y="5"/>
                  </a:lnTo>
                  <a:lnTo>
                    <a:pt x="312" y="5"/>
                  </a:lnTo>
                  <a:lnTo>
                    <a:pt x="312" y="5"/>
                  </a:lnTo>
                  <a:lnTo>
                    <a:pt x="312" y="7"/>
                  </a:lnTo>
                  <a:lnTo>
                    <a:pt x="312" y="10"/>
                  </a:lnTo>
                  <a:lnTo>
                    <a:pt x="312" y="10"/>
                  </a:lnTo>
                  <a:lnTo>
                    <a:pt x="312" y="10"/>
                  </a:lnTo>
                  <a:lnTo>
                    <a:pt x="315" y="10"/>
                  </a:lnTo>
                  <a:lnTo>
                    <a:pt x="315" y="12"/>
                  </a:lnTo>
                  <a:lnTo>
                    <a:pt x="317" y="12"/>
                  </a:lnTo>
                  <a:lnTo>
                    <a:pt x="319" y="12"/>
                  </a:lnTo>
                  <a:lnTo>
                    <a:pt x="319" y="12"/>
                  </a:lnTo>
                  <a:lnTo>
                    <a:pt x="322" y="12"/>
                  </a:lnTo>
                  <a:lnTo>
                    <a:pt x="322" y="10"/>
                  </a:lnTo>
                  <a:lnTo>
                    <a:pt x="324" y="12"/>
                  </a:lnTo>
                  <a:lnTo>
                    <a:pt x="324" y="10"/>
                  </a:lnTo>
                  <a:lnTo>
                    <a:pt x="326" y="10"/>
                  </a:lnTo>
                  <a:lnTo>
                    <a:pt x="329" y="7"/>
                  </a:lnTo>
                  <a:lnTo>
                    <a:pt x="329" y="7"/>
                  </a:lnTo>
                  <a:lnTo>
                    <a:pt x="331" y="7"/>
                  </a:lnTo>
                  <a:lnTo>
                    <a:pt x="331" y="7"/>
                  </a:lnTo>
                  <a:lnTo>
                    <a:pt x="331" y="7"/>
                  </a:lnTo>
                  <a:lnTo>
                    <a:pt x="333" y="5"/>
                  </a:lnTo>
                  <a:lnTo>
                    <a:pt x="336" y="5"/>
                  </a:lnTo>
                  <a:lnTo>
                    <a:pt x="338" y="3"/>
                  </a:lnTo>
                  <a:lnTo>
                    <a:pt x="338" y="3"/>
                  </a:lnTo>
                  <a:lnTo>
                    <a:pt x="338" y="3"/>
                  </a:lnTo>
                  <a:lnTo>
                    <a:pt x="340" y="3"/>
                  </a:lnTo>
                  <a:lnTo>
                    <a:pt x="340" y="0"/>
                  </a:lnTo>
                  <a:lnTo>
                    <a:pt x="343" y="0"/>
                  </a:lnTo>
                  <a:lnTo>
                    <a:pt x="343" y="0"/>
                  </a:lnTo>
                  <a:lnTo>
                    <a:pt x="343" y="0"/>
                  </a:lnTo>
                  <a:lnTo>
                    <a:pt x="343" y="0"/>
                  </a:lnTo>
                  <a:lnTo>
                    <a:pt x="345" y="0"/>
                  </a:lnTo>
                  <a:lnTo>
                    <a:pt x="348" y="0"/>
                  </a:lnTo>
                  <a:lnTo>
                    <a:pt x="348" y="0"/>
                  </a:lnTo>
                  <a:lnTo>
                    <a:pt x="348" y="0"/>
                  </a:lnTo>
                  <a:lnTo>
                    <a:pt x="348" y="0"/>
                  </a:lnTo>
                  <a:lnTo>
                    <a:pt x="350" y="0"/>
                  </a:lnTo>
                  <a:lnTo>
                    <a:pt x="350" y="0"/>
                  </a:lnTo>
                  <a:lnTo>
                    <a:pt x="350" y="0"/>
                  </a:lnTo>
                  <a:lnTo>
                    <a:pt x="350" y="0"/>
                  </a:lnTo>
                  <a:lnTo>
                    <a:pt x="352" y="0"/>
                  </a:lnTo>
                  <a:lnTo>
                    <a:pt x="352" y="0"/>
                  </a:lnTo>
                  <a:lnTo>
                    <a:pt x="352" y="0"/>
                  </a:lnTo>
                  <a:lnTo>
                    <a:pt x="352" y="0"/>
                  </a:lnTo>
                  <a:lnTo>
                    <a:pt x="352" y="0"/>
                  </a:lnTo>
                  <a:lnTo>
                    <a:pt x="352" y="3"/>
                  </a:lnTo>
                  <a:lnTo>
                    <a:pt x="355" y="3"/>
                  </a:lnTo>
                  <a:lnTo>
                    <a:pt x="357" y="3"/>
                  </a:lnTo>
                  <a:lnTo>
                    <a:pt x="357" y="3"/>
                  </a:lnTo>
                  <a:lnTo>
                    <a:pt x="359" y="3"/>
                  </a:lnTo>
                  <a:lnTo>
                    <a:pt x="359" y="3"/>
                  </a:lnTo>
                  <a:lnTo>
                    <a:pt x="359" y="3"/>
                  </a:lnTo>
                  <a:lnTo>
                    <a:pt x="362" y="3"/>
                  </a:lnTo>
                  <a:lnTo>
                    <a:pt x="366" y="5"/>
                  </a:lnTo>
                  <a:lnTo>
                    <a:pt x="374" y="7"/>
                  </a:lnTo>
                  <a:lnTo>
                    <a:pt x="376" y="7"/>
                  </a:lnTo>
                  <a:lnTo>
                    <a:pt x="376" y="7"/>
                  </a:lnTo>
                  <a:lnTo>
                    <a:pt x="381" y="10"/>
                  </a:lnTo>
                  <a:lnTo>
                    <a:pt x="381" y="7"/>
                  </a:lnTo>
                  <a:lnTo>
                    <a:pt x="383" y="10"/>
                  </a:lnTo>
                  <a:lnTo>
                    <a:pt x="385" y="10"/>
                  </a:lnTo>
                  <a:lnTo>
                    <a:pt x="385" y="10"/>
                  </a:lnTo>
                  <a:lnTo>
                    <a:pt x="390" y="10"/>
                  </a:lnTo>
                  <a:lnTo>
                    <a:pt x="392" y="10"/>
                  </a:lnTo>
                  <a:lnTo>
                    <a:pt x="392" y="12"/>
                  </a:lnTo>
                  <a:lnTo>
                    <a:pt x="392" y="12"/>
                  </a:lnTo>
                  <a:lnTo>
                    <a:pt x="390" y="14"/>
                  </a:lnTo>
                  <a:lnTo>
                    <a:pt x="390" y="17"/>
                  </a:lnTo>
                  <a:lnTo>
                    <a:pt x="388" y="19"/>
                  </a:lnTo>
                  <a:lnTo>
                    <a:pt x="388" y="22"/>
                  </a:lnTo>
                  <a:lnTo>
                    <a:pt x="385" y="24"/>
                  </a:lnTo>
                  <a:lnTo>
                    <a:pt x="383" y="26"/>
                  </a:lnTo>
                  <a:lnTo>
                    <a:pt x="383" y="26"/>
                  </a:lnTo>
                  <a:lnTo>
                    <a:pt x="381" y="29"/>
                  </a:lnTo>
                  <a:lnTo>
                    <a:pt x="381" y="31"/>
                  </a:lnTo>
                  <a:lnTo>
                    <a:pt x="381" y="31"/>
                  </a:lnTo>
                  <a:lnTo>
                    <a:pt x="381" y="31"/>
                  </a:lnTo>
                  <a:lnTo>
                    <a:pt x="381" y="33"/>
                  </a:lnTo>
                  <a:lnTo>
                    <a:pt x="378" y="33"/>
                  </a:lnTo>
                  <a:lnTo>
                    <a:pt x="378" y="36"/>
                  </a:lnTo>
                  <a:lnTo>
                    <a:pt x="378" y="36"/>
                  </a:lnTo>
                  <a:lnTo>
                    <a:pt x="378" y="38"/>
                  </a:lnTo>
                  <a:lnTo>
                    <a:pt x="378" y="38"/>
                  </a:lnTo>
                  <a:lnTo>
                    <a:pt x="376" y="40"/>
                  </a:lnTo>
                  <a:lnTo>
                    <a:pt x="376" y="43"/>
                  </a:lnTo>
                  <a:lnTo>
                    <a:pt x="376" y="43"/>
                  </a:lnTo>
                  <a:lnTo>
                    <a:pt x="374" y="43"/>
                  </a:lnTo>
                  <a:lnTo>
                    <a:pt x="374" y="45"/>
                  </a:lnTo>
                  <a:lnTo>
                    <a:pt x="374" y="48"/>
                  </a:lnTo>
                  <a:lnTo>
                    <a:pt x="374" y="48"/>
                  </a:lnTo>
                  <a:lnTo>
                    <a:pt x="371" y="50"/>
                  </a:lnTo>
                  <a:lnTo>
                    <a:pt x="371" y="50"/>
                  </a:lnTo>
                  <a:lnTo>
                    <a:pt x="371" y="50"/>
                  </a:lnTo>
                  <a:lnTo>
                    <a:pt x="369" y="52"/>
                  </a:lnTo>
                  <a:lnTo>
                    <a:pt x="369" y="52"/>
                  </a:lnTo>
                  <a:lnTo>
                    <a:pt x="369" y="55"/>
                  </a:lnTo>
                  <a:lnTo>
                    <a:pt x="366" y="57"/>
                  </a:lnTo>
                  <a:lnTo>
                    <a:pt x="364" y="59"/>
                  </a:lnTo>
                  <a:lnTo>
                    <a:pt x="362" y="59"/>
                  </a:lnTo>
                  <a:lnTo>
                    <a:pt x="362" y="62"/>
                  </a:lnTo>
                  <a:lnTo>
                    <a:pt x="359" y="64"/>
                  </a:lnTo>
                  <a:lnTo>
                    <a:pt x="359" y="64"/>
                  </a:lnTo>
                  <a:lnTo>
                    <a:pt x="359" y="64"/>
                  </a:lnTo>
                  <a:lnTo>
                    <a:pt x="357" y="66"/>
                  </a:lnTo>
                  <a:lnTo>
                    <a:pt x="357" y="66"/>
                  </a:lnTo>
                  <a:lnTo>
                    <a:pt x="357" y="66"/>
                  </a:lnTo>
                  <a:lnTo>
                    <a:pt x="352" y="69"/>
                  </a:lnTo>
                  <a:lnTo>
                    <a:pt x="352" y="69"/>
                  </a:lnTo>
                  <a:lnTo>
                    <a:pt x="350" y="71"/>
                  </a:lnTo>
                  <a:lnTo>
                    <a:pt x="350" y="74"/>
                  </a:lnTo>
                  <a:lnTo>
                    <a:pt x="348" y="78"/>
                  </a:lnTo>
                  <a:lnTo>
                    <a:pt x="348" y="81"/>
                  </a:lnTo>
                  <a:lnTo>
                    <a:pt x="345" y="81"/>
                  </a:lnTo>
                  <a:lnTo>
                    <a:pt x="345" y="83"/>
                  </a:lnTo>
                  <a:lnTo>
                    <a:pt x="343" y="83"/>
                  </a:lnTo>
                  <a:lnTo>
                    <a:pt x="340" y="85"/>
                  </a:lnTo>
                  <a:lnTo>
                    <a:pt x="340" y="88"/>
                  </a:lnTo>
                  <a:lnTo>
                    <a:pt x="338" y="90"/>
                  </a:lnTo>
                  <a:lnTo>
                    <a:pt x="338" y="92"/>
                  </a:lnTo>
                  <a:lnTo>
                    <a:pt x="336" y="92"/>
                  </a:lnTo>
                  <a:lnTo>
                    <a:pt x="333" y="95"/>
                  </a:lnTo>
                  <a:lnTo>
                    <a:pt x="333" y="95"/>
                  </a:lnTo>
                  <a:lnTo>
                    <a:pt x="331" y="95"/>
                  </a:lnTo>
                  <a:lnTo>
                    <a:pt x="331" y="97"/>
                  </a:lnTo>
                  <a:lnTo>
                    <a:pt x="329" y="97"/>
                  </a:lnTo>
                  <a:lnTo>
                    <a:pt x="329" y="99"/>
                  </a:lnTo>
                  <a:lnTo>
                    <a:pt x="326" y="102"/>
                  </a:lnTo>
                  <a:lnTo>
                    <a:pt x="324" y="104"/>
                  </a:lnTo>
                  <a:lnTo>
                    <a:pt x="324" y="107"/>
                  </a:lnTo>
                  <a:lnTo>
                    <a:pt x="324" y="107"/>
                  </a:lnTo>
                  <a:lnTo>
                    <a:pt x="324" y="111"/>
                  </a:lnTo>
                  <a:lnTo>
                    <a:pt x="322" y="111"/>
                  </a:lnTo>
                  <a:lnTo>
                    <a:pt x="319" y="114"/>
                  </a:lnTo>
                  <a:lnTo>
                    <a:pt x="319" y="111"/>
                  </a:lnTo>
                  <a:lnTo>
                    <a:pt x="319" y="111"/>
                  </a:lnTo>
                  <a:lnTo>
                    <a:pt x="319" y="111"/>
                  </a:lnTo>
                  <a:lnTo>
                    <a:pt x="319" y="111"/>
                  </a:lnTo>
                  <a:lnTo>
                    <a:pt x="315" y="111"/>
                  </a:lnTo>
                  <a:lnTo>
                    <a:pt x="312" y="116"/>
                  </a:lnTo>
                  <a:lnTo>
                    <a:pt x="312" y="116"/>
                  </a:lnTo>
                  <a:lnTo>
                    <a:pt x="310" y="118"/>
                  </a:lnTo>
                  <a:lnTo>
                    <a:pt x="307" y="121"/>
                  </a:lnTo>
                  <a:lnTo>
                    <a:pt x="310" y="121"/>
                  </a:lnTo>
                  <a:lnTo>
                    <a:pt x="303" y="125"/>
                  </a:lnTo>
                  <a:lnTo>
                    <a:pt x="300" y="130"/>
                  </a:lnTo>
                  <a:lnTo>
                    <a:pt x="298" y="133"/>
                  </a:lnTo>
                  <a:lnTo>
                    <a:pt x="298" y="137"/>
                  </a:lnTo>
                  <a:lnTo>
                    <a:pt x="293" y="142"/>
                  </a:lnTo>
                  <a:lnTo>
                    <a:pt x="289" y="147"/>
                  </a:lnTo>
                  <a:lnTo>
                    <a:pt x="289" y="149"/>
                  </a:lnTo>
                  <a:lnTo>
                    <a:pt x="284" y="154"/>
                  </a:lnTo>
                  <a:lnTo>
                    <a:pt x="281" y="161"/>
                  </a:lnTo>
                  <a:lnTo>
                    <a:pt x="279" y="161"/>
                  </a:lnTo>
                  <a:lnTo>
                    <a:pt x="279" y="163"/>
                  </a:lnTo>
                  <a:lnTo>
                    <a:pt x="277" y="166"/>
                  </a:lnTo>
                  <a:lnTo>
                    <a:pt x="277" y="166"/>
                  </a:lnTo>
                  <a:lnTo>
                    <a:pt x="274" y="166"/>
                  </a:lnTo>
                  <a:lnTo>
                    <a:pt x="270" y="170"/>
                  </a:lnTo>
                  <a:lnTo>
                    <a:pt x="270" y="173"/>
                  </a:lnTo>
                  <a:lnTo>
                    <a:pt x="267" y="175"/>
                  </a:lnTo>
                  <a:lnTo>
                    <a:pt x="267" y="175"/>
                  </a:lnTo>
                  <a:lnTo>
                    <a:pt x="267" y="175"/>
                  </a:lnTo>
                  <a:lnTo>
                    <a:pt x="265" y="175"/>
                  </a:lnTo>
                  <a:lnTo>
                    <a:pt x="263" y="177"/>
                  </a:lnTo>
                  <a:lnTo>
                    <a:pt x="260" y="180"/>
                  </a:lnTo>
                  <a:lnTo>
                    <a:pt x="258" y="182"/>
                  </a:lnTo>
                  <a:lnTo>
                    <a:pt x="255" y="187"/>
                  </a:lnTo>
                  <a:lnTo>
                    <a:pt x="251" y="189"/>
                  </a:lnTo>
                  <a:lnTo>
                    <a:pt x="248" y="194"/>
                  </a:lnTo>
                  <a:lnTo>
                    <a:pt x="246" y="194"/>
                  </a:lnTo>
                  <a:lnTo>
                    <a:pt x="246" y="196"/>
                  </a:lnTo>
                  <a:lnTo>
                    <a:pt x="246" y="199"/>
                  </a:lnTo>
                  <a:lnTo>
                    <a:pt x="248" y="199"/>
                  </a:lnTo>
                  <a:lnTo>
                    <a:pt x="248" y="201"/>
                  </a:lnTo>
                  <a:lnTo>
                    <a:pt x="246" y="201"/>
                  </a:lnTo>
                  <a:lnTo>
                    <a:pt x="246" y="201"/>
                  </a:lnTo>
                  <a:lnTo>
                    <a:pt x="241" y="206"/>
                  </a:lnTo>
                  <a:lnTo>
                    <a:pt x="237" y="218"/>
                  </a:lnTo>
                  <a:lnTo>
                    <a:pt x="237" y="218"/>
                  </a:lnTo>
                  <a:lnTo>
                    <a:pt x="237" y="220"/>
                  </a:lnTo>
                  <a:lnTo>
                    <a:pt x="234" y="218"/>
                  </a:lnTo>
                  <a:lnTo>
                    <a:pt x="234" y="218"/>
                  </a:lnTo>
                  <a:lnTo>
                    <a:pt x="232" y="213"/>
                  </a:lnTo>
                  <a:lnTo>
                    <a:pt x="229" y="208"/>
                  </a:lnTo>
                  <a:lnTo>
                    <a:pt x="229" y="208"/>
                  </a:lnTo>
                  <a:lnTo>
                    <a:pt x="227" y="208"/>
                  </a:lnTo>
                  <a:lnTo>
                    <a:pt x="227" y="206"/>
                  </a:lnTo>
                  <a:lnTo>
                    <a:pt x="222" y="208"/>
                  </a:lnTo>
                  <a:lnTo>
                    <a:pt x="222" y="208"/>
                  </a:lnTo>
                  <a:lnTo>
                    <a:pt x="222" y="208"/>
                  </a:lnTo>
                  <a:lnTo>
                    <a:pt x="220" y="211"/>
                  </a:lnTo>
                  <a:lnTo>
                    <a:pt x="220" y="211"/>
                  </a:lnTo>
                  <a:lnTo>
                    <a:pt x="220" y="208"/>
                  </a:lnTo>
                  <a:lnTo>
                    <a:pt x="220" y="208"/>
                  </a:lnTo>
                  <a:lnTo>
                    <a:pt x="215" y="208"/>
                  </a:lnTo>
                  <a:lnTo>
                    <a:pt x="215" y="211"/>
                  </a:lnTo>
                  <a:lnTo>
                    <a:pt x="213" y="208"/>
                  </a:lnTo>
                  <a:lnTo>
                    <a:pt x="213" y="206"/>
                  </a:lnTo>
                  <a:lnTo>
                    <a:pt x="213" y="201"/>
                  </a:lnTo>
                  <a:lnTo>
                    <a:pt x="213" y="196"/>
                  </a:lnTo>
                  <a:lnTo>
                    <a:pt x="213" y="196"/>
                  </a:lnTo>
                  <a:lnTo>
                    <a:pt x="211" y="194"/>
                  </a:lnTo>
                  <a:lnTo>
                    <a:pt x="211" y="192"/>
                  </a:lnTo>
                  <a:lnTo>
                    <a:pt x="206" y="189"/>
                  </a:lnTo>
                  <a:lnTo>
                    <a:pt x="206" y="189"/>
                  </a:lnTo>
                  <a:lnTo>
                    <a:pt x="206" y="187"/>
                  </a:lnTo>
                  <a:lnTo>
                    <a:pt x="206" y="187"/>
                  </a:lnTo>
                  <a:lnTo>
                    <a:pt x="203" y="187"/>
                  </a:lnTo>
                  <a:lnTo>
                    <a:pt x="203" y="187"/>
                  </a:lnTo>
                  <a:lnTo>
                    <a:pt x="201" y="189"/>
                  </a:lnTo>
                  <a:lnTo>
                    <a:pt x="199" y="189"/>
                  </a:lnTo>
                  <a:lnTo>
                    <a:pt x="199" y="189"/>
                  </a:lnTo>
                  <a:lnTo>
                    <a:pt x="196" y="189"/>
                  </a:lnTo>
                  <a:lnTo>
                    <a:pt x="196" y="189"/>
                  </a:lnTo>
                  <a:lnTo>
                    <a:pt x="194" y="189"/>
                  </a:lnTo>
                  <a:lnTo>
                    <a:pt x="194" y="189"/>
                  </a:lnTo>
                  <a:lnTo>
                    <a:pt x="192" y="187"/>
                  </a:lnTo>
                  <a:lnTo>
                    <a:pt x="189" y="187"/>
                  </a:lnTo>
                  <a:lnTo>
                    <a:pt x="189" y="187"/>
                  </a:lnTo>
                  <a:lnTo>
                    <a:pt x="189" y="185"/>
                  </a:lnTo>
                  <a:lnTo>
                    <a:pt x="189" y="185"/>
                  </a:lnTo>
                  <a:lnTo>
                    <a:pt x="187" y="185"/>
                  </a:lnTo>
                  <a:lnTo>
                    <a:pt x="187" y="185"/>
                  </a:lnTo>
                  <a:lnTo>
                    <a:pt x="182" y="182"/>
                  </a:lnTo>
                  <a:lnTo>
                    <a:pt x="182" y="182"/>
                  </a:lnTo>
                  <a:lnTo>
                    <a:pt x="177" y="180"/>
                  </a:lnTo>
                  <a:lnTo>
                    <a:pt x="177" y="180"/>
                  </a:lnTo>
                  <a:lnTo>
                    <a:pt x="177" y="177"/>
                  </a:lnTo>
                  <a:lnTo>
                    <a:pt x="177" y="177"/>
                  </a:lnTo>
                  <a:lnTo>
                    <a:pt x="177" y="177"/>
                  </a:lnTo>
                  <a:lnTo>
                    <a:pt x="177" y="175"/>
                  </a:lnTo>
                  <a:lnTo>
                    <a:pt x="175" y="175"/>
                  </a:lnTo>
                  <a:lnTo>
                    <a:pt x="173" y="173"/>
                  </a:lnTo>
                  <a:lnTo>
                    <a:pt x="168" y="173"/>
                  </a:lnTo>
                  <a:lnTo>
                    <a:pt x="168" y="170"/>
                  </a:lnTo>
                  <a:lnTo>
                    <a:pt x="166" y="168"/>
                  </a:lnTo>
                  <a:lnTo>
                    <a:pt x="166" y="166"/>
                  </a:lnTo>
                  <a:lnTo>
                    <a:pt x="163" y="163"/>
                  </a:lnTo>
                  <a:lnTo>
                    <a:pt x="163" y="163"/>
                  </a:lnTo>
                  <a:lnTo>
                    <a:pt x="163" y="161"/>
                  </a:lnTo>
                  <a:lnTo>
                    <a:pt x="163" y="161"/>
                  </a:lnTo>
                  <a:lnTo>
                    <a:pt x="163" y="161"/>
                  </a:lnTo>
                  <a:lnTo>
                    <a:pt x="163" y="159"/>
                  </a:lnTo>
                  <a:lnTo>
                    <a:pt x="163" y="156"/>
                  </a:lnTo>
                  <a:lnTo>
                    <a:pt x="163" y="154"/>
                  </a:lnTo>
                  <a:lnTo>
                    <a:pt x="163" y="154"/>
                  </a:lnTo>
                  <a:lnTo>
                    <a:pt x="163" y="151"/>
                  </a:lnTo>
                  <a:lnTo>
                    <a:pt x="159" y="151"/>
                  </a:lnTo>
                  <a:lnTo>
                    <a:pt x="159" y="151"/>
                  </a:lnTo>
                  <a:lnTo>
                    <a:pt x="156" y="151"/>
                  </a:lnTo>
                  <a:lnTo>
                    <a:pt x="154" y="151"/>
                  </a:lnTo>
                  <a:lnTo>
                    <a:pt x="154" y="151"/>
                  </a:lnTo>
                  <a:lnTo>
                    <a:pt x="152" y="151"/>
                  </a:lnTo>
                  <a:lnTo>
                    <a:pt x="149" y="149"/>
                  </a:lnTo>
                  <a:lnTo>
                    <a:pt x="142" y="142"/>
                  </a:lnTo>
                  <a:lnTo>
                    <a:pt x="140" y="142"/>
                  </a:lnTo>
                  <a:lnTo>
                    <a:pt x="133" y="140"/>
                  </a:lnTo>
                  <a:lnTo>
                    <a:pt x="130" y="140"/>
                  </a:lnTo>
                  <a:lnTo>
                    <a:pt x="128" y="140"/>
                  </a:lnTo>
                  <a:lnTo>
                    <a:pt x="128" y="140"/>
                  </a:lnTo>
                  <a:lnTo>
                    <a:pt x="128" y="140"/>
                  </a:lnTo>
                  <a:lnTo>
                    <a:pt x="126" y="137"/>
                  </a:lnTo>
                  <a:lnTo>
                    <a:pt x="123" y="135"/>
                  </a:lnTo>
                  <a:lnTo>
                    <a:pt x="121" y="133"/>
                  </a:lnTo>
                  <a:lnTo>
                    <a:pt x="121" y="130"/>
                  </a:lnTo>
                  <a:lnTo>
                    <a:pt x="118" y="130"/>
                  </a:lnTo>
                  <a:lnTo>
                    <a:pt x="114" y="128"/>
                  </a:lnTo>
                  <a:lnTo>
                    <a:pt x="114" y="125"/>
                  </a:lnTo>
                  <a:lnTo>
                    <a:pt x="111" y="125"/>
                  </a:lnTo>
                  <a:lnTo>
                    <a:pt x="111" y="125"/>
                  </a:lnTo>
                  <a:lnTo>
                    <a:pt x="109" y="125"/>
                  </a:lnTo>
                  <a:lnTo>
                    <a:pt x="104" y="123"/>
                  </a:lnTo>
                  <a:lnTo>
                    <a:pt x="104" y="123"/>
                  </a:lnTo>
                  <a:lnTo>
                    <a:pt x="100" y="121"/>
                  </a:lnTo>
                  <a:lnTo>
                    <a:pt x="88" y="121"/>
                  </a:lnTo>
                  <a:lnTo>
                    <a:pt x="85" y="121"/>
                  </a:lnTo>
                  <a:lnTo>
                    <a:pt x="83" y="118"/>
                  </a:lnTo>
                  <a:lnTo>
                    <a:pt x="74" y="114"/>
                  </a:lnTo>
                  <a:lnTo>
                    <a:pt x="74" y="111"/>
                  </a:lnTo>
                  <a:lnTo>
                    <a:pt x="74" y="111"/>
                  </a:lnTo>
                  <a:lnTo>
                    <a:pt x="74" y="109"/>
                  </a:lnTo>
                  <a:lnTo>
                    <a:pt x="71" y="107"/>
                  </a:lnTo>
                  <a:lnTo>
                    <a:pt x="66" y="107"/>
                  </a:lnTo>
                  <a:lnTo>
                    <a:pt x="64" y="104"/>
                  </a:lnTo>
                  <a:lnTo>
                    <a:pt x="62" y="104"/>
                  </a:lnTo>
                  <a:lnTo>
                    <a:pt x="59" y="107"/>
                  </a:lnTo>
                  <a:lnTo>
                    <a:pt x="57" y="107"/>
                  </a:lnTo>
                  <a:lnTo>
                    <a:pt x="57" y="104"/>
                  </a:lnTo>
                  <a:lnTo>
                    <a:pt x="55" y="102"/>
                  </a:lnTo>
                  <a:lnTo>
                    <a:pt x="55" y="102"/>
                  </a:lnTo>
                  <a:lnTo>
                    <a:pt x="55" y="102"/>
                  </a:lnTo>
                  <a:lnTo>
                    <a:pt x="52" y="102"/>
                  </a:lnTo>
                  <a:lnTo>
                    <a:pt x="52" y="99"/>
                  </a:lnTo>
                  <a:lnTo>
                    <a:pt x="50" y="99"/>
                  </a:lnTo>
                  <a:lnTo>
                    <a:pt x="45" y="95"/>
                  </a:lnTo>
                  <a:lnTo>
                    <a:pt x="45" y="95"/>
                  </a:lnTo>
                  <a:lnTo>
                    <a:pt x="45" y="95"/>
                  </a:lnTo>
                  <a:lnTo>
                    <a:pt x="40" y="95"/>
                  </a:lnTo>
                  <a:lnTo>
                    <a:pt x="36" y="92"/>
                  </a:lnTo>
                  <a:lnTo>
                    <a:pt x="31" y="92"/>
                  </a:lnTo>
                  <a:lnTo>
                    <a:pt x="31" y="90"/>
                  </a:lnTo>
                  <a:lnTo>
                    <a:pt x="31" y="88"/>
                  </a:lnTo>
                  <a:lnTo>
                    <a:pt x="29" y="85"/>
                  </a:lnTo>
                  <a:lnTo>
                    <a:pt x="29" y="85"/>
                  </a:lnTo>
                  <a:lnTo>
                    <a:pt x="26" y="85"/>
                  </a:lnTo>
                  <a:lnTo>
                    <a:pt x="26" y="85"/>
                  </a:lnTo>
                  <a:lnTo>
                    <a:pt x="24" y="83"/>
                  </a:lnTo>
                  <a:lnTo>
                    <a:pt x="22" y="83"/>
                  </a:lnTo>
                  <a:lnTo>
                    <a:pt x="22" y="83"/>
                  </a:lnTo>
                  <a:lnTo>
                    <a:pt x="22" y="81"/>
                  </a:lnTo>
                  <a:lnTo>
                    <a:pt x="22" y="81"/>
                  </a:lnTo>
                  <a:lnTo>
                    <a:pt x="17" y="81"/>
                  </a:lnTo>
                  <a:lnTo>
                    <a:pt x="17" y="81"/>
                  </a:lnTo>
                  <a:lnTo>
                    <a:pt x="17" y="81"/>
                  </a:lnTo>
                  <a:lnTo>
                    <a:pt x="12" y="81"/>
                  </a:lnTo>
                  <a:lnTo>
                    <a:pt x="12" y="81"/>
                  </a:lnTo>
                  <a:lnTo>
                    <a:pt x="10" y="78"/>
                  </a:lnTo>
                  <a:lnTo>
                    <a:pt x="7" y="78"/>
                  </a:lnTo>
                  <a:lnTo>
                    <a:pt x="5" y="78"/>
                  </a:lnTo>
                  <a:lnTo>
                    <a:pt x="5" y="76"/>
                  </a:lnTo>
                  <a:lnTo>
                    <a:pt x="7" y="76"/>
                  </a:lnTo>
                  <a:lnTo>
                    <a:pt x="7" y="74"/>
                  </a:lnTo>
                  <a:lnTo>
                    <a:pt x="5" y="71"/>
                  </a:lnTo>
                  <a:lnTo>
                    <a:pt x="5" y="69"/>
                  </a:lnTo>
                  <a:lnTo>
                    <a:pt x="0" y="66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 cap="flat">
              <a:solidFill>
                <a:schemeClr val="bg2">
                  <a:lumMod val="7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>
                <a:solidFill>
                  <a:srgbClr val="000000"/>
                </a:solidFill>
              </a:endParaRPr>
            </a:p>
          </p:txBody>
        </p:sp>
        <p:sp>
          <p:nvSpPr>
            <p:cNvPr id="92" name="Freeform 15"/>
            <p:cNvSpPr>
              <a:spLocks/>
            </p:cNvSpPr>
            <p:nvPr/>
          </p:nvSpPr>
          <p:spPr bwMode="gray">
            <a:xfrm>
              <a:off x="2990582" y="3818944"/>
              <a:ext cx="951069" cy="1123114"/>
            </a:xfrm>
            <a:custGeom>
              <a:avLst/>
              <a:gdLst/>
              <a:ahLst/>
              <a:cxnLst>
                <a:cxn ang="0">
                  <a:pos x="64" y="272"/>
                </a:cxn>
                <a:cxn ang="0">
                  <a:pos x="130" y="206"/>
                </a:cxn>
                <a:cxn ang="0">
                  <a:pos x="187" y="300"/>
                </a:cxn>
                <a:cxn ang="0">
                  <a:pos x="258" y="274"/>
                </a:cxn>
                <a:cxn ang="0">
                  <a:pos x="338" y="246"/>
                </a:cxn>
                <a:cxn ang="0">
                  <a:pos x="369" y="166"/>
                </a:cxn>
                <a:cxn ang="0">
                  <a:pos x="423" y="116"/>
                </a:cxn>
                <a:cxn ang="0">
                  <a:pos x="482" y="142"/>
                </a:cxn>
                <a:cxn ang="0">
                  <a:pos x="560" y="100"/>
                </a:cxn>
                <a:cxn ang="0">
                  <a:pos x="645" y="52"/>
                </a:cxn>
                <a:cxn ang="0">
                  <a:pos x="704" y="34"/>
                </a:cxn>
                <a:cxn ang="0">
                  <a:pos x="754" y="81"/>
                </a:cxn>
                <a:cxn ang="0">
                  <a:pos x="777" y="114"/>
                </a:cxn>
                <a:cxn ang="0">
                  <a:pos x="853" y="38"/>
                </a:cxn>
                <a:cxn ang="0">
                  <a:pos x="936" y="12"/>
                </a:cxn>
                <a:cxn ang="0">
                  <a:pos x="1016" y="48"/>
                </a:cxn>
                <a:cxn ang="0">
                  <a:pos x="1068" y="116"/>
                </a:cxn>
                <a:cxn ang="0">
                  <a:pos x="1092" y="163"/>
                </a:cxn>
                <a:cxn ang="0">
                  <a:pos x="1113" y="244"/>
                </a:cxn>
                <a:cxn ang="0">
                  <a:pos x="1066" y="293"/>
                </a:cxn>
                <a:cxn ang="0">
                  <a:pos x="1085" y="343"/>
                </a:cxn>
                <a:cxn ang="0">
                  <a:pos x="1101" y="378"/>
                </a:cxn>
                <a:cxn ang="0">
                  <a:pos x="1134" y="393"/>
                </a:cxn>
                <a:cxn ang="0">
                  <a:pos x="1155" y="419"/>
                </a:cxn>
                <a:cxn ang="0">
                  <a:pos x="1035" y="586"/>
                </a:cxn>
                <a:cxn ang="0">
                  <a:pos x="978" y="634"/>
                </a:cxn>
                <a:cxn ang="0">
                  <a:pos x="976" y="700"/>
                </a:cxn>
                <a:cxn ang="0">
                  <a:pos x="966" y="839"/>
                </a:cxn>
                <a:cxn ang="0">
                  <a:pos x="966" y="1011"/>
                </a:cxn>
                <a:cxn ang="0">
                  <a:pos x="943" y="1123"/>
                </a:cxn>
                <a:cxn ang="0">
                  <a:pos x="898" y="1252"/>
                </a:cxn>
                <a:cxn ang="0">
                  <a:pos x="799" y="1191"/>
                </a:cxn>
                <a:cxn ang="0">
                  <a:pos x="768" y="1144"/>
                </a:cxn>
                <a:cxn ang="0">
                  <a:pos x="806" y="1089"/>
                </a:cxn>
                <a:cxn ang="0">
                  <a:pos x="820" y="1045"/>
                </a:cxn>
                <a:cxn ang="0">
                  <a:pos x="855" y="995"/>
                </a:cxn>
                <a:cxn ang="0">
                  <a:pos x="832" y="967"/>
                </a:cxn>
                <a:cxn ang="0">
                  <a:pos x="799" y="952"/>
                </a:cxn>
                <a:cxn ang="0">
                  <a:pos x="747" y="936"/>
                </a:cxn>
                <a:cxn ang="0">
                  <a:pos x="678" y="943"/>
                </a:cxn>
                <a:cxn ang="0">
                  <a:pos x="555" y="860"/>
                </a:cxn>
                <a:cxn ang="0">
                  <a:pos x="492" y="827"/>
                </a:cxn>
                <a:cxn ang="0">
                  <a:pos x="435" y="801"/>
                </a:cxn>
                <a:cxn ang="0">
                  <a:pos x="381" y="813"/>
                </a:cxn>
                <a:cxn ang="0">
                  <a:pos x="357" y="763"/>
                </a:cxn>
                <a:cxn ang="0">
                  <a:pos x="329" y="752"/>
                </a:cxn>
                <a:cxn ang="0">
                  <a:pos x="296" y="749"/>
                </a:cxn>
                <a:cxn ang="0">
                  <a:pos x="253" y="766"/>
                </a:cxn>
                <a:cxn ang="0">
                  <a:pos x="225" y="787"/>
                </a:cxn>
                <a:cxn ang="0">
                  <a:pos x="182" y="813"/>
                </a:cxn>
                <a:cxn ang="0">
                  <a:pos x="142" y="839"/>
                </a:cxn>
                <a:cxn ang="0">
                  <a:pos x="102" y="860"/>
                </a:cxn>
                <a:cxn ang="0">
                  <a:pos x="74" y="860"/>
                </a:cxn>
                <a:cxn ang="0">
                  <a:pos x="81" y="797"/>
                </a:cxn>
                <a:cxn ang="0">
                  <a:pos x="83" y="752"/>
                </a:cxn>
                <a:cxn ang="0">
                  <a:pos x="50" y="695"/>
                </a:cxn>
                <a:cxn ang="0">
                  <a:pos x="52" y="636"/>
                </a:cxn>
                <a:cxn ang="0">
                  <a:pos x="38" y="596"/>
                </a:cxn>
                <a:cxn ang="0">
                  <a:pos x="45" y="551"/>
                </a:cxn>
                <a:cxn ang="0">
                  <a:pos x="36" y="497"/>
                </a:cxn>
                <a:cxn ang="0">
                  <a:pos x="52" y="445"/>
                </a:cxn>
                <a:cxn ang="0">
                  <a:pos x="48" y="404"/>
                </a:cxn>
                <a:cxn ang="0">
                  <a:pos x="10" y="371"/>
                </a:cxn>
              </a:cxnLst>
              <a:rect l="0" t="0" r="r" b="b"/>
              <a:pathLst>
                <a:path w="1177" h="1283">
                  <a:moveTo>
                    <a:pt x="3" y="362"/>
                  </a:moveTo>
                  <a:lnTo>
                    <a:pt x="0" y="362"/>
                  </a:lnTo>
                  <a:lnTo>
                    <a:pt x="0" y="360"/>
                  </a:lnTo>
                  <a:lnTo>
                    <a:pt x="3" y="360"/>
                  </a:lnTo>
                  <a:lnTo>
                    <a:pt x="3" y="357"/>
                  </a:lnTo>
                  <a:lnTo>
                    <a:pt x="3" y="355"/>
                  </a:lnTo>
                  <a:lnTo>
                    <a:pt x="5" y="355"/>
                  </a:lnTo>
                  <a:lnTo>
                    <a:pt x="17" y="350"/>
                  </a:lnTo>
                  <a:lnTo>
                    <a:pt x="17" y="350"/>
                  </a:lnTo>
                  <a:lnTo>
                    <a:pt x="19" y="348"/>
                  </a:lnTo>
                  <a:lnTo>
                    <a:pt x="22" y="343"/>
                  </a:lnTo>
                  <a:lnTo>
                    <a:pt x="24" y="334"/>
                  </a:lnTo>
                  <a:lnTo>
                    <a:pt x="26" y="326"/>
                  </a:lnTo>
                  <a:lnTo>
                    <a:pt x="29" y="324"/>
                  </a:lnTo>
                  <a:lnTo>
                    <a:pt x="29" y="322"/>
                  </a:lnTo>
                  <a:lnTo>
                    <a:pt x="29" y="322"/>
                  </a:lnTo>
                  <a:lnTo>
                    <a:pt x="31" y="319"/>
                  </a:lnTo>
                  <a:lnTo>
                    <a:pt x="33" y="319"/>
                  </a:lnTo>
                  <a:lnTo>
                    <a:pt x="33" y="317"/>
                  </a:lnTo>
                  <a:lnTo>
                    <a:pt x="38" y="315"/>
                  </a:lnTo>
                  <a:lnTo>
                    <a:pt x="40" y="312"/>
                  </a:lnTo>
                  <a:lnTo>
                    <a:pt x="43" y="310"/>
                  </a:lnTo>
                  <a:lnTo>
                    <a:pt x="43" y="310"/>
                  </a:lnTo>
                  <a:lnTo>
                    <a:pt x="43" y="305"/>
                  </a:lnTo>
                  <a:lnTo>
                    <a:pt x="43" y="305"/>
                  </a:lnTo>
                  <a:lnTo>
                    <a:pt x="43" y="303"/>
                  </a:lnTo>
                  <a:lnTo>
                    <a:pt x="43" y="300"/>
                  </a:lnTo>
                  <a:lnTo>
                    <a:pt x="45" y="300"/>
                  </a:lnTo>
                  <a:lnTo>
                    <a:pt x="48" y="298"/>
                  </a:lnTo>
                  <a:lnTo>
                    <a:pt x="50" y="298"/>
                  </a:lnTo>
                  <a:lnTo>
                    <a:pt x="50" y="296"/>
                  </a:lnTo>
                  <a:lnTo>
                    <a:pt x="50" y="291"/>
                  </a:lnTo>
                  <a:lnTo>
                    <a:pt x="48" y="291"/>
                  </a:lnTo>
                  <a:lnTo>
                    <a:pt x="48" y="291"/>
                  </a:lnTo>
                  <a:lnTo>
                    <a:pt x="52" y="289"/>
                  </a:lnTo>
                  <a:lnTo>
                    <a:pt x="55" y="286"/>
                  </a:lnTo>
                  <a:lnTo>
                    <a:pt x="55" y="282"/>
                  </a:lnTo>
                  <a:lnTo>
                    <a:pt x="55" y="282"/>
                  </a:lnTo>
                  <a:lnTo>
                    <a:pt x="55" y="282"/>
                  </a:lnTo>
                  <a:lnTo>
                    <a:pt x="52" y="279"/>
                  </a:lnTo>
                  <a:lnTo>
                    <a:pt x="52" y="277"/>
                  </a:lnTo>
                  <a:lnTo>
                    <a:pt x="52" y="277"/>
                  </a:lnTo>
                  <a:lnTo>
                    <a:pt x="55" y="274"/>
                  </a:lnTo>
                  <a:lnTo>
                    <a:pt x="55" y="274"/>
                  </a:lnTo>
                  <a:lnTo>
                    <a:pt x="55" y="274"/>
                  </a:lnTo>
                  <a:lnTo>
                    <a:pt x="59" y="272"/>
                  </a:lnTo>
                  <a:lnTo>
                    <a:pt x="59" y="274"/>
                  </a:lnTo>
                  <a:lnTo>
                    <a:pt x="62" y="272"/>
                  </a:lnTo>
                  <a:lnTo>
                    <a:pt x="64" y="272"/>
                  </a:lnTo>
                  <a:lnTo>
                    <a:pt x="66" y="270"/>
                  </a:lnTo>
                  <a:lnTo>
                    <a:pt x="69" y="272"/>
                  </a:lnTo>
                  <a:lnTo>
                    <a:pt x="71" y="270"/>
                  </a:lnTo>
                  <a:lnTo>
                    <a:pt x="71" y="270"/>
                  </a:lnTo>
                  <a:lnTo>
                    <a:pt x="71" y="267"/>
                  </a:lnTo>
                  <a:lnTo>
                    <a:pt x="76" y="265"/>
                  </a:lnTo>
                  <a:lnTo>
                    <a:pt x="76" y="263"/>
                  </a:lnTo>
                  <a:lnTo>
                    <a:pt x="78" y="263"/>
                  </a:lnTo>
                  <a:lnTo>
                    <a:pt x="81" y="263"/>
                  </a:lnTo>
                  <a:lnTo>
                    <a:pt x="81" y="260"/>
                  </a:lnTo>
                  <a:lnTo>
                    <a:pt x="83" y="260"/>
                  </a:lnTo>
                  <a:lnTo>
                    <a:pt x="83" y="258"/>
                  </a:lnTo>
                  <a:lnTo>
                    <a:pt x="85" y="258"/>
                  </a:lnTo>
                  <a:lnTo>
                    <a:pt x="90" y="253"/>
                  </a:lnTo>
                  <a:lnTo>
                    <a:pt x="92" y="253"/>
                  </a:lnTo>
                  <a:lnTo>
                    <a:pt x="95" y="251"/>
                  </a:lnTo>
                  <a:lnTo>
                    <a:pt x="97" y="249"/>
                  </a:lnTo>
                  <a:lnTo>
                    <a:pt x="100" y="249"/>
                  </a:lnTo>
                  <a:lnTo>
                    <a:pt x="102" y="249"/>
                  </a:lnTo>
                  <a:lnTo>
                    <a:pt x="102" y="246"/>
                  </a:lnTo>
                  <a:lnTo>
                    <a:pt x="100" y="244"/>
                  </a:lnTo>
                  <a:lnTo>
                    <a:pt x="102" y="241"/>
                  </a:lnTo>
                  <a:lnTo>
                    <a:pt x="102" y="241"/>
                  </a:lnTo>
                  <a:lnTo>
                    <a:pt x="102" y="239"/>
                  </a:lnTo>
                  <a:lnTo>
                    <a:pt x="102" y="239"/>
                  </a:lnTo>
                  <a:lnTo>
                    <a:pt x="104" y="239"/>
                  </a:lnTo>
                  <a:lnTo>
                    <a:pt x="107" y="237"/>
                  </a:lnTo>
                  <a:lnTo>
                    <a:pt x="111" y="237"/>
                  </a:lnTo>
                  <a:lnTo>
                    <a:pt x="114" y="237"/>
                  </a:lnTo>
                  <a:lnTo>
                    <a:pt x="114" y="234"/>
                  </a:lnTo>
                  <a:lnTo>
                    <a:pt x="116" y="230"/>
                  </a:lnTo>
                  <a:lnTo>
                    <a:pt x="116" y="227"/>
                  </a:lnTo>
                  <a:lnTo>
                    <a:pt x="118" y="227"/>
                  </a:lnTo>
                  <a:lnTo>
                    <a:pt x="118" y="225"/>
                  </a:lnTo>
                  <a:lnTo>
                    <a:pt x="118" y="223"/>
                  </a:lnTo>
                  <a:lnTo>
                    <a:pt x="118" y="220"/>
                  </a:lnTo>
                  <a:lnTo>
                    <a:pt x="116" y="215"/>
                  </a:lnTo>
                  <a:lnTo>
                    <a:pt x="118" y="215"/>
                  </a:lnTo>
                  <a:lnTo>
                    <a:pt x="118" y="213"/>
                  </a:lnTo>
                  <a:lnTo>
                    <a:pt x="116" y="213"/>
                  </a:lnTo>
                  <a:lnTo>
                    <a:pt x="114" y="213"/>
                  </a:lnTo>
                  <a:lnTo>
                    <a:pt x="116" y="213"/>
                  </a:lnTo>
                  <a:lnTo>
                    <a:pt x="116" y="213"/>
                  </a:lnTo>
                  <a:lnTo>
                    <a:pt x="118" y="213"/>
                  </a:lnTo>
                  <a:lnTo>
                    <a:pt x="121" y="211"/>
                  </a:lnTo>
                  <a:lnTo>
                    <a:pt x="123" y="208"/>
                  </a:lnTo>
                  <a:lnTo>
                    <a:pt x="125" y="208"/>
                  </a:lnTo>
                  <a:lnTo>
                    <a:pt x="130" y="206"/>
                  </a:lnTo>
                  <a:lnTo>
                    <a:pt x="130" y="206"/>
                  </a:lnTo>
                  <a:lnTo>
                    <a:pt x="133" y="208"/>
                  </a:lnTo>
                  <a:lnTo>
                    <a:pt x="135" y="211"/>
                  </a:lnTo>
                  <a:lnTo>
                    <a:pt x="135" y="213"/>
                  </a:lnTo>
                  <a:lnTo>
                    <a:pt x="135" y="215"/>
                  </a:lnTo>
                  <a:lnTo>
                    <a:pt x="135" y="218"/>
                  </a:lnTo>
                  <a:lnTo>
                    <a:pt x="135" y="220"/>
                  </a:lnTo>
                  <a:lnTo>
                    <a:pt x="140" y="223"/>
                  </a:lnTo>
                  <a:lnTo>
                    <a:pt x="140" y="225"/>
                  </a:lnTo>
                  <a:lnTo>
                    <a:pt x="140" y="227"/>
                  </a:lnTo>
                  <a:lnTo>
                    <a:pt x="142" y="230"/>
                  </a:lnTo>
                  <a:lnTo>
                    <a:pt x="144" y="232"/>
                  </a:lnTo>
                  <a:lnTo>
                    <a:pt x="144" y="232"/>
                  </a:lnTo>
                  <a:lnTo>
                    <a:pt x="147" y="232"/>
                  </a:lnTo>
                  <a:lnTo>
                    <a:pt x="147" y="237"/>
                  </a:lnTo>
                  <a:lnTo>
                    <a:pt x="151" y="239"/>
                  </a:lnTo>
                  <a:lnTo>
                    <a:pt x="151" y="241"/>
                  </a:lnTo>
                  <a:lnTo>
                    <a:pt x="151" y="244"/>
                  </a:lnTo>
                  <a:lnTo>
                    <a:pt x="151" y="246"/>
                  </a:lnTo>
                  <a:lnTo>
                    <a:pt x="156" y="251"/>
                  </a:lnTo>
                  <a:lnTo>
                    <a:pt x="156" y="251"/>
                  </a:lnTo>
                  <a:lnTo>
                    <a:pt x="154" y="253"/>
                  </a:lnTo>
                  <a:lnTo>
                    <a:pt x="151" y="256"/>
                  </a:lnTo>
                  <a:lnTo>
                    <a:pt x="149" y="258"/>
                  </a:lnTo>
                  <a:lnTo>
                    <a:pt x="151" y="260"/>
                  </a:lnTo>
                  <a:lnTo>
                    <a:pt x="151" y="263"/>
                  </a:lnTo>
                  <a:lnTo>
                    <a:pt x="149" y="265"/>
                  </a:lnTo>
                  <a:lnTo>
                    <a:pt x="151" y="267"/>
                  </a:lnTo>
                  <a:lnTo>
                    <a:pt x="151" y="272"/>
                  </a:lnTo>
                  <a:lnTo>
                    <a:pt x="151" y="274"/>
                  </a:lnTo>
                  <a:lnTo>
                    <a:pt x="151" y="274"/>
                  </a:lnTo>
                  <a:lnTo>
                    <a:pt x="154" y="274"/>
                  </a:lnTo>
                  <a:lnTo>
                    <a:pt x="154" y="274"/>
                  </a:lnTo>
                  <a:lnTo>
                    <a:pt x="156" y="277"/>
                  </a:lnTo>
                  <a:lnTo>
                    <a:pt x="156" y="277"/>
                  </a:lnTo>
                  <a:lnTo>
                    <a:pt x="159" y="279"/>
                  </a:lnTo>
                  <a:lnTo>
                    <a:pt x="159" y="279"/>
                  </a:lnTo>
                  <a:lnTo>
                    <a:pt x="159" y="279"/>
                  </a:lnTo>
                  <a:lnTo>
                    <a:pt x="161" y="289"/>
                  </a:lnTo>
                  <a:lnTo>
                    <a:pt x="166" y="291"/>
                  </a:lnTo>
                  <a:lnTo>
                    <a:pt x="170" y="291"/>
                  </a:lnTo>
                  <a:lnTo>
                    <a:pt x="173" y="293"/>
                  </a:lnTo>
                  <a:lnTo>
                    <a:pt x="173" y="293"/>
                  </a:lnTo>
                  <a:lnTo>
                    <a:pt x="173" y="298"/>
                  </a:lnTo>
                  <a:lnTo>
                    <a:pt x="175" y="298"/>
                  </a:lnTo>
                  <a:lnTo>
                    <a:pt x="177" y="298"/>
                  </a:lnTo>
                  <a:lnTo>
                    <a:pt x="180" y="300"/>
                  </a:lnTo>
                  <a:lnTo>
                    <a:pt x="180" y="300"/>
                  </a:lnTo>
                  <a:lnTo>
                    <a:pt x="180" y="300"/>
                  </a:lnTo>
                  <a:lnTo>
                    <a:pt x="187" y="300"/>
                  </a:lnTo>
                  <a:lnTo>
                    <a:pt x="189" y="300"/>
                  </a:lnTo>
                  <a:lnTo>
                    <a:pt x="192" y="300"/>
                  </a:lnTo>
                  <a:lnTo>
                    <a:pt x="192" y="303"/>
                  </a:lnTo>
                  <a:lnTo>
                    <a:pt x="196" y="300"/>
                  </a:lnTo>
                  <a:lnTo>
                    <a:pt x="196" y="300"/>
                  </a:lnTo>
                  <a:lnTo>
                    <a:pt x="199" y="303"/>
                  </a:lnTo>
                  <a:lnTo>
                    <a:pt x="199" y="303"/>
                  </a:lnTo>
                  <a:lnTo>
                    <a:pt x="201" y="305"/>
                  </a:lnTo>
                  <a:lnTo>
                    <a:pt x="201" y="305"/>
                  </a:lnTo>
                  <a:lnTo>
                    <a:pt x="203" y="308"/>
                  </a:lnTo>
                  <a:lnTo>
                    <a:pt x="206" y="308"/>
                  </a:lnTo>
                  <a:lnTo>
                    <a:pt x="206" y="308"/>
                  </a:lnTo>
                  <a:lnTo>
                    <a:pt x="208" y="308"/>
                  </a:lnTo>
                  <a:lnTo>
                    <a:pt x="211" y="308"/>
                  </a:lnTo>
                  <a:lnTo>
                    <a:pt x="211" y="310"/>
                  </a:lnTo>
                  <a:lnTo>
                    <a:pt x="215" y="315"/>
                  </a:lnTo>
                  <a:lnTo>
                    <a:pt x="218" y="310"/>
                  </a:lnTo>
                  <a:lnTo>
                    <a:pt x="218" y="310"/>
                  </a:lnTo>
                  <a:lnTo>
                    <a:pt x="220" y="310"/>
                  </a:lnTo>
                  <a:lnTo>
                    <a:pt x="220" y="310"/>
                  </a:lnTo>
                  <a:lnTo>
                    <a:pt x="225" y="308"/>
                  </a:lnTo>
                  <a:lnTo>
                    <a:pt x="225" y="308"/>
                  </a:lnTo>
                  <a:lnTo>
                    <a:pt x="225" y="310"/>
                  </a:lnTo>
                  <a:lnTo>
                    <a:pt x="229" y="308"/>
                  </a:lnTo>
                  <a:lnTo>
                    <a:pt x="229" y="305"/>
                  </a:lnTo>
                  <a:lnTo>
                    <a:pt x="229" y="305"/>
                  </a:lnTo>
                  <a:lnTo>
                    <a:pt x="229" y="303"/>
                  </a:lnTo>
                  <a:lnTo>
                    <a:pt x="234" y="298"/>
                  </a:lnTo>
                  <a:lnTo>
                    <a:pt x="234" y="298"/>
                  </a:lnTo>
                  <a:lnTo>
                    <a:pt x="237" y="298"/>
                  </a:lnTo>
                  <a:lnTo>
                    <a:pt x="237" y="296"/>
                  </a:lnTo>
                  <a:lnTo>
                    <a:pt x="237" y="293"/>
                  </a:lnTo>
                  <a:lnTo>
                    <a:pt x="239" y="293"/>
                  </a:lnTo>
                  <a:lnTo>
                    <a:pt x="241" y="291"/>
                  </a:lnTo>
                  <a:lnTo>
                    <a:pt x="244" y="291"/>
                  </a:lnTo>
                  <a:lnTo>
                    <a:pt x="246" y="291"/>
                  </a:lnTo>
                  <a:lnTo>
                    <a:pt x="248" y="291"/>
                  </a:lnTo>
                  <a:lnTo>
                    <a:pt x="248" y="291"/>
                  </a:lnTo>
                  <a:lnTo>
                    <a:pt x="248" y="289"/>
                  </a:lnTo>
                  <a:lnTo>
                    <a:pt x="248" y="282"/>
                  </a:lnTo>
                  <a:lnTo>
                    <a:pt x="248" y="282"/>
                  </a:lnTo>
                  <a:lnTo>
                    <a:pt x="248" y="282"/>
                  </a:lnTo>
                  <a:lnTo>
                    <a:pt x="248" y="282"/>
                  </a:lnTo>
                  <a:lnTo>
                    <a:pt x="251" y="279"/>
                  </a:lnTo>
                  <a:lnTo>
                    <a:pt x="253" y="279"/>
                  </a:lnTo>
                  <a:lnTo>
                    <a:pt x="253" y="279"/>
                  </a:lnTo>
                  <a:lnTo>
                    <a:pt x="255" y="279"/>
                  </a:lnTo>
                  <a:lnTo>
                    <a:pt x="255" y="279"/>
                  </a:lnTo>
                  <a:lnTo>
                    <a:pt x="258" y="274"/>
                  </a:lnTo>
                  <a:lnTo>
                    <a:pt x="260" y="274"/>
                  </a:lnTo>
                  <a:lnTo>
                    <a:pt x="263" y="274"/>
                  </a:lnTo>
                  <a:lnTo>
                    <a:pt x="267" y="277"/>
                  </a:lnTo>
                  <a:lnTo>
                    <a:pt x="267" y="277"/>
                  </a:lnTo>
                  <a:lnTo>
                    <a:pt x="270" y="277"/>
                  </a:lnTo>
                  <a:lnTo>
                    <a:pt x="270" y="277"/>
                  </a:lnTo>
                  <a:lnTo>
                    <a:pt x="272" y="274"/>
                  </a:lnTo>
                  <a:lnTo>
                    <a:pt x="274" y="274"/>
                  </a:lnTo>
                  <a:lnTo>
                    <a:pt x="274" y="272"/>
                  </a:lnTo>
                  <a:lnTo>
                    <a:pt x="274" y="272"/>
                  </a:lnTo>
                  <a:lnTo>
                    <a:pt x="277" y="272"/>
                  </a:lnTo>
                  <a:lnTo>
                    <a:pt x="279" y="272"/>
                  </a:lnTo>
                  <a:lnTo>
                    <a:pt x="281" y="272"/>
                  </a:lnTo>
                  <a:lnTo>
                    <a:pt x="284" y="270"/>
                  </a:lnTo>
                  <a:lnTo>
                    <a:pt x="288" y="265"/>
                  </a:lnTo>
                  <a:lnTo>
                    <a:pt x="288" y="263"/>
                  </a:lnTo>
                  <a:lnTo>
                    <a:pt x="291" y="263"/>
                  </a:lnTo>
                  <a:lnTo>
                    <a:pt x="293" y="265"/>
                  </a:lnTo>
                  <a:lnTo>
                    <a:pt x="293" y="265"/>
                  </a:lnTo>
                  <a:lnTo>
                    <a:pt x="293" y="265"/>
                  </a:lnTo>
                  <a:lnTo>
                    <a:pt x="298" y="272"/>
                  </a:lnTo>
                  <a:lnTo>
                    <a:pt x="300" y="272"/>
                  </a:lnTo>
                  <a:lnTo>
                    <a:pt x="303" y="274"/>
                  </a:lnTo>
                  <a:lnTo>
                    <a:pt x="303" y="274"/>
                  </a:lnTo>
                  <a:lnTo>
                    <a:pt x="305" y="272"/>
                  </a:lnTo>
                  <a:lnTo>
                    <a:pt x="307" y="272"/>
                  </a:lnTo>
                  <a:lnTo>
                    <a:pt x="310" y="274"/>
                  </a:lnTo>
                  <a:lnTo>
                    <a:pt x="310" y="274"/>
                  </a:lnTo>
                  <a:lnTo>
                    <a:pt x="312" y="274"/>
                  </a:lnTo>
                  <a:lnTo>
                    <a:pt x="312" y="274"/>
                  </a:lnTo>
                  <a:lnTo>
                    <a:pt x="314" y="274"/>
                  </a:lnTo>
                  <a:lnTo>
                    <a:pt x="317" y="274"/>
                  </a:lnTo>
                  <a:lnTo>
                    <a:pt x="317" y="274"/>
                  </a:lnTo>
                  <a:lnTo>
                    <a:pt x="317" y="272"/>
                  </a:lnTo>
                  <a:lnTo>
                    <a:pt x="319" y="270"/>
                  </a:lnTo>
                  <a:lnTo>
                    <a:pt x="319" y="270"/>
                  </a:lnTo>
                  <a:lnTo>
                    <a:pt x="322" y="270"/>
                  </a:lnTo>
                  <a:lnTo>
                    <a:pt x="324" y="267"/>
                  </a:lnTo>
                  <a:lnTo>
                    <a:pt x="324" y="265"/>
                  </a:lnTo>
                  <a:lnTo>
                    <a:pt x="326" y="258"/>
                  </a:lnTo>
                  <a:lnTo>
                    <a:pt x="329" y="256"/>
                  </a:lnTo>
                  <a:lnTo>
                    <a:pt x="329" y="256"/>
                  </a:lnTo>
                  <a:lnTo>
                    <a:pt x="329" y="253"/>
                  </a:lnTo>
                  <a:lnTo>
                    <a:pt x="329" y="251"/>
                  </a:lnTo>
                  <a:lnTo>
                    <a:pt x="329" y="246"/>
                  </a:lnTo>
                  <a:lnTo>
                    <a:pt x="331" y="244"/>
                  </a:lnTo>
                  <a:lnTo>
                    <a:pt x="331" y="244"/>
                  </a:lnTo>
                  <a:lnTo>
                    <a:pt x="333" y="246"/>
                  </a:lnTo>
                  <a:lnTo>
                    <a:pt x="338" y="246"/>
                  </a:lnTo>
                  <a:lnTo>
                    <a:pt x="340" y="246"/>
                  </a:lnTo>
                  <a:lnTo>
                    <a:pt x="343" y="246"/>
                  </a:lnTo>
                  <a:lnTo>
                    <a:pt x="343" y="246"/>
                  </a:lnTo>
                  <a:lnTo>
                    <a:pt x="345" y="241"/>
                  </a:lnTo>
                  <a:lnTo>
                    <a:pt x="345" y="241"/>
                  </a:lnTo>
                  <a:lnTo>
                    <a:pt x="348" y="237"/>
                  </a:lnTo>
                  <a:lnTo>
                    <a:pt x="348" y="237"/>
                  </a:lnTo>
                  <a:lnTo>
                    <a:pt x="350" y="234"/>
                  </a:lnTo>
                  <a:lnTo>
                    <a:pt x="352" y="234"/>
                  </a:lnTo>
                  <a:lnTo>
                    <a:pt x="355" y="232"/>
                  </a:lnTo>
                  <a:lnTo>
                    <a:pt x="355" y="227"/>
                  </a:lnTo>
                  <a:lnTo>
                    <a:pt x="355" y="227"/>
                  </a:lnTo>
                  <a:lnTo>
                    <a:pt x="355" y="225"/>
                  </a:lnTo>
                  <a:lnTo>
                    <a:pt x="355" y="225"/>
                  </a:lnTo>
                  <a:lnTo>
                    <a:pt x="355" y="225"/>
                  </a:lnTo>
                  <a:lnTo>
                    <a:pt x="359" y="218"/>
                  </a:lnTo>
                  <a:lnTo>
                    <a:pt x="362" y="215"/>
                  </a:lnTo>
                  <a:lnTo>
                    <a:pt x="362" y="208"/>
                  </a:lnTo>
                  <a:lnTo>
                    <a:pt x="362" y="206"/>
                  </a:lnTo>
                  <a:lnTo>
                    <a:pt x="362" y="206"/>
                  </a:lnTo>
                  <a:lnTo>
                    <a:pt x="364" y="204"/>
                  </a:lnTo>
                  <a:lnTo>
                    <a:pt x="364" y="201"/>
                  </a:lnTo>
                  <a:lnTo>
                    <a:pt x="366" y="201"/>
                  </a:lnTo>
                  <a:lnTo>
                    <a:pt x="371" y="201"/>
                  </a:lnTo>
                  <a:lnTo>
                    <a:pt x="371" y="199"/>
                  </a:lnTo>
                  <a:lnTo>
                    <a:pt x="374" y="197"/>
                  </a:lnTo>
                  <a:lnTo>
                    <a:pt x="376" y="197"/>
                  </a:lnTo>
                  <a:lnTo>
                    <a:pt x="376" y="192"/>
                  </a:lnTo>
                  <a:lnTo>
                    <a:pt x="376" y="189"/>
                  </a:lnTo>
                  <a:lnTo>
                    <a:pt x="374" y="189"/>
                  </a:lnTo>
                  <a:lnTo>
                    <a:pt x="371" y="187"/>
                  </a:lnTo>
                  <a:lnTo>
                    <a:pt x="374" y="182"/>
                  </a:lnTo>
                  <a:lnTo>
                    <a:pt x="374" y="182"/>
                  </a:lnTo>
                  <a:lnTo>
                    <a:pt x="371" y="182"/>
                  </a:lnTo>
                  <a:lnTo>
                    <a:pt x="371" y="182"/>
                  </a:lnTo>
                  <a:lnTo>
                    <a:pt x="371" y="180"/>
                  </a:lnTo>
                  <a:lnTo>
                    <a:pt x="371" y="180"/>
                  </a:lnTo>
                  <a:lnTo>
                    <a:pt x="371" y="180"/>
                  </a:lnTo>
                  <a:lnTo>
                    <a:pt x="371" y="178"/>
                  </a:lnTo>
                  <a:lnTo>
                    <a:pt x="374" y="178"/>
                  </a:lnTo>
                  <a:lnTo>
                    <a:pt x="376" y="175"/>
                  </a:lnTo>
                  <a:lnTo>
                    <a:pt x="376" y="173"/>
                  </a:lnTo>
                  <a:lnTo>
                    <a:pt x="376" y="171"/>
                  </a:lnTo>
                  <a:lnTo>
                    <a:pt x="376" y="171"/>
                  </a:lnTo>
                  <a:lnTo>
                    <a:pt x="376" y="168"/>
                  </a:lnTo>
                  <a:lnTo>
                    <a:pt x="374" y="168"/>
                  </a:lnTo>
                  <a:lnTo>
                    <a:pt x="371" y="166"/>
                  </a:lnTo>
                  <a:lnTo>
                    <a:pt x="371" y="166"/>
                  </a:lnTo>
                  <a:lnTo>
                    <a:pt x="369" y="166"/>
                  </a:lnTo>
                  <a:lnTo>
                    <a:pt x="369" y="163"/>
                  </a:lnTo>
                  <a:lnTo>
                    <a:pt x="364" y="163"/>
                  </a:lnTo>
                  <a:lnTo>
                    <a:pt x="362" y="161"/>
                  </a:lnTo>
                  <a:lnTo>
                    <a:pt x="362" y="161"/>
                  </a:lnTo>
                  <a:lnTo>
                    <a:pt x="359" y="156"/>
                  </a:lnTo>
                  <a:lnTo>
                    <a:pt x="359" y="154"/>
                  </a:lnTo>
                  <a:lnTo>
                    <a:pt x="359" y="154"/>
                  </a:lnTo>
                  <a:lnTo>
                    <a:pt x="359" y="152"/>
                  </a:lnTo>
                  <a:lnTo>
                    <a:pt x="355" y="145"/>
                  </a:lnTo>
                  <a:lnTo>
                    <a:pt x="352" y="145"/>
                  </a:lnTo>
                  <a:lnTo>
                    <a:pt x="355" y="142"/>
                  </a:lnTo>
                  <a:lnTo>
                    <a:pt x="355" y="142"/>
                  </a:lnTo>
                  <a:lnTo>
                    <a:pt x="355" y="142"/>
                  </a:lnTo>
                  <a:lnTo>
                    <a:pt x="352" y="142"/>
                  </a:lnTo>
                  <a:lnTo>
                    <a:pt x="352" y="137"/>
                  </a:lnTo>
                  <a:lnTo>
                    <a:pt x="352" y="135"/>
                  </a:lnTo>
                  <a:lnTo>
                    <a:pt x="352" y="133"/>
                  </a:lnTo>
                  <a:lnTo>
                    <a:pt x="357" y="126"/>
                  </a:lnTo>
                  <a:lnTo>
                    <a:pt x="359" y="123"/>
                  </a:lnTo>
                  <a:lnTo>
                    <a:pt x="362" y="121"/>
                  </a:lnTo>
                  <a:lnTo>
                    <a:pt x="362" y="119"/>
                  </a:lnTo>
                  <a:lnTo>
                    <a:pt x="364" y="119"/>
                  </a:lnTo>
                  <a:lnTo>
                    <a:pt x="374" y="116"/>
                  </a:lnTo>
                  <a:lnTo>
                    <a:pt x="376" y="114"/>
                  </a:lnTo>
                  <a:lnTo>
                    <a:pt x="381" y="109"/>
                  </a:lnTo>
                  <a:lnTo>
                    <a:pt x="383" y="109"/>
                  </a:lnTo>
                  <a:lnTo>
                    <a:pt x="385" y="104"/>
                  </a:lnTo>
                  <a:lnTo>
                    <a:pt x="388" y="102"/>
                  </a:lnTo>
                  <a:lnTo>
                    <a:pt x="388" y="102"/>
                  </a:lnTo>
                  <a:lnTo>
                    <a:pt x="390" y="102"/>
                  </a:lnTo>
                  <a:lnTo>
                    <a:pt x="392" y="102"/>
                  </a:lnTo>
                  <a:lnTo>
                    <a:pt x="392" y="100"/>
                  </a:lnTo>
                  <a:lnTo>
                    <a:pt x="397" y="97"/>
                  </a:lnTo>
                  <a:lnTo>
                    <a:pt x="400" y="95"/>
                  </a:lnTo>
                  <a:lnTo>
                    <a:pt x="402" y="95"/>
                  </a:lnTo>
                  <a:lnTo>
                    <a:pt x="402" y="95"/>
                  </a:lnTo>
                  <a:lnTo>
                    <a:pt x="404" y="95"/>
                  </a:lnTo>
                  <a:lnTo>
                    <a:pt x="404" y="97"/>
                  </a:lnTo>
                  <a:lnTo>
                    <a:pt x="409" y="100"/>
                  </a:lnTo>
                  <a:lnTo>
                    <a:pt x="409" y="102"/>
                  </a:lnTo>
                  <a:lnTo>
                    <a:pt x="411" y="107"/>
                  </a:lnTo>
                  <a:lnTo>
                    <a:pt x="414" y="109"/>
                  </a:lnTo>
                  <a:lnTo>
                    <a:pt x="418" y="109"/>
                  </a:lnTo>
                  <a:lnTo>
                    <a:pt x="418" y="109"/>
                  </a:lnTo>
                  <a:lnTo>
                    <a:pt x="421" y="112"/>
                  </a:lnTo>
                  <a:lnTo>
                    <a:pt x="421" y="114"/>
                  </a:lnTo>
                  <a:lnTo>
                    <a:pt x="423" y="114"/>
                  </a:lnTo>
                  <a:lnTo>
                    <a:pt x="423" y="116"/>
                  </a:lnTo>
                  <a:lnTo>
                    <a:pt x="423" y="116"/>
                  </a:lnTo>
                  <a:lnTo>
                    <a:pt x="426" y="116"/>
                  </a:lnTo>
                  <a:lnTo>
                    <a:pt x="426" y="114"/>
                  </a:lnTo>
                  <a:lnTo>
                    <a:pt x="430" y="114"/>
                  </a:lnTo>
                  <a:lnTo>
                    <a:pt x="430" y="114"/>
                  </a:lnTo>
                  <a:lnTo>
                    <a:pt x="433" y="114"/>
                  </a:lnTo>
                  <a:lnTo>
                    <a:pt x="435" y="114"/>
                  </a:lnTo>
                  <a:lnTo>
                    <a:pt x="435" y="116"/>
                  </a:lnTo>
                  <a:lnTo>
                    <a:pt x="435" y="116"/>
                  </a:lnTo>
                  <a:lnTo>
                    <a:pt x="437" y="114"/>
                  </a:lnTo>
                  <a:lnTo>
                    <a:pt x="440" y="109"/>
                  </a:lnTo>
                  <a:lnTo>
                    <a:pt x="442" y="109"/>
                  </a:lnTo>
                  <a:lnTo>
                    <a:pt x="444" y="112"/>
                  </a:lnTo>
                  <a:lnTo>
                    <a:pt x="444" y="109"/>
                  </a:lnTo>
                  <a:lnTo>
                    <a:pt x="444" y="109"/>
                  </a:lnTo>
                  <a:lnTo>
                    <a:pt x="444" y="109"/>
                  </a:lnTo>
                  <a:lnTo>
                    <a:pt x="447" y="109"/>
                  </a:lnTo>
                  <a:lnTo>
                    <a:pt x="447" y="109"/>
                  </a:lnTo>
                  <a:lnTo>
                    <a:pt x="447" y="112"/>
                  </a:lnTo>
                  <a:lnTo>
                    <a:pt x="447" y="112"/>
                  </a:lnTo>
                  <a:lnTo>
                    <a:pt x="449" y="112"/>
                  </a:lnTo>
                  <a:lnTo>
                    <a:pt x="449" y="114"/>
                  </a:lnTo>
                  <a:lnTo>
                    <a:pt x="449" y="114"/>
                  </a:lnTo>
                  <a:lnTo>
                    <a:pt x="451" y="114"/>
                  </a:lnTo>
                  <a:lnTo>
                    <a:pt x="454" y="114"/>
                  </a:lnTo>
                  <a:lnTo>
                    <a:pt x="454" y="116"/>
                  </a:lnTo>
                  <a:lnTo>
                    <a:pt x="459" y="114"/>
                  </a:lnTo>
                  <a:lnTo>
                    <a:pt x="459" y="114"/>
                  </a:lnTo>
                  <a:lnTo>
                    <a:pt x="461" y="114"/>
                  </a:lnTo>
                  <a:lnTo>
                    <a:pt x="463" y="114"/>
                  </a:lnTo>
                  <a:lnTo>
                    <a:pt x="466" y="116"/>
                  </a:lnTo>
                  <a:lnTo>
                    <a:pt x="466" y="116"/>
                  </a:lnTo>
                  <a:lnTo>
                    <a:pt x="466" y="119"/>
                  </a:lnTo>
                  <a:lnTo>
                    <a:pt x="466" y="121"/>
                  </a:lnTo>
                  <a:lnTo>
                    <a:pt x="466" y="123"/>
                  </a:lnTo>
                  <a:lnTo>
                    <a:pt x="466" y="126"/>
                  </a:lnTo>
                  <a:lnTo>
                    <a:pt x="466" y="128"/>
                  </a:lnTo>
                  <a:lnTo>
                    <a:pt x="466" y="128"/>
                  </a:lnTo>
                  <a:lnTo>
                    <a:pt x="468" y="130"/>
                  </a:lnTo>
                  <a:lnTo>
                    <a:pt x="473" y="130"/>
                  </a:lnTo>
                  <a:lnTo>
                    <a:pt x="473" y="130"/>
                  </a:lnTo>
                  <a:lnTo>
                    <a:pt x="475" y="135"/>
                  </a:lnTo>
                  <a:lnTo>
                    <a:pt x="477" y="135"/>
                  </a:lnTo>
                  <a:lnTo>
                    <a:pt x="477" y="135"/>
                  </a:lnTo>
                  <a:lnTo>
                    <a:pt x="480" y="133"/>
                  </a:lnTo>
                  <a:lnTo>
                    <a:pt x="480" y="133"/>
                  </a:lnTo>
                  <a:lnTo>
                    <a:pt x="482" y="135"/>
                  </a:lnTo>
                  <a:lnTo>
                    <a:pt x="482" y="137"/>
                  </a:lnTo>
                  <a:lnTo>
                    <a:pt x="482" y="140"/>
                  </a:lnTo>
                  <a:lnTo>
                    <a:pt x="482" y="142"/>
                  </a:lnTo>
                  <a:lnTo>
                    <a:pt x="485" y="142"/>
                  </a:lnTo>
                  <a:lnTo>
                    <a:pt x="489" y="142"/>
                  </a:lnTo>
                  <a:lnTo>
                    <a:pt x="492" y="140"/>
                  </a:lnTo>
                  <a:lnTo>
                    <a:pt x="492" y="137"/>
                  </a:lnTo>
                  <a:lnTo>
                    <a:pt x="492" y="137"/>
                  </a:lnTo>
                  <a:lnTo>
                    <a:pt x="494" y="135"/>
                  </a:lnTo>
                  <a:lnTo>
                    <a:pt x="496" y="133"/>
                  </a:lnTo>
                  <a:lnTo>
                    <a:pt x="496" y="130"/>
                  </a:lnTo>
                  <a:lnTo>
                    <a:pt x="496" y="130"/>
                  </a:lnTo>
                  <a:lnTo>
                    <a:pt x="496" y="130"/>
                  </a:lnTo>
                  <a:lnTo>
                    <a:pt x="499" y="133"/>
                  </a:lnTo>
                  <a:lnTo>
                    <a:pt x="499" y="133"/>
                  </a:lnTo>
                  <a:lnTo>
                    <a:pt x="501" y="133"/>
                  </a:lnTo>
                  <a:lnTo>
                    <a:pt x="503" y="133"/>
                  </a:lnTo>
                  <a:lnTo>
                    <a:pt x="506" y="133"/>
                  </a:lnTo>
                  <a:lnTo>
                    <a:pt x="506" y="130"/>
                  </a:lnTo>
                  <a:lnTo>
                    <a:pt x="508" y="133"/>
                  </a:lnTo>
                  <a:lnTo>
                    <a:pt x="511" y="128"/>
                  </a:lnTo>
                  <a:lnTo>
                    <a:pt x="511" y="126"/>
                  </a:lnTo>
                  <a:lnTo>
                    <a:pt x="513" y="126"/>
                  </a:lnTo>
                  <a:lnTo>
                    <a:pt x="515" y="126"/>
                  </a:lnTo>
                  <a:lnTo>
                    <a:pt x="518" y="126"/>
                  </a:lnTo>
                  <a:lnTo>
                    <a:pt x="520" y="126"/>
                  </a:lnTo>
                  <a:lnTo>
                    <a:pt x="525" y="126"/>
                  </a:lnTo>
                  <a:lnTo>
                    <a:pt x="525" y="123"/>
                  </a:lnTo>
                  <a:lnTo>
                    <a:pt x="525" y="123"/>
                  </a:lnTo>
                  <a:lnTo>
                    <a:pt x="525" y="121"/>
                  </a:lnTo>
                  <a:lnTo>
                    <a:pt x="527" y="121"/>
                  </a:lnTo>
                  <a:lnTo>
                    <a:pt x="529" y="121"/>
                  </a:lnTo>
                  <a:lnTo>
                    <a:pt x="529" y="121"/>
                  </a:lnTo>
                  <a:lnTo>
                    <a:pt x="532" y="121"/>
                  </a:lnTo>
                  <a:lnTo>
                    <a:pt x="532" y="119"/>
                  </a:lnTo>
                  <a:lnTo>
                    <a:pt x="532" y="116"/>
                  </a:lnTo>
                  <a:lnTo>
                    <a:pt x="534" y="114"/>
                  </a:lnTo>
                  <a:lnTo>
                    <a:pt x="537" y="114"/>
                  </a:lnTo>
                  <a:lnTo>
                    <a:pt x="539" y="112"/>
                  </a:lnTo>
                  <a:lnTo>
                    <a:pt x="541" y="109"/>
                  </a:lnTo>
                  <a:lnTo>
                    <a:pt x="541" y="109"/>
                  </a:lnTo>
                  <a:lnTo>
                    <a:pt x="541" y="107"/>
                  </a:lnTo>
                  <a:lnTo>
                    <a:pt x="546" y="104"/>
                  </a:lnTo>
                  <a:lnTo>
                    <a:pt x="546" y="102"/>
                  </a:lnTo>
                  <a:lnTo>
                    <a:pt x="548" y="102"/>
                  </a:lnTo>
                  <a:lnTo>
                    <a:pt x="551" y="102"/>
                  </a:lnTo>
                  <a:lnTo>
                    <a:pt x="553" y="102"/>
                  </a:lnTo>
                  <a:lnTo>
                    <a:pt x="553" y="100"/>
                  </a:lnTo>
                  <a:lnTo>
                    <a:pt x="555" y="100"/>
                  </a:lnTo>
                  <a:lnTo>
                    <a:pt x="558" y="97"/>
                  </a:lnTo>
                  <a:lnTo>
                    <a:pt x="558" y="97"/>
                  </a:lnTo>
                  <a:lnTo>
                    <a:pt x="560" y="100"/>
                  </a:lnTo>
                  <a:lnTo>
                    <a:pt x="563" y="100"/>
                  </a:lnTo>
                  <a:lnTo>
                    <a:pt x="565" y="97"/>
                  </a:lnTo>
                  <a:lnTo>
                    <a:pt x="570" y="97"/>
                  </a:lnTo>
                  <a:lnTo>
                    <a:pt x="572" y="97"/>
                  </a:lnTo>
                  <a:lnTo>
                    <a:pt x="574" y="97"/>
                  </a:lnTo>
                  <a:lnTo>
                    <a:pt x="579" y="95"/>
                  </a:lnTo>
                  <a:lnTo>
                    <a:pt x="579" y="95"/>
                  </a:lnTo>
                  <a:lnTo>
                    <a:pt x="581" y="95"/>
                  </a:lnTo>
                  <a:lnTo>
                    <a:pt x="584" y="95"/>
                  </a:lnTo>
                  <a:lnTo>
                    <a:pt x="586" y="95"/>
                  </a:lnTo>
                  <a:lnTo>
                    <a:pt x="591" y="93"/>
                  </a:lnTo>
                  <a:lnTo>
                    <a:pt x="593" y="95"/>
                  </a:lnTo>
                  <a:lnTo>
                    <a:pt x="593" y="95"/>
                  </a:lnTo>
                  <a:lnTo>
                    <a:pt x="596" y="95"/>
                  </a:lnTo>
                  <a:lnTo>
                    <a:pt x="596" y="97"/>
                  </a:lnTo>
                  <a:lnTo>
                    <a:pt x="598" y="97"/>
                  </a:lnTo>
                  <a:lnTo>
                    <a:pt x="598" y="97"/>
                  </a:lnTo>
                  <a:lnTo>
                    <a:pt x="600" y="95"/>
                  </a:lnTo>
                  <a:lnTo>
                    <a:pt x="603" y="95"/>
                  </a:lnTo>
                  <a:lnTo>
                    <a:pt x="603" y="93"/>
                  </a:lnTo>
                  <a:lnTo>
                    <a:pt x="605" y="93"/>
                  </a:lnTo>
                  <a:lnTo>
                    <a:pt x="605" y="93"/>
                  </a:lnTo>
                  <a:lnTo>
                    <a:pt x="607" y="93"/>
                  </a:lnTo>
                  <a:lnTo>
                    <a:pt x="610" y="86"/>
                  </a:lnTo>
                  <a:lnTo>
                    <a:pt x="612" y="83"/>
                  </a:lnTo>
                  <a:lnTo>
                    <a:pt x="612" y="81"/>
                  </a:lnTo>
                  <a:lnTo>
                    <a:pt x="614" y="78"/>
                  </a:lnTo>
                  <a:lnTo>
                    <a:pt x="614" y="78"/>
                  </a:lnTo>
                  <a:lnTo>
                    <a:pt x="617" y="76"/>
                  </a:lnTo>
                  <a:lnTo>
                    <a:pt x="622" y="74"/>
                  </a:lnTo>
                  <a:lnTo>
                    <a:pt x="622" y="69"/>
                  </a:lnTo>
                  <a:lnTo>
                    <a:pt x="622" y="67"/>
                  </a:lnTo>
                  <a:lnTo>
                    <a:pt x="622" y="64"/>
                  </a:lnTo>
                  <a:lnTo>
                    <a:pt x="622" y="62"/>
                  </a:lnTo>
                  <a:lnTo>
                    <a:pt x="629" y="62"/>
                  </a:lnTo>
                  <a:lnTo>
                    <a:pt x="629" y="62"/>
                  </a:lnTo>
                  <a:lnTo>
                    <a:pt x="629" y="60"/>
                  </a:lnTo>
                  <a:lnTo>
                    <a:pt x="633" y="60"/>
                  </a:lnTo>
                  <a:lnTo>
                    <a:pt x="633" y="60"/>
                  </a:lnTo>
                  <a:lnTo>
                    <a:pt x="633" y="57"/>
                  </a:lnTo>
                  <a:lnTo>
                    <a:pt x="636" y="57"/>
                  </a:lnTo>
                  <a:lnTo>
                    <a:pt x="638" y="55"/>
                  </a:lnTo>
                  <a:lnTo>
                    <a:pt x="638" y="55"/>
                  </a:lnTo>
                  <a:lnTo>
                    <a:pt x="638" y="55"/>
                  </a:lnTo>
                  <a:lnTo>
                    <a:pt x="640" y="55"/>
                  </a:lnTo>
                  <a:lnTo>
                    <a:pt x="640" y="55"/>
                  </a:lnTo>
                  <a:lnTo>
                    <a:pt x="643" y="57"/>
                  </a:lnTo>
                  <a:lnTo>
                    <a:pt x="645" y="57"/>
                  </a:lnTo>
                  <a:lnTo>
                    <a:pt x="645" y="52"/>
                  </a:lnTo>
                  <a:lnTo>
                    <a:pt x="648" y="52"/>
                  </a:lnTo>
                  <a:lnTo>
                    <a:pt x="648" y="48"/>
                  </a:lnTo>
                  <a:lnTo>
                    <a:pt x="648" y="48"/>
                  </a:lnTo>
                  <a:lnTo>
                    <a:pt x="650" y="48"/>
                  </a:lnTo>
                  <a:lnTo>
                    <a:pt x="650" y="45"/>
                  </a:lnTo>
                  <a:lnTo>
                    <a:pt x="650" y="43"/>
                  </a:lnTo>
                  <a:lnTo>
                    <a:pt x="650" y="43"/>
                  </a:lnTo>
                  <a:lnTo>
                    <a:pt x="650" y="43"/>
                  </a:lnTo>
                  <a:lnTo>
                    <a:pt x="652" y="41"/>
                  </a:lnTo>
                  <a:lnTo>
                    <a:pt x="652" y="41"/>
                  </a:lnTo>
                  <a:lnTo>
                    <a:pt x="655" y="38"/>
                  </a:lnTo>
                  <a:lnTo>
                    <a:pt x="659" y="34"/>
                  </a:lnTo>
                  <a:lnTo>
                    <a:pt x="659" y="36"/>
                  </a:lnTo>
                  <a:lnTo>
                    <a:pt x="662" y="31"/>
                  </a:lnTo>
                  <a:lnTo>
                    <a:pt x="662" y="29"/>
                  </a:lnTo>
                  <a:lnTo>
                    <a:pt x="664" y="24"/>
                  </a:lnTo>
                  <a:lnTo>
                    <a:pt x="666" y="24"/>
                  </a:lnTo>
                  <a:lnTo>
                    <a:pt x="666" y="22"/>
                  </a:lnTo>
                  <a:lnTo>
                    <a:pt x="666" y="22"/>
                  </a:lnTo>
                  <a:lnTo>
                    <a:pt x="669" y="22"/>
                  </a:lnTo>
                  <a:lnTo>
                    <a:pt x="671" y="24"/>
                  </a:lnTo>
                  <a:lnTo>
                    <a:pt x="674" y="24"/>
                  </a:lnTo>
                  <a:lnTo>
                    <a:pt x="676" y="26"/>
                  </a:lnTo>
                  <a:lnTo>
                    <a:pt x="678" y="26"/>
                  </a:lnTo>
                  <a:lnTo>
                    <a:pt x="678" y="26"/>
                  </a:lnTo>
                  <a:lnTo>
                    <a:pt x="681" y="24"/>
                  </a:lnTo>
                  <a:lnTo>
                    <a:pt x="683" y="24"/>
                  </a:lnTo>
                  <a:lnTo>
                    <a:pt x="683" y="24"/>
                  </a:lnTo>
                  <a:lnTo>
                    <a:pt x="685" y="22"/>
                  </a:lnTo>
                  <a:lnTo>
                    <a:pt x="685" y="22"/>
                  </a:lnTo>
                  <a:lnTo>
                    <a:pt x="688" y="24"/>
                  </a:lnTo>
                  <a:lnTo>
                    <a:pt x="688" y="22"/>
                  </a:lnTo>
                  <a:lnTo>
                    <a:pt x="690" y="24"/>
                  </a:lnTo>
                  <a:lnTo>
                    <a:pt x="690" y="22"/>
                  </a:lnTo>
                  <a:lnTo>
                    <a:pt x="692" y="24"/>
                  </a:lnTo>
                  <a:lnTo>
                    <a:pt x="692" y="22"/>
                  </a:lnTo>
                  <a:lnTo>
                    <a:pt x="692" y="24"/>
                  </a:lnTo>
                  <a:lnTo>
                    <a:pt x="700" y="22"/>
                  </a:lnTo>
                  <a:lnTo>
                    <a:pt x="697" y="24"/>
                  </a:lnTo>
                  <a:lnTo>
                    <a:pt x="697" y="24"/>
                  </a:lnTo>
                  <a:lnTo>
                    <a:pt x="697" y="26"/>
                  </a:lnTo>
                  <a:lnTo>
                    <a:pt x="697" y="26"/>
                  </a:lnTo>
                  <a:lnTo>
                    <a:pt x="697" y="29"/>
                  </a:lnTo>
                  <a:lnTo>
                    <a:pt x="700" y="29"/>
                  </a:lnTo>
                  <a:lnTo>
                    <a:pt x="700" y="31"/>
                  </a:lnTo>
                  <a:lnTo>
                    <a:pt x="700" y="31"/>
                  </a:lnTo>
                  <a:lnTo>
                    <a:pt x="702" y="34"/>
                  </a:lnTo>
                  <a:lnTo>
                    <a:pt x="704" y="34"/>
                  </a:lnTo>
                  <a:lnTo>
                    <a:pt x="704" y="34"/>
                  </a:lnTo>
                  <a:lnTo>
                    <a:pt x="704" y="34"/>
                  </a:lnTo>
                  <a:lnTo>
                    <a:pt x="704" y="34"/>
                  </a:lnTo>
                  <a:lnTo>
                    <a:pt x="707" y="34"/>
                  </a:lnTo>
                  <a:lnTo>
                    <a:pt x="709" y="34"/>
                  </a:lnTo>
                  <a:lnTo>
                    <a:pt x="709" y="34"/>
                  </a:lnTo>
                  <a:lnTo>
                    <a:pt x="711" y="36"/>
                  </a:lnTo>
                  <a:lnTo>
                    <a:pt x="709" y="41"/>
                  </a:lnTo>
                  <a:lnTo>
                    <a:pt x="711" y="41"/>
                  </a:lnTo>
                  <a:lnTo>
                    <a:pt x="714" y="38"/>
                  </a:lnTo>
                  <a:lnTo>
                    <a:pt x="714" y="38"/>
                  </a:lnTo>
                  <a:lnTo>
                    <a:pt x="716" y="38"/>
                  </a:lnTo>
                  <a:lnTo>
                    <a:pt x="718" y="38"/>
                  </a:lnTo>
                  <a:lnTo>
                    <a:pt x="718" y="41"/>
                  </a:lnTo>
                  <a:lnTo>
                    <a:pt x="721" y="41"/>
                  </a:lnTo>
                  <a:lnTo>
                    <a:pt x="723" y="41"/>
                  </a:lnTo>
                  <a:lnTo>
                    <a:pt x="723" y="41"/>
                  </a:lnTo>
                  <a:lnTo>
                    <a:pt x="726" y="43"/>
                  </a:lnTo>
                  <a:lnTo>
                    <a:pt x="726" y="43"/>
                  </a:lnTo>
                  <a:lnTo>
                    <a:pt x="726" y="43"/>
                  </a:lnTo>
                  <a:lnTo>
                    <a:pt x="726" y="48"/>
                  </a:lnTo>
                  <a:lnTo>
                    <a:pt x="728" y="48"/>
                  </a:lnTo>
                  <a:lnTo>
                    <a:pt x="728" y="50"/>
                  </a:lnTo>
                  <a:lnTo>
                    <a:pt x="730" y="50"/>
                  </a:lnTo>
                  <a:lnTo>
                    <a:pt x="730" y="55"/>
                  </a:lnTo>
                  <a:lnTo>
                    <a:pt x="733" y="55"/>
                  </a:lnTo>
                  <a:lnTo>
                    <a:pt x="733" y="60"/>
                  </a:lnTo>
                  <a:lnTo>
                    <a:pt x="733" y="60"/>
                  </a:lnTo>
                  <a:lnTo>
                    <a:pt x="735" y="62"/>
                  </a:lnTo>
                  <a:lnTo>
                    <a:pt x="735" y="64"/>
                  </a:lnTo>
                  <a:lnTo>
                    <a:pt x="735" y="64"/>
                  </a:lnTo>
                  <a:lnTo>
                    <a:pt x="735" y="67"/>
                  </a:lnTo>
                  <a:lnTo>
                    <a:pt x="735" y="67"/>
                  </a:lnTo>
                  <a:lnTo>
                    <a:pt x="735" y="69"/>
                  </a:lnTo>
                  <a:lnTo>
                    <a:pt x="737" y="69"/>
                  </a:lnTo>
                  <a:lnTo>
                    <a:pt x="735" y="71"/>
                  </a:lnTo>
                  <a:lnTo>
                    <a:pt x="737" y="71"/>
                  </a:lnTo>
                  <a:lnTo>
                    <a:pt x="740" y="74"/>
                  </a:lnTo>
                  <a:lnTo>
                    <a:pt x="740" y="74"/>
                  </a:lnTo>
                  <a:lnTo>
                    <a:pt x="740" y="76"/>
                  </a:lnTo>
                  <a:lnTo>
                    <a:pt x="742" y="74"/>
                  </a:lnTo>
                  <a:lnTo>
                    <a:pt x="744" y="76"/>
                  </a:lnTo>
                  <a:lnTo>
                    <a:pt x="744" y="76"/>
                  </a:lnTo>
                  <a:lnTo>
                    <a:pt x="744" y="76"/>
                  </a:lnTo>
                  <a:lnTo>
                    <a:pt x="744" y="76"/>
                  </a:lnTo>
                  <a:lnTo>
                    <a:pt x="747" y="78"/>
                  </a:lnTo>
                  <a:lnTo>
                    <a:pt x="749" y="78"/>
                  </a:lnTo>
                  <a:lnTo>
                    <a:pt x="751" y="78"/>
                  </a:lnTo>
                  <a:lnTo>
                    <a:pt x="754" y="78"/>
                  </a:lnTo>
                  <a:lnTo>
                    <a:pt x="754" y="81"/>
                  </a:lnTo>
                  <a:lnTo>
                    <a:pt x="756" y="81"/>
                  </a:lnTo>
                  <a:lnTo>
                    <a:pt x="754" y="83"/>
                  </a:lnTo>
                  <a:lnTo>
                    <a:pt x="754" y="86"/>
                  </a:lnTo>
                  <a:lnTo>
                    <a:pt x="754" y="86"/>
                  </a:lnTo>
                  <a:lnTo>
                    <a:pt x="754" y="88"/>
                  </a:lnTo>
                  <a:lnTo>
                    <a:pt x="754" y="88"/>
                  </a:lnTo>
                  <a:lnTo>
                    <a:pt x="751" y="90"/>
                  </a:lnTo>
                  <a:lnTo>
                    <a:pt x="754" y="93"/>
                  </a:lnTo>
                  <a:lnTo>
                    <a:pt x="754" y="95"/>
                  </a:lnTo>
                  <a:lnTo>
                    <a:pt x="754" y="95"/>
                  </a:lnTo>
                  <a:lnTo>
                    <a:pt x="754" y="97"/>
                  </a:lnTo>
                  <a:lnTo>
                    <a:pt x="754" y="97"/>
                  </a:lnTo>
                  <a:lnTo>
                    <a:pt x="751" y="97"/>
                  </a:lnTo>
                  <a:lnTo>
                    <a:pt x="751" y="100"/>
                  </a:lnTo>
                  <a:lnTo>
                    <a:pt x="751" y="100"/>
                  </a:lnTo>
                  <a:lnTo>
                    <a:pt x="749" y="100"/>
                  </a:lnTo>
                  <a:lnTo>
                    <a:pt x="747" y="100"/>
                  </a:lnTo>
                  <a:lnTo>
                    <a:pt x="747" y="100"/>
                  </a:lnTo>
                  <a:lnTo>
                    <a:pt x="744" y="100"/>
                  </a:lnTo>
                  <a:lnTo>
                    <a:pt x="744" y="102"/>
                  </a:lnTo>
                  <a:lnTo>
                    <a:pt x="747" y="104"/>
                  </a:lnTo>
                  <a:lnTo>
                    <a:pt x="747" y="107"/>
                  </a:lnTo>
                  <a:lnTo>
                    <a:pt x="747" y="107"/>
                  </a:lnTo>
                  <a:lnTo>
                    <a:pt x="744" y="109"/>
                  </a:lnTo>
                  <a:lnTo>
                    <a:pt x="747" y="112"/>
                  </a:lnTo>
                  <a:lnTo>
                    <a:pt x="747" y="114"/>
                  </a:lnTo>
                  <a:lnTo>
                    <a:pt x="747" y="114"/>
                  </a:lnTo>
                  <a:lnTo>
                    <a:pt x="744" y="114"/>
                  </a:lnTo>
                  <a:lnTo>
                    <a:pt x="744" y="114"/>
                  </a:lnTo>
                  <a:lnTo>
                    <a:pt x="744" y="116"/>
                  </a:lnTo>
                  <a:lnTo>
                    <a:pt x="742" y="119"/>
                  </a:lnTo>
                  <a:lnTo>
                    <a:pt x="742" y="121"/>
                  </a:lnTo>
                  <a:lnTo>
                    <a:pt x="744" y="119"/>
                  </a:lnTo>
                  <a:lnTo>
                    <a:pt x="749" y="119"/>
                  </a:lnTo>
                  <a:lnTo>
                    <a:pt x="749" y="121"/>
                  </a:lnTo>
                  <a:lnTo>
                    <a:pt x="754" y="123"/>
                  </a:lnTo>
                  <a:lnTo>
                    <a:pt x="759" y="123"/>
                  </a:lnTo>
                  <a:lnTo>
                    <a:pt x="761" y="123"/>
                  </a:lnTo>
                  <a:lnTo>
                    <a:pt x="766" y="123"/>
                  </a:lnTo>
                  <a:lnTo>
                    <a:pt x="768" y="123"/>
                  </a:lnTo>
                  <a:lnTo>
                    <a:pt x="768" y="123"/>
                  </a:lnTo>
                  <a:lnTo>
                    <a:pt x="768" y="121"/>
                  </a:lnTo>
                  <a:lnTo>
                    <a:pt x="770" y="121"/>
                  </a:lnTo>
                  <a:lnTo>
                    <a:pt x="770" y="121"/>
                  </a:lnTo>
                  <a:lnTo>
                    <a:pt x="773" y="116"/>
                  </a:lnTo>
                  <a:lnTo>
                    <a:pt x="773" y="116"/>
                  </a:lnTo>
                  <a:lnTo>
                    <a:pt x="775" y="114"/>
                  </a:lnTo>
                  <a:lnTo>
                    <a:pt x="777" y="114"/>
                  </a:lnTo>
                  <a:lnTo>
                    <a:pt x="777" y="114"/>
                  </a:lnTo>
                  <a:lnTo>
                    <a:pt x="780" y="116"/>
                  </a:lnTo>
                  <a:lnTo>
                    <a:pt x="780" y="116"/>
                  </a:lnTo>
                  <a:lnTo>
                    <a:pt x="782" y="114"/>
                  </a:lnTo>
                  <a:lnTo>
                    <a:pt x="785" y="109"/>
                  </a:lnTo>
                  <a:lnTo>
                    <a:pt x="787" y="107"/>
                  </a:lnTo>
                  <a:lnTo>
                    <a:pt x="789" y="107"/>
                  </a:lnTo>
                  <a:lnTo>
                    <a:pt x="792" y="109"/>
                  </a:lnTo>
                  <a:lnTo>
                    <a:pt x="794" y="109"/>
                  </a:lnTo>
                  <a:lnTo>
                    <a:pt x="794" y="109"/>
                  </a:lnTo>
                  <a:lnTo>
                    <a:pt x="799" y="107"/>
                  </a:lnTo>
                  <a:lnTo>
                    <a:pt x="799" y="104"/>
                  </a:lnTo>
                  <a:lnTo>
                    <a:pt x="799" y="104"/>
                  </a:lnTo>
                  <a:lnTo>
                    <a:pt x="799" y="97"/>
                  </a:lnTo>
                  <a:lnTo>
                    <a:pt x="801" y="97"/>
                  </a:lnTo>
                  <a:lnTo>
                    <a:pt x="803" y="88"/>
                  </a:lnTo>
                  <a:lnTo>
                    <a:pt x="803" y="86"/>
                  </a:lnTo>
                  <a:lnTo>
                    <a:pt x="803" y="81"/>
                  </a:lnTo>
                  <a:lnTo>
                    <a:pt x="803" y="76"/>
                  </a:lnTo>
                  <a:lnTo>
                    <a:pt x="806" y="71"/>
                  </a:lnTo>
                  <a:lnTo>
                    <a:pt x="808" y="69"/>
                  </a:lnTo>
                  <a:lnTo>
                    <a:pt x="808" y="69"/>
                  </a:lnTo>
                  <a:lnTo>
                    <a:pt x="811" y="69"/>
                  </a:lnTo>
                  <a:lnTo>
                    <a:pt x="813" y="69"/>
                  </a:lnTo>
                  <a:lnTo>
                    <a:pt x="813" y="69"/>
                  </a:lnTo>
                  <a:lnTo>
                    <a:pt x="813" y="69"/>
                  </a:lnTo>
                  <a:lnTo>
                    <a:pt x="815" y="71"/>
                  </a:lnTo>
                  <a:lnTo>
                    <a:pt x="818" y="74"/>
                  </a:lnTo>
                  <a:lnTo>
                    <a:pt x="820" y="76"/>
                  </a:lnTo>
                  <a:lnTo>
                    <a:pt x="822" y="76"/>
                  </a:lnTo>
                  <a:lnTo>
                    <a:pt x="825" y="76"/>
                  </a:lnTo>
                  <a:lnTo>
                    <a:pt x="829" y="71"/>
                  </a:lnTo>
                  <a:lnTo>
                    <a:pt x="832" y="71"/>
                  </a:lnTo>
                  <a:lnTo>
                    <a:pt x="832" y="69"/>
                  </a:lnTo>
                  <a:lnTo>
                    <a:pt x="837" y="69"/>
                  </a:lnTo>
                  <a:lnTo>
                    <a:pt x="841" y="69"/>
                  </a:lnTo>
                  <a:lnTo>
                    <a:pt x="841" y="69"/>
                  </a:lnTo>
                  <a:lnTo>
                    <a:pt x="844" y="69"/>
                  </a:lnTo>
                  <a:lnTo>
                    <a:pt x="846" y="67"/>
                  </a:lnTo>
                  <a:lnTo>
                    <a:pt x="851" y="62"/>
                  </a:lnTo>
                  <a:lnTo>
                    <a:pt x="851" y="60"/>
                  </a:lnTo>
                  <a:lnTo>
                    <a:pt x="853" y="57"/>
                  </a:lnTo>
                  <a:lnTo>
                    <a:pt x="853" y="57"/>
                  </a:lnTo>
                  <a:lnTo>
                    <a:pt x="855" y="52"/>
                  </a:lnTo>
                  <a:lnTo>
                    <a:pt x="855" y="48"/>
                  </a:lnTo>
                  <a:lnTo>
                    <a:pt x="853" y="43"/>
                  </a:lnTo>
                  <a:lnTo>
                    <a:pt x="853" y="43"/>
                  </a:lnTo>
                  <a:lnTo>
                    <a:pt x="853" y="41"/>
                  </a:lnTo>
                  <a:lnTo>
                    <a:pt x="853" y="41"/>
                  </a:lnTo>
                  <a:lnTo>
                    <a:pt x="853" y="38"/>
                  </a:lnTo>
                  <a:lnTo>
                    <a:pt x="855" y="38"/>
                  </a:lnTo>
                  <a:lnTo>
                    <a:pt x="863" y="36"/>
                  </a:lnTo>
                  <a:lnTo>
                    <a:pt x="865" y="38"/>
                  </a:lnTo>
                  <a:lnTo>
                    <a:pt x="867" y="38"/>
                  </a:lnTo>
                  <a:lnTo>
                    <a:pt x="872" y="34"/>
                  </a:lnTo>
                  <a:lnTo>
                    <a:pt x="879" y="34"/>
                  </a:lnTo>
                  <a:lnTo>
                    <a:pt x="879" y="34"/>
                  </a:lnTo>
                  <a:lnTo>
                    <a:pt x="881" y="34"/>
                  </a:lnTo>
                  <a:lnTo>
                    <a:pt x="881" y="34"/>
                  </a:lnTo>
                  <a:lnTo>
                    <a:pt x="881" y="31"/>
                  </a:lnTo>
                  <a:lnTo>
                    <a:pt x="881" y="29"/>
                  </a:lnTo>
                  <a:lnTo>
                    <a:pt x="881" y="29"/>
                  </a:lnTo>
                  <a:lnTo>
                    <a:pt x="881" y="26"/>
                  </a:lnTo>
                  <a:lnTo>
                    <a:pt x="881" y="22"/>
                  </a:lnTo>
                  <a:lnTo>
                    <a:pt x="879" y="19"/>
                  </a:lnTo>
                  <a:lnTo>
                    <a:pt x="879" y="17"/>
                  </a:lnTo>
                  <a:lnTo>
                    <a:pt x="884" y="17"/>
                  </a:lnTo>
                  <a:lnTo>
                    <a:pt x="886" y="17"/>
                  </a:lnTo>
                  <a:lnTo>
                    <a:pt x="889" y="15"/>
                  </a:lnTo>
                  <a:lnTo>
                    <a:pt x="891" y="15"/>
                  </a:lnTo>
                  <a:lnTo>
                    <a:pt x="896" y="15"/>
                  </a:lnTo>
                  <a:lnTo>
                    <a:pt x="896" y="12"/>
                  </a:lnTo>
                  <a:lnTo>
                    <a:pt x="896" y="12"/>
                  </a:lnTo>
                  <a:lnTo>
                    <a:pt x="898" y="12"/>
                  </a:lnTo>
                  <a:lnTo>
                    <a:pt x="900" y="10"/>
                  </a:lnTo>
                  <a:lnTo>
                    <a:pt x="900" y="10"/>
                  </a:lnTo>
                  <a:lnTo>
                    <a:pt x="907" y="8"/>
                  </a:lnTo>
                  <a:lnTo>
                    <a:pt x="910" y="5"/>
                  </a:lnTo>
                  <a:lnTo>
                    <a:pt x="910" y="5"/>
                  </a:lnTo>
                  <a:lnTo>
                    <a:pt x="910" y="3"/>
                  </a:lnTo>
                  <a:lnTo>
                    <a:pt x="912" y="3"/>
                  </a:lnTo>
                  <a:lnTo>
                    <a:pt x="914" y="3"/>
                  </a:lnTo>
                  <a:lnTo>
                    <a:pt x="914" y="0"/>
                  </a:lnTo>
                  <a:lnTo>
                    <a:pt x="914" y="0"/>
                  </a:lnTo>
                  <a:lnTo>
                    <a:pt x="919" y="0"/>
                  </a:lnTo>
                  <a:lnTo>
                    <a:pt x="919" y="0"/>
                  </a:lnTo>
                  <a:lnTo>
                    <a:pt x="919" y="0"/>
                  </a:lnTo>
                  <a:lnTo>
                    <a:pt x="922" y="0"/>
                  </a:lnTo>
                  <a:lnTo>
                    <a:pt x="922" y="3"/>
                  </a:lnTo>
                  <a:lnTo>
                    <a:pt x="924" y="3"/>
                  </a:lnTo>
                  <a:lnTo>
                    <a:pt x="926" y="3"/>
                  </a:lnTo>
                  <a:lnTo>
                    <a:pt x="929" y="3"/>
                  </a:lnTo>
                  <a:lnTo>
                    <a:pt x="931" y="3"/>
                  </a:lnTo>
                  <a:lnTo>
                    <a:pt x="931" y="5"/>
                  </a:lnTo>
                  <a:lnTo>
                    <a:pt x="933" y="5"/>
                  </a:lnTo>
                  <a:lnTo>
                    <a:pt x="933" y="8"/>
                  </a:lnTo>
                  <a:lnTo>
                    <a:pt x="933" y="8"/>
                  </a:lnTo>
                  <a:lnTo>
                    <a:pt x="933" y="10"/>
                  </a:lnTo>
                  <a:lnTo>
                    <a:pt x="936" y="12"/>
                  </a:lnTo>
                  <a:lnTo>
                    <a:pt x="936" y="12"/>
                  </a:lnTo>
                  <a:lnTo>
                    <a:pt x="936" y="15"/>
                  </a:lnTo>
                  <a:lnTo>
                    <a:pt x="936" y="15"/>
                  </a:lnTo>
                  <a:lnTo>
                    <a:pt x="936" y="19"/>
                  </a:lnTo>
                  <a:lnTo>
                    <a:pt x="936" y="19"/>
                  </a:lnTo>
                  <a:lnTo>
                    <a:pt x="936" y="22"/>
                  </a:lnTo>
                  <a:lnTo>
                    <a:pt x="938" y="22"/>
                  </a:lnTo>
                  <a:lnTo>
                    <a:pt x="938" y="24"/>
                  </a:lnTo>
                  <a:lnTo>
                    <a:pt x="938" y="24"/>
                  </a:lnTo>
                  <a:lnTo>
                    <a:pt x="938" y="22"/>
                  </a:lnTo>
                  <a:lnTo>
                    <a:pt x="943" y="24"/>
                  </a:lnTo>
                  <a:lnTo>
                    <a:pt x="945" y="22"/>
                  </a:lnTo>
                  <a:lnTo>
                    <a:pt x="945" y="22"/>
                  </a:lnTo>
                  <a:lnTo>
                    <a:pt x="945" y="22"/>
                  </a:lnTo>
                  <a:lnTo>
                    <a:pt x="948" y="22"/>
                  </a:lnTo>
                  <a:lnTo>
                    <a:pt x="948" y="24"/>
                  </a:lnTo>
                  <a:lnTo>
                    <a:pt x="952" y="24"/>
                  </a:lnTo>
                  <a:lnTo>
                    <a:pt x="955" y="24"/>
                  </a:lnTo>
                  <a:lnTo>
                    <a:pt x="959" y="26"/>
                  </a:lnTo>
                  <a:lnTo>
                    <a:pt x="962" y="26"/>
                  </a:lnTo>
                  <a:lnTo>
                    <a:pt x="964" y="26"/>
                  </a:lnTo>
                  <a:lnTo>
                    <a:pt x="964" y="29"/>
                  </a:lnTo>
                  <a:lnTo>
                    <a:pt x="969" y="31"/>
                  </a:lnTo>
                  <a:lnTo>
                    <a:pt x="971" y="34"/>
                  </a:lnTo>
                  <a:lnTo>
                    <a:pt x="971" y="34"/>
                  </a:lnTo>
                  <a:lnTo>
                    <a:pt x="974" y="36"/>
                  </a:lnTo>
                  <a:lnTo>
                    <a:pt x="974" y="36"/>
                  </a:lnTo>
                  <a:lnTo>
                    <a:pt x="974" y="36"/>
                  </a:lnTo>
                  <a:lnTo>
                    <a:pt x="978" y="34"/>
                  </a:lnTo>
                  <a:lnTo>
                    <a:pt x="983" y="34"/>
                  </a:lnTo>
                  <a:lnTo>
                    <a:pt x="983" y="34"/>
                  </a:lnTo>
                  <a:lnTo>
                    <a:pt x="985" y="34"/>
                  </a:lnTo>
                  <a:lnTo>
                    <a:pt x="992" y="34"/>
                  </a:lnTo>
                  <a:lnTo>
                    <a:pt x="992" y="34"/>
                  </a:lnTo>
                  <a:lnTo>
                    <a:pt x="992" y="34"/>
                  </a:lnTo>
                  <a:lnTo>
                    <a:pt x="997" y="38"/>
                  </a:lnTo>
                  <a:lnTo>
                    <a:pt x="1000" y="41"/>
                  </a:lnTo>
                  <a:lnTo>
                    <a:pt x="1002" y="41"/>
                  </a:lnTo>
                  <a:lnTo>
                    <a:pt x="1004" y="43"/>
                  </a:lnTo>
                  <a:lnTo>
                    <a:pt x="1007" y="45"/>
                  </a:lnTo>
                  <a:lnTo>
                    <a:pt x="1007" y="50"/>
                  </a:lnTo>
                  <a:lnTo>
                    <a:pt x="1007" y="52"/>
                  </a:lnTo>
                  <a:lnTo>
                    <a:pt x="1007" y="55"/>
                  </a:lnTo>
                  <a:lnTo>
                    <a:pt x="1009" y="57"/>
                  </a:lnTo>
                  <a:lnTo>
                    <a:pt x="1011" y="60"/>
                  </a:lnTo>
                  <a:lnTo>
                    <a:pt x="1014" y="60"/>
                  </a:lnTo>
                  <a:lnTo>
                    <a:pt x="1016" y="60"/>
                  </a:lnTo>
                  <a:lnTo>
                    <a:pt x="1016" y="55"/>
                  </a:lnTo>
                  <a:lnTo>
                    <a:pt x="1016" y="48"/>
                  </a:lnTo>
                  <a:lnTo>
                    <a:pt x="1018" y="45"/>
                  </a:lnTo>
                  <a:lnTo>
                    <a:pt x="1021" y="38"/>
                  </a:lnTo>
                  <a:lnTo>
                    <a:pt x="1026" y="38"/>
                  </a:lnTo>
                  <a:lnTo>
                    <a:pt x="1030" y="38"/>
                  </a:lnTo>
                  <a:lnTo>
                    <a:pt x="1033" y="41"/>
                  </a:lnTo>
                  <a:lnTo>
                    <a:pt x="1035" y="43"/>
                  </a:lnTo>
                  <a:lnTo>
                    <a:pt x="1035" y="48"/>
                  </a:lnTo>
                  <a:lnTo>
                    <a:pt x="1033" y="48"/>
                  </a:lnTo>
                  <a:lnTo>
                    <a:pt x="1030" y="50"/>
                  </a:lnTo>
                  <a:lnTo>
                    <a:pt x="1028" y="52"/>
                  </a:lnTo>
                  <a:lnTo>
                    <a:pt x="1028" y="52"/>
                  </a:lnTo>
                  <a:lnTo>
                    <a:pt x="1028" y="52"/>
                  </a:lnTo>
                  <a:lnTo>
                    <a:pt x="1028" y="55"/>
                  </a:lnTo>
                  <a:lnTo>
                    <a:pt x="1028" y="57"/>
                  </a:lnTo>
                  <a:lnTo>
                    <a:pt x="1030" y="60"/>
                  </a:lnTo>
                  <a:lnTo>
                    <a:pt x="1033" y="62"/>
                  </a:lnTo>
                  <a:lnTo>
                    <a:pt x="1037" y="64"/>
                  </a:lnTo>
                  <a:lnTo>
                    <a:pt x="1037" y="64"/>
                  </a:lnTo>
                  <a:lnTo>
                    <a:pt x="1040" y="67"/>
                  </a:lnTo>
                  <a:lnTo>
                    <a:pt x="1042" y="67"/>
                  </a:lnTo>
                  <a:lnTo>
                    <a:pt x="1044" y="64"/>
                  </a:lnTo>
                  <a:lnTo>
                    <a:pt x="1049" y="60"/>
                  </a:lnTo>
                  <a:lnTo>
                    <a:pt x="1049" y="60"/>
                  </a:lnTo>
                  <a:lnTo>
                    <a:pt x="1052" y="60"/>
                  </a:lnTo>
                  <a:lnTo>
                    <a:pt x="1054" y="60"/>
                  </a:lnTo>
                  <a:lnTo>
                    <a:pt x="1054" y="62"/>
                  </a:lnTo>
                  <a:lnTo>
                    <a:pt x="1056" y="64"/>
                  </a:lnTo>
                  <a:lnTo>
                    <a:pt x="1056" y="67"/>
                  </a:lnTo>
                  <a:lnTo>
                    <a:pt x="1056" y="67"/>
                  </a:lnTo>
                  <a:lnTo>
                    <a:pt x="1056" y="69"/>
                  </a:lnTo>
                  <a:lnTo>
                    <a:pt x="1054" y="69"/>
                  </a:lnTo>
                  <a:lnTo>
                    <a:pt x="1054" y="71"/>
                  </a:lnTo>
                  <a:lnTo>
                    <a:pt x="1054" y="74"/>
                  </a:lnTo>
                  <a:lnTo>
                    <a:pt x="1056" y="74"/>
                  </a:lnTo>
                  <a:lnTo>
                    <a:pt x="1054" y="76"/>
                  </a:lnTo>
                  <a:lnTo>
                    <a:pt x="1054" y="78"/>
                  </a:lnTo>
                  <a:lnTo>
                    <a:pt x="1054" y="81"/>
                  </a:lnTo>
                  <a:lnTo>
                    <a:pt x="1056" y="81"/>
                  </a:lnTo>
                  <a:lnTo>
                    <a:pt x="1056" y="83"/>
                  </a:lnTo>
                  <a:lnTo>
                    <a:pt x="1059" y="88"/>
                  </a:lnTo>
                  <a:lnTo>
                    <a:pt x="1059" y="90"/>
                  </a:lnTo>
                  <a:lnTo>
                    <a:pt x="1063" y="100"/>
                  </a:lnTo>
                  <a:lnTo>
                    <a:pt x="1063" y="104"/>
                  </a:lnTo>
                  <a:lnTo>
                    <a:pt x="1068" y="107"/>
                  </a:lnTo>
                  <a:lnTo>
                    <a:pt x="1068" y="109"/>
                  </a:lnTo>
                  <a:lnTo>
                    <a:pt x="1070" y="112"/>
                  </a:lnTo>
                  <a:lnTo>
                    <a:pt x="1070" y="114"/>
                  </a:lnTo>
                  <a:lnTo>
                    <a:pt x="1068" y="114"/>
                  </a:lnTo>
                  <a:lnTo>
                    <a:pt x="1068" y="116"/>
                  </a:lnTo>
                  <a:lnTo>
                    <a:pt x="1070" y="116"/>
                  </a:lnTo>
                  <a:lnTo>
                    <a:pt x="1073" y="116"/>
                  </a:lnTo>
                  <a:lnTo>
                    <a:pt x="1075" y="119"/>
                  </a:lnTo>
                  <a:lnTo>
                    <a:pt x="1075" y="119"/>
                  </a:lnTo>
                  <a:lnTo>
                    <a:pt x="1080" y="119"/>
                  </a:lnTo>
                  <a:lnTo>
                    <a:pt x="1080" y="119"/>
                  </a:lnTo>
                  <a:lnTo>
                    <a:pt x="1080" y="119"/>
                  </a:lnTo>
                  <a:lnTo>
                    <a:pt x="1085" y="119"/>
                  </a:lnTo>
                  <a:lnTo>
                    <a:pt x="1085" y="119"/>
                  </a:lnTo>
                  <a:lnTo>
                    <a:pt x="1085" y="121"/>
                  </a:lnTo>
                  <a:lnTo>
                    <a:pt x="1085" y="121"/>
                  </a:lnTo>
                  <a:lnTo>
                    <a:pt x="1087" y="121"/>
                  </a:lnTo>
                  <a:lnTo>
                    <a:pt x="1089" y="123"/>
                  </a:lnTo>
                  <a:lnTo>
                    <a:pt x="1089" y="123"/>
                  </a:lnTo>
                  <a:lnTo>
                    <a:pt x="1092" y="123"/>
                  </a:lnTo>
                  <a:lnTo>
                    <a:pt x="1092" y="123"/>
                  </a:lnTo>
                  <a:lnTo>
                    <a:pt x="1094" y="126"/>
                  </a:lnTo>
                  <a:lnTo>
                    <a:pt x="1094" y="128"/>
                  </a:lnTo>
                  <a:lnTo>
                    <a:pt x="1092" y="130"/>
                  </a:lnTo>
                  <a:lnTo>
                    <a:pt x="1092" y="130"/>
                  </a:lnTo>
                  <a:lnTo>
                    <a:pt x="1092" y="133"/>
                  </a:lnTo>
                  <a:lnTo>
                    <a:pt x="1092" y="133"/>
                  </a:lnTo>
                  <a:lnTo>
                    <a:pt x="1092" y="133"/>
                  </a:lnTo>
                  <a:lnTo>
                    <a:pt x="1092" y="135"/>
                  </a:lnTo>
                  <a:lnTo>
                    <a:pt x="1092" y="135"/>
                  </a:lnTo>
                  <a:lnTo>
                    <a:pt x="1092" y="135"/>
                  </a:lnTo>
                  <a:lnTo>
                    <a:pt x="1089" y="135"/>
                  </a:lnTo>
                  <a:lnTo>
                    <a:pt x="1089" y="135"/>
                  </a:lnTo>
                  <a:lnTo>
                    <a:pt x="1089" y="137"/>
                  </a:lnTo>
                  <a:lnTo>
                    <a:pt x="1089" y="140"/>
                  </a:lnTo>
                  <a:lnTo>
                    <a:pt x="1089" y="142"/>
                  </a:lnTo>
                  <a:lnTo>
                    <a:pt x="1092" y="142"/>
                  </a:lnTo>
                  <a:lnTo>
                    <a:pt x="1092" y="142"/>
                  </a:lnTo>
                  <a:lnTo>
                    <a:pt x="1094" y="145"/>
                  </a:lnTo>
                  <a:lnTo>
                    <a:pt x="1094" y="145"/>
                  </a:lnTo>
                  <a:lnTo>
                    <a:pt x="1096" y="145"/>
                  </a:lnTo>
                  <a:lnTo>
                    <a:pt x="1094" y="147"/>
                  </a:lnTo>
                  <a:lnTo>
                    <a:pt x="1094" y="147"/>
                  </a:lnTo>
                  <a:lnTo>
                    <a:pt x="1094" y="147"/>
                  </a:lnTo>
                  <a:lnTo>
                    <a:pt x="1092" y="149"/>
                  </a:lnTo>
                  <a:lnTo>
                    <a:pt x="1092" y="149"/>
                  </a:lnTo>
                  <a:lnTo>
                    <a:pt x="1089" y="152"/>
                  </a:lnTo>
                  <a:lnTo>
                    <a:pt x="1089" y="152"/>
                  </a:lnTo>
                  <a:lnTo>
                    <a:pt x="1089" y="152"/>
                  </a:lnTo>
                  <a:lnTo>
                    <a:pt x="1089" y="154"/>
                  </a:lnTo>
                  <a:lnTo>
                    <a:pt x="1089" y="156"/>
                  </a:lnTo>
                  <a:lnTo>
                    <a:pt x="1089" y="159"/>
                  </a:lnTo>
                  <a:lnTo>
                    <a:pt x="1092" y="163"/>
                  </a:lnTo>
                  <a:lnTo>
                    <a:pt x="1092" y="163"/>
                  </a:lnTo>
                  <a:lnTo>
                    <a:pt x="1092" y="163"/>
                  </a:lnTo>
                  <a:lnTo>
                    <a:pt x="1094" y="166"/>
                  </a:lnTo>
                  <a:lnTo>
                    <a:pt x="1096" y="168"/>
                  </a:lnTo>
                  <a:lnTo>
                    <a:pt x="1099" y="168"/>
                  </a:lnTo>
                  <a:lnTo>
                    <a:pt x="1099" y="168"/>
                  </a:lnTo>
                  <a:lnTo>
                    <a:pt x="1099" y="171"/>
                  </a:lnTo>
                  <a:lnTo>
                    <a:pt x="1096" y="171"/>
                  </a:lnTo>
                  <a:lnTo>
                    <a:pt x="1099" y="173"/>
                  </a:lnTo>
                  <a:lnTo>
                    <a:pt x="1099" y="173"/>
                  </a:lnTo>
                  <a:lnTo>
                    <a:pt x="1096" y="175"/>
                  </a:lnTo>
                  <a:lnTo>
                    <a:pt x="1096" y="178"/>
                  </a:lnTo>
                  <a:lnTo>
                    <a:pt x="1094" y="180"/>
                  </a:lnTo>
                  <a:lnTo>
                    <a:pt x="1094" y="180"/>
                  </a:lnTo>
                  <a:lnTo>
                    <a:pt x="1096" y="182"/>
                  </a:lnTo>
                  <a:lnTo>
                    <a:pt x="1099" y="187"/>
                  </a:lnTo>
                  <a:lnTo>
                    <a:pt x="1099" y="187"/>
                  </a:lnTo>
                  <a:lnTo>
                    <a:pt x="1101" y="187"/>
                  </a:lnTo>
                  <a:lnTo>
                    <a:pt x="1101" y="187"/>
                  </a:lnTo>
                  <a:lnTo>
                    <a:pt x="1103" y="187"/>
                  </a:lnTo>
                  <a:lnTo>
                    <a:pt x="1103" y="189"/>
                  </a:lnTo>
                  <a:lnTo>
                    <a:pt x="1103" y="189"/>
                  </a:lnTo>
                  <a:lnTo>
                    <a:pt x="1106" y="189"/>
                  </a:lnTo>
                  <a:lnTo>
                    <a:pt x="1108" y="189"/>
                  </a:lnTo>
                  <a:lnTo>
                    <a:pt x="1111" y="189"/>
                  </a:lnTo>
                  <a:lnTo>
                    <a:pt x="1115" y="192"/>
                  </a:lnTo>
                  <a:lnTo>
                    <a:pt x="1118" y="194"/>
                  </a:lnTo>
                  <a:lnTo>
                    <a:pt x="1118" y="197"/>
                  </a:lnTo>
                  <a:lnTo>
                    <a:pt x="1118" y="197"/>
                  </a:lnTo>
                  <a:lnTo>
                    <a:pt x="1118" y="199"/>
                  </a:lnTo>
                  <a:lnTo>
                    <a:pt x="1120" y="206"/>
                  </a:lnTo>
                  <a:lnTo>
                    <a:pt x="1122" y="208"/>
                  </a:lnTo>
                  <a:lnTo>
                    <a:pt x="1122" y="211"/>
                  </a:lnTo>
                  <a:lnTo>
                    <a:pt x="1122" y="215"/>
                  </a:lnTo>
                  <a:lnTo>
                    <a:pt x="1122" y="215"/>
                  </a:lnTo>
                  <a:lnTo>
                    <a:pt x="1125" y="218"/>
                  </a:lnTo>
                  <a:lnTo>
                    <a:pt x="1127" y="234"/>
                  </a:lnTo>
                  <a:lnTo>
                    <a:pt x="1127" y="234"/>
                  </a:lnTo>
                  <a:lnTo>
                    <a:pt x="1127" y="234"/>
                  </a:lnTo>
                  <a:lnTo>
                    <a:pt x="1125" y="237"/>
                  </a:lnTo>
                  <a:lnTo>
                    <a:pt x="1122" y="237"/>
                  </a:lnTo>
                  <a:lnTo>
                    <a:pt x="1120" y="237"/>
                  </a:lnTo>
                  <a:lnTo>
                    <a:pt x="1118" y="239"/>
                  </a:lnTo>
                  <a:lnTo>
                    <a:pt x="1118" y="239"/>
                  </a:lnTo>
                  <a:lnTo>
                    <a:pt x="1118" y="241"/>
                  </a:lnTo>
                  <a:lnTo>
                    <a:pt x="1118" y="241"/>
                  </a:lnTo>
                  <a:lnTo>
                    <a:pt x="1115" y="241"/>
                  </a:lnTo>
                  <a:lnTo>
                    <a:pt x="1115" y="241"/>
                  </a:lnTo>
                  <a:lnTo>
                    <a:pt x="1115" y="241"/>
                  </a:lnTo>
                  <a:lnTo>
                    <a:pt x="1113" y="244"/>
                  </a:lnTo>
                  <a:lnTo>
                    <a:pt x="1113" y="244"/>
                  </a:lnTo>
                  <a:lnTo>
                    <a:pt x="1115" y="244"/>
                  </a:lnTo>
                  <a:lnTo>
                    <a:pt x="1113" y="244"/>
                  </a:lnTo>
                  <a:lnTo>
                    <a:pt x="1113" y="246"/>
                  </a:lnTo>
                  <a:lnTo>
                    <a:pt x="1113" y="246"/>
                  </a:lnTo>
                  <a:lnTo>
                    <a:pt x="1118" y="256"/>
                  </a:lnTo>
                  <a:lnTo>
                    <a:pt x="1118" y="258"/>
                  </a:lnTo>
                  <a:lnTo>
                    <a:pt x="1118" y="258"/>
                  </a:lnTo>
                  <a:lnTo>
                    <a:pt x="1118" y="260"/>
                  </a:lnTo>
                  <a:lnTo>
                    <a:pt x="1118" y="260"/>
                  </a:lnTo>
                  <a:lnTo>
                    <a:pt x="1118" y="263"/>
                  </a:lnTo>
                  <a:lnTo>
                    <a:pt x="1118" y="263"/>
                  </a:lnTo>
                  <a:lnTo>
                    <a:pt x="1115" y="263"/>
                  </a:lnTo>
                  <a:lnTo>
                    <a:pt x="1115" y="263"/>
                  </a:lnTo>
                  <a:lnTo>
                    <a:pt x="1113" y="263"/>
                  </a:lnTo>
                  <a:lnTo>
                    <a:pt x="1113" y="265"/>
                  </a:lnTo>
                  <a:lnTo>
                    <a:pt x="1115" y="265"/>
                  </a:lnTo>
                  <a:lnTo>
                    <a:pt x="1115" y="265"/>
                  </a:lnTo>
                  <a:lnTo>
                    <a:pt x="1115" y="267"/>
                  </a:lnTo>
                  <a:lnTo>
                    <a:pt x="1115" y="267"/>
                  </a:lnTo>
                  <a:lnTo>
                    <a:pt x="1118" y="282"/>
                  </a:lnTo>
                  <a:lnTo>
                    <a:pt x="1101" y="289"/>
                  </a:lnTo>
                  <a:lnTo>
                    <a:pt x="1099" y="291"/>
                  </a:lnTo>
                  <a:lnTo>
                    <a:pt x="1094" y="291"/>
                  </a:lnTo>
                  <a:lnTo>
                    <a:pt x="1092" y="291"/>
                  </a:lnTo>
                  <a:lnTo>
                    <a:pt x="1092" y="289"/>
                  </a:lnTo>
                  <a:lnTo>
                    <a:pt x="1092" y="289"/>
                  </a:lnTo>
                  <a:lnTo>
                    <a:pt x="1089" y="286"/>
                  </a:lnTo>
                  <a:lnTo>
                    <a:pt x="1089" y="286"/>
                  </a:lnTo>
                  <a:lnTo>
                    <a:pt x="1087" y="284"/>
                  </a:lnTo>
                  <a:lnTo>
                    <a:pt x="1087" y="284"/>
                  </a:lnTo>
                  <a:lnTo>
                    <a:pt x="1085" y="286"/>
                  </a:lnTo>
                  <a:lnTo>
                    <a:pt x="1082" y="284"/>
                  </a:lnTo>
                  <a:lnTo>
                    <a:pt x="1082" y="284"/>
                  </a:lnTo>
                  <a:lnTo>
                    <a:pt x="1080" y="286"/>
                  </a:lnTo>
                  <a:lnTo>
                    <a:pt x="1080" y="284"/>
                  </a:lnTo>
                  <a:lnTo>
                    <a:pt x="1077" y="286"/>
                  </a:lnTo>
                  <a:lnTo>
                    <a:pt x="1075" y="286"/>
                  </a:lnTo>
                  <a:lnTo>
                    <a:pt x="1075" y="286"/>
                  </a:lnTo>
                  <a:lnTo>
                    <a:pt x="1073" y="286"/>
                  </a:lnTo>
                  <a:lnTo>
                    <a:pt x="1073" y="286"/>
                  </a:lnTo>
                  <a:lnTo>
                    <a:pt x="1070" y="284"/>
                  </a:lnTo>
                  <a:lnTo>
                    <a:pt x="1068" y="284"/>
                  </a:lnTo>
                  <a:lnTo>
                    <a:pt x="1068" y="284"/>
                  </a:lnTo>
                  <a:lnTo>
                    <a:pt x="1066" y="286"/>
                  </a:lnTo>
                  <a:lnTo>
                    <a:pt x="1066" y="289"/>
                  </a:lnTo>
                  <a:lnTo>
                    <a:pt x="1066" y="289"/>
                  </a:lnTo>
                  <a:lnTo>
                    <a:pt x="1066" y="291"/>
                  </a:lnTo>
                  <a:lnTo>
                    <a:pt x="1066" y="293"/>
                  </a:lnTo>
                  <a:lnTo>
                    <a:pt x="1066" y="296"/>
                  </a:lnTo>
                  <a:lnTo>
                    <a:pt x="1063" y="296"/>
                  </a:lnTo>
                  <a:lnTo>
                    <a:pt x="1063" y="296"/>
                  </a:lnTo>
                  <a:lnTo>
                    <a:pt x="1063" y="298"/>
                  </a:lnTo>
                  <a:lnTo>
                    <a:pt x="1063" y="300"/>
                  </a:lnTo>
                  <a:lnTo>
                    <a:pt x="1063" y="300"/>
                  </a:lnTo>
                  <a:lnTo>
                    <a:pt x="1066" y="303"/>
                  </a:lnTo>
                  <a:lnTo>
                    <a:pt x="1063" y="303"/>
                  </a:lnTo>
                  <a:lnTo>
                    <a:pt x="1063" y="305"/>
                  </a:lnTo>
                  <a:lnTo>
                    <a:pt x="1063" y="308"/>
                  </a:lnTo>
                  <a:lnTo>
                    <a:pt x="1066" y="310"/>
                  </a:lnTo>
                  <a:lnTo>
                    <a:pt x="1066" y="312"/>
                  </a:lnTo>
                  <a:lnTo>
                    <a:pt x="1066" y="312"/>
                  </a:lnTo>
                  <a:lnTo>
                    <a:pt x="1066" y="315"/>
                  </a:lnTo>
                  <a:lnTo>
                    <a:pt x="1068" y="312"/>
                  </a:lnTo>
                  <a:lnTo>
                    <a:pt x="1068" y="312"/>
                  </a:lnTo>
                  <a:lnTo>
                    <a:pt x="1068" y="315"/>
                  </a:lnTo>
                  <a:lnTo>
                    <a:pt x="1070" y="315"/>
                  </a:lnTo>
                  <a:lnTo>
                    <a:pt x="1070" y="317"/>
                  </a:lnTo>
                  <a:lnTo>
                    <a:pt x="1070" y="317"/>
                  </a:lnTo>
                  <a:lnTo>
                    <a:pt x="1070" y="319"/>
                  </a:lnTo>
                  <a:lnTo>
                    <a:pt x="1073" y="319"/>
                  </a:lnTo>
                  <a:lnTo>
                    <a:pt x="1075" y="322"/>
                  </a:lnTo>
                  <a:lnTo>
                    <a:pt x="1075" y="324"/>
                  </a:lnTo>
                  <a:lnTo>
                    <a:pt x="1077" y="324"/>
                  </a:lnTo>
                  <a:lnTo>
                    <a:pt x="1077" y="324"/>
                  </a:lnTo>
                  <a:lnTo>
                    <a:pt x="1077" y="324"/>
                  </a:lnTo>
                  <a:lnTo>
                    <a:pt x="1080" y="324"/>
                  </a:lnTo>
                  <a:lnTo>
                    <a:pt x="1080" y="324"/>
                  </a:lnTo>
                  <a:lnTo>
                    <a:pt x="1080" y="326"/>
                  </a:lnTo>
                  <a:lnTo>
                    <a:pt x="1082" y="326"/>
                  </a:lnTo>
                  <a:lnTo>
                    <a:pt x="1080" y="326"/>
                  </a:lnTo>
                  <a:lnTo>
                    <a:pt x="1080" y="329"/>
                  </a:lnTo>
                  <a:lnTo>
                    <a:pt x="1082" y="329"/>
                  </a:lnTo>
                  <a:lnTo>
                    <a:pt x="1082" y="329"/>
                  </a:lnTo>
                  <a:lnTo>
                    <a:pt x="1082" y="329"/>
                  </a:lnTo>
                  <a:lnTo>
                    <a:pt x="1082" y="329"/>
                  </a:lnTo>
                  <a:lnTo>
                    <a:pt x="1082" y="331"/>
                  </a:lnTo>
                  <a:lnTo>
                    <a:pt x="1085" y="331"/>
                  </a:lnTo>
                  <a:lnTo>
                    <a:pt x="1085" y="334"/>
                  </a:lnTo>
                  <a:lnTo>
                    <a:pt x="1082" y="336"/>
                  </a:lnTo>
                  <a:lnTo>
                    <a:pt x="1082" y="336"/>
                  </a:lnTo>
                  <a:lnTo>
                    <a:pt x="1082" y="336"/>
                  </a:lnTo>
                  <a:lnTo>
                    <a:pt x="1082" y="338"/>
                  </a:lnTo>
                  <a:lnTo>
                    <a:pt x="1085" y="338"/>
                  </a:lnTo>
                  <a:lnTo>
                    <a:pt x="1085" y="338"/>
                  </a:lnTo>
                  <a:lnTo>
                    <a:pt x="1085" y="338"/>
                  </a:lnTo>
                  <a:lnTo>
                    <a:pt x="1085" y="341"/>
                  </a:lnTo>
                  <a:lnTo>
                    <a:pt x="1085" y="343"/>
                  </a:lnTo>
                  <a:lnTo>
                    <a:pt x="1085" y="343"/>
                  </a:lnTo>
                  <a:lnTo>
                    <a:pt x="1087" y="343"/>
                  </a:lnTo>
                  <a:lnTo>
                    <a:pt x="1089" y="345"/>
                  </a:lnTo>
                  <a:lnTo>
                    <a:pt x="1089" y="345"/>
                  </a:lnTo>
                  <a:lnTo>
                    <a:pt x="1092" y="345"/>
                  </a:lnTo>
                  <a:lnTo>
                    <a:pt x="1094" y="348"/>
                  </a:lnTo>
                  <a:lnTo>
                    <a:pt x="1094" y="348"/>
                  </a:lnTo>
                  <a:lnTo>
                    <a:pt x="1096" y="348"/>
                  </a:lnTo>
                  <a:lnTo>
                    <a:pt x="1096" y="348"/>
                  </a:lnTo>
                  <a:lnTo>
                    <a:pt x="1099" y="348"/>
                  </a:lnTo>
                  <a:lnTo>
                    <a:pt x="1096" y="348"/>
                  </a:lnTo>
                  <a:lnTo>
                    <a:pt x="1096" y="350"/>
                  </a:lnTo>
                  <a:lnTo>
                    <a:pt x="1096" y="350"/>
                  </a:lnTo>
                  <a:lnTo>
                    <a:pt x="1096" y="352"/>
                  </a:lnTo>
                  <a:lnTo>
                    <a:pt x="1096" y="352"/>
                  </a:lnTo>
                  <a:lnTo>
                    <a:pt x="1094" y="352"/>
                  </a:lnTo>
                  <a:lnTo>
                    <a:pt x="1096" y="355"/>
                  </a:lnTo>
                  <a:lnTo>
                    <a:pt x="1094" y="355"/>
                  </a:lnTo>
                  <a:lnTo>
                    <a:pt x="1094" y="355"/>
                  </a:lnTo>
                  <a:lnTo>
                    <a:pt x="1096" y="355"/>
                  </a:lnTo>
                  <a:lnTo>
                    <a:pt x="1096" y="355"/>
                  </a:lnTo>
                  <a:lnTo>
                    <a:pt x="1094" y="357"/>
                  </a:lnTo>
                  <a:lnTo>
                    <a:pt x="1096" y="357"/>
                  </a:lnTo>
                  <a:lnTo>
                    <a:pt x="1094" y="357"/>
                  </a:lnTo>
                  <a:lnTo>
                    <a:pt x="1094" y="360"/>
                  </a:lnTo>
                  <a:lnTo>
                    <a:pt x="1094" y="360"/>
                  </a:lnTo>
                  <a:lnTo>
                    <a:pt x="1094" y="362"/>
                  </a:lnTo>
                  <a:lnTo>
                    <a:pt x="1094" y="364"/>
                  </a:lnTo>
                  <a:lnTo>
                    <a:pt x="1094" y="364"/>
                  </a:lnTo>
                  <a:lnTo>
                    <a:pt x="1094" y="364"/>
                  </a:lnTo>
                  <a:lnTo>
                    <a:pt x="1096" y="367"/>
                  </a:lnTo>
                  <a:lnTo>
                    <a:pt x="1094" y="367"/>
                  </a:lnTo>
                  <a:lnTo>
                    <a:pt x="1094" y="367"/>
                  </a:lnTo>
                  <a:lnTo>
                    <a:pt x="1094" y="369"/>
                  </a:lnTo>
                  <a:lnTo>
                    <a:pt x="1096" y="367"/>
                  </a:lnTo>
                  <a:lnTo>
                    <a:pt x="1096" y="369"/>
                  </a:lnTo>
                  <a:lnTo>
                    <a:pt x="1096" y="371"/>
                  </a:lnTo>
                  <a:lnTo>
                    <a:pt x="1099" y="371"/>
                  </a:lnTo>
                  <a:lnTo>
                    <a:pt x="1099" y="371"/>
                  </a:lnTo>
                  <a:lnTo>
                    <a:pt x="1096" y="374"/>
                  </a:lnTo>
                  <a:lnTo>
                    <a:pt x="1096" y="374"/>
                  </a:lnTo>
                  <a:lnTo>
                    <a:pt x="1099" y="374"/>
                  </a:lnTo>
                  <a:lnTo>
                    <a:pt x="1099" y="376"/>
                  </a:lnTo>
                  <a:lnTo>
                    <a:pt x="1099" y="374"/>
                  </a:lnTo>
                  <a:lnTo>
                    <a:pt x="1101" y="374"/>
                  </a:lnTo>
                  <a:lnTo>
                    <a:pt x="1101" y="376"/>
                  </a:lnTo>
                  <a:lnTo>
                    <a:pt x="1099" y="376"/>
                  </a:lnTo>
                  <a:lnTo>
                    <a:pt x="1101" y="376"/>
                  </a:lnTo>
                  <a:lnTo>
                    <a:pt x="1101" y="378"/>
                  </a:lnTo>
                  <a:lnTo>
                    <a:pt x="1101" y="378"/>
                  </a:lnTo>
                  <a:lnTo>
                    <a:pt x="1101" y="378"/>
                  </a:lnTo>
                  <a:lnTo>
                    <a:pt x="1101" y="376"/>
                  </a:lnTo>
                  <a:lnTo>
                    <a:pt x="1103" y="376"/>
                  </a:lnTo>
                  <a:lnTo>
                    <a:pt x="1103" y="376"/>
                  </a:lnTo>
                  <a:lnTo>
                    <a:pt x="1103" y="376"/>
                  </a:lnTo>
                  <a:lnTo>
                    <a:pt x="1106" y="376"/>
                  </a:lnTo>
                  <a:lnTo>
                    <a:pt x="1106" y="376"/>
                  </a:lnTo>
                  <a:lnTo>
                    <a:pt x="1106" y="378"/>
                  </a:lnTo>
                  <a:lnTo>
                    <a:pt x="1106" y="378"/>
                  </a:lnTo>
                  <a:lnTo>
                    <a:pt x="1108" y="381"/>
                  </a:lnTo>
                  <a:lnTo>
                    <a:pt x="1108" y="378"/>
                  </a:lnTo>
                  <a:lnTo>
                    <a:pt x="1108" y="381"/>
                  </a:lnTo>
                  <a:lnTo>
                    <a:pt x="1108" y="378"/>
                  </a:lnTo>
                  <a:lnTo>
                    <a:pt x="1111" y="378"/>
                  </a:lnTo>
                  <a:lnTo>
                    <a:pt x="1111" y="378"/>
                  </a:lnTo>
                  <a:lnTo>
                    <a:pt x="1111" y="378"/>
                  </a:lnTo>
                  <a:lnTo>
                    <a:pt x="1108" y="378"/>
                  </a:lnTo>
                  <a:lnTo>
                    <a:pt x="1111" y="381"/>
                  </a:lnTo>
                  <a:lnTo>
                    <a:pt x="1111" y="381"/>
                  </a:lnTo>
                  <a:lnTo>
                    <a:pt x="1113" y="381"/>
                  </a:lnTo>
                  <a:lnTo>
                    <a:pt x="1113" y="381"/>
                  </a:lnTo>
                  <a:lnTo>
                    <a:pt x="1113" y="381"/>
                  </a:lnTo>
                  <a:lnTo>
                    <a:pt x="1113" y="381"/>
                  </a:lnTo>
                  <a:lnTo>
                    <a:pt x="1111" y="381"/>
                  </a:lnTo>
                  <a:lnTo>
                    <a:pt x="1111" y="383"/>
                  </a:lnTo>
                  <a:lnTo>
                    <a:pt x="1111" y="383"/>
                  </a:lnTo>
                  <a:lnTo>
                    <a:pt x="1113" y="383"/>
                  </a:lnTo>
                  <a:lnTo>
                    <a:pt x="1113" y="383"/>
                  </a:lnTo>
                  <a:lnTo>
                    <a:pt x="1113" y="386"/>
                  </a:lnTo>
                  <a:lnTo>
                    <a:pt x="1115" y="386"/>
                  </a:lnTo>
                  <a:lnTo>
                    <a:pt x="1118" y="388"/>
                  </a:lnTo>
                  <a:lnTo>
                    <a:pt x="1118" y="388"/>
                  </a:lnTo>
                  <a:lnTo>
                    <a:pt x="1118" y="388"/>
                  </a:lnTo>
                  <a:lnTo>
                    <a:pt x="1118" y="388"/>
                  </a:lnTo>
                  <a:lnTo>
                    <a:pt x="1118" y="390"/>
                  </a:lnTo>
                  <a:lnTo>
                    <a:pt x="1120" y="390"/>
                  </a:lnTo>
                  <a:lnTo>
                    <a:pt x="1120" y="390"/>
                  </a:lnTo>
                  <a:lnTo>
                    <a:pt x="1120" y="390"/>
                  </a:lnTo>
                  <a:lnTo>
                    <a:pt x="1122" y="390"/>
                  </a:lnTo>
                  <a:lnTo>
                    <a:pt x="1125" y="393"/>
                  </a:lnTo>
                  <a:lnTo>
                    <a:pt x="1125" y="390"/>
                  </a:lnTo>
                  <a:lnTo>
                    <a:pt x="1127" y="393"/>
                  </a:lnTo>
                  <a:lnTo>
                    <a:pt x="1129" y="393"/>
                  </a:lnTo>
                  <a:lnTo>
                    <a:pt x="1129" y="395"/>
                  </a:lnTo>
                  <a:lnTo>
                    <a:pt x="1129" y="395"/>
                  </a:lnTo>
                  <a:lnTo>
                    <a:pt x="1129" y="395"/>
                  </a:lnTo>
                  <a:lnTo>
                    <a:pt x="1132" y="393"/>
                  </a:lnTo>
                  <a:lnTo>
                    <a:pt x="1134" y="393"/>
                  </a:lnTo>
                  <a:lnTo>
                    <a:pt x="1132" y="397"/>
                  </a:lnTo>
                  <a:lnTo>
                    <a:pt x="1134" y="397"/>
                  </a:lnTo>
                  <a:lnTo>
                    <a:pt x="1137" y="397"/>
                  </a:lnTo>
                  <a:lnTo>
                    <a:pt x="1137" y="397"/>
                  </a:lnTo>
                  <a:lnTo>
                    <a:pt x="1137" y="395"/>
                  </a:lnTo>
                  <a:lnTo>
                    <a:pt x="1137" y="393"/>
                  </a:lnTo>
                  <a:lnTo>
                    <a:pt x="1137" y="393"/>
                  </a:lnTo>
                  <a:lnTo>
                    <a:pt x="1137" y="393"/>
                  </a:lnTo>
                  <a:lnTo>
                    <a:pt x="1139" y="393"/>
                  </a:lnTo>
                  <a:lnTo>
                    <a:pt x="1139" y="390"/>
                  </a:lnTo>
                  <a:lnTo>
                    <a:pt x="1139" y="390"/>
                  </a:lnTo>
                  <a:lnTo>
                    <a:pt x="1139" y="390"/>
                  </a:lnTo>
                  <a:lnTo>
                    <a:pt x="1141" y="390"/>
                  </a:lnTo>
                  <a:lnTo>
                    <a:pt x="1141" y="393"/>
                  </a:lnTo>
                  <a:lnTo>
                    <a:pt x="1144" y="393"/>
                  </a:lnTo>
                  <a:lnTo>
                    <a:pt x="1144" y="393"/>
                  </a:lnTo>
                  <a:lnTo>
                    <a:pt x="1144" y="393"/>
                  </a:lnTo>
                  <a:lnTo>
                    <a:pt x="1146" y="393"/>
                  </a:lnTo>
                  <a:lnTo>
                    <a:pt x="1146" y="393"/>
                  </a:lnTo>
                  <a:lnTo>
                    <a:pt x="1148" y="393"/>
                  </a:lnTo>
                  <a:lnTo>
                    <a:pt x="1146" y="393"/>
                  </a:lnTo>
                  <a:lnTo>
                    <a:pt x="1148" y="395"/>
                  </a:lnTo>
                  <a:lnTo>
                    <a:pt x="1148" y="395"/>
                  </a:lnTo>
                  <a:lnTo>
                    <a:pt x="1148" y="393"/>
                  </a:lnTo>
                  <a:lnTo>
                    <a:pt x="1148" y="393"/>
                  </a:lnTo>
                  <a:lnTo>
                    <a:pt x="1148" y="393"/>
                  </a:lnTo>
                  <a:lnTo>
                    <a:pt x="1151" y="395"/>
                  </a:lnTo>
                  <a:lnTo>
                    <a:pt x="1151" y="395"/>
                  </a:lnTo>
                  <a:lnTo>
                    <a:pt x="1155" y="395"/>
                  </a:lnTo>
                  <a:lnTo>
                    <a:pt x="1155" y="393"/>
                  </a:lnTo>
                  <a:lnTo>
                    <a:pt x="1158" y="390"/>
                  </a:lnTo>
                  <a:lnTo>
                    <a:pt x="1158" y="390"/>
                  </a:lnTo>
                  <a:lnTo>
                    <a:pt x="1163" y="390"/>
                  </a:lnTo>
                  <a:lnTo>
                    <a:pt x="1163" y="390"/>
                  </a:lnTo>
                  <a:lnTo>
                    <a:pt x="1165" y="390"/>
                  </a:lnTo>
                  <a:lnTo>
                    <a:pt x="1167" y="388"/>
                  </a:lnTo>
                  <a:lnTo>
                    <a:pt x="1172" y="386"/>
                  </a:lnTo>
                  <a:lnTo>
                    <a:pt x="1174" y="383"/>
                  </a:lnTo>
                  <a:lnTo>
                    <a:pt x="1174" y="383"/>
                  </a:lnTo>
                  <a:lnTo>
                    <a:pt x="1174" y="381"/>
                  </a:lnTo>
                  <a:lnTo>
                    <a:pt x="1177" y="381"/>
                  </a:lnTo>
                  <a:lnTo>
                    <a:pt x="1177" y="381"/>
                  </a:lnTo>
                  <a:lnTo>
                    <a:pt x="1177" y="381"/>
                  </a:lnTo>
                  <a:lnTo>
                    <a:pt x="1177" y="381"/>
                  </a:lnTo>
                  <a:lnTo>
                    <a:pt x="1177" y="383"/>
                  </a:lnTo>
                  <a:lnTo>
                    <a:pt x="1172" y="388"/>
                  </a:lnTo>
                  <a:lnTo>
                    <a:pt x="1167" y="393"/>
                  </a:lnTo>
                  <a:lnTo>
                    <a:pt x="1158" y="414"/>
                  </a:lnTo>
                  <a:lnTo>
                    <a:pt x="1155" y="419"/>
                  </a:lnTo>
                  <a:lnTo>
                    <a:pt x="1148" y="435"/>
                  </a:lnTo>
                  <a:lnTo>
                    <a:pt x="1144" y="449"/>
                  </a:lnTo>
                  <a:lnTo>
                    <a:pt x="1141" y="454"/>
                  </a:lnTo>
                  <a:lnTo>
                    <a:pt x="1139" y="459"/>
                  </a:lnTo>
                  <a:lnTo>
                    <a:pt x="1137" y="463"/>
                  </a:lnTo>
                  <a:lnTo>
                    <a:pt x="1134" y="466"/>
                  </a:lnTo>
                  <a:lnTo>
                    <a:pt x="1134" y="468"/>
                  </a:lnTo>
                  <a:lnTo>
                    <a:pt x="1132" y="471"/>
                  </a:lnTo>
                  <a:lnTo>
                    <a:pt x="1125" y="482"/>
                  </a:lnTo>
                  <a:lnTo>
                    <a:pt x="1122" y="485"/>
                  </a:lnTo>
                  <a:lnTo>
                    <a:pt x="1115" y="494"/>
                  </a:lnTo>
                  <a:lnTo>
                    <a:pt x="1111" y="504"/>
                  </a:lnTo>
                  <a:lnTo>
                    <a:pt x="1108" y="504"/>
                  </a:lnTo>
                  <a:lnTo>
                    <a:pt x="1108" y="504"/>
                  </a:lnTo>
                  <a:lnTo>
                    <a:pt x="1108" y="506"/>
                  </a:lnTo>
                  <a:lnTo>
                    <a:pt x="1108" y="506"/>
                  </a:lnTo>
                  <a:lnTo>
                    <a:pt x="1103" y="511"/>
                  </a:lnTo>
                  <a:lnTo>
                    <a:pt x="1101" y="515"/>
                  </a:lnTo>
                  <a:lnTo>
                    <a:pt x="1099" y="518"/>
                  </a:lnTo>
                  <a:lnTo>
                    <a:pt x="1099" y="520"/>
                  </a:lnTo>
                  <a:lnTo>
                    <a:pt x="1096" y="525"/>
                  </a:lnTo>
                  <a:lnTo>
                    <a:pt x="1094" y="530"/>
                  </a:lnTo>
                  <a:lnTo>
                    <a:pt x="1092" y="530"/>
                  </a:lnTo>
                  <a:lnTo>
                    <a:pt x="1089" y="532"/>
                  </a:lnTo>
                  <a:lnTo>
                    <a:pt x="1089" y="534"/>
                  </a:lnTo>
                  <a:lnTo>
                    <a:pt x="1089" y="537"/>
                  </a:lnTo>
                  <a:lnTo>
                    <a:pt x="1089" y="537"/>
                  </a:lnTo>
                  <a:lnTo>
                    <a:pt x="1087" y="537"/>
                  </a:lnTo>
                  <a:lnTo>
                    <a:pt x="1085" y="539"/>
                  </a:lnTo>
                  <a:lnTo>
                    <a:pt x="1085" y="539"/>
                  </a:lnTo>
                  <a:lnTo>
                    <a:pt x="1082" y="541"/>
                  </a:lnTo>
                  <a:lnTo>
                    <a:pt x="1077" y="546"/>
                  </a:lnTo>
                  <a:lnTo>
                    <a:pt x="1073" y="556"/>
                  </a:lnTo>
                  <a:lnTo>
                    <a:pt x="1070" y="556"/>
                  </a:lnTo>
                  <a:lnTo>
                    <a:pt x="1066" y="560"/>
                  </a:lnTo>
                  <a:lnTo>
                    <a:pt x="1063" y="563"/>
                  </a:lnTo>
                  <a:lnTo>
                    <a:pt x="1063" y="565"/>
                  </a:lnTo>
                  <a:lnTo>
                    <a:pt x="1061" y="567"/>
                  </a:lnTo>
                  <a:lnTo>
                    <a:pt x="1059" y="567"/>
                  </a:lnTo>
                  <a:lnTo>
                    <a:pt x="1056" y="570"/>
                  </a:lnTo>
                  <a:lnTo>
                    <a:pt x="1054" y="574"/>
                  </a:lnTo>
                  <a:lnTo>
                    <a:pt x="1052" y="577"/>
                  </a:lnTo>
                  <a:lnTo>
                    <a:pt x="1049" y="577"/>
                  </a:lnTo>
                  <a:lnTo>
                    <a:pt x="1047" y="577"/>
                  </a:lnTo>
                  <a:lnTo>
                    <a:pt x="1047" y="577"/>
                  </a:lnTo>
                  <a:lnTo>
                    <a:pt x="1044" y="579"/>
                  </a:lnTo>
                  <a:lnTo>
                    <a:pt x="1040" y="582"/>
                  </a:lnTo>
                  <a:lnTo>
                    <a:pt x="1037" y="584"/>
                  </a:lnTo>
                  <a:lnTo>
                    <a:pt x="1035" y="586"/>
                  </a:lnTo>
                  <a:lnTo>
                    <a:pt x="1033" y="586"/>
                  </a:lnTo>
                  <a:lnTo>
                    <a:pt x="1030" y="584"/>
                  </a:lnTo>
                  <a:lnTo>
                    <a:pt x="1030" y="586"/>
                  </a:lnTo>
                  <a:lnTo>
                    <a:pt x="1026" y="584"/>
                  </a:lnTo>
                  <a:lnTo>
                    <a:pt x="1021" y="584"/>
                  </a:lnTo>
                  <a:lnTo>
                    <a:pt x="1023" y="577"/>
                  </a:lnTo>
                  <a:lnTo>
                    <a:pt x="1023" y="574"/>
                  </a:lnTo>
                  <a:lnTo>
                    <a:pt x="1023" y="574"/>
                  </a:lnTo>
                  <a:lnTo>
                    <a:pt x="1016" y="574"/>
                  </a:lnTo>
                  <a:lnTo>
                    <a:pt x="1018" y="579"/>
                  </a:lnTo>
                  <a:lnTo>
                    <a:pt x="1016" y="582"/>
                  </a:lnTo>
                  <a:lnTo>
                    <a:pt x="1016" y="582"/>
                  </a:lnTo>
                  <a:lnTo>
                    <a:pt x="1016" y="582"/>
                  </a:lnTo>
                  <a:lnTo>
                    <a:pt x="1014" y="584"/>
                  </a:lnTo>
                  <a:lnTo>
                    <a:pt x="1011" y="586"/>
                  </a:lnTo>
                  <a:lnTo>
                    <a:pt x="1011" y="589"/>
                  </a:lnTo>
                  <a:lnTo>
                    <a:pt x="1009" y="589"/>
                  </a:lnTo>
                  <a:lnTo>
                    <a:pt x="1009" y="589"/>
                  </a:lnTo>
                  <a:lnTo>
                    <a:pt x="1007" y="591"/>
                  </a:lnTo>
                  <a:lnTo>
                    <a:pt x="1004" y="591"/>
                  </a:lnTo>
                  <a:lnTo>
                    <a:pt x="1002" y="593"/>
                  </a:lnTo>
                  <a:lnTo>
                    <a:pt x="1002" y="596"/>
                  </a:lnTo>
                  <a:lnTo>
                    <a:pt x="1000" y="596"/>
                  </a:lnTo>
                  <a:lnTo>
                    <a:pt x="1000" y="596"/>
                  </a:lnTo>
                  <a:lnTo>
                    <a:pt x="1000" y="596"/>
                  </a:lnTo>
                  <a:lnTo>
                    <a:pt x="997" y="600"/>
                  </a:lnTo>
                  <a:lnTo>
                    <a:pt x="997" y="600"/>
                  </a:lnTo>
                  <a:lnTo>
                    <a:pt x="995" y="600"/>
                  </a:lnTo>
                  <a:lnTo>
                    <a:pt x="992" y="603"/>
                  </a:lnTo>
                  <a:lnTo>
                    <a:pt x="992" y="603"/>
                  </a:lnTo>
                  <a:lnTo>
                    <a:pt x="992" y="603"/>
                  </a:lnTo>
                  <a:lnTo>
                    <a:pt x="990" y="603"/>
                  </a:lnTo>
                  <a:lnTo>
                    <a:pt x="988" y="605"/>
                  </a:lnTo>
                  <a:lnTo>
                    <a:pt x="985" y="605"/>
                  </a:lnTo>
                  <a:lnTo>
                    <a:pt x="983" y="608"/>
                  </a:lnTo>
                  <a:lnTo>
                    <a:pt x="981" y="610"/>
                  </a:lnTo>
                  <a:lnTo>
                    <a:pt x="978" y="610"/>
                  </a:lnTo>
                  <a:lnTo>
                    <a:pt x="978" y="612"/>
                  </a:lnTo>
                  <a:lnTo>
                    <a:pt x="978" y="612"/>
                  </a:lnTo>
                  <a:lnTo>
                    <a:pt x="976" y="612"/>
                  </a:lnTo>
                  <a:lnTo>
                    <a:pt x="974" y="615"/>
                  </a:lnTo>
                  <a:lnTo>
                    <a:pt x="971" y="622"/>
                  </a:lnTo>
                  <a:lnTo>
                    <a:pt x="971" y="622"/>
                  </a:lnTo>
                  <a:lnTo>
                    <a:pt x="971" y="629"/>
                  </a:lnTo>
                  <a:lnTo>
                    <a:pt x="971" y="631"/>
                  </a:lnTo>
                  <a:lnTo>
                    <a:pt x="974" y="636"/>
                  </a:lnTo>
                  <a:lnTo>
                    <a:pt x="974" y="636"/>
                  </a:lnTo>
                  <a:lnTo>
                    <a:pt x="978" y="634"/>
                  </a:lnTo>
                  <a:lnTo>
                    <a:pt x="978" y="634"/>
                  </a:lnTo>
                  <a:lnTo>
                    <a:pt x="981" y="636"/>
                  </a:lnTo>
                  <a:lnTo>
                    <a:pt x="978" y="636"/>
                  </a:lnTo>
                  <a:lnTo>
                    <a:pt x="981" y="636"/>
                  </a:lnTo>
                  <a:lnTo>
                    <a:pt x="981" y="638"/>
                  </a:lnTo>
                  <a:lnTo>
                    <a:pt x="981" y="641"/>
                  </a:lnTo>
                  <a:lnTo>
                    <a:pt x="981" y="641"/>
                  </a:lnTo>
                  <a:lnTo>
                    <a:pt x="981" y="643"/>
                  </a:lnTo>
                  <a:lnTo>
                    <a:pt x="981" y="643"/>
                  </a:lnTo>
                  <a:lnTo>
                    <a:pt x="981" y="645"/>
                  </a:lnTo>
                  <a:lnTo>
                    <a:pt x="981" y="648"/>
                  </a:lnTo>
                  <a:lnTo>
                    <a:pt x="978" y="645"/>
                  </a:lnTo>
                  <a:lnTo>
                    <a:pt x="978" y="648"/>
                  </a:lnTo>
                  <a:lnTo>
                    <a:pt x="978" y="648"/>
                  </a:lnTo>
                  <a:lnTo>
                    <a:pt x="981" y="648"/>
                  </a:lnTo>
                  <a:lnTo>
                    <a:pt x="978" y="648"/>
                  </a:lnTo>
                  <a:lnTo>
                    <a:pt x="978" y="650"/>
                  </a:lnTo>
                  <a:lnTo>
                    <a:pt x="976" y="650"/>
                  </a:lnTo>
                  <a:lnTo>
                    <a:pt x="976" y="652"/>
                  </a:lnTo>
                  <a:lnTo>
                    <a:pt x="976" y="657"/>
                  </a:lnTo>
                  <a:lnTo>
                    <a:pt x="976" y="660"/>
                  </a:lnTo>
                  <a:lnTo>
                    <a:pt x="976" y="660"/>
                  </a:lnTo>
                  <a:lnTo>
                    <a:pt x="978" y="660"/>
                  </a:lnTo>
                  <a:lnTo>
                    <a:pt x="978" y="660"/>
                  </a:lnTo>
                  <a:lnTo>
                    <a:pt x="978" y="662"/>
                  </a:lnTo>
                  <a:lnTo>
                    <a:pt x="981" y="662"/>
                  </a:lnTo>
                  <a:lnTo>
                    <a:pt x="978" y="664"/>
                  </a:lnTo>
                  <a:lnTo>
                    <a:pt x="978" y="667"/>
                  </a:lnTo>
                  <a:lnTo>
                    <a:pt x="981" y="667"/>
                  </a:lnTo>
                  <a:lnTo>
                    <a:pt x="981" y="664"/>
                  </a:lnTo>
                  <a:lnTo>
                    <a:pt x="981" y="667"/>
                  </a:lnTo>
                  <a:lnTo>
                    <a:pt x="981" y="669"/>
                  </a:lnTo>
                  <a:lnTo>
                    <a:pt x="981" y="669"/>
                  </a:lnTo>
                  <a:lnTo>
                    <a:pt x="978" y="674"/>
                  </a:lnTo>
                  <a:lnTo>
                    <a:pt x="978" y="671"/>
                  </a:lnTo>
                  <a:lnTo>
                    <a:pt x="978" y="669"/>
                  </a:lnTo>
                  <a:lnTo>
                    <a:pt x="976" y="669"/>
                  </a:lnTo>
                  <a:lnTo>
                    <a:pt x="974" y="671"/>
                  </a:lnTo>
                  <a:lnTo>
                    <a:pt x="971" y="671"/>
                  </a:lnTo>
                  <a:lnTo>
                    <a:pt x="971" y="674"/>
                  </a:lnTo>
                  <a:lnTo>
                    <a:pt x="971" y="674"/>
                  </a:lnTo>
                  <a:lnTo>
                    <a:pt x="971" y="676"/>
                  </a:lnTo>
                  <a:lnTo>
                    <a:pt x="969" y="678"/>
                  </a:lnTo>
                  <a:lnTo>
                    <a:pt x="969" y="681"/>
                  </a:lnTo>
                  <a:lnTo>
                    <a:pt x="969" y="686"/>
                  </a:lnTo>
                  <a:lnTo>
                    <a:pt x="969" y="693"/>
                  </a:lnTo>
                  <a:lnTo>
                    <a:pt x="971" y="695"/>
                  </a:lnTo>
                  <a:lnTo>
                    <a:pt x="974" y="697"/>
                  </a:lnTo>
                  <a:lnTo>
                    <a:pt x="974" y="700"/>
                  </a:lnTo>
                  <a:lnTo>
                    <a:pt x="976" y="700"/>
                  </a:lnTo>
                  <a:lnTo>
                    <a:pt x="976" y="702"/>
                  </a:lnTo>
                  <a:lnTo>
                    <a:pt x="976" y="707"/>
                  </a:lnTo>
                  <a:lnTo>
                    <a:pt x="976" y="707"/>
                  </a:lnTo>
                  <a:lnTo>
                    <a:pt x="974" y="714"/>
                  </a:lnTo>
                  <a:lnTo>
                    <a:pt x="974" y="716"/>
                  </a:lnTo>
                  <a:lnTo>
                    <a:pt x="974" y="721"/>
                  </a:lnTo>
                  <a:lnTo>
                    <a:pt x="974" y="723"/>
                  </a:lnTo>
                  <a:lnTo>
                    <a:pt x="974" y="726"/>
                  </a:lnTo>
                  <a:lnTo>
                    <a:pt x="971" y="733"/>
                  </a:lnTo>
                  <a:lnTo>
                    <a:pt x="969" y="737"/>
                  </a:lnTo>
                  <a:lnTo>
                    <a:pt x="969" y="740"/>
                  </a:lnTo>
                  <a:lnTo>
                    <a:pt x="969" y="742"/>
                  </a:lnTo>
                  <a:lnTo>
                    <a:pt x="969" y="742"/>
                  </a:lnTo>
                  <a:lnTo>
                    <a:pt x="969" y="749"/>
                  </a:lnTo>
                  <a:lnTo>
                    <a:pt x="969" y="752"/>
                  </a:lnTo>
                  <a:lnTo>
                    <a:pt x="969" y="749"/>
                  </a:lnTo>
                  <a:lnTo>
                    <a:pt x="969" y="752"/>
                  </a:lnTo>
                  <a:lnTo>
                    <a:pt x="969" y="752"/>
                  </a:lnTo>
                  <a:lnTo>
                    <a:pt x="969" y="754"/>
                  </a:lnTo>
                  <a:lnTo>
                    <a:pt x="969" y="754"/>
                  </a:lnTo>
                  <a:lnTo>
                    <a:pt x="969" y="756"/>
                  </a:lnTo>
                  <a:lnTo>
                    <a:pt x="969" y="756"/>
                  </a:lnTo>
                  <a:lnTo>
                    <a:pt x="966" y="759"/>
                  </a:lnTo>
                  <a:lnTo>
                    <a:pt x="966" y="763"/>
                  </a:lnTo>
                  <a:lnTo>
                    <a:pt x="964" y="771"/>
                  </a:lnTo>
                  <a:lnTo>
                    <a:pt x="964" y="778"/>
                  </a:lnTo>
                  <a:lnTo>
                    <a:pt x="962" y="780"/>
                  </a:lnTo>
                  <a:lnTo>
                    <a:pt x="962" y="785"/>
                  </a:lnTo>
                  <a:lnTo>
                    <a:pt x="962" y="787"/>
                  </a:lnTo>
                  <a:lnTo>
                    <a:pt x="962" y="789"/>
                  </a:lnTo>
                  <a:lnTo>
                    <a:pt x="959" y="799"/>
                  </a:lnTo>
                  <a:lnTo>
                    <a:pt x="959" y="804"/>
                  </a:lnTo>
                  <a:lnTo>
                    <a:pt x="959" y="806"/>
                  </a:lnTo>
                  <a:lnTo>
                    <a:pt x="959" y="813"/>
                  </a:lnTo>
                  <a:lnTo>
                    <a:pt x="962" y="815"/>
                  </a:lnTo>
                  <a:lnTo>
                    <a:pt x="962" y="818"/>
                  </a:lnTo>
                  <a:lnTo>
                    <a:pt x="964" y="818"/>
                  </a:lnTo>
                  <a:lnTo>
                    <a:pt x="964" y="815"/>
                  </a:lnTo>
                  <a:lnTo>
                    <a:pt x="964" y="818"/>
                  </a:lnTo>
                  <a:lnTo>
                    <a:pt x="964" y="818"/>
                  </a:lnTo>
                  <a:lnTo>
                    <a:pt x="964" y="820"/>
                  </a:lnTo>
                  <a:lnTo>
                    <a:pt x="962" y="820"/>
                  </a:lnTo>
                  <a:lnTo>
                    <a:pt x="964" y="820"/>
                  </a:lnTo>
                  <a:lnTo>
                    <a:pt x="964" y="820"/>
                  </a:lnTo>
                  <a:lnTo>
                    <a:pt x="964" y="820"/>
                  </a:lnTo>
                  <a:lnTo>
                    <a:pt x="964" y="825"/>
                  </a:lnTo>
                  <a:lnTo>
                    <a:pt x="964" y="830"/>
                  </a:lnTo>
                  <a:lnTo>
                    <a:pt x="964" y="834"/>
                  </a:lnTo>
                  <a:lnTo>
                    <a:pt x="966" y="839"/>
                  </a:lnTo>
                  <a:lnTo>
                    <a:pt x="966" y="839"/>
                  </a:lnTo>
                  <a:lnTo>
                    <a:pt x="969" y="844"/>
                  </a:lnTo>
                  <a:lnTo>
                    <a:pt x="969" y="858"/>
                  </a:lnTo>
                  <a:lnTo>
                    <a:pt x="969" y="872"/>
                  </a:lnTo>
                  <a:lnTo>
                    <a:pt x="969" y="877"/>
                  </a:lnTo>
                  <a:lnTo>
                    <a:pt x="969" y="879"/>
                  </a:lnTo>
                  <a:lnTo>
                    <a:pt x="969" y="884"/>
                  </a:lnTo>
                  <a:lnTo>
                    <a:pt x="969" y="884"/>
                  </a:lnTo>
                  <a:lnTo>
                    <a:pt x="969" y="886"/>
                  </a:lnTo>
                  <a:lnTo>
                    <a:pt x="971" y="896"/>
                  </a:lnTo>
                  <a:lnTo>
                    <a:pt x="974" y="905"/>
                  </a:lnTo>
                  <a:lnTo>
                    <a:pt x="974" y="908"/>
                  </a:lnTo>
                  <a:lnTo>
                    <a:pt x="974" y="908"/>
                  </a:lnTo>
                  <a:lnTo>
                    <a:pt x="974" y="915"/>
                  </a:lnTo>
                  <a:lnTo>
                    <a:pt x="974" y="924"/>
                  </a:lnTo>
                  <a:lnTo>
                    <a:pt x="976" y="931"/>
                  </a:lnTo>
                  <a:lnTo>
                    <a:pt x="978" y="938"/>
                  </a:lnTo>
                  <a:lnTo>
                    <a:pt x="978" y="938"/>
                  </a:lnTo>
                  <a:lnTo>
                    <a:pt x="981" y="945"/>
                  </a:lnTo>
                  <a:lnTo>
                    <a:pt x="981" y="945"/>
                  </a:lnTo>
                  <a:lnTo>
                    <a:pt x="981" y="945"/>
                  </a:lnTo>
                  <a:lnTo>
                    <a:pt x="983" y="952"/>
                  </a:lnTo>
                  <a:lnTo>
                    <a:pt x="985" y="955"/>
                  </a:lnTo>
                  <a:lnTo>
                    <a:pt x="985" y="955"/>
                  </a:lnTo>
                  <a:lnTo>
                    <a:pt x="983" y="955"/>
                  </a:lnTo>
                  <a:lnTo>
                    <a:pt x="983" y="957"/>
                  </a:lnTo>
                  <a:lnTo>
                    <a:pt x="985" y="957"/>
                  </a:lnTo>
                  <a:lnTo>
                    <a:pt x="985" y="960"/>
                  </a:lnTo>
                  <a:lnTo>
                    <a:pt x="985" y="960"/>
                  </a:lnTo>
                  <a:lnTo>
                    <a:pt x="983" y="962"/>
                  </a:lnTo>
                  <a:lnTo>
                    <a:pt x="981" y="967"/>
                  </a:lnTo>
                  <a:lnTo>
                    <a:pt x="978" y="978"/>
                  </a:lnTo>
                  <a:lnTo>
                    <a:pt x="976" y="983"/>
                  </a:lnTo>
                  <a:lnTo>
                    <a:pt x="974" y="988"/>
                  </a:lnTo>
                  <a:lnTo>
                    <a:pt x="974" y="990"/>
                  </a:lnTo>
                  <a:lnTo>
                    <a:pt x="974" y="993"/>
                  </a:lnTo>
                  <a:lnTo>
                    <a:pt x="974" y="995"/>
                  </a:lnTo>
                  <a:lnTo>
                    <a:pt x="974" y="997"/>
                  </a:lnTo>
                  <a:lnTo>
                    <a:pt x="974" y="997"/>
                  </a:lnTo>
                  <a:lnTo>
                    <a:pt x="971" y="1000"/>
                  </a:lnTo>
                  <a:lnTo>
                    <a:pt x="971" y="1002"/>
                  </a:lnTo>
                  <a:lnTo>
                    <a:pt x="971" y="1004"/>
                  </a:lnTo>
                  <a:lnTo>
                    <a:pt x="969" y="1004"/>
                  </a:lnTo>
                  <a:lnTo>
                    <a:pt x="966" y="1009"/>
                  </a:lnTo>
                  <a:lnTo>
                    <a:pt x="966" y="1009"/>
                  </a:lnTo>
                  <a:lnTo>
                    <a:pt x="964" y="1009"/>
                  </a:lnTo>
                  <a:lnTo>
                    <a:pt x="964" y="1014"/>
                  </a:lnTo>
                  <a:lnTo>
                    <a:pt x="964" y="1014"/>
                  </a:lnTo>
                  <a:lnTo>
                    <a:pt x="966" y="1011"/>
                  </a:lnTo>
                  <a:lnTo>
                    <a:pt x="964" y="1016"/>
                  </a:lnTo>
                  <a:lnTo>
                    <a:pt x="964" y="1019"/>
                  </a:lnTo>
                  <a:lnTo>
                    <a:pt x="966" y="1019"/>
                  </a:lnTo>
                  <a:lnTo>
                    <a:pt x="966" y="1019"/>
                  </a:lnTo>
                  <a:lnTo>
                    <a:pt x="966" y="1021"/>
                  </a:lnTo>
                  <a:lnTo>
                    <a:pt x="966" y="1023"/>
                  </a:lnTo>
                  <a:lnTo>
                    <a:pt x="966" y="1026"/>
                  </a:lnTo>
                  <a:lnTo>
                    <a:pt x="964" y="1026"/>
                  </a:lnTo>
                  <a:lnTo>
                    <a:pt x="962" y="1028"/>
                  </a:lnTo>
                  <a:lnTo>
                    <a:pt x="959" y="1033"/>
                  </a:lnTo>
                  <a:lnTo>
                    <a:pt x="959" y="1035"/>
                  </a:lnTo>
                  <a:lnTo>
                    <a:pt x="959" y="1035"/>
                  </a:lnTo>
                  <a:lnTo>
                    <a:pt x="959" y="1037"/>
                  </a:lnTo>
                  <a:lnTo>
                    <a:pt x="959" y="1035"/>
                  </a:lnTo>
                  <a:lnTo>
                    <a:pt x="959" y="1037"/>
                  </a:lnTo>
                  <a:lnTo>
                    <a:pt x="959" y="1037"/>
                  </a:lnTo>
                  <a:lnTo>
                    <a:pt x="959" y="1040"/>
                  </a:lnTo>
                  <a:lnTo>
                    <a:pt x="959" y="1042"/>
                  </a:lnTo>
                  <a:lnTo>
                    <a:pt x="957" y="1047"/>
                  </a:lnTo>
                  <a:lnTo>
                    <a:pt x="957" y="1049"/>
                  </a:lnTo>
                  <a:lnTo>
                    <a:pt x="955" y="1054"/>
                  </a:lnTo>
                  <a:lnTo>
                    <a:pt x="955" y="1056"/>
                  </a:lnTo>
                  <a:lnTo>
                    <a:pt x="955" y="1059"/>
                  </a:lnTo>
                  <a:lnTo>
                    <a:pt x="955" y="1061"/>
                  </a:lnTo>
                  <a:lnTo>
                    <a:pt x="955" y="1061"/>
                  </a:lnTo>
                  <a:lnTo>
                    <a:pt x="955" y="1063"/>
                  </a:lnTo>
                  <a:lnTo>
                    <a:pt x="955" y="1068"/>
                  </a:lnTo>
                  <a:lnTo>
                    <a:pt x="955" y="1071"/>
                  </a:lnTo>
                  <a:lnTo>
                    <a:pt x="952" y="1071"/>
                  </a:lnTo>
                  <a:lnTo>
                    <a:pt x="952" y="1071"/>
                  </a:lnTo>
                  <a:lnTo>
                    <a:pt x="952" y="1073"/>
                  </a:lnTo>
                  <a:lnTo>
                    <a:pt x="952" y="1073"/>
                  </a:lnTo>
                  <a:lnTo>
                    <a:pt x="950" y="1075"/>
                  </a:lnTo>
                  <a:lnTo>
                    <a:pt x="950" y="1075"/>
                  </a:lnTo>
                  <a:lnTo>
                    <a:pt x="950" y="1075"/>
                  </a:lnTo>
                  <a:lnTo>
                    <a:pt x="950" y="1080"/>
                  </a:lnTo>
                  <a:lnTo>
                    <a:pt x="950" y="1089"/>
                  </a:lnTo>
                  <a:lnTo>
                    <a:pt x="952" y="1092"/>
                  </a:lnTo>
                  <a:lnTo>
                    <a:pt x="952" y="1094"/>
                  </a:lnTo>
                  <a:lnTo>
                    <a:pt x="952" y="1094"/>
                  </a:lnTo>
                  <a:lnTo>
                    <a:pt x="948" y="1099"/>
                  </a:lnTo>
                  <a:lnTo>
                    <a:pt x="948" y="1106"/>
                  </a:lnTo>
                  <a:lnTo>
                    <a:pt x="945" y="1108"/>
                  </a:lnTo>
                  <a:lnTo>
                    <a:pt x="945" y="1115"/>
                  </a:lnTo>
                  <a:lnTo>
                    <a:pt x="945" y="1115"/>
                  </a:lnTo>
                  <a:lnTo>
                    <a:pt x="945" y="1115"/>
                  </a:lnTo>
                  <a:lnTo>
                    <a:pt x="945" y="1118"/>
                  </a:lnTo>
                  <a:lnTo>
                    <a:pt x="945" y="1120"/>
                  </a:lnTo>
                  <a:lnTo>
                    <a:pt x="943" y="1123"/>
                  </a:lnTo>
                  <a:lnTo>
                    <a:pt x="943" y="1125"/>
                  </a:lnTo>
                  <a:lnTo>
                    <a:pt x="940" y="1125"/>
                  </a:lnTo>
                  <a:lnTo>
                    <a:pt x="940" y="1130"/>
                  </a:lnTo>
                  <a:lnTo>
                    <a:pt x="940" y="1139"/>
                  </a:lnTo>
                  <a:lnTo>
                    <a:pt x="940" y="1141"/>
                  </a:lnTo>
                  <a:lnTo>
                    <a:pt x="938" y="1144"/>
                  </a:lnTo>
                  <a:lnTo>
                    <a:pt x="940" y="1151"/>
                  </a:lnTo>
                  <a:lnTo>
                    <a:pt x="940" y="1153"/>
                  </a:lnTo>
                  <a:lnTo>
                    <a:pt x="940" y="1160"/>
                  </a:lnTo>
                  <a:lnTo>
                    <a:pt x="943" y="1165"/>
                  </a:lnTo>
                  <a:lnTo>
                    <a:pt x="943" y="1174"/>
                  </a:lnTo>
                  <a:lnTo>
                    <a:pt x="943" y="1182"/>
                  </a:lnTo>
                  <a:lnTo>
                    <a:pt x="943" y="1182"/>
                  </a:lnTo>
                  <a:lnTo>
                    <a:pt x="943" y="1184"/>
                  </a:lnTo>
                  <a:lnTo>
                    <a:pt x="943" y="1189"/>
                  </a:lnTo>
                  <a:lnTo>
                    <a:pt x="950" y="1198"/>
                  </a:lnTo>
                  <a:lnTo>
                    <a:pt x="950" y="1198"/>
                  </a:lnTo>
                  <a:lnTo>
                    <a:pt x="950" y="1198"/>
                  </a:lnTo>
                  <a:lnTo>
                    <a:pt x="943" y="1203"/>
                  </a:lnTo>
                  <a:lnTo>
                    <a:pt x="945" y="1205"/>
                  </a:lnTo>
                  <a:lnTo>
                    <a:pt x="943" y="1208"/>
                  </a:lnTo>
                  <a:lnTo>
                    <a:pt x="940" y="1210"/>
                  </a:lnTo>
                  <a:lnTo>
                    <a:pt x="933" y="1217"/>
                  </a:lnTo>
                  <a:lnTo>
                    <a:pt x="933" y="1217"/>
                  </a:lnTo>
                  <a:lnTo>
                    <a:pt x="933" y="1219"/>
                  </a:lnTo>
                  <a:lnTo>
                    <a:pt x="933" y="1219"/>
                  </a:lnTo>
                  <a:lnTo>
                    <a:pt x="933" y="1222"/>
                  </a:lnTo>
                  <a:lnTo>
                    <a:pt x="926" y="1224"/>
                  </a:lnTo>
                  <a:lnTo>
                    <a:pt x="924" y="1224"/>
                  </a:lnTo>
                  <a:lnTo>
                    <a:pt x="924" y="1224"/>
                  </a:lnTo>
                  <a:lnTo>
                    <a:pt x="922" y="1224"/>
                  </a:lnTo>
                  <a:lnTo>
                    <a:pt x="919" y="1226"/>
                  </a:lnTo>
                  <a:lnTo>
                    <a:pt x="919" y="1226"/>
                  </a:lnTo>
                  <a:lnTo>
                    <a:pt x="917" y="1226"/>
                  </a:lnTo>
                  <a:lnTo>
                    <a:pt x="910" y="1231"/>
                  </a:lnTo>
                  <a:lnTo>
                    <a:pt x="907" y="1234"/>
                  </a:lnTo>
                  <a:lnTo>
                    <a:pt x="905" y="1238"/>
                  </a:lnTo>
                  <a:lnTo>
                    <a:pt x="900" y="1243"/>
                  </a:lnTo>
                  <a:lnTo>
                    <a:pt x="898" y="1250"/>
                  </a:lnTo>
                  <a:lnTo>
                    <a:pt x="898" y="1250"/>
                  </a:lnTo>
                  <a:lnTo>
                    <a:pt x="896" y="1250"/>
                  </a:lnTo>
                  <a:lnTo>
                    <a:pt x="896" y="1250"/>
                  </a:lnTo>
                  <a:lnTo>
                    <a:pt x="896" y="1248"/>
                  </a:lnTo>
                  <a:lnTo>
                    <a:pt x="893" y="1248"/>
                  </a:lnTo>
                  <a:lnTo>
                    <a:pt x="896" y="1250"/>
                  </a:lnTo>
                  <a:lnTo>
                    <a:pt x="896" y="1250"/>
                  </a:lnTo>
                  <a:lnTo>
                    <a:pt x="896" y="1250"/>
                  </a:lnTo>
                  <a:lnTo>
                    <a:pt x="896" y="1252"/>
                  </a:lnTo>
                  <a:lnTo>
                    <a:pt x="898" y="1252"/>
                  </a:lnTo>
                  <a:lnTo>
                    <a:pt x="893" y="1257"/>
                  </a:lnTo>
                  <a:lnTo>
                    <a:pt x="886" y="1269"/>
                  </a:lnTo>
                  <a:lnTo>
                    <a:pt x="886" y="1271"/>
                  </a:lnTo>
                  <a:lnTo>
                    <a:pt x="884" y="1276"/>
                  </a:lnTo>
                  <a:lnTo>
                    <a:pt x="884" y="1276"/>
                  </a:lnTo>
                  <a:lnTo>
                    <a:pt x="884" y="1281"/>
                  </a:lnTo>
                  <a:lnTo>
                    <a:pt x="884" y="1281"/>
                  </a:lnTo>
                  <a:lnTo>
                    <a:pt x="881" y="1283"/>
                  </a:lnTo>
                  <a:lnTo>
                    <a:pt x="881" y="1283"/>
                  </a:lnTo>
                  <a:lnTo>
                    <a:pt x="881" y="1281"/>
                  </a:lnTo>
                  <a:lnTo>
                    <a:pt x="881" y="1281"/>
                  </a:lnTo>
                  <a:lnTo>
                    <a:pt x="879" y="1281"/>
                  </a:lnTo>
                  <a:lnTo>
                    <a:pt x="851" y="1262"/>
                  </a:lnTo>
                  <a:lnTo>
                    <a:pt x="851" y="1262"/>
                  </a:lnTo>
                  <a:lnTo>
                    <a:pt x="846" y="1257"/>
                  </a:lnTo>
                  <a:lnTo>
                    <a:pt x="832" y="1248"/>
                  </a:lnTo>
                  <a:lnTo>
                    <a:pt x="813" y="1236"/>
                  </a:lnTo>
                  <a:lnTo>
                    <a:pt x="813" y="1234"/>
                  </a:lnTo>
                  <a:lnTo>
                    <a:pt x="811" y="1231"/>
                  </a:lnTo>
                  <a:lnTo>
                    <a:pt x="808" y="1229"/>
                  </a:lnTo>
                  <a:lnTo>
                    <a:pt x="806" y="1229"/>
                  </a:lnTo>
                  <a:lnTo>
                    <a:pt x="806" y="1229"/>
                  </a:lnTo>
                  <a:lnTo>
                    <a:pt x="813" y="1224"/>
                  </a:lnTo>
                  <a:lnTo>
                    <a:pt x="818" y="1219"/>
                  </a:lnTo>
                  <a:lnTo>
                    <a:pt x="818" y="1217"/>
                  </a:lnTo>
                  <a:lnTo>
                    <a:pt x="818" y="1217"/>
                  </a:lnTo>
                  <a:lnTo>
                    <a:pt x="815" y="1215"/>
                  </a:lnTo>
                  <a:lnTo>
                    <a:pt x="815" y="1217"/>
                  </a:lnTo>
                  <a:lnTo>
                    <a:pt x="815" y="1215"/>
                  </a:lnTo>
                  <a:lnTo>
                    <a:pt x="815" y="1212"/>
                  </a:lnTo>
                  <a:lnTo>
                    <a:pt x="813" y="1210"/>
                  </a:lnTo>
                  <a:lnTo>
                    <a:pt x="813" y="1210"/>
                  </a:lnTo>
                  <a:lnTo>
                    <a:pt x="813" y="1208"/>
                  </a:lnTo>
                  <a:lnTo>
                    <a:pt x="813" y="1205"/>
                  </a:lnTo>
                  <a:lnTo>
                    <a:pt x="813" y="1203"/>
                  </a:lnTo>
                  <a:lnTo>
                    <a:pt x="811" y="1203"/>
                  </a:lnTo>
                  <a:lnTo>
                    <a:pt x="808" y="1203"/>
                  </a:lnTo>
                  <a:lnTo>
                    <a:pt x="808" y="1200"/>
                  </a:lnTo>
                  <a:lnTo>
                    <a:pt x="806" y="1203"/>
                  </a:lnTo>
                  <a:lnTo>
                    <a:pt x="806" y="1200"/>
                  </a:lnTo>
                  <a:lnTo>
                    <a:pt x="803" y="1198"/>
                  </a:lnTo>
                  <a:lnTo>
                    <a:pt x="803" y="1198"/>
                  </a:lnTo>
                  <a:lnTo>
                    <a:pt x="803" y="1198"/>
                  </a:lnTo>
                  <a:lnTo>
                    <a:pt x="803" y="1196"/>
                  </a:lnTo>
                  <a:lnTo>
                    <a:pt x="801" y="1193"/>
                  </a:lnTo>
                  <a:lnTo>
                    <a:pt x="799" y="1193"/>
                  </a:lnTo>
                  <a:lnTo>
                    <a:pt x="799" y="1193"/>
                  </a:lnTo>
                  <a:lnTo>
                    <a:pt x="799" y="1191"/>
                  </a:lnTo>
                  <a:lnTo>
                    <a:pt x="799" y="1191"/>
                  </a:lnTo>
                  <a:lnTo>
                    <a:pt x="796" y="1189"/>
                  </a:lnTo>
                  <a:lnTo>
                    <a:pt x="796" y="1189"/>
                  </a:lnTo>
                  <a:lnTo>
                    <a:pt x="796" y="1189"/>
                  </a:lnTo>
                  <a:lnTo>
                    <a:pt x="796" y="1191"/>
                  </a:lnTo>
                  <a:lnTo>
                    <a:pt x="794" y="1191"/>
                  </a:lnTo>
                  <a:lnTo>
                    <a:pt x="794" y="1189"/>
                  </a:lnTo>
                  <a:lnTo>
                    <a:pt x="792" y="1189"/>
                  </a:lnTo>
                  <a:lnTo>
                    <a:pt x="789" y="1189"/>
                  </a:lnTo>
                  <a:lnTo>
                    <a:pt x="789" y="1189"/>
                  </a:lnTo>
                  <a:lnTo>
                    <a:pt x="787" y="1186"/>
                  </a:lnTo>
                  <a:lnTo>
                    <a:pt x="787" y="1184"/>
                  </a:lnTo>
                  <a:lnTo>
                    <a:pt x="787" y="1184"/>
                  </a:lnTo>
                  <a:lnTo>
                    <a:pt x="789" y="1184"/>
                  </a:lnTo>
                  <a:lnTo>
                    <a:pt x="787" y="1182"/>
                  </a:lnTo>
                  <a:lnTo>
                    <a:pt x="789" y="1182"/>
                  </a:lnTo>
                  <a:lnTo>
                    <a:pt x="787" y="1182"/>
                  </a:lnTo>
                  <a:lnTo>
                    <a:pt x="785" y="1184"/>
                  </a:lnTo>
                  <a:lnTo>
                    <a:pt x="782" y="1182"/>
                  </a:lnTo>
                  <a:lnTo>
                    <a:pt x="780" y="1177"/>
                  </a:lnTo>
                  <a:lnTo>
                    <a:pt x="780" y="1177"/>
                  </a:lnTo>
                  <a:lnTo>
                    <a:pt x="777" y="1174"/>
                  </a:lnTo>
                  <a:lnTo>
                    <a:pt x="780" y="1174"/>
                  </a:lnTo>
                  <a:lnTo>
                    <a:pt x="780" y="1172"/>
                  </a:lnTo>
                  <a:lnTo>
                    <a:pt x="777" y="1172"/>
                  </a:lnTo>
                  <a:lnTo>
                    <a:pt x="777" y="1170"/>
                  </a:lnTo>
                  <a:lnTo>
                    <a:pt x="777" y="1170"/>
                  </a:lnTo>
                  <a:lnTo>
                    <a:pt x="775" y="1167"/>
                  </a:lnTo>
                  <a:lnTo>
                    <a:pt x="775" y="1165"/>
                  </a:lnTo>
                  <a:lnTo>
                    <a:pt x="775" y="1165"/>
                  </a:lnTo>
                  <a:lnTo>
                    <a:pt x="770" y="1165"/>
                  </a:lnTo>
                  <a:lnTo>
                    <a:pt x="768" y="1163"/>
                  </a:lnTo>
                  <a:lnTo>
                    <a:pt x="768" y="1163"/>
                  </a:lnTo>
                  <a:lnTo>
                    <a:pt x="763" y="1163"/>
                  </a:lnTo>
                  <a:lnTo>
                    <a:pt x="763" y="1163"/>
                  </a:lnTo>
                  <a:lnTo>
                    <a:pt x="761" y="1160"/>
                  </a:lnTo>
                  <a:lnTo>
                    <a:pt x="763" y="1158"/>
                  </a:lnTo>
                  <a:lnTo>
                    <a:pt x="763" y="1158"/>
                  </a:lnTo>
                  <a:lnTo>
                    <a:pt x="763" y="1156"/>
                  </a:lnTo>
                  <a:lnTo>
                    <a:pt x="763" y="1156"/>
                  </a:lnTo>
                  <a:lnTo>
                    <a:pt x="763" y="1153"/>
                  </a:lnTo>
                  <a:lnTo>
                    <a:pt x="766" y="1153"/>
                  </a:lnTo>
                  <a:lnTo>
                    <a:pt x="763" y="1151"/>
                  </a:lnTo>
                  <a:lnTo>
                    <a:pt x="763" y="1151"/>
                  </a:lnTo>
                  <a:lnTo>
                    <a:pt x="766" y="1151"/>
                  </a:lnTo>
                  <a:lnTo>
                    <a:pt x="766" y="1148"/>
                  </a:lnTo>
                  <a:lnTo>
                    <a:pt x="766" y="1148"/>
                  </a:lnTo>
                  <a:lnTo>
                    <a:pt x="768" y="1146"/>
                  </a:lnTo>
                  <a:lnTo>
                    <a:pt x="770" y="1144"/>
                  </a:lnTo>
                  <a:lnTo>
                    <a:pt x="768" y="1144"/>
                  </a:lnTo>
                  <a:lnTo>
                    <a:pt x="768" y="1141"/>
                  </a:lnTo>
                  <a:lnTo>
                    <a:pt x="768" y="1141"/>
                  </a:lnTo>
                  <a:lnTo>
                    <a:pt x="768" y="1139"/>
                  </a:lnTo>
                  <a:lnTo>
                    <a:pt x="768" y="1139"/>
                  </a:lnTo>
                  <a:lnTo>
                    <a:pt x="770" y="1137"/>
                  </a:lnTo>
                  <a:lnTo>
                    <a:pt x="768" y="1134"/>
                  </a:lnTo>
                  <a:lnTo>
                    <a:pt x="770" y="1134"/>
                  </a:lnTo>
                  <a:lnTo>
                    <a:pt x="770" y="1132"/>
                  </a:lnTo>
                  <a:lnTo>
                    <a:pt x="768" y="1130"/>
                  </a:lnTo>
                  <a:lnTo>
                    <a:pt x="768" y="1127"/>
                  </a:lnTo>
                  <a:lnTo>
                    <a:pt x="768" y="1125"/>
                  </a:lnTo>
                  <a:lnTo>
                    <a:pt x="770" y="1118"/>
                  </a:lnTo>
                  <a:lnTo>
                    <a:pt x="770" y="1118"/>
                  </a:lnTo>
                  <a:lnTo>
                    <a:pt x="768" y="1118"/>
                  </a:lnTo>
                  <a:lnTo>
                    <a:pt x="768" y="1118"/>
                  </a:lnTo>
                  <a:lnTo>
                    <a:pt x="768" y="1115"/>
                  </a:lnTo>
                  <a:lnTo>
                    <a:pt x="770" y="1111"/>
                  </a:lnTo>
                  <a:lnTo>
                    <a:pt x="770" y="1108"/>
                  </a:lnTo>
                  <a:lnTo>
                    <a:pt x="770" y="1108"/>
                  </a:lnTo>
                  <a:lnTo>
                    <a:pt x="770" y="1106"/>
                  </a:lnTo>
                  <a:lnTo>
                    <a:pt x="773" y="1106"/>
                  </a:lnTo>
                  <a:lnTo>
                    <a:pt x="775" y="1101"/>
                  </a:lnTo>
                  <a:lnTo>
                    <a:pt x="777" y="1099"/>
                  </a:lnTo>
                  <a:lnTo>
                    <a:pt x="777" y="1094"/>
                  </a:lnTo>
                  <a:lnTo>
                    <a:pt x="777" y="1092"/>
                  </a:lnTo>
                  <a:lnTo>
                    <a:pt x="780" y="1092"/>
                  </a:lnTo>
                  <a:lnTo>
                    <a:pt x="782" y="1092"/>
                  </a:lnTo>
                  <a:lnTo>
                    <a:pt x="782" y="1092"/>
                  </a:lnTo>
                  <a:lnTo>
                    <a:pt x="785" y="1092"/>
                  </a:lnTo>
                  <a:lnTo>
                    <a:pt x="785" y="1092"/>
                  </a:lnTo>
                  <a:lnTo>
                    <a:pt x="787" y="1092"/>
                  </a:lnTo>
                  <a:lnTo>
                    <a:pt x="787" y="1094"/>
                  </a:lnTo>
                  <a:lnTo>
                    <a:pt x="789" y="1094"/>
                  </a:lnTo>
                  <a:lnTo>
                    <a:pt x="789" y="1092"/>
                  </a:lnTo>
                  <a:lnTo>
                    <a:pt x="789" y="1092"/>
                  </a:lnTo>
                  <a:lnTo>
                    <a:pt x="794" y="1092"/>
                  </a:lnTo>
                  <a:lnTo>
                    <a:pt x="794" y="1092"/>
                  </a:lnTo>
                  <a:lnTo>
                    <a:pt x="796" y="1092"/>
                  </a:lnTo>
                  <a:lnTo>
                    <a:pt x="796" y="1094"/>
                  </a:lnTo>
                  <a:lnTo>
                    <a:pt x="796" y="1094"/>
                  </a:lnTo>
                  <a:lnTo>
                    <a:pt x="799" y="1097"/>
                  </a:lnTo>
                  <a:lnTo>
                    <a:pt x="799" y="1094"/>
                  </a:lnTo>
                  <a:lnTo>
                    <a:pt x="801" y="1094"/>
                  </a:lnTo>
                  <a:lnTo>
                    <a:pt x="803" y="1092"/>
                  </a:lnTo>
                  <a:lnTo>
                    <a:pt x="803" y="1094"/>
                  </a:lnTo>
                  <a:lnTo>
                    <a:pt x="806" y="1094"/>
                  </a:lnTo>
                  <a:lnTo>
                    <a:pt x="806" y="1092"/>
                  </a:lnTo>
                  <a:lnTo>
                    <a:pt x="806" y="1089"/>
                  </a:lnTo>
                  <a:lnTo>
                    <a:pt x="806" y="1089"/>
                  </a:lnTo>
                  <a:lnTo>
                    <a:pt x="806" y="1089"/>
                  </a:lnTo>
                  <a:lnTo>
                    <a:pt x="808" y="1089"/>
                  </a:lnTo>
                  <a:lnTo>
                    <a:pt x="808" y="1087"/>
                  </a:lnTo>
                  <a:lnTo>
                    <a:pt x="808" y="1087"/>
                  </a:lnTo>
                  <a:lnTo>
                    <a:pt x="808" y="1087"/>
                  </a:lnTo>
                  <a:lnTo>
                    <a:pt x="808" y="1085"/>
                  </a:lnTo>
                  <a:lnTo>
                    <a:pt x="808" y="1082"/>
                  </a:lnTo>
                  <a:lnTo>
                    <a:pt x="808" y="1082"/>
                  </a:lnTo>
                  <a:lnTo>
                    <a:pt x="806" y="1080"/>
                  </a:lnTo>
                  <a:lnTo>
                    <a:pt x="803" y="1082"/>
                  </a:lnTo>
                  <a:lnTo>
                    <a:pt x="803" y="1080"/>
                  </a:lnTo>
                  <a:lnTo>
                    <a:pt x="799" y="1080"/>
                  </a:lnTo>
                  <a:lnTo>
                    <a:pt x="799" y="1080"/>
                  </a:lnTo>
                  <a:lnTo>
                    <a:pt x="796" y="1080"/>
                  </a:lnTo>
                  <a:lnTo>
                    <a:pt x="799" y="1078"/>
                  </a:lnTo>
                  <a:lnTo>
                    <a:pt x="799" y="1073"/>
                  </a:lnTo>
                  <a:lnTo>
                    <a:pt x="801" y="1073"/>
                  </a:lnTo>
                  <a:lnTo>
                    <a:pt x="801" y="1071"/>
                  </a:lnTo>
                  <a:lnTo>
                    <a:pt x="803" y="1068"/>
                  </a:lnTo>
                  <a:lnTo>
                    <a:pt x="801" y="1068"/>
                  </a:lnTo>
                  <a:lnTo>
                    <a:pt x="801" y="1068"/>
                  </a:lnTo>
                  <a:lnTo>
                    <a:pt x="801" y="1066"/>
                  </a:lnTo>
                  <a:lnTo>
                    <a:pt x="803" y="1061"/>
                  </a:lnTo>
                  <a:lnTo>
                    <a:pt x="803" y="1059"/>
                  </a:lnTo>
                  <a:lnTo>
                    <a:pt x="803" y="1056"/>
                  </a:lnTo>
                  <a:lnTo>
                    <a:pt x="803" y="1054"/>
                  </a:lnTo>
                  <a:lnTo>
                    <a:pt x="806" y="1052"/>
                  </a:lnTo>
                  <a:lnTo>
                    <a:pt x="808" y="1052"/>
                  </a:lnTo>
                  <a:lnTo>
                    <a:pt x="808" y="1052"/>
                  </a:lnTo>
                  <a:lnTo>
                    <a:pt x="808" y="1052"/>
                  </a:lnTo>
                  <a:lnTo>
                    <a:pt x="808" y="1052"/>
                  </a:lnTo>
                  <a:lnTo>
                    <a:pt x="811" y="1049"/>
                  </a:lnTo>
                  <a:lnTo>
                    <a:pt x="811" y="1049"/>
                  </a:lnTo>
                  <a:lnTo>
                    <a:pt x="813" y="1052"/>
                  </a:lnTo>
                  <a:lnTo>
                    <a:pt x="815" y="1052"/>
                  </a:lnTo>
                  <a:lnTo>
                    <a:pt x="815" y="1052"/>
                  </a:lnTo>
                  <a:lnTo>
                    <a:pt x="815" y="1052"/>
                  </a:lnTo>
                  <a:lnTo>
                    <a:pt x="818" y="1052"/>
                  </a:lnTo>
                  <a:lnTo>
                    <a:pt x="820" y="1052"/>
                  </a:lnTo>
                  <a:lnTo>
                    <a:pt x="820" y="1052"/>
                  </a:lnTo>
                  <a:lnTo>
                    <a:pt x="820" y="1049"/>
                  </a:lnTo>
                  <a:lnTo>
                    <a:pt x="820" y="1049"/>
                  </a:lnTo>
                  <a:lnTo>
                    <a:pt x="820" y="1047"/>
                  </a:lnTo>
                  <a:lnTo>
                    <a:pt x="818" y="1047"/>
                  </a:lnTo>
                  <a:lnTo>
                    <a:pt x="818" y="1047"/>
                  </a:lnTo>
                  <a:lnTo>
                    <a:pt x="818" y="1047"/>
                  </a:lnTo>
                  <a:lnTo>
                    <a:pt x="818" y="1045"/>
                  </a:lnTo>
                  <a:lnTo>
                    <a:pt x="820" y="1045"/>
                  </a:lnTo>
                  <a:lnTo>
                    <a:pt x="820" y="1045"/>
                  </a:lnTo>
                  <a:lnTo>
                    <a:pt x="822" y="1042"/>
                  </a:lnTo>
                  <a:lnTo>
                    <a:pt x="825" y="1037"/>
                  </a:lnTo>
                  <a:lnTo>
                    <a:pt x="825" y="1037"/>
                  </a:lnTo>
                  <a:lnTo>
                    <a:pt x="827" y="1035"/>
                  </a:lnTo>
                  <a:lnTo>
                    <a:pt x="827" y="1033"/>
                  </a:lnTo>
                  <a:lnTo>
                    <a:pt x="827" y="1033"/>
                  </a:lnTo>
                  <a:lnTo>
                    <a:pt x="829" y="1033"/>
                  </a:lnTo>
                  <a:lnTo>
                    <a:pt x="827" y="1035"/>
                  </a:lnTo>
                  <a:lnTo>
                    <a:pt x="829" y="1035"/>
                  </a:lnTo>
                  <a:lnTo>
                    <a:pt x="829" y="1037"/>
                  </a:lnTo>
                  <a:lnTo>
                    <a:pt x="832" y="1035"/>
                  </a:lnTo>
                  <a:lnTo>
                    <a:pt x="832" y="1035"/>
                  </a:lnTo>
                  <a:lnTo>
                    <a:pt x="832" y="1033"/>
                  </a:lnTo>
                  <a:lnTo>
                    <a:pt x="834" y="1033"/>
                  </a:lnTo>
                  <a:lnTo>
                    <a:pt x="834" y="1030"/>
                  </a:lnTo>
                  <a:lnTo>
                    <a:pt x="834" y="1028"/>
                  </a:lnTo>
                  <a:lnTo>
                    <a:pt x="837" y="1028"/>
                  </a:lnTo>
                  <a:lnTo>
                    <a:pt x="837" y="1023"/>
                  </a:lnTo>
                  <a:lnTo>
                    <a:pt x="839" y="1023"/>
                  </a:lnTo>
                  <a:lnTo>
                    <a:pt x="839" y="1021"/>
                  </a:lnTo>
                  <a:lnTo>
                    <a:pt x="839" y="1021"/>
                  </a:lnTo>
                  <a:lnTo>
                    <a:pt x="841" y="1019"/>
                  </a:lnTo>
                  <a:lnTo>
                    <a:pt x="841" y="1019"/>
                  </a:lnTo>
                  <a:lnTo>
                    <a:pt x="841" y="1016"/>
                  </a:lnTo>
                  <a:lnTo>
                    <a:pt x="844" y="1016"/>
                  </a:lnTo>
                  <a:lnTo>
                    <a:pt x="844" y="1019"/>
                  </a:lnTo>
                  <a:lnTo>
                    <a:pt x="844" y="1019"/>
                  </a:lnTo>
                  <a:lnTo>
                    <a:pt x="844" y="1019"/>
                  </a:lnTo>
                  <a:lnTo>
                    <a:pt x="846" y="1019"/>
                  </a:lnTo>
                  <a:lnTo>
                    <a:pt x="846" y="1016"/>
                  </a:lnTo>
                  <a:lnTo>
                    <a:pt x="848" y="1014"/>
                  </a:lnTo>
                  <a:lnTo>
                    <a:pt x="848" y="1014"/>
                  </a:lnTo>
                  <a:lnTo>
                    <a:pt x="851" y="1014"/>
                  </a:lnTo>
                  <a:lnTo>
                    <a:pt x="851" y="1011"/>
                  </a:lnTo>
                  <a:lnTo>
                    <a:pt x="851" y="1009"/>
                  </a:lnTo>
                  <a:lnTo>
                    <a:pt x="848" y="1009"/>
                  </a:lnTo>
                  <a:lnTo>
                    <a:pt x="851" y="1004"/>
                  </a:lnTo>
                  <a:lnTo>
                    <a:pt x="851" y="1004"/>
                  </a:lnTo>
                  <a:lnTo>
                    <a:pt x="853" y="1004"/>
                  </a:lnTo>
                  <a:lnTo>
                    <a:pt x="853" y="1002"/>
                  </a:lnTo>
                  <a:lnTo>
                    <a:pt x="855" y="1002"/>
                  </a:lnTo>
                  <a:lnTo>
                    <a:pt x="855" y="997"/>
                  </a:lnTo>
                  <a:lnTo>
                    <a:pt x="855" y="997"/>
                  </a:lnTo>
                  <a:lnTo>
                    <a:pt x="853" y="997"/>
                  </a:lnTo>
                  <a:lnTo>
                    <a:pt x="853" y="995"/>
                  </a:lnTo>
                  <a:lnTo>
                    <a:pt x="853" y="995"/>
                  </a:lnTo>
                  <a:lnTo>
                    <a:pt x="855" y="995"/>
                  </a:lnTo>
                  <a:lnTo>
                    <a:pt x="855" y="995"/>
                  </a:lnTo>
                  <a:lnTo>
                    <a:pt x="855" y="995"/>
                  </a:lnTo>
                  <a:lnTo>
                    <a:pt x="858" y="993"/>
                  </a:lnTo>
                  <a:lnTo>
                    <a:pt x="858" y="990"/>
                  </a:lnTo>
                  <a:lnTo>
                    <a:pt x="858" y="990"/>
                  </a:lnTo>
                  <a:lnTo>
                    <a:pt x="858" y="988"/>
                  </a:lnTo>
                  <a:lnTo>
                    <a:pt x="855" y="988"/>
                  </a:lnTo>
                  <a:lnTo>
                    <a:pt x="855" y="988"/>
                  </a:lnTo>
                  <a:lnTo>
                    <a:pt x="855" y="986"/>
                  </a:lnTo>
                  <a:lnTo>
                    <a:pt x="853" y="986"/>
                  </a:lnTo>
                  <a:lnTo>
                    <a:pt x="853" y="983"/>
                  </a:lnTo>
                  <a:lnTo>
                    <a:pt x="851" y="981"/>
                  </a:lnTo>
                  <a:lnTo>
                    <a:pt x="848" y="981"/>
                  </a:lnTo>
                  <a:lnTo>
                    <a:pt x="848" y="978"/>
                  </a:lnTo>
                  <a:lnTo>
                    <a:pt x="851" y="976"/>
                  </a:lnTo>
                  <a:lnTo>
                    <a:pt x="851" y="976"/>
                  </a:lnTo>
                  <a:lnTo>
                    <a:pt x="851" y="976"/>
                  </a:lnTo>
                  <a:lnTo>
                    <a:pt x="851" y="976"/>
                  </a:lnTo>
                  <a:lnTo>
                    <a:pt x="846" y="976"/>
                  </a:lnTo>
                  <a:lnTo>
                    <a:pt x="846" y="976"/>
                  </a:lnTo>
                  <a:lnTo>
                    <a:pt x="846" y="978"/>
                  </a:lnTo>
                  <a:lnTo>
                    <a:pt x="844" y="978"/>
                  </a:lnTo>
                  <a:lnTo>
                    <a:pt x="844" y="976"/>
                  </a:lnTo>
                  <a:lnTo>
                    <a:pt x="841" y="976"/>
                  </a:lnTo>
                  <a:lnTo>
                    <a:pt x="841" y="976"/>
                  </a:lnTo>
                  <a:lnTo>
                    <a:pt x="841" y="976"/>
                  </a:lnTo>
                  <a:lnTo>
                    <a:pt x="841" y="976"/>
                  </a:lnTo>
                  <a:lnTo>
                    <a:pt x="839" y="976"/>
                  </a:lnTo>
                  <a:lnTo>
                    <a:pt x="839" y="974"/>
                  </a:lnTo>
                  <a:lnTo>
                    <a:pt x="837" y="974"/>
                  </a:lnTo>
                  <a:lnTo>
                    <a:pt x="837" y="976"/>
                  </a:lnTo>
                  <a:lnTo>
                    <a:pt x="837" y="976"/>
                  </a:lnTo>
                  <a:lnTo>
                    <a:pt x="837" y="974"/>
                  </a:lnTo>
                  <a:lnTo>
                    <a:pt x="837" y="974"/>
                  </a:lnTo>
                  <a:lnTo>
                    <a:pt x="837" y="974"/>
                  </a:lnTo>
                  <a:lnTo>
                    <a:pt x="837" y="974"/>
                  </a:lnTo>
                  <a:lnTo>
                    <a:pt x="834" y="974"/>
                  </a:lnTo>
                  <a:lnTo>
                    <a:pt x="834" y="971"/>
                  </a:lnTo>
                  <a:lnTo>
                    <a:pt x="834" y="971"/>
                  </a:lnTo>
                  <a:lnTo>
                    <a:pt x="834" y="971"/>
                  </a:lnTo>
                  <a:lnTo>
                    <a:pt x="832" y="971"/>
                  </a:lnTo>
                  <a:lnTo>
                    <a:pt x="832" y="971"/>
                  </a:lnTo>
                  <a:lnTo>
                    <a:pt x="834" y="971"/>
                  </a:lnTo>
                  <a:lnTo>
                    <a:pt x="832" y="969"/>
                  </a:lnTo>
                  <a:lnTo>
                    <a:pt x="832" y="969"/>
                  </a:lnTo>
                  <a:lnTo>
                    <a:pt x="832" y="969"/>
                  </a:lnTo>
                  <a:lnTo>
                    <a:pt x="832" y="969"/>
                  </a:lnTo>
                  <a:lnTo>
                    <a:pt x="832" y="969"/>
                  </a:lnTo>
                  <a:lnTo>
                    <a:pt x="832" y="969"/>
                  </a:lnTo>
                  <a:lnTo>
                    <a:pt x="832" y="967"/>
                  </a:lnTo>
                  <a:lnTo>
                    <a:pt x="832" y="967"/>
                  </a:lnTo>
                  <a:lnTo>
                    <a:pt x="832" y="964"/>
                  </a:lnTo>
                  <a:lnTo>
                    <a:pt x="832" y="964"/>
                  </a:lnTo>
                  <a:lnTo>
                    <a:pt x="832" y="967"/>
                  </a:lnTo>
                  <a:lnTo>
                    <a:pt x="829" y="967"/>
                  </a:lnTo>
                  <a:lnTo>
                    <a:pt x="829" y="967"/>
                  </a:lnTo>
                  <a:lnTo>
                    <a:pt x="829" y="964"/>
                  </a:lnTo>
                  <a:lnTo>
                    <a:pt x="829" y="962"/>
                  </a:lnTo>
                  <a:lnTo>
                    <a:pt x="827" y="964"/>
                  </a:lnTo>
                  <a:lnTo>
                    <a:pt x="827" y="964"/>
                  </a:lnTo>
                  <a:lnTo>
                    <a:pt x="827" y="964"/>
                  </a:lnTo>
                  <a:lnTo>
                    <a:pt x="827" y="964"/>
                  </a:lnTo>
                  <a:lnTo>
                    <a:pt x="825" y="964"/>
                  </a:lnTo>
                  <a:lnTo>
                    <a:pt x="825" y="964"/>
                  </a:lnTo>
                  <a:lnTo>
                    <a:pt x="822" y="964"/>
                  </a:lnTo>
                  <a:lnTo>
                    <a:pt x="822" y="962"/>
                  </a:lnTo>
                  <a:lnTo>
                    <a:pt x="822" y="964"/>
                  </a:lnTo>
                  <a:lnTo>
                    <a:pt x="822" y="964"/>
                  </a:lnTo>
                  <a:lnTo>
                    <a:pt x="820" y="964"/>
                  </a:lnTo>
                  <a:lnTo>
                    <a:pt x="820" y="964"/>
                  </a:lnTo>
                  <a:lnTo>
                    <a:pt x="820" y="964"/>
                  </a:lnTo>
                  <a:lnTo>
                    <a:pt x="820" y="964"/>
                  </a:lnTo>
                  <a:lnTo>
                    <a:pt x="818" y="964"/>
                  </a:lnTo>
                  <a:lnTo>
                    <a:pt x="818" y="964"/>
                  </a:lnTo>
                  <a:lnTo>
                    <a:pt x="820" y="962"/>
                  </a:lnTo>
                  <a:lnTo>
                    <a:pt x="820" y="960"/>
                  </a:lnTo>
                  <a:lnTo>
                    <a:pt x="818" y="960"/>
                  </a:lnTo>
                  <a:lnTo>
                    <a:pt x="815" y="957"/>
                  </a:lnTo>
                  <a:lnTo>
                    <a:pt x="815" y="960"/>
                  </a:lnTo>
                  <a:lnTo>
                    <a:pt x="815" y="957"/>
                  </a:lnTo>
                  <a:lnTo>
                    <a:pt x="815" y="957"/>
                  </a:lnTo>
                  <a:lnTo>
                    <a:pt x="815" y="955"/>
                  </a:lnTo>
                  <a:lnTo>
                    <a:pt x="813" y="955"/>
                  </a:lnTo>
                  <a:lnTo>
                    <a:pt x="813" y="955"/>
                  </a:lnTo>
                  <a:lnTo>
                    <a:pt x="813" y="955"/>
                  </a:lnTo>
                  <a:lnTo>
                    <a:pt x="813" y="952"/>
                  </a:lnTo>
                  <a:lnTo>
                    <a:pt x="813" y="952"/>
                  </a:lnTo>
                  <a:lnTo>
                    <a:pt x="813" y="952"/>
                  </a:lnTo>
                  <a:lnTo>
                    <a:pt x="811" y="950"/>
                  </a:lnTo>
                  <a:lnTo>
                    <a:pt x="811" y="950"/>
                  </a:lnTo>
                  <a:lnTo>
                    <a:pt x="808" y="952"/>
                  </a:lnTo>
                  <a:lnTo>
                    <a:pt x="808" y="952"/>
                  </a:lnTo>
                  <a:lnTo>
                    <a:pt x="806" y="952"/>
                  </a:lnTo>
                  <a:lnTo>
                    <a:pt x="806" y="952"/>
                  </a:lnTo>
                  <a:lnTo>
                    <a:pt x="806" y="952"/>
                  </a:lnTo>
                  <a:lnTo>
                    <a:pt x="803" y="952"/>
                  </a:lnTo>
                  <a:lnTo>
                    <a:pt x="801" y="952"/>
                  </a:lnTo>
                  <a:lnTo>
                    <a:pt x="799" y="952"/>
                  </a:lnTo>
                  <a:lnTo>
                    <a:pt x="799" y="952"/>
                  </a:lnTo>
                  <a:lnTo>
                    <a:pt x="799" y="952"/>
                  </a:lnTo>
                  <a:lnTo>
                    <a:pt x="796" y="952"/>
                  </a:lnTo>
                  <a:lnTo>
                    <a:pt x="796" y="952"/>
                  </a:lnTo>
                  <a:lnTo>
                    <a:pt x="796" y="952"/>
                  </a:lnTo>
                  <a:lnTo>
                    <a:pt x="794" y="952"/>
                  </a:lnTo>
                  <a:lnTo>
                    <a:pt x="794" y="952"/>
                  </a:lnTo>
                  <a:lnTo>
                    <a:pt x="792" y="952"/>
                  </a:lnTo>
                  <a:lnTo>
                    <a:pt x="789" y="952"/>
                  </a:lnTo>
                  <a:lnTo>
                    <a:pt x="789" y="952"/>
                  </a:lnTo>
                  <a:lnTo>
                    <a:pt x="789" y="952"/>
                  </a:lnTo>
                  <a:lnTo>
                    <a:pt x="787" y="950"/>
                  </a:lnTo>
                  <a:lnTo>
                    <a:pt x="787" y="952"/>
                  </a:lnTo>
                  <a:lnTo>
                    <a:pt x="787" y="950"/>
                  </a:lnTo>
                  <a:lnTo>
                    <a:pt x="787" y="948"/>
                  </a:lnTo>
                  <a:lnTo>
                    <a:pt x="785" y="945"/>
                  </a:lnTo>
                  <a:lnTo>
                    <a:pt x="782" y="945"/>
                  </a:lnTo>
                  <a:lnTo>
                    <a:pt x="782" y="943"/>
                  </a:lnTo>
                  <a:lnTo>
                    <a:pt x="780" y="945"/>
                  </a:lnTo>
                  <a:lnTo>
                    <a:pt x="780" y="948"/>
                  </a:lnTo>
                  <a:lnTo>
                    <a:pt x="777" y="945"/>
                  </a:lnTo>
                  <a:lnTo>
                    <a:pt x="777" y="945"/>
                  </a:lnTo>
                  <a:lnTo>
                    <a:pt x="775" y="945"/>
                  </a:lnTo>
                  <a:lnTo>
                    <a:pt x="775" y="948"/>
                  </a:lnTo>
                  <a:lnTo>
                    <a:pt x="775" y="950"/>
                  </a:lnTo>
                  <a:lnTo>
                    <a:pt x="773" y="950"/>
                  </a:lnTo>
                  <a:lnTo>
                    <a:pt x="770" y="950"/>
                  </a:lnTo>
                  <a:lnTo>
                    <a:pt x="768" y="950"/>
                  </a:lnTo>
                  <a:lnTo>
                    <a:pt x="768" y="950"/>
                  </a:lnTo>
                  <a:lnTo>
                    <a:pt x="768" y="948"/>
                  </a:lnTo>
                  <a:lnTo>
                    <a:pt x="766" y="945"/>
                  </a:lnTo>
                  <a:lnTo>
                    <a:pt x="766" y="945"/>
                  </a:lnTo>
                  <a:lnTo>
                    <a:pt x="763" y="945"/>
                  </a:lnTo>
                  <a:lnTo>
                    <a:pt x="763" y="943"/>
                  </a:lnTo>
                  <a:lnTo>
                    <a:pt x="763" y="943"/>
                  </a:lnTo>
                  <a:lnTo>
                    <a:pt x="763" y="943"/>
                  </a:lnTo>
                  <a:lnTo>
                    <a:pt x="763" y="943"/>
                  </a:lnTo>
                  <a:lnTo>
                    <a:pt x="761" y="941"/>
                  </a:lnTo>
                  <a:lnTo>
                    <a:pt x="761" y="941"/>
                  </a:lnTo>
                  <a:lnTo>
                    <a:pt x="759" y="941"/>
                  </a:lnTo>
                  <a:lnTo>
                    <a:pt x="759" y="941"/>
                  </a:lnTo>
                  <a:lnTo>
                    <a:pt x="756" y="938"/>
                  </a:lnTo>
                  <a:lnTo>
                    <a:pt x="754" y="936"/>
                  </a:lnTo>
                  <a:lnTo>
                    <a:pt x="754" y="936"/>
                  </a:lnTo>
                  <a:lnTo>
                    <a:pt x="751" y="934"/>
                  </a:lnTo>
                  <a:lnTo>
                    <a:pt x="751" y="934"/>
                  </a:lnTo>
                  <a:lnTo>
                    <a:pt x="751" y="934"/>
                  </a:lnTo>
                  <a:lnTo>
                    <a:pt x="751" y="934"/>
                  </a:lnTo>
                  <a:lnTo>
                    <a:pt x="749" y="934"/>
                  </a:lnTo>
                  <a:lnTo>
                    <a:pt x="747" y="934"/>
                  </a:lnTo>
                  <a:lnTo>
                    <a:pt x="747" y="936"/>
                  </a:lnTo>
                  <a:lnTo>
                    <a:pt x="747" y="936"/>
                  </a:lnTo>
                  <a:lnTo>
                    <a:pt x="747" y="936"/>
                  </a:lnTo>
                  <a:lnTo>
                    <a:pt x="744" y="938"/>
                  </a:lnTo>
                  <a:lnTo>
                    <a:pt x="742" y="938"/>
                  </a:lnTo>
                  <a:lnTo>
                    <a:pt x="742" y="938"/>
                  </a:lnTo>
                  <a:lnTo>
                    <a:pt x="740" y="936"/>
                  </a:lnTo>
                  <a:lnTo>
                    <a:pt x="742" y="934"/>
                  </a:lnTo>
                  <a:lnTo>
                    <a:pt x="740" y="934"/>
                  </a:lnTo>
                  <a:lnTo>
                    <a:pt x="737" y="931"/>
                  </a:lnTo>
                  <a:lnTo>
                    <a:pt x="737" y="931"/>
                  </a:lnTo>
                  <a:lnTo>
                    <a:pt x="735" y="931"/>
                  </a:lnTo>
                  <a:lnTo>
                    <a:pt x="735" y="931"/>
                  </a:lnTo>
                  <a:lnTo>
                    <a:pt x="735" y="934"/>
                  </a:lnTo>
                  <a:lnTo>
                    <a:pt x="735" y="934"/>
                  </a:lnTo>
                  <a:lnTo>
                    <a:pt x="733" y="936"/>
                  </a:lnTo>
                  <a:lnTo>
                    <a:pt x="733" y="934"/>
                  </a:lnTo>
                  <a:lnTo>
                    <a:pt x="733" y="936"/>
                  </a:lnTo>
                  <a:lnTo>
                    <a:pt x="728" y="936"/>
                  </a:lnTo>
                  <a:lnTo>
                    <a:pt x="728" y="936"/>
                  </a:lnTo>
                  <a:lnTo>
                    <a:pt x="726" y="936"/>
                  </a:lnTo>
                  <a:lnTo>
                    <a:pt x="726" y="931"/>
                  </a:lnTo>
                  <a:lnTo>
                    <a:pt x="723" y="931"/>
                  </a:lnTo>
                  <a:lnTo>
                    <a:pt x="723" y="931"/>
                  </a:lnTo>
                  <a:lnTo>
                    <a:pt x="721" y="931"/>
                  </a:lnTo>
                  <a:lnTo>
                    <a:pt x="721" y="931"/>
                  </a:lnTo>
                  <a:lnTo>
                    <a:pt x="718" y="931"/>
                  </a:lnTo>
                  <a:lnTo>
                    <a:pt x="718" y="931"/>
                  </a:lnTo>
                  <a:lnTo>
                    <a:pt x="716" y="934"/>
                  </a:lnTo>
                  <a:lnTo>
                    <a:pt x="716" y="934"/>
                  </a:lnTo>
                  <a:lnTo>
                    <a:pt x="716" y="936"/>
                  </a:lnTo>
                  <a:lnTo>
                    <a:pt x="716" y="936"/>
                  </a:lnTo>
                  <a:lnTo>
                    <a:pt x="714" y="938"/>
                  </a:lnTo>
                  <a:lnTo>
                    <a:pt x="709" y="938"/>
                  </a:lnTo>
                  <a:lnTo>
                    <a:pt x="707" y="941"/>
                  </a:lnTo>
                  <a:lnTo>
                    <a:pt x="704" y="941"/>
                  </a:lnTo>
                  <a:lnTo>
                    <a:pt x="702" y="943"/>
                  </a:lnTo>
                  <a:lnTo>
                    <a:pt x="697" y="943"/>
                  </a:lnTo>
                  <a:lnTo>
                    <a:pt x="697" y="943"/>
                  </a:lnTo>
                  <a:lnTo>
                    <a:pt x="697" y="945"/>
                  </a:lnTo>
                  <a:lnTo>
                    <a:pt x="695" y="945"/>
                  </a:lnTo>
                  <a:lnTo>
                    <a:pt x="695" y="945"/>
                  </a:lnTo>
                  <a:lnTo>
                    <a:pt x="692" y="945"/>
                  </a:lnTo>
                  <a:lnTo>
                    <a:pt x="690" y="943"/>
                  </a:lnTo>
                  <a:lnTo>
                    <a:pt x="688" y="943"/>
                  </a:lnTo>
                  <a:lnTo>
                    <a:pt x="685" y="943"/>
                  </a:lnTo>
                  <a:lnTo>
                    <a:pt x="683" y="943"/>
                  </a:lnTo>
                  <a:lnTo>
                    <a:pt x="681" y="943"/>
                  </a:lnTo>
                  <a:lnTo>
                    <a:pt x="678" y="943"/>
                  </a:lnTo>
                  <a:lnTo>
                    <a:pt x="678" y="943"/>
                  </a:lnTo>
                  <a:lnTo>
                    <a:pt x="676" y="943"/>
                  </a:lnTo>
                  <a:lnTo>
                    <a:pt x="676" y="943"/>
                  </a:lnTo>
                  <a:lnTo>
                    <a:pt x="671" y="943"/>
                  </a:lnTo>
                  <a:lnTo>
                    <a:pt x="671" y="943"/>
                  </a:lnTo>
                  <a:lnTo>
                    <a:pt x="671" y="929"/>
                  </a:lnTo>
                  <a:lnTo>
                    <a:pt x="669" y="912"/>
                  </a:lnTo>
                  <a:lnTo>
                    <a:pt x="669" y="910"/>
                  </a:lnTo>
                  <a:lnTo>
                    <a:pt x="664" y="908"/>
                  </a:lnTo>
                  <a:lnTo>
                    <a:pt x="655" y="898"/>
                  </a:lnTo>
                  <a:lnTo>
                    <a:pt x="643" y="886"/>
                  </a:lnTo>
                  <a:lnTo>
                    <a:pt x="612" y="858"/>
                  </a:lnTo>
                  <a:lnTo>
                    <a:pt x="612" y="858"/>
                  </a:lnTo>
                  <a:lnTo>
                    <a:pt x="610" y="860"/>
                  </a:lnTo>
                  <a:lnTo>
                    <a:pt x="607" y="860"/>
                  </a:lnTo>
                  <a:lnTo>
                    <a:pt x="605" y="860"/>
                  </a:lnTo>
                  <a:lnTo>
                    <a:pt x="603" y="860"/>
                  </a:lnTo>
                  <a:lnTo>
                    <a:pt x="603" y="863"/>
                  </a:lnTo>
                  <a:lnTo>
                    <a:pt x="600" y="865"/>
                  </a:lnTo>
                  <a:lnTo>
                    <a:pt x="600" y="865"/>
                  </a:lnTo>
                  <a:lnTo>
                    <a:pt x="598" y="865"/>
                  </a:lnTo>
                  <a:lnTo>
                    <a:pt x="598" y="867"/>
                  </a:lnTo>
                  <a:lnTo>
                    <a:pt x="596" y="867"/>
                  </a:lnTo>
                  <a:lnTo>
                    <a:pt x="596" y="867"/>
                  </a:lnTo>
                  <a:lnTo>
                    <a:pt x="593" y="870"/>
                  </a:lnTo>
                  <a:lnTo>
                    <a:pt x="588" y="867"/>
                  </a:lnTo>
                  <a:lnTo>
                    <a:pt x="588" y="867"/>
                  </a:lnTo>
                  <a:lnTo>
                    <a:pt x="586" y="867"/>
                  </a:lnTo>
                  <a:lnTo>
                    <a:pt x="584" y="867"/>
                  </a:lnTo>
                  <a:lnTo>
                    <a:pt x="577" y="870"/>
                  </a:lnTo>
                  <a:lnTo>
                    <a:pt x="577" y="870"/>
                  </a:lnTo>
                  <a:lnTo>
                    <a:pt x="574" y="870"/>
                  </a:lnTo>
                  <a:lnTo>
                    <a:pt x="574" y="870"/>
                  </a:lnTo>
                  <a:lnTo>
                    <a:pt x="574" y="867"/>
                  </a:lnTo>
                  <a:lnTo>
                    <a:pt x="574" y="867"/>
                  </a:lnTo>
                  <a:lnTo>
                    <a:pt x="572" y="865"/>
                  </a:lnTo>
                  <a:lnTo>
                    <a:pt x="570" y="863"/>
                  </a:lnTo>
                  <a:lnTo>
                    <a:pt x="570" y="863"/>
                  </a:lnTo>
                  <a:lnTo>
                    <a:pt x="567" y="860"/>
                  </a:lnTo>
                  <a:lnTo>
                    <a:pt x="567" y="860"/>
                  </a:lnTo>
                  <a:lnTo>
                    <a:pt x="567" y="858"/>
                  </a:lnTo>
                  <a:lnTo>
                    <a:pt x="565" y="858"/>
                  </a:lnTo>
                  <a:lnTo>
                    <a:pt x="565" y="858"/>
                  </a:lnTo>
                  <a:lnTo>
                    <a:pt x="565" y="858"/>
                  </a:lnTo>
                  <a:lnTo>
                    <a:pt x="565" y="858"/>
                  </a:lnTo>
                  <a:lnTo>
                    <a:pt x="563" y="860"/>
                  </a:lnTo>
                  <a:lnTo>
                    <a:pt x="560" y="858"/>
                  </a:lnTo>
                  <a:lnTo>
                    <a:pt x="560" y="860"/>
                  </a:lnTo>
                  <a:lnTo>
                    <a:pt x="558" y="858"/>
                  </a:lnTo>
                  <a:lnTo>
                    <a:pt x="555" y="860"/>
                  </a:lnTo>
                  <a:lnTo>
                    <a:pt x="553" y="863"/>
                  </a:lnTo>
                  <a:lnTo>
                    <a:pt x="551" y="860"/>
                  </a:lnTo>
                  <a:lnTo>
                    <a:pt x="551" y="860"/>
                  </a:lnTo>
                  <a:lnTo>
                    <a:pt x="551" y="860"/>
                  </a:lnTo>
                  <a:lnTo>
                    <a:pt x="546" y="858"/>
                  </a:lnTo>
                  <a:lnTo>
                    <a:pt x="546" y="858"/>
                  </a:lnTo>
                  <a:lnTo>
                    <a:pt x="546" y="856"/>
                  </a:lnTo>
                  <a:lnTo>
                    <a:pt x="544" y="856"/>
                  </a:lnTo>
                  <a:lnTo>
                    <a:pt x="541" y="858"/>
                  </a:lnTo>
                  <a:lnTo>
                    <a:pt x="539" y="856"/>
                  </a:lnTo>
                  <a:lnTo>
                    <a:pt x="539" y="856"/>
                  </a:lnTo>
                  <a:lnTo>
                    <a:pt x="537" y="856"/>
                  </a:lnTo>
                  <a:lnTo>
                    <a:pt x="534" y="853"/>
                  </a:lnTo>
                  <a:lnTo>
                    <a:pt x="529" y="853"/>
                  </a:lnTo>
                  <a:lnTo>
                    <a:pt x="532" y="851"/>
                  </a:lnTo>
                  <a:lnTo>
                    <a:pt x="532" y="849"/>
                  </a:lnTo>
                  <a:lnTo>
                    <a:pt x="527" y="849"/>
                  </a:lnTo>
                  <a:lnTo>
                    <a:pt x="525" y="844"/>
                  </a:lnTo>
                  <a:lnTo>
                    <a:pt x="522" y="844"/>
                  </a:lnTo>
                  <a:lnTo>
                    <a:pt x="520" y="844"/>
                  </a:lnTo>
                  <a:lnTo>
                    <a:pt x="520" y="844"/>
                  </a:lnTo>
                  <a:lnTo>
                    <a:pt x="520" y="841"/>
                  </a:lnTo>
                  <a:lnTo>
                    <a:pt x="518" y="841"/>
                  </a:lnTo>
                  <a:lnTo>
                    <a:pt x="515" y="841"/>
                  </a:lnTo>
                  <a:lnTo>
                    <a:pt x="513" y="839"/>
                  </a:lnTo>
                  <a:lnTo>
                    <a:pt x="513" y="837"/>
                  </a:lnTo>
                  <a:lnTo>
                    <a:pt x="513" y="837"/>
                  </a:lnTo>
                  <a:lnTo>
                    <a:pt x="511" y="834"/>
                  </a:lnTo>
                  <a:lnTo>
                    <a:pt x="508" y="837"/>
                  </a:lnTo>
                  <a:lnTo>
                    <a:pt x="508" y="839"/>
                  </a:lnTo>
                  <a:lnTo>
                    <a:pt x="506" y="837"/>
                  </a:lnTo>
                  <a:lnTo>
                    <a:pt x="503" y="834"/>
                  </a:lnTo>
                  <a:lnTo>
                    <a:pt x="503" y="834"/>
                  </a:lnTo>
                  <a:lnTo>
                    <a:pt x="503" y="834"/>
                  </a:lnTo>
                  <a:lnTo>
                    <a:pt x="503" y="834"/>
                  </a:lnTo>
                  <a:lnTo>
                    <a:pt x="503" y="834"/>
                  </a:lnTo>
                  <a:lnTo>
                    <a:pt x="501" y="832"/>
                  </a:lnTo>
                  <a:lnTo>
                    <a:pt x="501" y="834"/>
                  </a:lnTo>
                  <a:lnTo>
                    <a:pt x="499" y="832"/>
                  </a:lnTo>
                  <a:lnTo>
                    <a:pt x="496" y="832"/>
                  </a:lnTo>
                  <a:lnTo>
                    <a:pt x="499" y="832"/>
                  </a:lnTo>
                  <a:lnTo>
                    <a:pt x="496" y="832"/>
                  </a:lnTo>
                  <a:lnTo>
                    <a:pt x="496" y="830"/>
                  </a:lnTo>
                  <a:lnTo>
                    <a:pt x="496" y="830"/>
                  </a:lnTo>
                  <a:lnTo>
                    <a:pt x="496" y="830"/>
                  </a:lnTo>
                  <a:lnTo>
                    <a:pt x="494" y="832"/>
                  </a:lnTo>
                  <a:lnTo>
                    <a:pt x="494" y="830"/>
                  </a:lnTo>
                  <a:lnTo>
                    <a:pt x="494" y="830"/>
                  </a:lnTo>
                  <a:lnTo>
                    <a:pt x="492" y="827"/>
                  </a:lnTo>
                  <a:lnTo>
                    <a:pt x="492" y="825"/>
                  </a:lnTo>
                  <a:lnTo>
                    <a:pt x="487" y="825"/>
                  </a:lnTo>
                  <a:lnTo>
                    <a:pt x="485" y="823"/>
                  </a:lnTo>
                  <a:lnTo>
                    <a:pt x="482" y="820"/>
                  </a:lnTo>
                  <a:lnTo>
                    <a:pt x="480" y="820"/>
                  </a:lnTo>
                  <a:lnTo>
                    <a:pt x="480" y="820"/>
                  </a:lnTo>
                  <a:lnTo>
                    <a:pt x="477" y="820"/>
                  </a:lnTo>
                  <a:lnTo>
                    <a:pt x="477" y="818"/>
                  </a:lnTo>
                  <a:lnTo>
                    <a:pt x="475" y="815"/>
                  </a:lnTo>
                  <a:lnTo>
                    <a:pt x="475" y="815"/>
                  </a:lnTo>
                  <a:lnTo>
                    <a:pt x="477" y="815"/>
                  </a:lnTo>
                  <a:lnTo>
                    <a:pt x="475" y="815"/>
                  </a:lnTo>
                  <a:lnTo>
                    <a:pt x="475" y="815"/>
                  </a:lnTo>
                  <a:lnTo>
                    <a:pt x="475" y="815"/>
                  </a:lnTo>
                  <a:lnTo>
                    <a:pt x="473" y="815"/>
                  </a:lnTo>
                  <a:lnTo>
                    <a:pt x="473" y="813"/>
                  </a:lnTo>
                  <a:lnTo>
                    <a:pt x="473" y="815"/>
                  </a:lnTo>
                  <a:lnTo>
                    <a:pt x="473" y="815"/>
                  </a:lnTo>
                  <a:lnTo>
                    <a:pt x="470" y="813"/>
                  </a:lnTo>
                  <a:lnTo>
                    <a:pt x="470" y="813"/>
                  </a:lnTo>
                  <a:lnTo>
                    <a:pt x="470" y="813"/>
                  </a:lnTo>
                  <a:lnTo>
                    <a:pt x="468" y="813"/>
                  </a:lnTo>
                  <a:lnTo>
                    <a:pt x="468" y="811"/>
                  </a:lnTo>
                  <a:lnTo>
                    <a:pt x="468" y="808"/>
                  </a:lnTo>
                  <a:lnTo>
                    <a:pt x="468" y="808"/>
                  </a:lnTo>
                  <a:lnTo>
                    <a:pt x="466" y="808"/>
                  </a:lnTo>
                  <a:lnTo>
                    <a:pt x="463" y="806"/>
                  </a:lnTo>
                  <a:lnTo>
                    <a:pt x="463" y="806"/>
                  </a:lnTo>
                  <a:lnTo>
                    <a:pt x="459" y="806"/>
                  </a:lnTo>
                  <a:lnTo>
                    <a:pt x="459" y="806"/>
                  </a:lnTo>
                  <a:lnTo>
                    <a:pt x="456" y="806"/>
                  </a:lnTo>
                  <a:lnTo>
                    <a:pt x="456" y="804"/>
                  </a:lnTo>
                  <a:lnTo>
                    <a:pt x="456" y="804"/>
                  </a:lnTo>
                  <a:lnTo>
                    <a:pt x="454" y="806"/>
                  </a:lnTo>
                  <a:lnTo>
                    <a:pt x="454" y="806"/>
                  </a:lnTo>
                  <a:lnTo>
                    <a:pt x="451" y="804"/>
                  </a:lnTo>
                  <a:lnTo>
                    <a:pt x="451" y="806"/>
                  </a:lnTo>
                  <a:lnTo>
                    <a:pt x="449" y="806"/>
                  </a:lnTo>
                  <a:lnTo>
                    <a:pt x="449" y="806"/>
                  </a:lnTo>
                  <a:lnTo>
                    <a:pt x="449" y="804"/>
                  </a:lnTo>
                  <a:lnTo>
                    <a:pt x="447" y="804"/>
                  </a:lnTo>
                  <a:lnTo>
                    <a:pt x="447" y="804"/>
                  </a:lnTo>
                  <a:lnTo>
                    <a:pt x="447" y="804"/>
                  </a:lnTo>
                  <a:lnTo>
                    <a:pt x="444" y="804"/>
                  </a:lnTo>
                  <a:lnTo>
                    <a:pt x="444" y="801"/>
                  </a:lnTo>
                  <a:lnTo>
                    <a:pt x="440" y="801"/>
                  </a:lnTo>
                  <a:lnTo>
                    <a:pt x="437" y="801"/>
                  </a:lnTo>
                  <a:lnTo>
                    <a:pt x="437" y="801"/>
                  </a:lnTo>
                  <a:lnTo>
                    <a:pt x="435" y="801"/>
                  </a:lnTo>
                  <a:lnTo>
                    <a:pt x="435" y="801"/>
                  </a:lnTo>
                  <a:lnTo>
                    <a:pt x="435" y="801"/>
                  </a:lnTo>
                  <a:lnTo>
                    <a:pt x="430" y="801"/>
                  </a:lnTo>
                  <a:lnTo>
                    <a:pt x="430" y="801"/>
                  </a:lnTo>
                  <a:lnTo>
                    <a:pt x="423" y="801"/>
                  </a:lnTo>
                  <a:lnTo>
                    <a:pt x="423" y="804"/>
                  </a:lnTo>
                  <a:lnTo>
                    <a:pt x="423" y="804"/>
                  </a:lnTo>
                  <a:lnTo>
                    <a:pt x="421" y="804"/>
                  </a:lnTo>
                  <a:lnTo>
                    <a:pt x="421" y="804"/>
                  </a:lnTo>
                  <a:lnTo>
                    <a:pt x="418" y="804"/>
                  </a:lnTo>
                  <a:lnTo>
                    <a:pt x="418" y="804"/>
                  </a:lnTo>
                  <a:lnTo>
                    <a:pt x="418" y="804"/>
                  </a:lnTo>
                  <a:lnTo>
                    <a:pt x="416" y="806"/>
                  </a:lnTo>
                  <a:lnTo>
                    <a:pt x="414" y="806"/>
                  </a:lnTo>
                  <a:lnTo>
                    <a:pt x="414" y="806"/>
                  </a:lnTo>
                  <a:lnTo>
                    <a:pt x="409" y="808"/>
                  </a:lnTo>
                  <a:lnTo>
                    <a:pt x="407" y="811"/>
                  </a:lnTo>
                  <a:lnTo>
                    <a:pt x="407" y="808"/>
                  </a:lnTo>
                  <a:lnTo>
                    <a:pt x="404" y="811"/>
                  </a:lnTo>
                  <a:lnTo>
                    <a:pt x="404" y="811"/>
                  </a:lnTo>
                  <a:lnTo>
                    <a:pt x="404" y="811"/>
                  </a:lnTo>
                  <a:lnTo>
                    <a:pt x="404" y="811"/>
                  </a:lnTo>
                  <a:lnTo>
                    <a:pt x="402" y="811"/>
                  </a:lnTo>
                  <a:lnTo>
                    <a:pt x="402" y="813"/>
                  </a:lnTo>
                  <a:lnTo>
                    <a:pt x="402" y="813"/>
                  </a:lnTo>
                  <a:lnTo>
                    <a:pt x="402" y="815"/>
                  </a:lnTo>
                  <a:lnTo>
                    <a:pt x="400" y="815"/>
                  </a:lnTo>
                  <a:lnTo>
                    <a:pt x="400" y="815"/>
                  </a:lnTo>
                  <a:lnTo>
                    <a:pt x="400" y="818"/>
                  </a:lnTo>
                  <a:lnTo>
                    <a:pt x="400" y="818"/>
                  </a:lnTo>
                  <a:lnTo>
                    <a:pt x="400" y="818"/>
                  </a:lnTo>
                  <a:lnTo>
                    <a:pt x="400" y="818"/>
                  </a:lnTo>
                  <a:lnTo>
                    <a:pt x="397" y="818"/>
                  </a:lnTo>
                  <a:lnTo>
                    <a:pt x="397" y="820"/>
                  </a:lnTo>
                  <a:lnTo>
                    <a:pt x="395" y="820"/>
                  </a:lnTo>
                  <a:lnTo>
                    <a:pt x="395" y="820"/>
                  </a:lnTo>
                  <a:lnTo>
                    <a:pt x="395" y="820"/>
                  </a:lnTo>
                  <a:lnTo>
                    <a:pt x="392" y="823"/>
                  </a:lnTo>
                  <a:lnTo>
                    <a:pt x="392" y="823"/>
                  </a:lnTo>
                  <a:lnTo>
                    <a:pt x="392" y="820"/>
                  </a:lnTo>
                  <a:lnTo>
                    <a:pt x="392" y="818"/>
                  </a:lnTo>
                  <a:lnTo>
                    <a:pt x="392" y="818"/>
                  </a:lnTo>
                  <a:lnTo>
                    <a:pt x="392" y="818"/>
                  </a:lnTo>
                  <a:lnTo>
                    <a:pt x="388" y="815"/>
                  </a:lnTo>
                  <a:lnTo>
                    <a:pt x="385" y="813"/>
                  </a:lnTo>
                  <a:lnTo>
                    <a:pt x="385" y="813"/>
                  </a:lnTo>
                  <a:lnTo>
                    <a:pt x="383" y="813"/>
                  </a:lnTo>
                  <a:lnTo>
                    <a:pt x="383" y="813"/>
                  </a:lnTo>
                  <a:lnTo>
                    <a:pt x="381" y="813"/>
                  </a:lnTo>
                  <a:lnTo>
                    <a:pt x="376" y="813"/>
                  </a:lnTo>
                  <a:lnTo>
                    <a:pt x="376" y="811"/>
                  </a:lnTo>
                  <a:lnTo>
                    <a:pt x="374" y="811"/>
                  </a:lnTo>
                  <a:lnTo>
                    <a:pt x="374" y="811"/>
                  </a:lnTo>
                  <a:lnTo>
                    <a:pt x="374" y="811"/>
                  </a:lnTo>
                  <a:lnTo>
                    <a:pt x="374" y="811"/>
                  </a:lnTo>
                  <a:lnTo>
                    <a:pt x="371" y="811"/>
                  </a:lnTo>
                  <a:lnTo>
                    <a:pt x="371" y="811"/>
                  </a:lnTo>
                  <a:lnTo>
                    <a:pt x="369" y="811"/>
                  </a:lnTo>
                  <a:lnTo>
                    <a:pt x="369" y="811"/>
                  </a:lnTo>
                  <a:lnTo>
                    <a:pt x="369" y="808"/>
                  </a:lnTo>
                  <a:lnTo>
                    <a:pt x="369" y="808"/>
                  </a:lnTo>
                  <a:lnTo>
                    <a:pt x="369" y="806"/>
                  </a:lnTo>
                  <a:lnTo>
                    <a:pt x="366" y="806"/>
                  </a:lnTo>
                  <a:lnTo>
                    <a:pt x="364" y="806"/>
                  </a:lnTo>
                  <a:lnTo>
                    <a:pt x="364" y="806"/>
                  </a:lnTo>
                  <a:lnTo>
                    <a:pt x="362" y="806"/>
                  </a:lnTo>
                  <a:lnTo>
                    <a:pt x="362" y="806"/>
                  </a:lnTo>
                  <a:lnTo>
                    <a:pt x="362" y="804"/>
                  </a:lnTo>
                  <a:lnTo>
                    <a:pt x="357" y="804"/>
                  </a:lnTo>
                  <a:lnTo>
                    <a:pt x="352" y="804"/>
                  </a:lnTo>
                  <a:lnTo>
                    <a:pt x="352" y="804"/>
                  </a:lnTo>
                  <a:lnTo>
                    <a:pt x="350" y="801"/>
                  </a:lnTo>
                  <a:lnTo>
                    <a:pt x="350" y="801"/>
                  </a:lnTo>
                  <a:lnTo>
                    <a:pt x="350" y="801"/>
                  </a:lnTo>
                  <a:lnTo>
                    <a:pt x="348" y="801"/>
                  </a:lnTo>
                  <a:lnTo>
                    <a:pt x="348" y="801"/>
                  </a:lnTo>
                  <a:lnTo>
                    <a:pt x="348" y="801"/>
                  </a:lnTo>
                  <a:lnTo>
                    <a:pt x="348" y="799"/>
                  </a:lnTo>
                  <a:lnTo>
                    <a:pt x="348" y="799"/>
                  </a:lnTo>
                  <a:lnTo>
                    <a:pt x="348" y="799"/>
                  </a:lnTo>
                  <a:lnTo>
                    <a:pt x="348" y="799"/>
                  </a:lnTo>
                  <a:lnTo>
                    <a:pt x="350" y="799"/>
                  </a:lnTo>
                  <a:lnTo>
                    <a:pt x="348" y="797"/>
                  </a:lnTo>
                  <a:lnTo>
                    <a:pt x="350" y="797"/>
                  </a:lnTo>
                  <a:lnTo>
                    <a:pt x="350" y="794"/>
                  </a:lnTo>
                  <a:lnTo>
                    <a:pt x="348" y="794"/>
                  </a:lnTo>
                  <a:lnTo>
                    <a:pt x="348" y="792"/>
                  </a:lnTo>
                  <a:lnTo>
                    <a:pt x="348" y="794"/>
                  </a:lnTo>
                  <a:lnTo>
                    <a:pt x="348" y="792"/>
                  </a:lnTo>
                  <a:lnTo>
                    <a:pt x="348" y="792"/>
                  </a:lnTo>
                  <a:lnTo>
                    <a:pt x="348" y="789"/>
                  </a:lnTo>
                  <a:lnTo>
                    <a:pt x="348" y="787"/>
                  </a:lnTo>
                  <a:lnTo>
                    <a:pt x="350" y="782"/>
                  </a:lnTo>
                  <a:lnTo>
                    <a:pt x="352" y="775"/>
                  </a:lnTo>
                  <a:lnTo>
                    <a:pt x="355" y="775"/>
                  </a:lnTo>
                  <a:lnTo>
                    <a:pt x="355" y="771"/>
                  </a:lnTo>
                  <a:lnTo>
                    <a:pt x="357" y="766"/>
                  </a:lnTo>
                  <a:lnTo>
                    <a:pt x="357" y="763"/>
                  </a:lnTo>
                  <a:lnTo>
                    <a:pt x="357" y="763"/>
                  </a:lnTo>
                  <a:lnTo>
                    <a:pt x="362" y="759"/>
                  </a:lnTo>
                  <a:lnTo>
                    <a:pt x="359" y="759"/>
                  </a:lnTo>
                  <a:lnTo>
                    <a:pt x="357" y="759"/>
                  </a:lnTo>
                  <a:lnTo>
                    <a:pt x="357" y="756"/>
                  </a:lnTo>
                  <a:lnTo>
                    <a:pt x="357" y="759"/>
                  </a:lnTo>
                  <a:lnTo>
                    <a:pt x="357" y="756"/>
                  </a:lnTo>
                  <a:lnTo>
                    <a:pt x="355" y="756"/>
                  </a:lnTo>
                  <a:lnTo>
                    <a:pt x="357" y="756"/>
                  </a:lnTo>
                  <a:lnTo>
                    <a:pt x="355" y="756"/>
                  </a:lnTo>
                  <a:lnTo>
                    <a:pt x="355" y="756"/>
                  </a:lnTo>
                  <a:lnTo>
                    <a:pt x="352" y="756"/>
                  </a:lnTo>
                  <a:lnTo>
                    <a:pt x="352" y="756"/>
                  </a:lnTo>
                  <a:lnTo>
                    <a:pt x="352" y="756"/>
                  </a:lnTo>
                  <a:lnTo>
                    <a:pt x="352" y="756"/>
                  </a:lnTo>
                  <a:lnTo>
                    <a:pt x="352" y="756"/>
                  </a:lnTo>
                  <a:lnTo>
                    <a:pt x="352" y="756"/>
                  </a:lnTo>
                  <a:lnTo>
                    <a:pt x="350" y="756"/>
                  </a:lnTo>
                  <a:lnTo>
                    <a:pt x="350" y="756"/>
                  </a:lnTo>
                  <a:lnTo>
                    <a:pt x="350" y="756"/>
                  </a:lnTo>
                  <a:lnTo>
                    <a:pt x="348" y="756"/>
                  </a:lnTo>
                  <a:lnTo>
                    <a:pt x="348" y="756"/>
                  </a:lnTo>
                  <a:lnTo>
                    <a:pt x="348" y="754"/>
                  </a:lnTo>
                  <a:lnTo>
                    <a:pt x="348" y="754"/>
                  </a:lnTo>
                  <a:lnTo>
                    <a:pt x="345" y="754"/>
                  </a:lnTo>
                  <a:lnTo>
                    <a:pt x="345" y="754"/>
                  </a:lnTo>
                  <a:lnTo>
                    <a:pt x="345" y="754"/>
                  </a:lnTo>
                  <a:lnTo>
                    <a:pt x="345" y="754"/>
                  </a:lnTo>
                  <a:lnTo>
                    <a:pt x="345" y="754"/>
                  </a:lnTo>
                  <a:lnTo>
                    <a:pt x="343" y="754"/>
                  </a:lnTo>
                  <a:lnTo>
                    <a:pt x="343" y="754"/>
                  </a:lnTo>
                  <a:lnTo>
                    <a:pt x="343" y="754"/>
                  </a:lnTo>
                  <a:lnTo>
                    <a:pt x="340" y="754"/>
                  </a:lnTo>
                  <a:lnTo>
                    <a:pt x="340" y="754"/>
                  </a:lnTo>
                  <a:lnTo>
                    <a:pt x="340" y="752"/>
                  </a:lnTo>
                  <a:lnTo>
                    <a:pt x="338" y="752"/>
                  </a:lnTo>
                  <a:lnTo>
                    <a:pt x="338" y="754"/>
                  </a:lnTo>
                  <a:lnTo>
                    <a:pt x="338" y="752"/>
                  </a:lnTo>
                  <a:lnTo>
                    <a:pt x="338" y="752"/>
                  </a:lnTo>
                  <a:lnTo>
                    <a:pt x="338" y="752"/>
                  </a:lnTo>
                  <a:lnTo>
                    <a:pt x="336" y="752"/>
                  </a:lnTo>
                  <a:lnTo>
                    <a:pt x="336" y="752"/>
                  </a:lnTo>
                  <a:lnTo>
                    <a:pt x="336" y="752"/>
                  </a:lnTo>
                  <a:lnTo>
                    <a:pt x="333" y="749"/>
                  </a:lnTo>
                  <a:lnTo>
                    <a:pt x="336" y="749"/>
                  </a:lnTo>
                  <a:lnTo>
                    <a:pt x="331" y="749"/>
                  </a:lnTo>
                  <a:lnTo>
                    <a:pt x="331" y="749"/>
                  </a:lnTo>
                  <a:lnTo>
                    <a:pt x="331" y="752"/>
                  </a:lnTo>
                  <a:lnTo>
                    <a:pt x="329" y="752"/>
                  </a:lnTo>
                  <a:lnTo>
                    <a:pt x="329" y="752"/>
                  </a:lnTo>
                  <a:lnTo>
                    <a:pt x="329" y="752"/>
                  </a:lnTo>
                  <a:lnTo>
                    <a:pt x="329" y="752"/>
                  </a:lnTo>
                  <a:lnTo>
                    <a:pt x="326" y="752"/>
                  </a:lnTo>
                  <a:lnTo>
                    <a:pt x="326" y="752"/>
                  </a:lnTo>
                  <a:lnTo>
                    <a:pt x="326" y="752"/>
                  </a:lnTo>
                  <a:lnTo>
                    <a:pt x="326" y="752"/>
                  </a:lnTo>
                  <a:lnTo>
                    <a:pt x="324" y="752"/>
                  </a:lnTo>
                  <a:lnTo>
                    <a:pt x="324" y="752"/>
                  </a:lnTo>
                  <a:lnTo>
                    <a:pt x="324" y="752"/>
                  </a:lnTo>
                  <a:lnTo>
                    <a:pt x="324" y="749"/>
                  </a:lnTo>
                  <a:lnTo>
                    <a:pt x="322" y="749"/>
                  </a:lnTo>
                  <a:lnTo>
                    <a:pt x="322" y="752"/>
                  </a:lnTo>
                  <a:lnTo>
                    <a:pt x="322" y="752"/>
                  </a:lnTo>
                  <a:lnTo>
                    <a:pt x="322" y="749"/>
                  </a:lnTo>
                  <a:lnTo>
                    <a:pt x="322" y="752"/>
                  </a:lnTo>
                  <a:lnTo>
                    <a:pt x="319" y="752"/>
                  </a:lnTo>
                  <a:lnTo>
                    <a:pt x="319" y="749"/>
                  </a:lnTo>
                  <a:lnTo>
                    <a:pt x="319" y="749"/>
                  </a:lnTo>
                  <a:lnTo>
                    <a:pt x="319" y="749"/>
                  </a:lnTo>
                  <a:lnTo>
                    <a:pt x="317" y="752"/>
                  </a:lnTo>
                  <a:lnTo>
                    <a:pt x="317" y="752"/>
                  </a:lnTo>
                  <a:lnTo>
                    <a:pt x="314" y="752"/>
                  </a:lnTo>
                  <a:lnTo>
                    <a:pt x="317" y="752"/>
                  </a:lnTo>
                  <a:lnTo>
                    <a:pt x="317" y="749"/>
                  </a:lnTo>
                  <a:lnTo>
                    <a:pt x="312" y="749"/>
                  </a:lnTo>
                  <a:lnTo>
                    <a:pt x="312" y="749"/>
                  </a:lnTo>
                  <a:lnTo>
                    <a:pt x="312" y="749"/>
                  </a:lnTo>
                  <a:lnTo>
                    <a:pt x="310" y="749"/>
                  </a:lnTo>
                  <a:lnTo>
                    <a:pt x="307" y="749"/>
                  </a:lnTo>
                  <a:lnTo>
                    <a:pt x="307" y="747"/>
                  </a:lnTo>
                  <a:lnTo>
                    <a:pt x="307" y="747"/>
                  </a:lnTo>
                  <a:lnTo>
                    <a:pt x="307" y="747"/>
                  </a:lnTo>
                  <a:lnTo>
                    <a:pt x="305" y="745"/>
                  </a:lnTo>
                  <a:lnTo>
                    <a:pt x="305" y="747"/>
                  </a:lnTo>
                  <a:lnTo>
                    <a:pt x="305" y="747"/>
                  </a:lnTo>
                  <a:lnTo>
                    <a:pt x="303" y="747"/>
                  </a:lnTo>
                  <a:lnTo>
                    <a:pt x="303" y="747"/>
                  </a:lnTo>
                  <a:lnTo>
                    <a:pt x="303" y="749"/>
                  </a:lnTo>
                  <a:lnTo>
                    <a:pt x="303" y="747"/>
                  </a:lnTo>
                  <a:lnTo>
                    <a:pt x="300" y="749"/>
                  </a:lnTo>
                  <a:lnTo>
                    <a:pt x="303" y="749"/>
                  </a:lnTo>
                  <a:lnTo>
                    <a:pt x="303" y="749"/>
                  </a:lnTo>
                  <a:lnTo>
                    <a:pt x="300" y="747"/>
                  </a:lnTo>
                  <a:lnTo>
                    <a:pt x="298" y="747"/>
                  </a:lnTo>
                  <a:lnTo>
                    <a:pt x="298" y="747"/>
                  </a:lnTo>
                  <a:lnTo>
                    <a:pt x="298" y="747"/>
                  </a:lnTo>
                  <a:lnTo>
                    <a:pt x="296" y="747"/>
                  </a:lnTo>
                  <a:lnTo>
                    <a:pt x="296" y="749"/>
                  </a:lnTo>
                  <a:lnTo>
                    <a:pt x="293" y="747"/>
                  </a:lnTo>
                  <a:lnTo>
                    <a:pt x="291" y="747"/>
                  </a:lnTo>
                  <a:lnTo>
                    <a:pt x="291" y="749"/>
                  </a:lnTo>
                  <a:lnTo>
                    <a:pt x="288" y="749"/>
                  </a:lnTo>
                  <a:lnTo>
                    <a:pt x="288" y="749"/>
                  </a:lnTo>
                  <a:lnTo>
                    <a:pt x="288" y="749"/>
                  </a:lnTo>
                  <a:lnTo>
                    <a:pt x="288" y="749"/>
                  </a:lnTo>
                  <a:lnTo>
                    <a:pt x="286" y="749"/>
                  </a:lnTo>
                  <a:lnTo>
                    <a:pt x="286" y="752"/>
                  </a:lnTo>
                  <a:lnTo>
                    <a:pt x="284" y="749"/>
                  </a:lnTo>
                  <a:lnTo>
                    <a:pt x="284" y="752"/>
                  </a:lnTo>
                  <a:lnTo>
                    <a:pt x="284" y="752"/>
                  </a:lnTo>
                  <a:lnTo>
                    <a:pt x="284" y="752"/>
                  </a:lnTo>
                  <a:lnTo>
                    <a:pt x="284" y="752"/>
                  </a:lnTo>
                  <a:lnTo>
                    <a:pt x="281" y="752"/>
                  </a:lnTo>
                  <a:lnTo>
                    <a:pt x="281" y="752"/>
                  </a:lnTo>
                  <a:lnTo>
                    <a:pt x="279" y="752"/>
                  </a:lnTo>
                  <a:lnTo>
                    <a:pt x="277" y="754"/>
                  </a:lnTo>
                  <a:lnTo>
                    <a:pt x="274" y="756"/>
                  </a:lnTo>
                  <a:lnTo>
                    <a:pt x="274" y="756"/>
                  </a:lnTo>
                  <a:lnTo>
                    <a:pt x="274" y="756"/>
                  </a:lnTo>
                  <a:lnTo>
                    <a:pt x="274" y="756"/>
                  </a:lnTo>
                  <a:lnTo>
                    <a:pt x="272" y="756"/>
                  </a:lnTo>
                  <a:lnTo>
                    <a:pt x="272" y="756"/>
                  </a:lnTo>
                  <a:lnTo>
                    <a:pt x="272" y="759"/>
                  </a:lnTo>
                  <a:lnTo>
                    <a:pt x="270" y="759"/>
                  </a:lnTo>
                  <a:lnTo>
                    <a:pt x="270" y="756"/>
                  </a:lnTo>
                  <a:lnTo>
                    <a:pt x="270" y="759"/>
                  </a:lnTo>
                  <a:lnTo>
                    <a:pt x="270" y="756"/>
                  </a:lnTo>
                  <a:lnTo>
                    <a:pt x="267" y="759"/>
                  </a:lnTo>
                  <a:lnTo>
                    <a:pt x="265" y="759"/>
                  </a:lnTo>
                  <a:lnTo>
                    <a:pt x="265" y="759"/>
                  </a:lnTo>
                  <a:lnTo>
                    <a:pt x="265" y="759"/>
                  </a:lnTo>
                  <a:lnTo>
                    <a:pt x="263" y="759"/>
                  </a:lnTo>
                  <a:lnTo>
                    <a:pt x="263" y="759"/>
                  </a:lnTo>
                  <a:lnTo>
                    <a:pt x="263" y="759"/>
                  </a:lnTo>
                  <a:lnTo>
                    <a:pt x="263" y="761"/>
                  </a:lnTo>
                  <a:lnTo>
                    <a:pt x="260" y="761"/>
                  </a:lnTo>
                  <a:lnTo>
                    <a:pt x="260" y="761"/>
                  </a:lnTo>
                  <a:lnTo>
                    <a:pt x="260" y="761"/>
                  </a:lnTo>
                  <a:lnTo>
                    <a:pt x="260" y="761"/>
                  </a:lnTo>
                  <a:lnTo>
                    <a:pt x="258" y="761"/>
                  </a:lnTo>
                  <a:lnTo>
                    <a:pt x="258" y="763"/>
                  </a:lnTo>
                  <a:lnTo>
                    <a:pt x="255" y="763"/>
                  </a:lnTo>
                  <a:lnTo>
                    <a:pt x="255" y="763"/>
                  </a:lnTo>
                  <a:lnTo>
                    <a:pt x="255" y="763"/>
                  </a:lnTo>
                  <a:lnTo>
                    <a:pt x="253" y="763"/>
                  </a:lnTo>
                  <a:lnTo>
                    <a:pt x="253" y="766"/>
                  </a:lnTo>
                  <a:lnTo>
                    <a:pt x="253" y="766"/>
                  </a:lnTo>
                  <a:lnTo>
                    <a:pt x="251" y="766"/>
                  </a:lnTo>
                  <a:lnTo>
                    <a:pt x="253" y="766"/>
                  </a:lnTo>
                  <a:lnTo>
                    <a:pt x="251" y="768"/>
                  </a:lnTo>
                  <a:lnTo>
                    <a:pt x="251" y="766"/>
                  </a:lnTo>
                  <a:lnTo>
                    <a:pt x="248" y="766"/>
                  </a:lnTo>
                  <a:lnTo>
                    <a:pt x="248" y="768"/>
                  </a:lnTo>
                  <a:lnTo>
                    <a:pt x="248" y="768"/>
                  </a:lnTo>
                  <a:lnTo>
                    <a:pt x="248" y="771"/>
                  </a:lnTo>
                  <a:lnTo>
                    <a:pt x="248" y="768"/>
                  </a:lnTo>
                  <a:lnTo>
                    <a:pt x="248" y="771"/>
                  </a:lnTo>
                  <a:lnTo>
                    <a:pt x="246" y="768"/>
                  </a:lnTo>
                  <a:lnTo>
                    <a:pt x="246" y="771"/>
                  </a:lnTo>
                  <a:lnTo>
                    <a:pt x="246" y="771"/>
                  </a:lnTo>
                  <a:lnTo>
                    <a:pt x="246" y="771"/>
                  </a:lnTo>
                  <a:lnTo>
                    <a:pt x="244" y="771"/>
                  </a:lnTo>
                  <a:lnTo>
                    <a:pt x="244" y="773"/>
                  </a:lnTo>
                  <a:lnTo>
                    <a:pt x="244" y="773"/>
                  </a:lnTo>
                  <a:lnTo>
                    <a:pt x="244" y="773"/>
                  </a:lnTo>
                  <a:lnTo>
                    <a:pt x="244" y="773"/>
                  </a:lnTo>
                  <a:lnTo>
                    <a:pt x="241" y="775"/>
                  </a:lnTo>
                  <a:lnTo>
                    <a:pt x="241" y="773"/>
                  </a:lnTo>
                  <a:lnTo>
                    <a:pt x="241" y="775"/>
                  </a:lnTo>
                  <a:lnTo>
                    <a:pt x="239" y="775"/>
                  </a:lnTo>
                  <a:lnTo>
                    <a:pt x="239" y="775"/>
                  </a:lnTo>
                  <a:lnTo>
                    <a:pt x="239" y="778"/>
                  </a:lnTo>
                  <a:lnTo>
                    <a:pt x="237" y="778"/>
                  </a:lnTo>
                  <a:lnTo>
                    <a:pt x="237" y="778"/>
                  </a:lnTo>
                  <a:lnTo>
                    <a:pt x="237" y="778"/>
                  </a:lnTo>
                  <a:lnTo>
                    <a:pt x="237" y="778"/>
                  </a:lnTo>
                  <a:lnTo>
                    <a:pt x="234" y="778"/>
                  </a:lnTo>
                  <a:lnTo>
                    <a:pt x="234" y="778"/>
                  </a:lnTo>
                  <a:lnTo>
                    <a:pt x="232" y="778"/>
                  </a:lnTo>
                  <a:lnTo>
                    <a:pt x="232" y="780"/>
                  </a:lnTo>
                  <a:lnTo>
                    <a:pt x="232" y="780"/>
                  </a:lnTo>
                  <a:lnTo>
                    <a:pt x="229" y="780"/>
                  </a:lnTo>
                  <a:lnTo>
                    <a:pt x="229" y="780"/>
                  </a:lnTo>
                  <a:lnTo>
                    <a:pt x="229" y="780"/>
                  </a:lnTo>
                  <a:lnTo>
                    <a:pt x="227" y="780"/>
                  </a:lnTo>
                  <a:lnTo>
                    <a:pt x="227" y="780"/>
                  </a:lnTo>
                  <a:lnTo>
                    <a:pt x="229" y="782"/>
                  </a:lnTo>
                  <a:lnTo>
                    <a:pt x="227" y="782"/>
                  </a:lnTo>
                  <a:lnTo>
                    <a:pt x="227" y="782"/>
                  </a:lnTo>
                  <a:lnTo>
                    <a:pt x="227" y="785"/>
                  </a:lnTo>
                  <a:lnTo>
                    <a:pt x="227" y="785"/>
                  </a:lnTo>
                  <a:lnTo>
                    <a:pt x="227" y="785"/>
                  </a:lnTo>
                  <a:lnTo>
                    <a:pt x="229" y="785"/>
                  </a:lnTo>
                  <a:lnTo>
                    <a:pt x="227" y="785"/>
                  </a:lnTo>
                  <a:lnTo>
                    <a:pt x="227" y="785"/>
                  </a:lnTo>
                  <a:lnTo>
                    <a:pt x="225" y="787"/>
                  </a:lnTo>
                  <a:lnTo>
                    <a:pt x="225" y="787"/>
                  </a:lnTo>
                  <a:lnTo>
                    <a:pt x="225" y="789"/>
                  </a:lnTo>
                  <a:lnTo>
                    <a:pt x="225" y="787"/>
                  </a:lnTo>
                  <a:lnTo>
                    <a:pt x="225" y="789"/>
                  </a:lnTo>
                  <a:lnTo>
                    <a:pt x="225" y="789"/>
                  </a:lnTo>
                  <a:lnTo>
                    <a:pt x="225" y="789"/>
                  </a:lnTo>
                  <a:lnTo>
                    <a:pt x="227" y="789"/>
                  </a:lnTo>
                  <a:lnTo>
                    <a:pt x="227" y="792"/>
                  </a:lnTo>
                  <a:lnTo>
                    <a:pt x="225" y="792"/>
                  </a:lnTo>
                  <a:lnTo>
                    <a:pt x="225" y="792"/>
                  </a:lnTo>
                  <a:lnTo>
                    <a:pt x="225" y="792"/>
                  </a:lnTo>
                  <a:lnTo>
                    <a:pt x="222" y="794"/>
                  </a:lnTo>
                  <a:lnTo>
                    <a:pt x="222" y="792"/>
                  </a:lnTo>
                  <a:lnTo>
                    <a:pt x="222" y="794"/>
                  </a:lnTo>
                  <a:lnTo>
                    <a:pt x="220" y="794"/>
                  </a:lnTo>
                  <a:lnTo>
                    <a:pt x="220" y="794"/>
                  </a:lnTo>
                  <a:lnTo>
                    <a:pt x="218" y="794"/>
                  </a:lnTo>
                  <a:lnTo>
                    <a:pt x="218" y="794"/>
                  </a:lnTo>
                  <a:lnTo>
                    <a:pt x="218" y="794"/>
                  </a:lnTo>
                  <a:lnTo>
                    <a:pt x="218" y="797"/>
                  </a:lnTo>
                  <a:lnTo>
                    <a:pt x="215" y="797"/>
                  </a:lnTo>
                  <a:lnTo>
                    <a:pt x="213" y="797"/>
                  </a:lnTo>
                  <a:lnTo>
                    <a:pt x="213" y="797"/>
                  </a:lnTo>
                  <a:lnTo>
                    <a:pt x="213" y="797"/>
                  </a:lnTo>
                  <a:lnTo>
                    <a:pt x="211" y="799"/>
                  </a:lnTo>
                  <a:lnTo>
                    <a:pt x="211" y="797"/>
                  </a:lnTo>
                  <a:lnTo>
                    <a:pt x="208" y="799"/>
                  </a:lnTo>
                  <a:lnTo>
                    <a:pt x="211" y="801"/>
                  </a:lnTo>
                  <a:lnTo>
                    <a:pt x="208" y="801"/>
                  </a:lnTo>
                  <a:lnTo>
                    <a:pt x="208" y="801"/>
                  </a:lnTo>
                  <a:lnTo>
                    <a:pt x="208" y="801"/>
                  </a:lnTo>
                  <a:lnTo>
                    <a:pt x="206" y="801"/>
                  </a:lnTo>
                  <a:lnTo>
                    <a:pt x="206" y="801"/>
                  </a:lnTo>
                  <a:lnTo>
                    <a:pt x="201" y="804"/>
                  </a:lnTo>
                  <a:lnTo>
                    <a:pt x="201" y="806"/>
                  </a:lnTo>
                  <a:lnTo>
                    <a:pt x="201" y="806"/>
                  </a:lnTo>
                  <a:lnTo>
                    <a:pt x="201" y="806"/>
                  </a:lnTo>
                  <a:lnTo>
                    <a:pt x="199" y="806"/>
                  </a:lnTo>
                  <a:lnTo>
                    <a:pt x="199" y="811"/>
                  </a:lnTo>
                  <a:lnTo>
                    <a:pt x="196" y="813"/>
                  </a:lnTo>
                  <a:lnTo>
                    <a:pt x="196" y="813"/>
                  </a:lnTo>
                  <a:lnTo>
                    <a:pt x="194" y="813"/>
                  </a:lnTo>
                  <a:lnTo>
                    <a:pt x="187" y="813"/>
                  </a:lnTo>
                  <a:lnTo>
                    <a:pt x="185" y="811"/>
                  </a:lnTo>
                  <a:lnTo>
                    <a:pt x="187" y="811"/>
                  </a:lnTo>
                  <a:lnTo>
                    <a:pt x="185" y="811"/>
                  </a:lnTo>
                  <a:lnTo>
                    <a:pt x="185" y="813"/>
                  </a:lnTo>
                  <a:lnTo>
                    <a:pt x="182" y="813"/>
                  </a:lnTo>
                  <a:lnTo>
                    <a:pt x="182" y="813"/>
                  </a:lnTo>
                  <a:lnTo>
                    <a:pt x="182" y="813"/>
                  </a:lnTo>
                  <a:lnTo>
                    <a:pt x="180" y="813"/>
                  </a:lnTo>
                  <a:lnTo>
                    <a:pt x="180" y="813"/>
                  </a:lnTo>
                  <a:lnTo>
                    <a:pt x="177" y="815"/>
                  </a:lnTo>
                  <a:lnTo>
                    <a:pt x="177" y="815"/>
                  </a:lnTo>
                  <a:lnTo>
                    <a:pt x="175" y="818"/>
                  </a:lnTo>
                  <a:lnTo>
                    <a:pt x="175" y="818"/>
                  </a:lnTo>
                  <a:lnTo>
                    <a:pt x="173" y="818"/>
                  </a:lnTo>
                  <a:lnTo>
                    <a:pt x="173" y="820"/>
                  </a:lnTo>
                  <a:lnTo>
                    <a:pt x="173" y="820"/>
                  </a:lnTo>
                  <a:lnTo>
                    <a:pt x="170" y="820"/>
                  </a:lnTo>
                  <a:lnTo>
                    <a:pt x="170" y="823"/>
                  </a:lnTo>
                  <a:lnTo>
                    <a:pt x="170" y="823"/>
                  </a:lnTo>
                  <a:lnTo>
                    <a:pt x="170" y="823"/>
                  </a:lnTo>
                  <a:lnTo>
                    <a:pt x="168" y="823"/>
                  </a:lnTo>
                  <a:lnTo>
                    <a:pt x="168" y="823"/>
                  </a:lnTo>
                  <a:lnTo>
                    <a:pt x="168" y="825"/>
                  </a:lnTo>
                  <a:lnTo>
                    <a:pt x="166" y="825"/>
                  </a:lnTo>
                  <a:lnTo>
                    <a:pt x="166" y="823"/>
                  </a:lnTo>
                  <a:lnTo>
                    <a:pt x="166" y="825"/>
                  </a:lnTo>
                  <a:lnTo>
                    <a:pt x="166" y="827"/>
                  </a:lnTo>
                  <a:lnTo>
                    <a:pt x="166" y="825"/>
                  </a:lnTo>
                  <a:lnTo>
                    <a:pt x="163" y="827"/>
                  </a:lnTo>
                  <a:lnTo>
                    <a:pt x="161" y="827"/>
                  </a:lnTo>
                  <a:lnTo>
                    <a:pt x="161" y="830"/>
                  </a:lnTo>
                  <a:lnTo>
                    <a:pt x="161" y="830"/>
                  </a:lnTo>
                  <a:lnTo>
                    <a:pt x="161" y="830"/>
                  </a:lnTo>
                  <a:lnTo>
                    <a:pt x="161" y="830"/>
                  </a:lnTo>
                  <a:lnTo>
                    <a:pt x="161" y="830"/>
                  </a:lnTo>
                  <a:lnTo>
                    <a:pt x="159" y="830"/>
                  </a:lnTo>
                  <a:lnTo>
                    <a:pt x="159" y="832"/>
                  </a:lnTo>
                  <a:lnTo>
                    <a:pt x="159" y="832"/>
                  </a:lnTo>
                  <a:lnTo>
                    <a:pt x="159" y="832"/>
                  </a:lnTo>
                  <a:lnTo>
                    <a:pt x="156" y="834"/>
                  </a:lnTo>
                  <a:lnTo>
                    <a:pt x="154" y="837"/>
                  </a:lnTo>
                  <a:lnTo>
                    <a:pt x="151" y="837"/>
                  </a:lnTo>
                  <a:lnTo>
                    <a:pt x="151" y="834"/>
                  </a:lnTo>
                  <a:lnTo>
                    <a:pt x="151" y="834"/>
                  </a:lnTo>
                  <a:lnTo>
                    <a:pt x="151" y="837"/>
                  </a:lnTo>
                  <a:lnTo>
                    <a:pt x="149" y="839"/>
                  </a:lnTo>
                  <a:lnTo>
                    <a:pt x="149" y="839"/>
                  </a:lnTo>
                  <a:lnTo>
                    <a:pt x="149" y="839"/>
                  </a:lnTo>
                  <a:lnTo>
                    <a:pt x="149" y="839"/>
                  </a:lnTo>
                  <a:lnTo>
                    <a:pt x="147" y="839"/>
                  </a:lnTo>
                  <a:lnTo>
                    <a:pt x="147" y="839"/>
                  </a:lnTo>
                  <a:lnTo>
                    <a:pt x="147" y="839"/>
                  </a:lnTo>
                  <a:lnTo>
                    <a:pt x="144" y="841"/>
                  </a:lnTo>
                  <a:lnTo>
                    <a:pt x="142" y="839"/>
                  </a:lnTo>
                  <a:lnTo>
                    <a:pt x="142" y="839"/>
                  </a:lnTo>
                  <a:lnTo>
                    <a:pt x="140" y="839"/>
                  </a:lnTo>
                  <a:lnTo>
                    <a:pt x="137" y="839"/>
                  </a:lnTo>
                  <a:lnTo>
                    <a:pt x="137" y="839"/>
                  </a:lnTo>
                  <a:lnTo>
                    <a:pt x="137" y="839"/>
                  </a:lnTo>
                  <a:lnTo>
                    <a:pt x="135" y="839"/>
                  </a:lnTo>
                  <a:lnTo>
                    <a:pt x="135" y="839"/>
                  </a:lnTo>
                  <a:lnTo>
                    <a:pt x="135" y="839"/>
                  </a:lnTo>
                  <a:lnTo>
                    <a:pt x="133" y="841"/>
                  </a:lnTo>
                  <a:lnTo>
                    <a:pt x="133" y="844"/>
                  </a:lnTo>
                  <a:lnTo>
                    <a:pt x="130" y="841"/>
                  </a:lnTo>
                  <a:lnTo>
                    <a:pt x="130" y="844"/>
                  </a:lnTo>
                  <a:lnTo>
                    <a:pt x="130" y="844"/>
                  </a:lnTo>
                  <a:lnTo>
                    <a:pt x="130" y="844"/>
                  </a:lnTo>
                  <a:lnTo>
                    <a:pt x="128" y="844"/>
                  </a:lnTo>
                  <a:lnTo>
                    <a:pt x="128" y="849"/>
                  </a:lnTo>
                  <a:lnTo>
                    <a:pt x="128" y="849"/>
                  </a:lnTo>
                  <a:lnTo>
                    <a:pt x="125" y="849"/>
                  </a:lnTo>
                  <a:lnTo>
                    <a:pt x="125" y="849"/>
                  </a:lnTo>
                  <a:lnTo>
                    <a:pt x="125" y="849"/>
                  </a:lnTo>
                  <a:lnTo>
                    <a:pt x="123" y="851"/>
                  </a:lnTo>
                  <a:lnTo>
                    <a:pt x="123" y="849"/>
                  </a:lnTo>
                  <a:lnTo>
                    <a:pt x="123" y="849"/>
                  </a:lnTo>
                  <a:lnTo>
                    <a:pt x="123" y="851"/>
                  </a:lnTo>
                  <a:lnTo>
                    <a:pt x="123" y="851"/>
                  </a:lnTo>
                  <a:lnTo>
                    <a:pt x="123" y="853"/>
                  </a:lnTo>
                  <a:lnTo>
                    <a:pt x="121" y="856"/>
                  </a:lnTo>
                  <a:lnTo>
                    <a:pt x="121" y="858"/>
                  </a:lnTo>
                  <a:lnTo>
                    <a:pt x="118" y="858"/>
                  </a:lnTo>
                  <a:lnTo>
                    <a:pt x="118" y="858"/>
                  </a:lnTo>
                  <a:lnTo>
                    <a:pt x="118" y="858"/>
                  </a:lnTo>
                  <a:lnTo>
                    <a:pt x="118" y="858"/>
                  </a:lnTo>
                  <a:lnTo>
                    <a:pt x="116" y="858"/>
                  </a:lnTo>
                  <a:lnTo>
                    <a:pt x="116" y="858"/>
                  </a:lnTo>
                  <a:lnTo>
                    <a:pt x="116" y="858"/>
                  </a:lnTo>
                  <a:lnTo>
                    <a:pt x="116" y="858"/>
                  </a:lnTo>
                  <a:lnTo>
                    <a:pt x="116" y="860"/>
                  </a:lnTo>
                  <a:lnTo>
                    <a:pt x="114" y="860"/>
                  </a:lnTo>
                  <a:lnTo>
                    <a:pt x="114" y="860"/>
                  </a:lnTo>
                  <a:lnTo>
                    <a:pt x="114" y="860"/>
                  </a:lnTo>
                  <a:lnTo>
                    <a:pt x="114" y="860"/>
                  </a:lnTo>
                  <a:lnTo>
                    <a:pt x="114" y="860"/>
                  </a:lnTo>
                  <a:lnTo>
                    <a:pt x="114" y="860"/>
                  </a:lnTo>
                  <a:lnTo>
                    <a:pt x="111" y="860"/>
                  </a:lnTo>
                  <a:lnTo>
                    <a:pt x="109" y="860"/>
                  </a:lnTo>
                  <a:lnTo>
                    <a:pt x="109" y="860"/>
                  </a:lnTo>
                  <a:lnTo>
                    <a:pt x="107" y="860"/>
                  </a:lnTo>
                  <a:lnTo>
                    <a:pt x="104" y="860"/>
                  </a:lnTo>
                  <a:lnTo>
                    <a:pt x="104" y="860"/>
                  </a:lnTo>
                  <a:lnTo>
                    <a:pt x="102" y="860"/>
                  </a:lnTo>
                  <a:lnTo>
                    <a:pt x="102" y="860"/>
                  </a:lnTo>
                  <a:lnTo>
                    <a:pt x="102" y="863"/>
                  </a:lnTo>
                  <a:lnTo>
                    <a:pt x="100" y="863"/>
                  </a:lnTo>
                  <a:lnTo>
                    <a:pt x="100" y="863"/>
                  </a:lnTo>
                  <a:lnTo>
                    <a:pt x="100" y="863"/>
                  </a:lnTo>
                  <a:lnTo>
                    <a:pt x="100" y="865"/>
                  </a:lnTo>
                  <a:lnTo>
                    <a:pt x="97" y="865"/>
                  </a:lnTo>
                  <a:lnTo>
                    <a:pt x="97" y="865"/>
                  </a:lnTo>
                  <a:lnTo>
                    <a:pt x="97" y="865"/>
                  </a:lnTo>
                  <a:lnTo>
                    <a:pt x="95" y="867"/>
                  </a:lnTo>
                  <a:lnTo>
                    <a:pt x="90" y="863"/>
                  </a:lnTo>
                  <a:lnTo>
                    <a:pt x="85" y="863"/>
                  </a:lnTo>
                  <a:lnTo>
                    <a:pt x="83" y="865"/>
                  </a:lnTo>
                  <a:lnTo>
                    <a:pt x="83" y="867"/>
                  </a:lnTo>
                  <a:lnTo>
                    <a:pt x="81" y="867"/>
                  </a:lnTo>
                  <a:lnTo>
                    <a:pt x="83" y="870"/>
                  </a:lnTo>
                  <a:lnTo>
                    <a:pt x="81" y="872"/>
                  </a:lnTo>
                  <a:lnTo>
                    <a:pt x="81" y="872"/>
                  </a:lnTo>
                  <a:lnTo>
                    <a:pt x="78" y="872"/>
                  </a:lnTo>
                  <a:lnTo>
                    <a:pt x="78" y="872"/>
                  </a:lnTo>
                  <a:lnTo>
                    <a:pt x="76" y="872"/>
                  </a:lnTo>
                  <a:lnTo>
                    <a:pt x="76" y="872"/>
                  </a:lnTo>
                  <a:lnTo>
                    <a:pt x="76" y="872"/>
                  </a:lnTo>
                  <a:lnTo>
                    <a:pt x="74" y="874"/>
                  </a:lnTo>
                  <a:lnTo>
                    <a:pt x="74" y="877"/>
                  </a:lnTo>
                  <a:lnTo>
                    <a:pt x="74" y="877"/>
                  </a:lnTo>
                  <a:lnTo>
                    <a:pt x="74" y="877"/>
                  </a:lnTo>
                  <a:lnTo>
                    <a:pt x="71" y="879"/>
                  </a:lnTo>
                  <a:lnTo>
                    <a:pt x="74" y="879"/>
                  </a:lnTo>
                  <a:lnTo>
                    <a:pt x="69" y="879"/>
                  </a:lnTo>
                  <a:lnTo>
                    <a:pt x="69" y="879"/>
                  </a:lnTo>
                  <a:lnTo>
                    <a:pt x="69" y="877"/>
                  </a:lnTo>
                  <a:lnTo>
                    <a:pt x="69" y="879"/>
                  </a:lnTo>
                  <a:lnTo>
                    <a:pt x="66" y="877"/>
                  </a:lnTo>
                  <a:lnTo>
                    <a:pt x="66" y="874"/>
                  </a:lnTo>
                  <a:lnTo>
                    <a:pt x="64" y="872"/>
                  </a:lnTo>
                  <a:lnTo>
                    <a:pt x="64" y="870"/>
                  </a:lnTo>
                  <a:lnTo>
                    <a:pt x="66" y="870"/>
                  </a:lnTo>
                  <a:lnTo>
                    <a:pt x="69" y="870"/>
                  </a:lnTo>
                  <a:lnTo>
                    <a:pt x="69" y="870"/>
                  </a:lnTo>
                  <a:lnTo>
                    <a:pt x="69" y="870"/>
                  </a:lnTo>
                  <a:lnTo>
                    <a:pt x="71" y="870"/>
                  </a:lnTo>
                  <a:lnTo>
                    <a:pt x="74" y="867"/>
                  </a:lnTo>
                  <a:lnTo>
                    <a:pt x="74" y="867"/>
                  </a:lnTo>
                  <a:lnTo>
                    <a:pt x="74" y="867"/>
                  </a:lnTo>
                  <a:lnTo>
                    <a:pt x="74" y="865"/>
                  </a:lnTo>
                  <a:lnTo>
                    <a:pt x="74" y="863"/>
                  </a:lnTo>
                  <a:lnTo>
                    <a:pt x="74" y="863"/>
                  </a:lnTo>
                  <a:lnTo>
                    <a:pt x="74" y="860"/>
                  </a:lnTo>
                  <a:lnTo>
                    <a:pt x="76" y="860"/>
                  </a:lnTo>
                  <a:lnTo>
                    <a:pt x="76" y="858"/>
                  </a:lnTo>
                  <a:lnTo>
                    <a:pt x="78" y="858"/>
                  </a:lnTo>
                  <a:lnTo>
                    <a:pt x="78" y="856"/>
                  </a:lnTo>
                  <a:lnTo>
                    <a:pt x="78" y="856"/>
                  </a:lnTo>
                  <a:lnTo>
                    <a:pt x="83" y="851"/>
                  </a:lnTo>
                  <a:lnTo>
                    <a:pt x="83" y="846"/>
                  </a:lnTo>
                  <a:lnTo>
                    <a:pt x="83" y="846"/>
                  </a:lnTo>
                  <a:lnTo>
                    <a:pt x="83" y="844"/>
                  </a:lnTo>
                  <a:lnTo>
                    <a:pt x="83" y="841"/>
                  </a:lnTo>
                  <a:lnTo>
                    <a:pt x="83" y="839"/>
                  </a:lnTo>
                  <a:lnTo>
                    <a:pt x="81" y="839"/>
                  </a:lnTo>
                  <a:lnTo>
                    <a:pt x="81" y="837"/>
                  </a:lnTo>
                  <a:lnTo>
                    <a:pt x="78" y="837"/>
                  </a:lnTo>
                  <a:lnTo>
                    <a:pt x="78" y="832"/>
                  </a:lnTo>
                  <a:lnTo>
                    <a:pt x="76" y="830"/>
                  </a:lnTo>
                  <a:lnTo>
                    <a:pt x="74" y="830"/>
                  </a:lnTo>
                  <a:lnTo>
                    <a:pt x="74" y="830"/>
                  </a:lnTo>
                  <a:lnTo>
                    <a:pt x="76" y="827"/>
                  </a:lnTo>
                  <a:lnTo>
                    <a:pt x="74" y="825"/>
                  </a:lnTo>
                  <a:lnTo>
                    <a:pt x="74" y="825"/>
                  </a:lnTo>
                  <a:lnTo>
                    <a:pt x="74" y="823"/>
                  </a:lnTo>
                  <a:lnTo>
                    <a:pt x="74" y="823"/>
                  </a:lnTo>
                  <a:lnTo>
                    <a:pt x="76" y="823"/>
                  </a:lnTo>
                  <a:lnTo>
                    <a:pt x="76" y="820"/>
                  </a:lnTo>
                  <a:lnTo>
                    <a:pt x="78" y="820"/>
                  </a:lnTo>
                  <a:lnTo>
                    <a:pt x="78" y="820"/>
                  </a:lnTo>
                  <a:lnTo>
                    <a:pt x="78" y="815"/>
                  </a:lnTo>
                  <a:lnTo>
                    <a:pt x="78" y="815"/>
                  </a:lnTo>
                  <a:lnTo>
                    <a:pt x="78" y="815"/>
                  </a:lnTo>
                  <a:lnTo>
                    <a:pt x="78" y="813"/>
                  </a:lnTo>
                  <a:lnTo>
                    <a:pt x="78" y="811"/>
                  </a:lnTo>
                  <a:lnTo>
                    <a:pt x="78" y="811"/>
                  </a:lnTo>
                  <a:lnTo>
                    <a:pt x="78" y="808"/>
                  </a:lnTo>
                  <a:lnTo>
                    <a:pt x="78" y="806"/>
                  </a:lnTo>
                  <a:lnTo>
                    <a:pt x="78" y="806"/>
                  </a:lnTo>
                  <a:lnTo>
                    <a:pt x="76" y="806"/>
                  </a:lnTo>
                  <a:lnTo>
                    <a:pt x="76" y="804"/>
                  </a:lnTo>
                  <a:lnTo>
                    <a:pt x="76" y="804"/>
                  </a:lnTo>
                  <a:lnTo>
                    <a:pt x="76" y="804"/>
                  </a:lnTo>
                  <a:lnTo>
                    <a:pt x="76" y="801"/>
                  </a:lnTo>
                  <a:lnTo>
                    <a:pt x="78" y="801"/>
                  </a:lnTo>
                  <a:lnTo>
                    <a:pt x="78" y="801"/>
                  </a:lnTo>
                  <a:lnTo>
                    <a:pt x="78" y="801"/>
                  </a:lnTo>
                  <a:lnTo>
                    <a:pt x="78" y="801"/>
                  </a:lnTo>
                  <a:lnTo>
                    <a:pt x="81" y="801"/>
                  </a:lnTo>
                  <a:lnTo>
                    <a:pt x="81" y="799"/>
                  </a:lnTo>
                  <a:lnTo>
                    <a:pt x="81" y="799"/>
                  </a:lnTo>
                  <a:lnTo>
                    <a:pt x="81" y="797"/>
                  </a:lnTo>
                  <a:lnTo>
                    <a:pt x="81" y="797"/>
                  </a:lnTo>
                  <a:lnTo>
                    <a:pt x="78" y="794"/>
                  </a:lnTo>
                  <a:lnTo>
                    <a:pt x="81" y="792"/>
                  </a:lnTo>
                  <a:lnTo>
                    <a:pt x="81" y="789"/>
                  </a:lnTo>
                  <a:lnTo>
                    <a:pt x="81" y="789"/>
                  </a:lnTo>
                  <a:lnTo>
                    <a:pt x="81" y="789"/>
                  </a:lnTo>
                  <a:lnTo>
                    <a:pt x="81" y="789"/>
                  </a:lnTo>
                  <a:lnTo>
                    <a:pt x="81" y="787"/>
                  </a:lnTo>
                  <a:lnTo>
                    <a:pt x="81" y="787"/>
                  </a:lnTo>
                  <a:lnTo>
                    <a:pt x="81" y="787"/>
                  </a:lnTo>
                  <a:lnTo>
                    <a:pt x="81" y="785"/>
                  </a:lnTo>
                  <a:lnTo>
                    <a:pt x="81" y="787"/>
                  </a:lnTo>
                  <a:lnTo>
                    <a:pt x="83" y="785"/>
                  </a:lnTo>
                  <a:lnTo>
                    <a:pt x="81" y="785"/>
                  </a:lnTo>
                  <a:lnTo>
                    <a:pt x="81" y="782"/>
                  </a:lnTo>
                  <a:lnTo>
                    <a:pt x="78" y="782"/>
                  </a:lnTo>
                  <a:lnTo>
                    <a:pt x="81" y="780"/>
                  </a:lnTo>
                  <a:lnTo>
                    <a:pt x="78" y="780"/>
                  </a:lnTo>
                  <a:lnTo>
                    <a:pt x="81" y="780"/>
                  </a:lnTo>
                  <a:lnTo>
                    <a:pt x="81" y="780"/>
                  </a:lnTo>
                  <a:lnTo>
                    <a:pt x="81" y="778"/>
                  </a:lnTo>
                  <a:lnTo>
                    <a:pt x="78" y="778"/>
                  </a:lnTo>
                  <a:lnTo>
                    <a:pt x="78" y="775"/>
                  </a:lnTo>
                  <a:lnTo>
                    <a:pt x="78" y="775"/>
                  </a:lnTo>
                  <a:lnTo>
                    <a:pt x="78" y="773"/>
                  </a:lnTo>
                  <a:lnTo>
                    <a:pt x="78" y="771"/>
                  </a:lnTo>
                  <a:lnTo>
                    <a:pt x="78" y="771"/>
                  </a:lnTo>
                  <a:lnTo>
                    <a:pt x="78" y="771"/>
                  </a:lnTo>
                  <a:lnTo>
                    <a:pt x="78" y="771"/>
                  </a:lnTo>
                  <a:lnTo>
                    <a:pt x="78" y="768"/>
                  </a:lnTo>
                  <a:lnTo>
                    <a:pt x="78" y="768"/>
                  </a:lnTo>
                  <a:lnTo>
                    <a:pt x="81" y="771"/>
                  </a:lnTo>
                  <a:lnTo>
                    <a:pt x="83" y="771"/>
                  </a:lnTo>
                  <a:lnTo>
                    <a:pt x="83" y="771"/>
                  </a:lnTo>
                  <a:lnTo>
                    <a:pt x="83" y="771"/>
                  </a:lnTo>
                  <a:lnTo>
                    <a:pt x="85" y="768"/>
                  </a:lnTo>
                  <a:lnTo>
                    <a:pt x="88" y="768"/>
                  </a:lnTo>
                  <a:lnTo>
                    <a:pt x="88" y="768"/>
                  </a:lnTo>
                  <a:lnTo>
                    <a:pt x="88" y="766"/>
                  </a:lnTo>
                  <a:lnTo>
                    <a:pt x="90" y="766"/>
                  </a:lnTo>
                  <a:lnTo>
                    <a:pt x="90" y="763"/>
                  </a:lnTo>
                  <a:lnTo>
                    <a:pt x="90" y="763"/>
                  </a:lnTo>
                  <a:lnTo>
                    <a:pt x="90" y="761"/>
                  </a:lnTo>
                  <a:lnTo>
                    <a:pt x="90" y="761"/>
                  </a:lnTo>
                  <a:lnTo>
                    <a:pt x="88" y="761"/>
                  </a:lnTo>
                  <a:lnTo>
                    <a:pt x="88" y="759"/>
                  </a:lnTo>
                  <a:lnTo>
                    <a:pt x="85" y="759"/>
                  </a:lnTo>
                  <a:lnTo>
                    <a:pt x="85" y="756"/>
                  </a:lnTo>
                  <a:lnTo>
                    <a:pt x="83" y="752"/>
                  </a:lnTo>
                  <a:lnTo>
                    <a:pt x="83" y="752"/>
                  </a:lnTo>
                  <a:lnTo>
                    <a:pt x="81" y="752"/>
                  </a:lnTo>
                  <a:lnTo>
                    <a:pt x="81" y="749"/>
                  </a:lnTo>
                  <a:lnTo>
                    <a:pt x="81" y="749"/>
                  </a:lnTo>
                  <a:lnTo>
                    <a:pt x="78" y="749"/>
                  </a:lnTo>
                  <a:lnTo>
                    <a:pt x="78" y="749"/>
                  </a:lnTo>
                  <a:lnTo>
                    <a:pt x="76" y="749"/>
                  </a:lnTo>
                  <a:lnTo>
                    <a:pt x="76" y="749"/>
                  </a:lnTo>
                  <a:lnTo>
                    <a:pt x="76" y="747"/>
                  </a:lnTo>
                  <a:lnTo>
                    <a:pt x="74" y="747"/>
                  </a:lnTo>
                  <a:lnTo>
                    <a:pt x="71" y="745"/>
                  </a:lnTo>
                  <a:lnTo>
                    <a:pt x="74" y="742"/>
                  </a:lnTo>
                  <a:lnTo>
                    <a:pt x="71" y="740"/>
                  </a:lnTo>
                  <a:lnTo>
                    <a:pt x="69" y="740"/>
                  </a:lnTo>
                  <a:lnTo>
                    <a:pt x="69" y="742"/>
                  </a:lnTo>
                  <a:lnTo>
                    <a:pt x="66" y="742"/>
                  </a:lnTo>
                  <a:lnTo>
                    <a:pt x="66" y="740"/>
                  </a:lnTo>
                  <a:lnTo>
                    <a:pt x="64" y="740"/>
                  </a:lnTo>
                  <a:lnTo>
                    <a:pt x="64" y="737"/>
                  </a:lnTo>
                  <a:lnTo>
                    <a:pt x="64" y="735"/>
                  </a:lnTo>
                  <a:lnTo>
                    <a:pt x="62" y="735"/>
                  </a:lnTo>
                  <a:lnTo>
                    <a:pt x="59" y="735"/>
                  </a:lnTo>
                  <a:lnTo>
                    <a:pt x="55" y="735"/>
                  </a:lnTo>
                  <a:lnTo>
                    <a:pt x="55" y="733"/>
                  </a:lnTo>
                  <a:lnTo>
                    <a:pt x="55" y="730"/>
                  </a:lnTo>
                  <a:lnTo>
                    <a:pt x="55" y="730"/>
                  </a:lnTo>
                  <a:lnTo>
                    <a:pt x="52" y="730"/>
                  </a:lnTo>
                  <a:lnTo>
                    <a:pt x="50" y="728"/>
                  </a:lnTo>
                  <a:lnTo>
                    <a:pt x="48" y="728"/>
                  </a:lnTo>
                  <a:lnTo>
                    <a:pt x="45" y="728"/>
                  </a:lnTo>
                  <a:lnTo>
                    <a:pt x="48" y="726"/>
                  </a:lnTo>
                  <a:lnTo>
                    <a:pt x="48" y="728"/>
                  </a:lnTo>
                  <a:lnTo>
                    <a:pt x="50" y="728"/>
                  </a:lnTo>
                  <a:lnTo>
                    <a:pt x="50" y="723"/>
                  </a:lnTo>
                  <a:lnTo>
                    <a:pt x="50" y="723"/>
                  </a:lnTo>
                  <a:lnTo>
                    <a:pt x="50" y="723"/>
                  </a:lnTo>
                  <a:lnTo>
                    <a:pt x="48" y="723"/>
                  </a:lnTo>
                  <a:lnTo>
                    <a:pt x="50" y="721"/>
                  </a:lnTo>
                  <a:lnTo>
                    <a:pt x="52" y="719"/>
                  </a:lnTo>
                  <a:lnTo>
                    <a:pt x="52" y="716"/>
                  </a:lnTo>
                  <a:lnTo>
                    <a:pt x="52" y="714"/>
                  </a:lnTo>
                  <a:lnTo>
                    <a:pt x="52" y="711"/>
                  </a:lnTo>
                  <a:lnTo>
                    <a:pt x="52" y="711"/>
                  </a:lnTo>
                  <a:lnTo>
                    <a:pt x="50" y="711"/>
                  </a:lnTo>
                  <a:lnTo>
                    <a:pt x="45" y="709"/>
                  </a:lnTo>
                  <a:lnTo>
                    <a:pt x="45" y="704"/>
                  </a:lnTo>
                  <a:lnTo>
                    <a:pt x="45" y="702"/>
                  </a:lnTo>
                  <a:lnTo>
                    <a:pt x="50" y="695"/>
                  </a:lnTo>
                  <a:lnTo>
                    <a:pt x="50" y="695"/>
                  </a:lnTo>
                  <a:lnTo>
                    <a:pt x="50" y="695"/>
                  </a:lnTo>
                  <a:lnTo>
                    <a:pt x="48" y="693"/>
                  </a:lnTo>
                  <a:lnTo>
                    <a:pt x="45" y="693"/>
                  </a:lnTo>
                  <a:lnTo>
                    <a:pt x="45" y="693"/>
                  </a:lnTo>
                  <a:lnTo>
                    <a:pt x="45" y="690"/>
                  </a:lnTo>
                  <a:lnTo>
                    <a:pt x="43" y="688"/>
                  </a:lnTo>
                  <a:lnTo>
                    <a:pt x="45" y="688"/>
                  </a:lnTo>
                  <a:lnTo>
                    <a:pt x="50" y="686"/>
                  </a:lnTo>
                  <a:lnTo>
                    <a:pt x="52" y="686"/>
                  </a:lnTo>
                  <a:lnTo>
                    <a:pt x="50" y="681"/>
                  </a:lnTo>
                  <a:lnTo>
                    <a:pt x="48" y="683"/>
                  </a:lnTo>
                  <a:lnTo>
                    <a:pt x="45" y="681"/>
                  </a:lnTo>
                  <a:lnTo>
                    <a:pt x="45" y="681"/>
                  </a:lnTo>
                  <a:lnTo>
                    <a:pt x="50" y="678"/>
                  </a:lnTo>
                  <a:lnTo>
                    <a:pt x="50" y="678"/>
                  </a:lnTo>
                  <a:lnTo>
                    <a:pt x="50" y="676"/>
                  </a:lnTo>
                  <a:lnTo>
                    <a:pt x="50" y="676"/>
                  </a:lnTo>
                  <a:lnTo>
                    <a:pt x="48" y="676"/>
                  </a:lnTo>
                  <a:lnTo>
                    <a:pt x="45" y="674"/>
                  </a:lnTo>
                  <a:lnTo>
                    <a:pt x="48" y="674"/>
                  </a:lnTo>
                  <a:lnTo>
                    <a:pt x="50" y="669"/>
                  </a:lnTo>
                  <a:lnTo>
                    <a:pt x="50" y="669"/>
                  </a:lnTo>
                  <a:lnTo>
                    <a:pt x="52" y="669"/>
                  </a:lnTo>
                  <a:lnTo>
                    <a:pt x="52" y="667"/>
                  </a:lnTo>
                  <a:lnTo>
                    <a:pt x="55" y="664"/>
                  </a:lnTo>
                  <a:lnTo>
                    <a:pt x="59" y="662"/>
                  </a:lnTo>
                  <a:lnTo>
                    <a:pt x="59" y="660"/>
                  </a:lnTo>
                  <a:lnTo>
                    <a:pt x="55" y="657"/>
                  </a:lnTo>
                  <a:lnTo>
                    <a:pt x="52" y="660"/>
                  </a:lnTo>
                  <a:lnTo>
                    <a:pt x="52" y="657"/>
                  </a:lnTo>
                  <a:lnTo>
                    <a:pt x="50" y="660"/>
                  </a:lnTo>
                  <a:lnTo>
                    <a:pt x="50" y="657"/>
                  </a:lnTo>
                  <a:lnTo>
                    <a:pt x="50" y="657"/>
                  </a:lnTo>
                  <a:lnTo>
                    <a:pt x="50" y="655"/>
                  </a:lnTo>
                  <a:lnTo>
                    <a:pt x="50" y="652"/>
                  </a:lnTo>
                  <a:lnTo>
                    <a:pt x="50" y="650"/>
                  </a:lnTo>
                  <a:lnTo>
                    <a:pt x="52" y="650"/>
                  </a:lnTo>
                  <a:lnTo>
                    <a:pt x="52" y="648"/>
                  </a:lnTo>
                  <a:lnTo>
                    <a:pt x="50" y="648"/>
                  </a:lnTo>
                  <a:lnTo>
                    <a:pt x="50" y="648"/>
                  </a:lnTo>
                  <a:lnTo>
                    <a:pt x="52" y="645"/>
                  </a:lnTo>
                  <a:lnTo>
                    <a:pt x="52" y="645"/>
                  </a:lnTo>
                  <a:lnTo>
                    <a:pt x="52" y="643"/>
                  </a:lnTo>
                  <a:lnTo>
                    <a:pt x="50" y="641"/>
                  </a:lnTo>
                  <a:lnTo>
                    <a:pt x="50" y="641"/>
                  </a:lnTo>
                  <a:lnTo>
                    <a:pt x="50" y="641"/>
                  </a:lnTo>
                  <a:lnTo>
                    <a:pt x="50" y="641"/>
                  </a:lnTo>
                  <a:lnTo>
                    <a:pt x="52" y="638"/>
                  </a:lnTo>
                  <a:lnTo>
                    <a:pt x="52" y="636"/>
                  </a:lnTo>
                  <a:lnTo>
                    <a:pt x="55" y="636"/>
                  </a:lnTo>
                  <a:lnTo>
                    <a:pt x="57" y="636"/>
                  </a:lnTo>
                  <a:lnTo>
                    <a:pt x="59" y="634"/>
                  </a:lnTo>
                  <a:lnTo>
                    <a:pt x="62" y="634"/>
                  </a:lnTo>
                  <a:lnTo>
                    <a:pt x="64" y="631"/>
                  </a:lnTo>
                  <a:lnTo>
                    <a:pt x="64" y="631"/>
                  </a:lnTo>
                  <a:lnTo>
                    <a:pt x="66" y="629"/>
                  </a:lnTo>
                  <a:lnTo>
                    <a:pt x="69" y="626"/>
                  </a:lnTo>
                  <a:lnTo>
                    <a:pt x="74" y="624"/>
                  </a:lnTo>
                  <a:lnTo>
                    <a:pt x="74" y="622"/>
                  </a:lnTo>
                  <a:lnTo>
                    <a:pt x="74" y="619"/>
                  </a:lnTo>
                  <a:lnTo>
                    <a:pt x="74" y="619"/>
                  </a:lnTo>
                  <a:lnTo>
                    <a:pt x="71" y="619"/>
                  </a:lnTo>
                  <a:lnTo>
                    <a:pt x="66" y="619"/>
                  </a:lnTo>
                  <a:lnTo>
                    <a:pt x="64" y="622"/>
                  </a:lnTo>
                  <a:lnTo>
                    <a:pt x="64" y="622"/>
                  </a:lnTo>
                  <a:lnTo>
                    <a:pt x="62" y="622"/>
                  </a:lnTo>
                  <a:lnTo>
                    <a:pt x="57" y="626"/>
                  </a:lnTo>
                  <a:lnTo>
                    <a:pt x="52" y="626"/>
                  </a:lnTo>
                  <a:lnTo>
                    <a:pt x="52" y="626"/>
                  </a:lnTo>
                  <a:lnTo>
                    <a:pt x="50" y="629"/>
                  </a:lnTo>
                  <a:lnTo>
                    <a:pt x="45" y="629"/>
                  </a:lnTo>
                  <a:lnTo>
                    <a:pt x="45" y="629"/>
                  </a:lnTo>
                  <a:lnTo>
                    <a:pt x="43" y="629"/>
                  </a:lnTo>
                  <a:lnTo>
                    <a:pt x="43" y="626"/>
                  </a:lnTo>
                  <a:lnTo>
                    <a:pt x="43" y="626"/>
                  </a:lnTo>
                  <a:lnTo>
                    <a:pt x="43" y="626"/>
                  </a:lnTo>
                  <a:lnTo>
                    <a:pt x="40" y="624"/>
                  </a:lnTo>
                  <a:lnTo>
                    <a:pt x="40" y="622"/>
                  </a:lnTo>
                  <a:lnTo>
                    <a:pt x="40" y="619"/>
                  </a:lnTo>
                  <a:lnTo>
                    <a:pt x="40" y="617"/>
                  </a:lnTo>
                  <a:lnTo>
                    <a:pt x="38" y="617"/>
                  </a:lnTo>
                  <a:lnTo>
                    <a:pt x="38" y="617"/>
                  </a:lnTo>
                  <a:lnTo>
                    <a:pt x="38" y="615"/>
                  </a:lnTo>
                  <a:lnTo>
                    <a:pt x="40" y="612"/>
                  </a:lnTo>
                  <a:lnTo>
                    <a:pt x="40" y="612"/>
                  </a:lnTo>
                  <a:lnTo>
                    <a:pt x="40" y="610"/>
                  </a:lnTo>
                  <a:lnTo>
                    <a:pt x="40" y="610"/>
                  </a:lnTo>
                  <a:lnTo>
                    <a:pt x="40" y="608"/>
                  </a:lnTo>
                  <a:lnTo>
                    <a:pt x="40" y="608"/>
                  </a:lnTo>
                  <a:lnTo>
                    <a:pt x="40" y="608"/>
                  </a:lnTo>
                  <a:lnTo>
                    <a:pt x="40" y="605"/>
                  </a:lnTo>
                  <a:lnTo>
                    <a:pt x="40" y="605"/>
                  </a:lnTo>
                  <a:lnTo>
                    <a:pt x="43" y="603"/>
                  </a:lnTo>
                  <a:lnTo>
                    <a:pt x="43" y="600"/>
                  </a:lnTo>
                  <a:lnTo>
                    <a:pt x="40" y="600"/>
                  </a:lnTo>
                  <a:lnTo>
                    <a:pt x="40" y="600"/>
                  </a:lnTo>
                  <a:lnTo>
                    <a:pt x="40" y="598"/>
                  </a:lnTo>
                  <a:lnTo>
                    <a:pt x="38" y="596"/>
                  </a:lnTo>
                  <a:lnTo>
                    <a:pt x="40" y="593"/>
                  </a:lnTo>
                  <a:lnTo>
                    <a:pt x="43" y="593"/>
                  </a:lnTo>
                  <a:lnTo>
                    <a:pt x="43" y="591"/>
                  </a:lnTo>
                  <a:lnTo>
                    <a:pt x="43" y="591"/>
                  </a:lnTo>
                  <a:lnTo>
                    <a:pt x="43" y="589"/>
                  </a:lnTo>
                  <a:lnTo>
                    <a:pt x="43" y="589"/>
                  </a:lnTo>
                  <a:lnTo>
                    <a:pt x="45" y="586"/>
                  </a:lnTo>
                  <a:lnTo>
                    <a:pt x="45" y="586"/>
                  </a:lnTo>
                  <a:lnTo>
                    <a:pt x="48" y="584"/>
                  </a:lnTo>
                  <a:lnTo>
                    <a:pt x="48" y="584"/>
                  </a:lnTo>
                  <a:lnTo>
                    <a:pt x="50" y="584"/>
                  </a:lnTo>
                  <a:lnTo>
                    <a:pt x="50" y="584"/>
                  </a:lnTo>
                  <a:lnTo>
                    <a:pt x="52" y="584"/>
                  </a:lnTo>
                  <a:lnTo>
                    <a:pt x="52" y="584"/>
                  </a:lnTo>
                  <a:lnTo>
                    <a:pt x="52" y="584"/>
                  </a:lnTo>
                  <a:lnTo>
                    <a:pt x="55" y="584"/>
                  </a:lnTo>
                  <a:lnTo>
                    <a:pt x="55" y="584"/>
                  </a:lnTo>
                  <a:lnTo>
                    <a:pt x="57" y="582"/>
                  </a:lnTo>
                  <a:lnTo>
                    <a:pt x="59" y="582"/>
                  </a:lnTo>
                  <a:lnTo>
                    <a:pt x="59" y="582"/>
                  </a:lnTo>
                  <a:lnTo>
                    <a:pt x="62" y="579"/>
                  </a:lnTo>
                  <a:lnTo>
                    <a:pt x="64" y="579"/>
                  </a:lnTo>
                  <a:lnTo>
                    <a:pt x="64" y="574"/>
                  </a:lnTo>
                  <a:lnTo>
                    <a:pt x="64" y="574"/>
                  </a:lnTo>
                  <a:lnTo>
                    <a:pt x="64" y="572"/>
                  </a:lnTo>
                  <a:lnTo>
                    <a:pt x="62" y="572"/>
                  </a:lnTo>
                  <a:lnTo>
                    <a:pt x="55" y="574"/>
                  </a:lnTo>
                  <a:lnTo>
                    <a:pt x="55" y="574"/>
                  </a:lnTo>
                  <a:lnTo>
                    <a:pt x="52" y="577"/>
                  </a:lnTo>
                  <a:lnTo>
                    <a:pt x="45" y="574"/>
                  </a:lnTo>
                  <a:lnTo>
                    <a:pt x="45" y="574"/>
                  </a:lnTo>
                  <a:lnTo>
                    <a:pt x="43" y="577"/>
                  </a:lnTo>
                  <a:lnTo>
                    <a:pt x="40" y="577"/>
                  </a:lnTo>
                  <a:lnTo>
                    <a:pt x="43" y="574"/>
                  </a:lnTo>
                  <a:lnTo>
                    <a:pt x="43" y="572"/>
                  </a:lnTo>
                  <a:lnTo>
                    <a:pt x="43" y="570"/>
                  </a:lnTo>
                  <a:lnTo>
                    <a:pt x="43" y="567"/>
                  </a:lnTo>
                  <a:lnTo>
                    <a:pt x="43" y="565"/>
                  </a:lnTo>
                  <a:lnTo>
                    <a:pt x="45" y="565"/>
                  </a:lnTo>
                  <a:lnTo>
                    <a:pt x="45" y="563"/>
                  </a:lnTo>
                  <a:lnTo>
                    <a:pt x="45" y="560"/>
                  </a:lnTo>
                  <a:lnTo>
                    <a:pt x="45" y="560"/>
                  </a:lnTo>
                  <a:lnTo>
                    <a:pt x="43" y="558"/>
                  </a:lnTo>
                  <a:lnTo>
                    <a:pt x="43" y="558"/>
                  </a:lnTo>
                  <a:lnTo>
                    <a:pt x="43" y="556"/>
                  </a:lnTo>
                  <a:lnTo>
                    <a:pt x="45" y="556"/>
                  </a:lnTo>
                  <a:lnTo>
                    <a:pt x="45" y="553"/>
                  </a:lnTo>
                  <a:lnTo>
                    <a:pt x="43" y="551"/>
                  </a:lnTo>
                  <a:lnTo>
                    <a:pt x="45" y="551"/>
                  </a:lnTo>
                  <a:lnTo>
                    <a:pt x="45" y="546"/>
                  </a:lnTo>
                  <a:lnTo>
                    <a:pt x="45" y="546"/>
                  </a:lnTo>
                  <a:lnTo>
                    <a:pt x="43" y="546"/>
                  </a:lnTo>
                  <a:lnTo>
                    <a:pt x="43" y="544"/>
                  </a:lnTo>
                  <a:lnTo>
                    <a:pt x="43" y="544"/>
                  </a:lnTo>
                  <a:lnTo>
                    <a:pt x="43" y="541"/>
                  </a:lnTo>
                  <a:lnTo>
                    <a:pt x="45" y="541"/>
                  </a:lnTo>
                  <a:lnTo>
                    <a:pt x="48" y="539"/>
                  </a:lnTo>
                  <a:lnTo>
                    <a:pt x="45" y="537"/>
                  </a:lnTo>
                  <a:lnTo>
                    <a:pt x="45" y="537"/>
                  </a:lnTo>
                  <a:lnTo>
                    <a:pt x="45" y="537"/>
                  </a:lnTo>
                  <a:lnTo>
                    <a:pt x="45" y="537"/>
                  </a:lnTo>
                  <a:lnTo>
                    <a:pt x="43" y="537"/>
                  </a:lnTo>
                  <a:lnTo>
                    <a:pt x="45" y="532"/>
                  </a:lnTo>
                  <a:lnTo>
                    <a:pt x="43" y="530"/>
                  </a:lnTo>
                  <a:lnTo>
                    <a:pt x="45" y="530"/>
                  </a:lnTo>
                  <a:lnTo>
                    <a:pt x="45" y="527"/>
                  </a:lnTo>
                  <a:lnTo>
                    <a:pt x="45" y="525"/>
                  </a:lnTo>
                  <a:lnTo>
                    <a:pt x="48" y="525"/>
                  </a:lnTo>
                  <a:lnTo>
                    <a:pt x="48" y="525"/>
                  </a:lnTo>
                  <a:lnTo>
                    <a:pt x="50" y="523"/>
                  </a:lnTo>
                  <a:lnTo>
                    <a:pt x="55" y="523"/>
                  </a:lnTo>
                  <a:lnTo>
                    <a:pt x="59" y="523"/>
                  </a:lnTo>
                  <a:lnTo>
                    <a:pt x="59" y="520"/>
                  </a:lnTo>
                  <a:lnTo>
                    <a:pt x="59" y="518"/>
                  </a:lnTo>
                  <a:lnTo>
                    <a:pt x="59" y="518"/>
                  </a:lnTo>
                  <a:lnTo>
                    <a:pt x="59" y="515"/>
                  </a:lnTo>
                  <a:lnTo>
                    <a:pt x="57" y="515"/>
                  </a:lnTo>
                  <a:lnTo>
                    <a:pt x="50" y="518"/>
                  </a:lnTo>
                  <a:lnTo>
                    <a:pt x="48" y="518"/>
                  </a:lnTo>
                  <a:lnTo>
                    <a:pt x="48" y="513"/>
                  </a:lnTo>
                  <a:lnTo>
                    <a:pt x="48" y="511"/>
                  </a:lnTo>
                  <a:lnTo>
                    <a:pt x="48" y="511"/>
                  </a:lnTo>
                  <a:lnTo>
                    <a:pt x="48" y="508"/>
                  </a:lnTo>
                  <a:lnTo>
                    <a:pt x="45" y="508"/>
                  </a:lnTo>
                  <a:lnTo>
                    <a:pt x="45" y="508"/>
                  </a:lnTo>
                  <a:lnTo>
                    <a:pt x="43" y="508"/>
                  </a:lnTo>
                  <a:lnTo>
                    <a:pt x="43" y="508"/>
                  </a:lnTo>
                  <a:lnTo>
                    <a:pt x="43" y="508"/>
                  </a:lnTo>
                  <a:lnTo>
                    <a:pt x="40" y="508"/>
                  </a:lnTo>
                  <a:lnTo>
                    <a:pt x="40" y="506"/>
                  </a:lnTo>
                  <a:lnTo>
                    <a:pt x="43" y="506"/>
                  </a:lnTo>
                  <a:lnTo>
                    <a:pt x="43" y="504"/>
                  </a:lnTo>
                  <a:lnTo>
                    <a:pt x="43" y="504"/>
                  </a:lnTo>
                  <a:lnTo>
                    <a:pt x="43" y="501"/>
                  </a:lnTo>
                  <a:lnTo>
                    <a:pt x="40" y="499"/>
                  </a:lnTo>
                  <a:lnTo>
                    <a:pt x="38" y="499"/>
                  </a:lnTo>
                  <a:lnTo>
                    <a:pt x="36" y="499"/>
                  </a:lnTo>
                  <a:lnTo>
                    <a:pt x="36" y="497"/>
                  </a:lnTo>
                  <a:lnTo>
                    <a:pt x="36" y="499"/>
                  </a:lnTo>
                  <a:lnTo>
                    <a:pt x="33" y="497"/>
                  </a:lnTo>
                  <a:lnTo>
                    <a:pt x="36" y="497"/>
                  </a:lnTo>
                  <a:lnTo>
                    <a:pt x="36" y="494"/>
                  </a:lnTo>
                  <a:lnTo>
                    <a:pt x="36" y="494"/>
                  </a:lnTo>
                  <a:lnTo>
                    <a:pt x="38" y="494"/>
                  </a:lnTo>
                  <a:lnTo>
                    <a:pt x="38" y="492"/>
                  </a:lnTo>
                  <a:lnTo>
                    <a:pt x="38" y="492"/>
                  </a:lnTo>
                  <a:lnTo>
                    <a:pt x="36" y="492"/>
                  </a:lnTo>
                  <a:lnTo>
                    <a:pt x="33" y="492"/>
                  </a:lnTo>
                  <a:lnTo>
                    <a:pt x="31" y="492"/>
                  </a:lnTo>
                  <a:lnTo>
                    <a:pt x="33" y="489"/>
                  </a:lnTo>
                  <a:lnTo>
                    <a:pt x="33" y="489"/>
                  </a:lnTo>
                  <a:lnTo>
                    <a:pt x="31" y="485"/>
                  </a:lnTo>
                  <a:lnTo>
                    <a:pt x="31" y="485"/>
                  </a:lnTo>
                  <a:lnTo>
                    <a:pt x="33" y="485"/>
                  </a:lnTo>
                  <a:lnTo>
                    <a:pt x="33" y="482"/>
                  </a:lnTo>
                  <a:lnTo>
                    <a:pt x="33" y="482"/>
                  </a:lnTo>
                  <a:lnTo>
                    <a:pt x="33" y="480"/>
                  </a:lnTo>
                  <a:lnTo>
                    <a:pt x="31" y="480"/>
                  </a:lnTo>
                  <a:lnTo>
                    <a:pt x="31" y="478"/>
                  </a:lnTo>
                  <a:lnTo>
                    <a:pt x="31" y="478"/>
                  </a:lnTo>
                  <a:lnTo>
                    <a:pt x="31" y="475"/>
                  </a:lnTo>
                  <a:lnTo>
                    <a:pt x="31" y="475"/>
                  </a:lnTo>
                  <a:lnTo>
                    <a:pt x="31" y="475"/>
                  </a:lnTo>
                  <a:lnTo>
                    <a:pt x="31" y="473"/>
                  </a:lnTo>
                  <a:lnTo>
                    <a:pt x="33" y="471"/>
                  </a:lnTo>
                  <a:lnTo>
                    <a:pt x="33" y="471"/>
                  </a:lnTo>
                  <a:lnTo>
                    <a:pt x="33" y="468"/>
                  </a:lnTo>
                  <a:lnTo>
                    <a:pt x="33" y="466"/>
                  </a:lnTo>
                  <a:lnTo>
                    <a:pt x="31" y="466"/>
                  </a:lnTo>
                  <a:lnTo>
                    <a:pt x="31" y="463"/>
                  </a:lnTo>
                  <a:lnTo>
                    <a:pt x="31" y="463"/>
                  </a:lnTo>
                  <a:lnTo>
                    <a:pt x="31" y="461"/>
                  </a:lnTo>
                  <a:lnTo>
                    <a:pt x="31" y="461"/>
                  </a:lnTo>
                  <a:lnTo>
                    <a:pt x="31" y="461"/>
                  </a:lnTo>
                  <a:lnTo>
                    <a:pt x="29" y="459"/>
                  </a:lnTo>
                  <a:lnTo>
                    <a:pt x="29" y="456"/>
                  </a:lnTo>
                  <a:lnTo>
                    <a:pt x="31" y="456"/>
                  </a:lnTo>
                  <a:lnTo>
                    <a:pt x="31" y="456"/>
                  </a:lnTo>
                  <a:lnTo>
                    <a:pt x="31" y="454"/>
                  </a:lnTo>
                  <a:lnTo>
                    <a:pt x="33" y="452"/>
                  </a:lnTo>
                  <a:lnTo>
                    <a:pt x="36" y="452"/>
                  </a:lnTo>
                  <a:lnTo>
                    <a:pt x="36" y="449"/>
                  </a:lnTo>
                  <a:lnTo>
                    <a:pt x="38" y="447"/>
                  </a:lnTo>
                  <a:lnTo>
                    <a:pt x="40" y="447"/>
                  </a:lnTo>
                  <a:lnTo>
                    <a:pt x="43" y="447"/>
                  </a:lnTo>
                  <a:lnTo>
                    <a:pt x="48" y="447"/>
                  </a:lnTo>
                  <a:lnTo>
                    <a:pt x="52" y="445"/>
                  </a:lnTo>
                  <a:lnTo>
                    <a:pt x="55" y="445"/>
                  </a:lnTo>
                  <a:lnTo>
                    <a:pt x="57" y="442"/>
                  </a:lnTo>
                  <a:lnTo>
                    <a:pt x="57" y="440"/>
                  </a:lnTo>
                  <a:lnTo>
                    <a:pt x="57" y="437"/>
                  </a:lnTo>
                  <a:lnTo>
                    <a:pt x="55" y="437"/>
                  </a:lnTo>
                  <a:lnTo>
                    <a:pt x="55" y="437"/>
                  </a:lnTo>
                  <a:lnTo>
                    <a:pt x="52" y="440"/>
                  </a:lnTo>
                  <a:lnTo>
                    <a:pt x="50" y="440"/>
                  </a:lnTo>
                  <a:lnTo>
                    <a:pt x="48" y="440"/>
                  </a:lnTo>
                  <a:lnTo>
                    <a:pt x="45" y="440"/>
                  </a:lnTo>
                  <a:lnTo>
                    <a:pt x="43" y="437"/>
                  </a:lnTo>
                  <a:lnTo>
                    <a:pt x="40" y="440"/>
                  </a:lnTo>
                  <a:lnTo>
                    <a:pt x="38" y="440"/>
                  </a:lnTo>
                  <a:lnTo>
                    <a:pt x="36" y="437"/>
                  </a:lnTo>
                  <a:lnTo>
                    <a:pt x="36" y="437"/>
                  </a:lnTo>
                  <a:lnTo>
                    <a:pt x="33" y="437"/>
                  </a:lnTo>
                  <a:lnTo>
                    <a:pt x="31" y="435"/>
                  </a:lnTo>
                  <a:lnTo>
                    <a:pt x="33" y="435"/>
                  </a:lnTo>
                  <a:lnTo>
                    <a:pt x="31" y="433"/>
                  </a:lnTo>
                  <a:lnTo>
                    <a:pt x="33" y="430"/>
                  </a:lnTo>
                  <a:lnTo>
                    <a:pt x="33" y="433"/>
                  </a:lnTo>
                  <a:lnTo>
                    <a:pt x="36" y="430"/>
                  </a:lnTo>
                  <a:lnTo>
                    <a:pt x="36" y="430"/>
                  </a:lnTo>
                  <a:lnTo>
                    <a:pt x="36" y="430"/>
                  </a:lnTo>
                  <a:lnTo>
                    <a:pt x="36" y="428"/>
                  </a:lnTo>
                  <a:lnTo>
                    <a:pt x="38" y="428"/>
                  </a:lnTo>
                  <a:lnTo>
                    <a:pt x="36" y="426"/>
                  </a:lnTo>
                  <a:lnTo>
                    <a:pt x="36" y="426"/>
                  </a:lnTo>
                  <a:lnTo>
                    <a:pt x="38" y="426"/>
                  </a:lnTo>
                  <a:lnTo>
                    <a:pt x="38" y="423"/>
                  </a:lnTo>
                  <a:lnTo>
                    <a:pt x="36" y="423"/>
                  </a:lnTo>
                  <a:lnTo>
                    <a:pt x="36" y="421"/>
                  </a:lnTo>
                  <a:lnTo>
                    <a:pt x="33" y="421"/>
                  </a:lnTo>
                  <a:lnTo>
                    <a:pt x="31" y="421"/>
                  </a:lnTo>
                  <a:lnTo>
                    <a:pt x="33" y="421"/>
                  </a:lnTo>
                  <a:lnTo>
                    <a:pt x="38" y="419"/>
                  </a:lnTo>
                  <a:lnTo>
                    <a:pt x="40" y="414"/>
                  </a:lnTo>
                  <a:lnTo>
                    <a:pt x="43" y="414"/>
                  </a:lnTo>
                  <a:lnTo>
                    <a:pt x="43" y="412"/>
                  </a:lnTo>
                  <a:lnTo>
                    <a:pt x="40" y="409"/>
                  </a:lnTo>
                  <a:lnTo>
                    <a:pt x="40" y="409"/>
                  </a:lnTo>
                  <a:lnTo>
                    <a:pt x="40" y="407"/>
                  </a:lnTo>
                  <a:lnTo>
                    <a:pt x="40" y="404"/>
                  </a:lnTo>
                  <a:lnTo>
                    <a:pt x="40" y="404"/>
                  </a:lnTo>
                  <a:lnTo>
                    <a:pt x="43" y="404"/>
                  </a:lnTo>
                  <a:lnTo>
                    <a:pt x="45" y="404"/>
                  </a:lnTo>
                  <a:lnTo>
                    <a:pt x="45" y="404"/>
                  </a:lnTo>
                  <a:lnTo>
                    <a:pt x="45" y="404"/>
                  </a:lnTo>
                  <a:lnTo>
                    <a:pt x="48" y="404"/>
                  </a:lnTo>
                  <a:lnTo>
                    <a:pt x="52" y="407"/>
                  </a:lnTo>
                  <a:lnTo>
                    <a:pt x="55" y="409"/>
                  </a:lnTo>
                  <a:lnTo>
                    <a:pt x="57" y="407"/>
                  </a:lnTo>
                  <a:lnTo>
                    <a:pt x="59" y="409"/>
                  </a:lnTo>
                  <a:lnTo>
                    <a:pt x="62" y="407"/>
                  </a:lnTo>
                  <a:lnTo>
                    <a:pt x="69" y="407"/>
                  </a:lnTo>
                  <a:lnTo>
                    <a:pt x="69" y="407"/>
                  </a:lnTo>
                  <a:lnTo>
                    <a:pt x="69" y="404"/>
                  </a:lnTo>
                  <a:lnTo>
                    <a:pt x="69" y="402"/>
                  </a:lnTo>
                  <a:lnTo>
                    <a:pt x="66" y="402"/>
                  </a:lnTo>
                  <a:lnTo>
                    <a:pt x="64" y="402"/>
                  </a:lnTo>
                  <a:lnTo>
                    <a:pt x="64" y="402"/>
                  </a:lnTo>
                  <a:lnTo>
                    <a:pt x="62" y="402"/>
                  </a:lnTo>
                  <a:lnTo>
                    <a:pt x="59" y="402"/>
                  </a:lnTo>
                  <a:lnTo>
                    <a:pt x="59" y="400"/>
                  </a:lnTo>
                  <a:lnTo>
                    <a:pt x="57" y="402"/>
                  </a:lnTo>
                  <a:lnTo>
                    <a:pt x="55" y="402"/>
                  </a:lnTo>
                  <a:lnTo>
                    <a:pt x="55" y="402"/>
                  </a:lnTo>
                  <a:lnTo>
                    <a:pt x="52" y="400"/>
                  </a:lnTo>
                  <a:lnTo>
                    <a:pt x="52" y="400"/>
                  </a:lnTo>
                  <a:lnTo>
                    <a:pt x="52" y="397"/>
                  </a:lnTo>
                  <a:lnTo>
                    <a:pt x="50" y="397"/>
                  </a:lnTo>
                  <a:lnTo>
                    <a:pt x="48" y="397"/>
                  </a:lnTo>
                  <a:lnTo>
                    <a:pt x="45" y="395"/>
                  </a:lnTo>
                  <a:lnTo>
                    <a:pt x="45" y="395"/>
                  </a:lnTo>
                  <a:lnTo>
                    <a:pt x="43" y="395"/>
                  </a:lnTo>
                  <a:lnTo>
                    <a:pt x="40" y="393"/>
                  </a:lnTo>
                  <a:lnTo>
                    <a:pt x="36" y="393"/>
                  </a:lnTo>
                  <a:lnTo>
                    <a:pt x="33" y="393"/>
                  </a:lnTo>
                  <a:lnTo>
                    <a:pt x="31" y="393"/>
                  </a:lnTo>
                  <a:lnTo>
                    <a:pt x="31" y="393"/>
                  </a:lnTo>
                  <a:lnTo>
                    <a:pt x="29" y="393"/>
                  </a:lnTo>
                  <a:lnTo>
                    <a:pt x="26" y="393"/>
                  </a:lnTo>
                  <a:lnTo>
                    <a:pt x="26" y="393"/>
                  </a:lnTo>
                  <a:lnTo>
                    <a:pt x="26" y="390"/>
                  </a:lnTo>
                  <a:lnTo>
                    <a:pt x="24" y="390"/>
                  </a:lnTo>
                  <a:lnTo>
                    <a:pt x="22" y="390"/>
                  </a:lnTo>
                  <a:lnTo>
                    <a:pt x="19" y="390"/>
                  </a:lnTo>
                  <a:lnTo>
                    <a:pt x="19" y="390"/>
                  </a:lnTo>
                  <a:lnTo>
                    <a:pt x="17" y="388"/>
                  </a:lnTo>
                  <a:lnTo>
                    <a:pt x="14" y="388"/>
                  </a:lnTo>
                  <a:lnTo>
                    <a:pt x="14" y="388"/>
                  </a:lnTo>
                  <a:lnTo>
                    <a:pt x="14" y="386"/>
                  </a:lnTo>
                  <a:lnTo>
                    <a:pt x="12" y="383"/>
                  </a:lnTo>
                  <a:lnTo>
                    <a:pt x="12" y="378"/>
                  </a:lnTo>
                  <a:lnTo>
                    <a:pt x="12" y="378"/>
                  </a:lnTo>
                  <a:lnTo>
                    <a:pt x="10" y="376"/>
                  </a:lnTo>
                  <a:lnTo>
                    <a:pt x="10" y="376"/>
                  </a:lnTo>
                  <a:lnTo>
                    <a:pt x="10" y="371"/>
                  </a:lnTo>
                  <a:lnTo>
                    <a:pt x="7" y="371"/>
                  </a:lnTo>
                  <a:lnTo>
                    <a:pt x="7" y="371"/>
                  </a:lnTo>
                  <a:lnTo>
                    <a:pt x="5" y="371"/>
                  </a:lnTo>
                  <a:lnTo>
                    <a:pt x="3" y="369"/>
                  </a:lnTo>
                  <a:lnTo>
                    <a:pt x="3" y="364"/>
                  </a:lnTo>
                  <a:lnTo>
                    <a:pt x="3" y="362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 cap="flat">
              <a:solidFill>
                <a:schemeClr val="bg2">
                  <a:lumMod val="7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>
                <a:solidFill>
                  <a:srgbClr val="000000"/>
                </a:solidFill>
              </a:endParaRPr>
            </a:p>
          </p:txBody>
        </p:sp>
        <p:sp>
          <p:nvSpPr>
            <p:cNvPr id="93" name="Freeform 16"/>
            <p:cNvSpPr>
              <a:spLocks/>
            </p:cNvSpPr>
            <p:nvPr/>
          </p:nvSpPr>
          <p:spPr bwMode="gray">
            <a:xfrm>
              <a:off x="3523083" y="3161534"/>
              <a:ext cx="428264" cy="579502"/>
            </a:xfrm>
            <a:custGeom>
              <a:avLst/>
              <a:gdLst/>
              <a:ahLst/>
              <a:cxnLst>
                <a:cxn ang="0">
                  <a:pos x="22" y="36"/>
                </a:cxn>
                <a:cxn ang="0">
                  <a:pos x="22" y="12"/>
                </a:cxn>
                <a:cxn ang="0">
                  <a:pos x="71" y="10"/>
                </a:cxn>
                <a:cxn ang="0">
                  <a:pos x="109" y="5"/>
                </a:cxn>
                <a:cxn ang="0">
                  <a:pos x="163" y="5"/>
                </a:cxn>
                <a:cxn ang="0">
                  <a:pos x="182" y="7"/>
                </a:cxn>
                <a:cxn ang="0">
                  <a:pos x="215" y="26"/>
                </a:cxn>
                <a:cxn ang="0">
                  <a:pos x="253" y="48"/>
                </a:cxn>
                <a:cxn ang="0">
                  <a:pos x="289" y="69"/>
                </a:cxn>
                <a:cxn ang="0">
                  <a:pos x="315" y="85"/>
                </a:cxn>
                <a:cxn ang="0">
                  <a:pos x="345" y="111"/>
                </a:cxn>
                <a:cxn ang="0">
                  <a:pos x="376" y="121"/>
                </a:cxn>
                <a:cxn ang="0">
                  <a:pos x="400" y="149"/>
                </a:cxn>
                <a:cxn ang="0">
                  <a:pos x="440" y="196"/>
                </a:cxn>
                <a:cxn ang="0">
                  <a:pos x="475" y="227"/>
                </a:cxn>
                <a:cxn ang="0">
                  <a:pos x="518" y="248"/>
                </a:cxn>
                <a:cxn ang="0">
                  <a:pos x="470" y="298"/>
                </a:cxn>
                <a:cxn ang="0">
                  <a:pos x="456" y="333"/>
                </a:cxn>
                <a:cxn ang="0">
                  <a:pos x="435" y="362"/>
                </a:cxn>
                <a:cxn ang="0">
                  <a:pos x="426" y="390"/>
                </a:cxn>
                <a:cxn ang="0">
                  <a:pos x="404" y="426"/>
                </a:cxn>
                <a:cxn ang="0">
                  <a:pos x="385" y="428"/>
                </a:cxn>
                <a:cxn ang="0">
                  <a:pos x="369" y="449"/>
                </a:cxn>
                <a:cxn ang="0">
                  <a:pos x="362" y="468"/>
                </a:cxn>
                <a:cxn ang="0">
                  <a:pos x="364" y="477"/>
                </a:cxn>
                <a:cxn ang="0">
                  <a:pos x="352" y="503"/>
                </a:cxn>
                <a:cxn ang="0">
                  <a:pos x="357" y="522"/>
                </a:cxn>
                <a:cxn ang="0">
                  <a:pos x="345" y="537"/>
                </a:cxn>
                <a:cxn ang="0">
                  <a:pos x="338" y="551"/>
                </a:cxn>
                <a:cxn ang="0">
                  <a:pos x="350" y="567"/>
                </a:cxn>
                <a:cxn ang="0">
                  <a:pos x="364" y="581"/>
                </a:cxn>
                <a:cxn ang="0">
                  <a:pos x="362" y="605"/>
                </a:cxn>
                <a:cxn ang="0">
                  <a:pos x="352" y="624"/>
                </a:cxn>
                <a:cxn ang="0">
                  <a:pos x="338" y="636"/>
                </a:cxn>
                <a:cxn ang="0">
                  <a:pos x="324" y="645"/>
                </a:cxn>
                <a:cxn ang="0">
                  <a:pos x="312" y="659"/>
                </a:cxn>
                <a:cxn ang="0">
                  <a:pos x="296" y="652"/>
                </a:cxn>
                <a:cxn ang="0">
                  <a:pos x="274" y="638"/>
                </a:cxn>
                <a:cxn ang="0">
                  <a:pos x="263" y="617"/>
                </a:cxn>
                <a:cxn ang="0">
                  <a:pos x="232" y="593"/>
                </a:cxn>
                <a:cxn ang="0">
                  <a:pos x="187" y="600"/>
                </a:cxn>
                <a:cxn ang="0">
                  <a:pos x="116" y="591"/>
                </a:cxn>
                <a:cxn ang="0">
                  <a:pos x="126" y="553"/>
                </a:cxn>
                <a:cxn ang="0">
                  <a:pos x="135" y="525"/>
                </a:cxn>
                <a:cxn ang="0">
                  <a:pos x="102" y="511"/>
                </a:cxn>
                <a:cxn ang="0">
                  <a:pos x="81" y="470"/>
                </a:cxn>
                <a:cxn ang="0">
                  <a:pos x="74" y="433"/>
                </a:cxn>
                <a:cxn ang="0">
                  <a:pos x="67" y="390"/>
                </a:cxn>
                <a:cxn ang="0">
                  <a:pos x="64" y="355"/>
                </a:cxn>
                <a:cxn ang="0">
                  <a:pos x="64" y="333"/>
                </a:cxn>
                <a:cxn ang="0">
                  <a:pos x="62" y="312"/>
                </a:cxn>
                <a:cxn ang="0">
                  <a:pos x="38" y="296"/>
                </a:cxn>
                <a:cxn ang="0">
                  <a:pos x="22" y="272"/>
                </a:cxn>
                <a:cxn ang="0">
                  <a:pos x="29" y="241"/>
                </a:cxn>
                <a:cxn ang="0">
                  <a:pos x="33" y="215"/>
                </a:cxn>
                <a:cxn ang="0">
                  <a:pos x="38" y="168"/>
                </a:cxn>
                <a:cxn ang="0">
                  <a:pos x="22" y="161"/>
                </a:cxn>
                <a:cxn ang="0">
                  <a:pos x="19" y="137"/>
                </a:cxn>
                <a:cxn ang="0">
                  <a:pos x="12" y="118"/>
                </a:cxn>
                <a:cxn ang="0">
                  <a:pos x="12" y="92"/>
                </a:cxn>
              </a:cxnLst>
              <a:rect l="0" t="0" r="r" b="b"/>
              <a:pathLst>
                <a:path w="530" h="662">
                  <a:moveTo>
                    <a:pt x="3" y="74"/>
                  </a:moveTo>
                  <a:lnTo>
                    <a:pt x="3" y="71"/>
                  </a:lnTo>
                  <a:lnTo>
                    <a:pt x="3" y="69"/>
                  </a:lnTo>
                  <a:lnTo>
                    <a:pt x="3" y="69"/>
                  </a:lnTo>
                  <a:lnTo>
                    <a:pt x="5" y="64"/>
                  </a:lnTo>
                  <a:lnTo>
                    <a:pt x="12" y="50"/>
                  </a:lnTo>
                  <a:lnTo>
                    <a:pt x="12" y="48"/>
                  </a:lnTo>
                  <a:lnTo>
                    <a:pt x="15" y="48"/>
                  </a:lnTo>
                  <a:lnTo>
                    <a:pt x="17" y="45"/>
                  </a:lnTo>
                  <a:lnTo>
                    <a:pt x="19" y="43"/>
                  </a:lnTo>
                  <a:lnTo>
                    <a:pt x="19" y="40"/>
                  </a:lnTo>
                  <a:lnTo>
                    <a:pt x="19" y="40"/>
                  </a:lnTo>
                  <a:lnTo>
                    <a:pt x="19" y="40"/>
                  </a:lnTo>
                  <a:lnTo>
                    <a:pt x="22" y="38"/>
                  </a:lnTo>
                  <a:lnTo>
                    <a:pt x="22" y="36"/>
                  </a:lnTo>
                  <a:lnTo>
                    <a:pt x="22" y="36"/>
                  </a:lnTo>
                  <a:lnTo>
                    <a:pt x="22" y="36"/>
                  </a:lnTo>
                  <a:lnTo>
                    <a:pt x="22" y="33"/>
                  </a:lnTo>
                  <a:lnTo>
                    <a:pt x="22" y="31"/>
                  </a:lnTo>
                  <a:lnTo>
                    <a:pt x="22" y="31"/>
                  </a:lnTo>
                  <a:lnTo>
                    <a:pt x="22" y="31"/>
                  </a:lnTo>
                  <a:lnTo>
                    <a:pt x="22" y="29"/>
                  </a:lnTo>
                  <a:lnTo>
                    <a:pt x="22" y="29"/>
                  </a:lnTo>
                  <a:lnTo>
                    <a:pt x="19" y="26"/>
                  </a:lnTo>
                  <a:lnTo>
                    <a:pt x="19" y="24"/>
                  </a:lnTo>
                  <a:lnTo>
                    <a:pt x="19" y="24"/>
                  </a:lnTo>
                  <a:lnTo>
                    <a:pt x="17" y="24"/>
                  </a:lnTo>
                  <a:lnTo>
                    <a:pt x="15" y="22"/>
                  </a:lnTo>
                  <a:lnTo>
                    <a:pt x="15" y="22"/>
                  </a:lnTo>
                  <a:lnTo>
                    <a:pt x="12" y="22"/>
                  </a:lnTo>
                  <a:lnTo>
                    <a:pt x="12" y="17"/>
                  </a:lnTo>
                  <a:lnTo>
                    <a:pt x="19" y="14"/>
                  </a:lnTo>
                  <a:lnTo>
                    <a:pt x="19" y="12"/>
                  </a:lnTo>
                  <a:lnTo>
                    <a:pt x="22" y="12"/>
                  </a:lnTo>
                  <a:lnTo>
                    <a:pt x="26" y="12"/>
                  </a:lnTo>
                  <a:lnTo>
                    <a:pt x="31" y="12"/>
                  </a:lnTo>
                  <a:lnTo>
                    <a:pt x="33" y="12"/>
                  </a:lnTo>
                  <a:lnTo>
                    <a:pt x="38" y="12"/>
                  </a:lnTo>
                  <a:lnTo>
                    <a:pt x="43" y="14"/>
                  </a:lnTo>
                  <a:lnTo>
                    <a:pt x="43" y="12"/>
                  </a:lnTo>
                  <a:lnTo>
                    <a:pt x="43" y="14"/>
                  </a:lnTo>
                  <a:lnTo>
                    <a:pt x="48" y="14"/>
                  </a:lnTo>
                  <a:lnTo>
                    <a:pt x="55" y="12"/>
                  </a:lnTo>
                  <a:lnTo>
                    <a:pt x="55" y="12"/>
                  </a:lnTo>
                  <a:lnTo>
                    <a:pt x="59" y="12"/>
                  </a:lnTo>
                  <a:lnTo>
                    <a:pt x="62" y="10"/>
                  </a:lnTo>
                  <a:lnTo>
                    <a:pt x="67" y="10"/>
                  </a:lnTo>
                  <a:lnTo>
                    <a:pt x="67" y="10"/>
                  </a:lnTo>
                  <a:lnTo>
                    <a:pt x="67" y="10"/>
                  </a:lnTo>
                  <a:lnTo>
                    <a:pt x="71" y="10"/>
                  </a:lnTo>
                  <a:lnTo>
                    <a:pt x="71" y="10"/>
                  </a:lnTo>
                  <a:lnTo>
                    <a:pt x="71" y="10"/>
                  </a:lnTo>
                  <a:lnTo>
                    <a:pt x="71" y="10"/>
                  </a:lnTo>
                  <a:lnTo>
                    <a:pt x="74" y="10"/>
                  </a:lnTo>
                  <a:lnTo>
                    <a:pt x="74" y="10"/>
                  </a:lnTo>
                  <a:lnTo>
                    <a:pt x="74" y="12"/>
                  </a:lnTo>
                  <a:lnTo>
                    <a:pt x="76" y="12"/>
                  </a:lnTo>
                  <a:lnTo>
                    <a:pt x="78" y="12"/>
                  </a:lnTo>
                  <a:lnTo>
                    <a:pt x="81" y="10"/>
                  </a:lnTo>
                  <a:lnTo>
                    <a:pt x="83" y="7"/>
                  </a:lnTo>
                  <a:lnTo>
                    <a:pt x="85" y="7"/>
                  </a:lnTo>
                  <a:lnTo>
                    <a:pt x="88" y="7"/>
                  </a:lnTo>
                  <a:lnTo>
                    <a:pt x="95" y="7"/>
                  </a:lnTo>
                  <a:lnTo>
                    <a:pt x="95" y="7"/>
                  </a:lnTo>
                  <a:lnTo>
                    <a:pt x="100" y="7"/>
                  </a:lnTo>
                  <a:lnTo>
                    <a:pt x="107" y="7"/>
                  </a:lnTo>
                  <a:lnTo>
                    <a:pt x="109" y="5"/>
                  </a:lnTo>
                  <a:lnTo>
                    <a:pt x="109" y="5"/>
                  </a:lnTo>
                  <a:lnTo>
                    <a:pt x="114" y="3"/>
                  </a:lnTo>
                  <a:lnTo>
                    <a:pt x="116" y="3"/>
                  </a:lnTo>
                  <a:lnTo>
                    <a:pt x="116" y="0"/>
                  </a:lnTo>
                  <a:lnTo>
                    <a:pt x="118" y="0"/>
                  </a:lnTo>
                  <a:lnTo>
                    <a:pt x="123" y="3"/>
                  </a:lnTo>
                  <a:lnTo>
                    <a:pt x="126" y="3"/>
                  </a:lnTo>
                  <a:lnTo>
                    <a:pt x="130" y="3"/>
                  </a:lnTo>
                  <a:lnTo>
                    <a:pt x="135" y="3"/>
                  </a:lnTo>
                  <a:lnTo>
                    <a:pt x="140" y="3"/>
                  </a:lnTo>
                  <a:lnTo>
                    <a:pt x="144" y="3"/>
                  </a:lnTo>
                  <a:lnTo>
                    <a:pt x="149" y="3"/>
                  </a:lnTo>
                  <a:lnTo>
                    <a:pt x="149" y="3"/>
                  </a:lnTo>
                  <a:lnTo>
                    <a:pt x="154" y="3"/>
                  </a:lnTo>
                  <a:lnTo>
                    <a:pt x="159" y="3"/>
                  </a:lnTo>
                  <a:lnTo>
                    <a:pt x="156" y="3"/>
                  </a:lnTo>
                  <a:lnTo>
                    <a:pt x="161" y="5"/>
                  </a:lnTo>
                  <a:lnTo>
                    <a:pt x="163" y="5"/>
                  </a:lnTo>
                  <a:lnTo>
                    <a:pt x="166" y="5"/>
                  </a:lnTo>
                  <a:lnTo>
                    <a:pt x="166" y="5"/>
                  </a:lnTo>
                  <a:lnTo>
                    <a:pt x="168" y="5"/>
                  </a:lnTo>
                  <a:lnTo>
                    <a:pt x="173" y="5"/>
                  </a:lnTo>
                  <a:lnTo>
                    <a:pt x="173" y="5"/>
                  </a:lnTo>
                  <a:lnTo>
                    <a:pt x="173" y="5"/>
                  </a:lnTo>
                  <a:lnTo>
                    <a:pt x="173" y="5"/>
                  </a:lnTo>
                  <a:lnTo>
                    <a:pt x="175" y="5"/>
                  </a:lnTo>
                  <a:lnTo>
                    <a:pt x="175" y="5"/>
                  </a:lnTo>
                  <a:lnTo>
                    <a:pt x="178" y="7"/>
                  </a:lnTo>
                  <a:lnTo>
                    <a:pt x="180" y="5"/>
                  </a:lnTo>
                  <a:lnTo>
                    <a:pt x="178" y="5"/>
                  </a:lnTo>
                  <a:lnTo>
                    <a:pt x="178" y="5"/>
                  </a:lnTo>
                  <a:lnTo>
                    <a:pt x="182" y="7"/>
                  </a:lnTo>
                  <a:lnTo>
                    <a:pt x="185" y="7"/>
                  </a:lnTo>
                  <a:lnTo>
                    <a:pt x="182" y="7"/>
                  </a:lnTo>
                  <a:lnTo>
                    <a:pt x="182" y="7"/>
                  </a:lnTo>
                  <a:lnTo>
                    <a:pt x="182" y="7"/>
                  </a:lnTo>
                  <a:lnTo>
                    <a:pt x="187" y="10"/>
                  </a:lnTo>
                  <a:lnTo>
                    <a:pt x="185" y="7"/>
                  </a:lnTo>
                  <a:lnTo>
                    <a:pt x="189" y="10"/>
                  </a:lnTo>
                  <a:lnTo>
                    <a:pt x="189" y="10"/>
                  </a:lnTo>
                  <a:lnTo>
                    <a:pt x="192" y="12"/>
                  </a:lnTo>
                  <a:lnTo>
                    <a:pt x="194" y="12"/>
                  </a:lnTo>
                  <a:lnTo>
                    <a:pt x="194" y="12"/>
                  </a:lnTo>
                  <a:lnTo>
                    <a:pt x="194" y="12"/>
                  </a:lnTo>
                  <a:lnTo>
                    <a:pt x="196" y="12"/>
                  </a:lnTo>
                  <a:lnTo>
                    <a:pt x="199" y="14"/>
                  </a:lnTo>
                  <a:lnTo>
                    <a:pt x="204" y="17"/>
                  </a:lnTo>
                  <a:lnTo>
                    <a:pt x="204" y="19"/>
                  </a:lnTo>
                  <a:lnTo>
                    <a:pt x="208" y="22"/>
                  </a:lnTo>
                  <a:lnTo>
                    <a:pt x="211" y="22"/>
                  </a:lnTo>
                  <a:lnTo>
                    <a:pt x="213" y="26"/>
                  </a:lnTo>
                  <a:lnTo>
                    <a:pt x="215" y="26"/>
                  </a:lnTo>
                  <a:lnTo>
                    <a:pt x="218" y="26"/>
                  </a:lnTo>
                  <a:lnTo>
                    <a:pt x="220" y="26"/>
                  </a:lnTo>
                  <a:lnTo>
                    <a:pt x="222" y="29"/>
                  </a:lnTo>
                  <a:lnTo>
                    <a:pt x="225" y="29"/>
                  </a:lnTo>
                  <a:lnTo>
                    <a:pt x="225" y="31"/>
                  </a:lnTo>
                  <a:lnTo>
                    <a:pt x="227" y="31"/>
                  </a:lnTo>
                  <a:lnTo>
                    <a:pt x="227" y="29"/>
                  </a:lnTo>
                  <a:lnTo>
                    <a:pt x="230" y="31"/>
                  </a:lnTo>
                  <a:lnTo>
                    <a:pt x="232" y="33"/>
                  </a:lnTo>
                  <a:lnTo>
                    <a:pt x="232" y="36"/>
                  </a:lnTo>
                  <a:lnTo>
                    <a:pt x="234" y="36"/>
                  </a:lnTo>
                  <a:lnTo>
                    <a:pt x="237" y="36"/>
                  </a:lnTo>
                  <a:lnTo>
                    <a:pt x="239" y="38"/>
                  </a:lnTo>
                  <a:lnTo>
                    <a:pt x="241" y="40"/>
                  </a:lnTo>
                  <a:lnTo>
                    <a:pt x="246" y="43"/>
                  </a:lnTo>
                  <a:lnTo>
                    <a:pt x="248" y="45"/>
                  </a:lnTo>
                  <a:lnTo>
                    <a:pt x="253" y="48"/>
                  </a:lnTo>
                  <a:lnTo>
                    <a:pt x="255" y="48"/>
                  </a:lnTo>
                  <a:lnTo>
                    <a:pt x="258" y="50"/>
                  </a:lnTo>
                  <a:lnTo>
                    <a:pt x="260" y="50"/>
                  </a:lnTo>
                  <a:lnTo>
                    <a:pt x="263" y="50"/>
                  </a:lnTo>
                  <a:lnTo>
                    <a:pt x="265" y="50"/>
                  </a:lnTo>
                  <a:lnTo>
                    <a:pt x="267" y="55"/>
                  </a:lnTo>
                  <a:lnTo>
                    <a:pt x="267" y="55"/>
                  </a:lnTo>
                  <a:lnTo>
                    <a:pt x="270" y="55"/>
                  </a:lnTo>
                  <a:lnTo>
                    <a:pt x="270" y="55"/>
                  </a:lnTo>
                  <a:lnTo>
                    <a:pt x="272" y="57"/>
                  </a:lnTo>
                  <a:lnTo>
                    <a:pt x="274" y="57"/>
                  </a:lnTo>
                  <a:lnTo>
                    <a:pt x="277" y="57"/>
                  </a:lnTo>
                  <a:lnTo>
                    <a:pt x="277" y="57"/>
                  </a:lnTo>
                  <a:lnTo>
                    <a:pt x="279" y="59"/>
                  </a:lnTo>
                  <a:lnTo>
                    <a:pt x="284" y="66"/>
                  </a:lnTo>
                  <a:lnTo>
                    <a:pt x="286" y="69"/>
                  </a:lnTo>
                  <a:lnTo>
                    <a:pt x="289" y="69"/>
                  </a:lnTo>
                  <a:lnTo>
                    <a:pt x="289" y="71"/>
                  </a:lnTo>
                  <a:lnTo>
                    <a:pt x="291" y="74"/>
                  </a:lnTo>
                  <a:lnTo>
                    <a:pt x="293" y="74"/>
                  </a:lnTo>
                  <a:lnTo>
                    <a:pt x="293" y="74"/>
                  </a:lnTo>
                  <a:lnTo>
                    <a:pt x="293" y="74"/>
                  </a:lnTo>
                  <a:lnTo>
                    <a:pt x="296" y="76"/>
                  </a:lnTo>
                  <a:lnTo>
                    <a:pt x="298" y="78"/>
                  </a:lnTo>
                  <a:lnTo>
                    <a:pt x="300" y="81"/>
                  </a:lnTo>
                  <a:lnTo>
                    <a:pt x="300" y="78"/>
                  </a:lnTo>
                  <a:lnTo>
                    <a:pt x="303" y="81"/>
                  </a:lnTo>
                  <a:lnTo>
                    <a:pt x="303" y="81"/>
                  </a:lnTo>
                  <a:lnTo>
                    <a:pt x="305" y="81"/>
                  </a:lnTo>
                  <a:lnTo>
                    <a:pt x="305" y="81"/>
                  </a:lnTo>
                  <a:lnTo>
                    <a:pt x="307" y="78"/>
                  </a:lnTo>
                  <a:lnTo>
                    <a:pt x="310" y="78"/>
                  </a:lnTo>
                  <a:lnTo>
                    <a:pt x="312" y="83"/>
                  </a:lnTo>
                  <a:lnTo>
                    <a:pt x="315" y="85"/>
                  </a:lnTo>
                  <a:lnTo>
                    <a:pt x="317" y="85"/>
                  </a:lnTo>
                  <a:lnTo>
                    <a:pt x="317" y="88"/>
                  </a:lnTo>
                  <a:lnTo>
                    <a:pt x="317" y="88"/>
                  </a:lnTo>
                  <a:lnTo>
                    <a:pt x="319" y="92"/>
                  </a:lnTo>
                  <a:lnTo>
                    <a:pt x="319" y="92"/>
                  </a:lnTo>
                  <a:lnTo>
                    <a:pt x="322" y="92"/>
                  </a:lnTo>
                  <a:lnTo>
                    <a:pt x="324" y="95"/>
                  </a:lnTo>
                  <a:lnTo>
                    <a:pt x="326" y="97"/>
                  </a:lnTo>
                  <a:lnTo>
                    <a:pt x="329" y="100"/>
                  </a:lnTo>
                  <a:lnTo>
                    <a:pt x="331" y="100"/>
                  </a:lnTo>
                  <a:lnTo>
                    <a:pt x="331" y="100"/>
                  </a:lnTo>
                  <a:lnTo>
                    <a:pt x="333" y="100"/>
                  </a:lnTo>
                  <a:lnTo>
                    <a:pt x="338" y="104"/>
                  </a:lnTo>
                  <a:lnTo>
                    <a:pt x="338" y="107"/>
                  </a:lnTo>
                  <a:lnTo>
                    <a:pt x="341" y="109"/>
                  </a:lnTo>
                  <a:lnTo>
                    <a:pt x="343" y="109"/>
                  </a:lnTo>
                  <a:lnTo>
                    <a:pt x="345" y="111"/>
                  </a:lnTo>
                  <a:lnTo>
                    <a:pt x="350" y="116"/>
                  </a:lnTo>
                  <a:lnTo>
                    <a:pt x="352" y="116"/>
                  </a:lnTo>
                  <a:lnTo>
                    <a:pt x="355" y="118"/>
                  </a:lnTo>
                  <a:lnTo>
                    <a:pt x="357" y="118"/>
                  </a:lnTo>
                  <a:lnTo>
                    <a:pt x="359" y="118"/>
                  </a:lnTo>
                  <a:lnTo>
                    <a:pt x="362" y="118"/>
                  </a:lnTo>
                  <a:lnTo>
                    <a:pt x="362" y="118"/>
                  </a:lnTo>
                  <a:lnTo>
                    <a:pt x="364" y="121"/>
                  </a:lnTo>
                  <a:lnTo>
                    <a:pt x="367" y="121"/>
                  </a:lnTo>
                  <a:lnTo>
                    <a:pt x="367" y="121"/>
                  </a:lnTo>
                  <a:lnTo>
                    <a:pt x="369" y="121"/>
                  </a:lnTo>
                  <a:lnTo>
                    <a:pt x="369" y="121"/>
                  </a:lnTo>
                  <a:lnTo>
                    <a:pt x="371" y="121"/>
                  </a:lnTo>
                  <a:lnTo>
                    <a:pt x="371" y="123"/>
                  </a:lnTo>
                  <a:lnTo>
                    <a:pt x="374" y="121"/>
                  </a:lnTo>
                  <a:lnTo>
                    <a:pt x="376" y="121"/>
                  </a:lnTo>
                  <a:lnTo>
                    <a:pt x="376" y="121"/>
                  </a:lnTo>
                  <a:lnTo>
                    <a:pt x="376" y="121"/>
                  </a:lnTo>
                  <a:lnTo>
                    <a:pt x="374" y="118"/>
                  </a:lnTo>
                  <a:lnTo>
                    <a:pt x="376" y="121"/>
                  </a:lnTo>
                  <a:lnTo>
                    <a:pt x="381" y="128"/>
                  </a:lnTo>
                  <a:lnTo>
                    <a:pt x="381" y="130"/>
                  </a:lnTo>
                  <a:lnTo>
                    <a:pt x="385" y="135"/>
                  </a:lnTo>
                  <a:lnTo>
                    <a:pt x="388" y="142"/>
                  </a:lnTo>
                  <a:lnTo>
                    <a:pt x="393" y="147"/>
                  </a:lnTo>
                  <a:lnTo>
                    <a:pt x="395" y="149"/>
                  </a:lnTo>
                  <a:lnTo>
                    <a:pt x="397" y="149"/>
                  </a:lnTo>
                  <a:lnTo>
                    <a:pt x="397" y="151"/>
                  </a:lnTo>
                  <a:lnTo>
                    <a:pt x="395" y="149"/>
                  </a:lnTo>
                  <a:lnTo>
                    <a:pt x="397" y="151"/>
                  </a:lnTo>
                  <a:lnTo>
                    <a:pt x="397" y="151"/>
                  </a:lnTo>
                  <a:lnTo>
                    <a:pt x="397" y="149"/>
                  </a:lnTo>
                  <a:lnTo>
                    <a:pt x="397" y="149"/>
                  </a:lnTo>
                  <a:lnTo>
                    <a:pt x="400" y="149"/>
                  </a:lnTo>
                  <a:lnTo>
                    <a:pt x="402" y="151"/>
                  </a:lnTo>
                  <a:lnTo>
                    <a:pt x="402" y="154"/>
                  </a:lnTo>
                  <a:lnTo>
                    <a:pt x="407" y="159"/>
                  </a:lnTo>
                  <a:lnTo>
                    <a:pt x="407" y="159"/>
                  </a:lnTo>
                  <a:lnTo>
                    <a:pt x="409" y="161"/>
                  </a:lnTo>
                  <a:lnTo>
                    <a:pt x="411" y="163"/>
                  </a:lnTo>
                  <a:lnTo>
                    <a:pt x="411" y="166"/>
                  </a:lnTo>
                  <a:lnTo>
                    <a:pt x="416" y="170"/>
                  </a:lnTo>
                  <a:lnTo>
                    <a:pt x="416" y="170"/>
                  </a:lnTo>
                  <a:lnTo>
                    <a:pt x="421" y="177"/>
                  </a:lnTo>
                  <a:lnTo>
                    <a:pt x="423" y="180"/>
                  </a:lnTo>
                  <a:lnTo>
                    <a:pt x="430" y="187"/>
                  </a:lnTo>
                  <a:lnTo>
                    <a:pt x="430" y="187"/>
                  </a:lnTo>
                  <a:lnTo>
                    <a:pt x="433" y="192"/>
                  </a:lnTo>
                  <a:lnTo>
                    <a:pt x="435" y="192"/>
                  </a:lnTo>
                  <a:lnTo>
                    <a:pt x="437" y="194"/>
                  </a:lnTo>
                  <a:lnTo>
                    <a:pt x="440" y="196"/>
                  </a:lnTo>
                  <a:lnTo>
                    <a:pt x="444" y="201"/>
                  </a:lnTo>
                  <a:lnTo>
                    <a:pt x="449" y="203"/>
                  </a:lnTo>
                  <a:lnTo>
                    <a:pt x="454" y="208"/>
                  </a:lnTo>
                  <a:lnTo>
                    <a:pt x="456" y="208"/>
                  </a:lnTo>
                  <a:lnTo>
                    <a:pt x="459" y="211"/>
                  </a:lnTo>
                  <a:lnTo>
                    <a:pt x="461" y="211"/>
                  </a:lnTo>
                  <a:lnTo>
                    <a:pt x="461" y="211"/>
                  </a:lnTo>
                  <a:lnTo>
                    <a:pt x="463" y="211"/>
                  </a:lnTo>
                  <a:lnTo>
                    <a:pt x="466" y="211"/>
                  </a:lnTo>
                  <a:lnTo>
                    <a:pt x="466" y="213"/>
                  </a:lnTo>
                  <a:lnTo>
                    <a:pt x="466" y="213"/>
                  </a:lnTo>
                  <a:lnTo>
                    <a:pt x="466" y="215"/>
                  </a:lnTo>
                  <a:lnTo>
                    <a:pt x="468" y="220"/>
                  </a:lnTo>
                  <a:lnTo>
                    <a:pt x="470" y="222"/>
                  </a:lnTo>
                  <a:lnTo>
                    <a:pt x="473" y="225"/>
                  </a:lnTo>
                  <a:lnTo>
                    <a:pt x="475" y="227"/>
                  </a:lnTo>
                  <a:lnTo>
                    <a:pt x="475" y="227"/>
                  </a:lnTo>
                  <a:lnTo>
                    <a:pt x="478" y="232"/>
                  </a:lnTo>
                  <a:lnTo>
                    <a:pt x="480" y="232"/>
                  </a:lnTo>
                  <a:lnTo>
                    <a:pt x="480" y="234"/>
                  </a:lnTo>
                  <a:lnTo>
                    <a:pt x="487" y="239"/>
                  </a:lnTo>
                  <a:lnTo>
                    <a:pt x="489" y="241"/>
                  </a:lnTo>
                  <a:lnTo>
                    <a:pt x="494" y="241"/>
                  </a:lnTo>
                  <a:lnTo>
                    <a:pt x="496" y="241"/>
                  </a:lnTo>
                  <a:lnTo>
                    <a:pt x="499" y="239"/>
                  </a:lnTo>
                  <a:lnTo>
                    <a:pt x="499" y="241"/>
                  </a:lnTo>
                  <a:lnTo>
                    <a:pt x="501" y="241"/>
                  </a:lnTo>
                  <a:lnTo>
                    <a:pt x="501" y="244"/>
                  </a:lnTo>
                  <a:lnTo>
                    <a:pt x="504" y="244"/>
                  </a:lnTo>
                  <a:lnTo>
                    <a:pt x="511" y="246"/>
                  </a:lnTo>
                  <a:lnTo>
                    <a:pt x="515" y="248"/>
                  </a:lnTo>
                  <a:lnTo>
                    <a:pt x="515" y="248"/>
                  </a:lnTo>
                  <a:lnTo>
                    <a:pt x="518" y="248"/>
                  </a:lnTo>
                  <a:lnTo>
                    <a:pt x="518" y="248"/>
                  </a:lnTo>
                  <a:lnTo>
                    <a:pt x="518" y="248"/>
                  </a:lnTo>
                  <a:lnTo>
                    <a:pt x="518" y="248"/>
                  </a:lnTo>
                  <a:lnTo>
                    <a:pt x="520" y="251"/>
                  </a:lnTo>
                  <a:lnTo>
                    <a:pt x="525" y="253"/>
                  </a:lnTo>
                  <a:lnTo>
                    <a:pt x="525" y="255"/>
                  </a:lnTo>
                  <a:lnTo>
                    <a:pt x="527" y="258"/>
                  </a:lnTo>
                  <a:lnTo>
                    <a:pt x="527" y="263"/>
                  </a:lnTo>
                  <a:lnTo>
                    <a:pt x="530" y="267"/>
                  </a:lnTo>
                  <a:lnTo>
                    <a:pt x="530" y="267"/>
                  </a:lnTo>
                  <a:lnTo>
                    <a:pt x="518" y="270"/>
                  </a:lnTo>
                  <a:lnTo>
                    <a:pt x="506" y="274"/>
                  </a:lnTo>
                  <a:lnTo>
                    <a:pt x="504" y="274"/>
                  </a:lnTo>
                  <a:lnTo>
                    <a:pt x="480" y="279"/>
                  </a:lnTo>
                  <a:lnTo>
                    <a:pt x="480" y="284"/>
                  </a:lnTo>
                  <a:lnTo>
                    <a:pt x="478" y="289"/>
                  </a:lnTo>
                  <a:lnTo>
                    <a:pt x="475" y="296"/>
                  </a:lnTo>
                  <a:lnTo>
                    <a:pt x="470" y="298"/>
                  </a:lnTo>
                  <a:lnTo>
                    <a:pt x="470" y="298"/>
                  </a:lnTo>
                  <a:lnTo>
                    <a:pt x="470" y="298"/>
                  </a:lnTo>
                  <a:lnTo>
                    <a:pt x="468" y="303"/>
                  </a:lnTo>
                  <a:lnTo>
                    <a:pt x="466" y="307"/>
                  </a:lnTo>
                  <a:lnTo>
                    <a:pt x="463" y="314"/>
                  </a:lnTo>
                  <a:lnTo>
                    <a:pt x="461" y="317"/>
                  </a:lnTo>
                  <a:lnTo>
                    <a:pt x="461" y="317"/>
                  </a:lnTo>
                  <a:lnTo>
                    <a:pt x="463" y="319"/>
                  </a:lnTo>
                  <a:lnTo>
                    <a:pt x="463" y="322"/>
                  </a:lnTo>
                  <a:lnTo>
                    <a:pt x="461" y="324"/>
                  </a:lnTo>
                  <a:lnTo>
                    <a:pt x="461" y="324"/>
                  </a:lnTo>
                  <a:lnTo>
                    <a:pt x="463" y="326"/>
                  </a:lnTo>
                  <a:lnTo>
                    <a:pt x="463" y="326"/>
                  </a:lnTo>
                  <a:lnTo>
                    <a:pt x="461" y="326"/>
                  </a:lnTo>
                  <a:lnTo>
                    <a:pt x="461" y="329"/>
                  </a:lnTo>
                  <a:lnTo>
                    <a:pt x="459" y="331"/>
                  </a:lnTo>
                  <a:lnTo>
                    <a:pt x="456" y="333"/>
                  </a:lnTo>
                  <a:lnTo>
                    <a:pt x="454" y="333"/>
                  </a:lnTo>
                  <a:lnTo>
                    <a:pt x="454" y="336"/>
                  </a:lnTo>
                  <a:lnTo>
                    <a:pt x="454" y="336"/>
                  </a:lnTo>
                  <a:lnTo>
                    <a:pt x="452" y="338"/>
                  </a:lnTo>
                  <a:lnTo>
                    <a:pt x="454" y="340"/>
                  </a:lnTo>
                  <a:lnTo>
                    <a:pt x="452" y="343"/>
                  </a:lnTo>
                  <a:lnTo>
                    <a:pt x="449" y="345"/>
                  </a:lnTo>
                  <a:lnTo>
                    <a:pt x="449" y="348"/>
                  </a:lnTo>
                  <a:lnTo>
                    <a:pt x="449" y="348"/>
                  </a:lnTo>
                  <a:lnTo>
                    <a:pt x="449" y="352"/>
                  </a:lnTo>
                  <a:lnTo>
                    <a:pt x="449" y="352"/>
                  </a:lnTo>
                  <a:lnTo>
                    <a:pt x="447" y="355"/>
                  </a:lnTo>
                  <a:lnTo>
                    <a:pt x="444" y="355"/>
                  </a:lnTo>
                  <a:lnTo>
                    <a:pt x="444" y="355"/>
                  </a:lnTo>
                  <a:lnTo>
                    <a:pt x="442" y="359"/>
                  </a:lnTo>
                  <a:lnTo>
                    <a:pt x="440" y="359"/>
                  </a:lnTo>
                  <a:lnTo>
                    <a:pt x="435" y="362"/>
                  </a:lnTo>
                  <a:lnTo>
                    <a:pt x="435" y="362"/>
                  </a:lnTo>
                  <a:lnTo>
                    <a:pt x="435" y="364"/>
                  </a:lnTo>
                  <a:lnTo>
                    <a:pt x="435" y="366"/>
                  </a:lnTo>
                  <a:lnTo>
                    <a:pt x="433" y="366"/>
                  </a:lnTo>
                  <a:lnTo>
                    <a:pt x="430" y="371"/>
                  </a:lnTo>
                  <a:lnTo>
                    <a:pt x="428" y="374"/>
                  </a:lnTo>
                  <a:lnTo>
                    <a:pt x="426" y="376"/>
                  </a:lnTo>
                  <a:lnTo>
                    <a:pt x="426" y="376"/>
                  </a:lnTo>
                  <a:lnTo>
                    <a:pt x="426" y="381"/>
                  </a:lnTo>
                  <a:lnTo>
                    <a:pt x="423" y="383"/>
                  </a:lnTo>
                  <a:lnTo>
                    <a:pt x="423" y="385"/>
                  </a:lnTo>
                  <a:lnTo>
                    <a:pt x="426" y="383"/>
                  </a:lnTo>
                  <a:lnTo>
                    <a:pt x="428" y="383"/>
                  </a:lnTo>
                  <a:lnTo>
                    <a:pt x="428" y="385"/>
                  </a:lnTo>
                  <a:lnTo>
                    <a:pt x="430" y="385"/>
                  </a:lnTo>
                  <a:lnTo>
                    <a:pt x="428" y="388"/>
                  </a:lnTo>
                  <a:lnTo>
                    <a:pt x="426" y="390"/>
                  </a:lnTo>
                  <a:lnTo>
                    <a:pt x="421" y="395"/>
                  </a:lnTo>
                  <a:lnTo>
                    <a:pt x="421" y="397"/>
                  </a:lnTo>
                  <a:lnTo>
                    <a:pt x="421" y="397"/>
                  </a:lnTo>
                  <a:lnTo>
                    <a:pt x="421" y="400"/>
                  </a:lnTo>
                  <a:lnTo>
                    <a:pt x="418" y="404"/>
                  </a:lnTo>
                  <a:lnTo>
                    <a:pt x="416" y="407"/>
                  </a:lnTo>
                  <a:lnTo>
                    <a:pt x="416" y="409"/>
                  </a:lnTo>
                  <a:lnTo>
                    <a:pt x="414" y="409"/>
                  </a:lnTo>
                  <a:lnTo>
                    <a:pt x="414" y="411"/>
                  </a:lnTo>
                  <a:lnTo>
                    <a:pt x="414" y="414"/>
                  </a:lnTo>
                  <a:lnTo>
                    <a:pt x="414" y="414"/>
                  </a:lnTo>
                  <a:lnTo>
                    <a:pt x="411" y="414"/>
                  </a:lnTo>
                  <a:lnTo>
                    <a:pt x="411" y="414"/>
                  </a:lnTo>
                  <a:lnTo>
                    <a:pt x="409" y="416"/>
                  </a:lnTo>
                  <a:lnTo>
                    <a:pt x="404" y="418"/>
                  </a:lnTo>
                  <a:lnTo>
                    <a:pt x="404" y="421"/>
                  </a:lnTo>
                  <a:lnTo>
                    <a:pt x="404" y="426"/>
                  </a:lnTo>
                  <a:lnTo>
                    <a:pt x="402" y="426"/>
                  </a:lnTo>
                  <a:lnTo>
                    <a:pt x="402" y="426"/>
                  </a:lnTo>
                  <a:lnTo>
                    <a:pt x="400" y="428"/>
                  </a:lnTo>
                  <a:lnTo>
                    <a:pt x="400" y="428"/>
                  </a:lnTo>
                  <a:lnTo>
                    <a:pt x="397" y="428"/>
                  </a:lnTo>
                  <a:lnTo>
                    <a:pt x="397" y="430"/>
                  </a:lnTo>
                  <a:lnTo>
                    <a:pt x="395" y="430"/>
                  </a:lnTo>
                  <a:lnTo>
                    <a:pt x="393" y="430"/>
                  </a:lnTo>
                  <a:lnTo>
                    <a:pt x="393" y="428"/>
                  </a:lnTo>
                  <a:lnTo>
                    <a:pt x="393" y="430"/>
                  </a:lnTo>
                  <a:lnTo>
                    <a:pt x="388" y="433"/>
                  </a:lnTo>
                  <a:lnTo>
                    <a:pt x="388" y="430"/>
                  </a:lnTo>
                  <a:lnTo>
                    <a:pt x="388" y="428"/>
                  </a:lnTo>
                  <a:lnTo>
                    <a:pt x="388" y="428"/>
                  </a:lnTo>
                  <a:lnTo>
                    <a:pt x="385" y="428"/>
                  </a:lnTo>
                  <a:lnTo>
                    <a:pt x="385" y="426"/>
                  </a:lnTo>
                  <a:lnTo>
                    <a:pt x="385" y="428"/>
                  </a:lnTo>
                  <a:lnTo>
                    <a:pt x="385" y="426"/>
                  </a:lnTo>
                  <a:lnTo>
                    <a:pt x="383" y="428"/>
                  </a:lnTo>
                  <a:lnTo>
                    <a:pt x="383" y="428"/>
                  </a:lnTo>
                  <a:lnTo>
                    <a:pt x="381" y="430"/>
                  </a:lnTo>
                  <a:lnTo>
                    <a:pt x="378" y="430"/>
                  </a:lnTo>
                  <a:lnTo>
                    <a:pt x="378" y="433"/>
                  </a:lnTo>
                  <a:lnTo>
                    <a:pt x="378" y="435"/>
                  </a:lnTo>
                  <a:lnTo>
                    <a:pt x="376" y="435"/>
                  </a:lnTo>
                  <a:lnTo>
                    <a:pt x="376" y="437"/>
                  </a:lnTo>
                  <a:lnTo>
                    <a:pt x="376" y="440"/>
                  </a:lnTo>
                  <a:lnTo>
                    <a:pt x="376" y="440"/>
                  </a:lnTo>
                  <a:lnTo>
                    <a:pt x="371" y="442"/>
                  </a:lnTo>
                  <a:lnTo>
                    <a:pt x="371" y="444"/>
                  </a:lnTo>
                  <a:lnTo>
                    <a:pt x="369" y="444"/>
                  </a:lnTo>
                  <a:lnTo>
                    <a:pt x="369" y="449"/>
                  </a:lnTo>
                  <a:lnTo>
                    <a:pt x="369" y="449"/>
                  </a:lnTo>
                  <a:lnTo>
                    <a:pt x="369" y="449"/>
                  </a:lnTo>
                  <a:lnTo>
                    <a:pt x="369" y="451"/>
                  </a:lnTo>
                  <a:lnTo>
                    <a:pt x="367" y="451"/>
                  </a:lnTo>
                  <a:lnTo>
                    <a:pt x="367" y="451"/>
                  </a:lnTo>
                  <a:lnTo>
                    <a:pt x="364" y="454"/>
                  </a:lnTo>
                  <a:lnTo>
                    <a:pt x="364" y="454"/>
                  </a:lnTo>
                  <a:lnTo>
                    <a:pt x="362" y="456"/>
                  </a:lnTo>
                  <a:lnTo>
                    <a:pt x="362" y="456"/>
                  </a:lnTo>
                  <a:lnTo>
                    <a:pt x="362" y="456"/>
                  </a:lnTo>
                  <a:lnTo>
                    <a:pt x="362" y="459"/>
                  </a:lnTo>
                  <a:lnTo>
                    <a:pt x="362" y="459"/>
                  </a:lnTo>
                  <a:lnTo>
                    <a:pt x="362" y="461"/>
                  </a:lnTo>
                  <a:lnTo>
                    <a:pt x="362" y="463"/>
                  </a:lnTo>
                  <a:lnTo>
                    <a:pt x="362" y="466"/>
                  </a:lnTo>
                  <a:lnTo>
                    <a:pt x="364" y="466"/>
                  </a:lnTo>
                  <a:lnTo>
                    <a:pt x="362" y="468"/>
                  </a:lnTo>
                  <a:lnTo>
                    <a:pt x="362" y="468"/>
                  </a:lnTo>
                  <a:lnTo>
                    <a:pt x="362" y="468"/>
                  </a:lnTo>
                  <a:lnTo>
                    <a:pt x="359" y="468"/>
                  </a:lnTo>
                  <a:lnTo>
                    <a:pt x="359" y="470"/>
                  </a:lnTo>
                  <a:lnTo>
                    <a:pt x="359" y="470"/>
                  </a:lnTo>
                  <a:lnTo>
                    <a:pt x="359" y="470"/>
                  </a:lnTo>
                  <a:lnTo>
                    <a:pt x="359" y="470"/>
                  </a:lnTo>
                  <a:lnTo>
                    <a:pt x="359" y="470"/>
                  </a:lnTo>
                  <a:lnTo>
                    <a:pt x="362" y="470"/>
                  </a:lnTo>
                  <a:lnTo>
                    <a:pt x="362" y="473"/>
                  </a:lnTo>
                  <a:lnTo>
                    <a:pt x="362" y="473"/>
                  </a:lnTo>
                  <a:lnTo>
                    <a:pt x="367" y="473"/>
                  </a:lnTo>
                  <a:lnTo>
                    <a:pt x="367" y="473"/>
                  </a:lnTo>
                  <a:lnTo>
                    <a:pt x="369" y="470"/>
                  </a:lnTo>
                  <a:lnTo>
                    <a:pt x="369" y="473"/>
                  </a:lnTo>
                  <a:lnTo>
                    <a:pt x="369" y="473"/>
                  </a:lnTo>
                  <a:lnTo>
                    <a:pt x="364" y="477"/>
                  </a:lnTo>
                  <a:lnTo>
                    <a:pt x="364" y="477"/>
                  </a:lnTo>
                  <a:lnTo>
                    <a:pt x="364" y="477"/>
                  </a:lnTo>
                  <a:lnTo>
                    <a:pt x="362" y="480"/>
                  </a:lnTo>
                  <a:lnTo>
                    <a:pt x="362" y="482"/>
                  </a:lnTo>
                  <a:lnTo>
                    <a:pt x="359" y="485"/>
                  </a:lnTo>
                  <a:lnTo>
                    <a:pt x="357" y="487"/>
                  </a:lnTo>
                  <a:lnTo>
                    <a:pt x="357" y="489"/>
                  </a:lnTo>
                  <a:lnTo>
                    <a:pt x="357" y="489"/>
                  </a:lnTo>
                  <a:lnTo>
                    <a:pt x="357" y="492"/>
                  </a:lnTo>
                  <a:lnTo>
                    <a:pt x="357" y="492"/>
                  </a:lnTo>
                  <a:lnTo>
                    <a:pt x="355" y="494"/>
                  </a:lnTo>
                  <a:lnTo>
                    <a:pt x="355" y="494"/>
                  </a:lnTo>
                  <a:lnTo>
                    <a:pt x="352" y="496"/>
                  </a:lnTo>
                  <a:lnTo>
                    <a:pt x="355" y="496"/>
                  </a:lnTo>
                  <a:lnTo>
                    <a:pt x="355" y="499"/>
                  </a:lnTo>
                  <a:lnTo>
                    <a:pt x="352" y="501"/>
                  </a:lnTo>
                  <a:lnTo>
                    <a:pt x="352" y="501"/>
                  </a:lnTo>
                  <a:lnTo>
                    <a:pt x="352" y="501"/>
                  </a:lnTo>
                  <a:lnTo>
                    <a:pt x="352" y="503"/>
                  </a:lnTo>
                  <a:lnTo>
                    <a:pt x="352" y="506"/>
                  </a:lnTo>
                  <a:lnTo>
                    <a:pt x="352" y="506"/>
                  </a:lnTo>
                  <a:lnTo>
                    <a:pt x="352" y="508"/>
                  </a:lnTo>
                  <a:lnTo>
                    <a:pt x="350" y="508"/>
                  </a:lnTo>
                  <a:lnTo>
                    <a:pt x="352" y="508"/>
                  </a:lnTo>
                  <a:lnTo>
                    <a:pt x="350" y="508"/>
                  </a:lnTo>
                  <a:lnTo>
                    <a:pt x="350" y="511"/>
                  </a:lnTo>
                  <a:lnTo>
                    <a:pt x="350" y="511"/>
                  </a:lnTo>
                  <a:lnTo>
                    <a:pt x="350" y="515"/>
                  </a:lnTo>
                  <a:lnTo>
                    <a:pt x="352" y="515"/>
                  </a:lnTo>
                  <a:lnTo>
                    <a:pt x="352" y="518"/>
                  </a:lnTo>
                  <a:lnTo>
                    <a:pt x="352" y="518"/>
                  </a:lnTo>
                  <a:lnTo>
                    <a:pt x="352" y="518"/>
                  </a:lnTo>
                  <a:lnTo>
                    <a:pt x="352" y="520"/>
                  </a:lnTo>
                  <a:lnTo>
                    <a:pt x="355" y="520"/>
                  </a:lnTo>
                  <a:lnTo>
                    <a:pt x="355" y="522"/>
                  </a:lnTo>
                  <a:lnTo>
                    <a:pt x="357" y="522"/>
                  </a:lnTo>
                  <a:lnTo>
                    <a:pt x="357" y="525"/>
                  </a:lnTo>
                  <a:lnTo>
                    <a:pt x="355" y="522"/>
                  </a:lnTo>
                  <a:lnTo>
                    <a:pt x="352" y="522"/>
                  </a:lnTo>
                  <a:lnTo>
                    <a:pt x="355" y="525"/>
                  </a:lnTo>
                  <a:lnTo>
                    <a:pt x="355" y="525"/>
                  </a:lnTo>
                  <a:lnTo>
                    <a:pt x="352" y="525"/>
                  </a:lnTo>
                  <a:lnTo>
                    <a:pt x="352" y="527"/>
                  </a:lnTo>
                  <a:lnTo>
                    <a:pt x="350" y="527"/>
                  </a:lnTo>
                  <a:lnTo>
                    <a:pt x="350" y="529"/>
                  </a:lnTo>
                  <a:lnTo>
                    <a:pt x="350" y="529"/>
                  </a:lnTo>
                  <a:lnTo>
                    <a:pt x="350" y="532"/>
                  </a:lnTo>
                  <a:lnTo>
                    <a:pt x="350" y="532"/>
                  </a:lnTo>
                  <a:lnTo>
                    <a:pt x="350" y="532"/>
                  </a:lnTo>
                  <a:lnTo>
                    <a:pt x="348" y="534"/>
                  </a:lnTo>
                  <a:lnTo>
                    <a:pt x="348" y="534"/>
                  </a:lnTo>
                  <a:lnTo>
                    <a:pt x="345" y="534"/>
                  </a:lnTo>
                  <a:lnTo>
                    <a:pt x="345" y="537"/>
                  </a:lnTo>
                  <a:lnTo>
                    <a:pt x="343" y="537"/>
                  </a:lnTo>
                  <a:lnTo>
                    <a:pt x="343" y="537"/>
                  </a:lnTo>
                  <a:lnTo>
                    <a:pt x="343" y="537"/>
                  </a:lnTo>
                  <a:lnTo>
                    <a:pt x="338" y="537"/>
                  </a:lnTo>
                  <a:lnTo>
                    <a:pt x="338" y="539"/>
                  </a:lnTo>
                  <a:lnTo>
                    <a:pt x="338" y="539"/>
                  </a:lnTo>
                  <a:lnTo>
                    <a:pt x="338" y="541"/>
                  </a:lnTo>
                  <a:lnTo>
                    <a:pt x="341" y="544"/>
                  </a:lnTo>
                  <a:lnTo>
                    <a:pt x="338" y="544"/>
                  </a:lnTo>
                  <a:lnTo>
                    <a:pt x="338" y="546"/>
                  </a:lnTo>
                  <a:lnTo>
                    <a:pt x="341" y="546"/>
                  </a:lnTo>
                  <a:lnTo>
                    <a:pt x="341" y="546"/>
                  </a:lnTo>
                  <a:lnTo>
                    <a:pt x="341" y="546"/>
                  </a:lnTo>
                  <a:lnTo>
                    <a:pt x="341" y="546"/>
                  </a:lnTo>
                  <a:lnTo>
                    <a:pt x="341" y="548"/>
                  </a:lnTo>
                  <a:lnTo>
                    <a:pt x="338" y="548"/>
                  </a:lnTo>
                  <a:lnTo>
                    <a:pt x="338" y="551"/>
                  </a:lnTo>
                  <a:lnTo>
                    <a:pt x="338" y="551"/>
                  </a:lnTo>
                  <a:lnTo>
                    <a:pt x="341" y="551"/>
                  </a:lnTo>
                  <a:lnTo>
                    <a:pt x="343" y="553"/>
                  </a:lnTo>
                  <a:lnTo>
                    <a:pt x="343" y="553"/>
                  </a:lnTo>
                  <a:lnTo>
                    <a:pt x="345" y="553"/>
                  </a:lnTo>
                  <a:lnTo>
                    <a:pt x="348" y="553"/>
                  </a:lnTo>
                  <a:lnTo>
                    <a:pt x="348" y="555"/>
                  </a:lnTo>
                  <a:lnTo>
                    <a:pt x="350" y="555"/>
                  </a:lnTo>
                  <a:lnTo>
                    <a:pt x="350" y="558"/>
                  </a:lnTo>
                  <a:lnTo>
                    <a:pt x="350" y="560"/>
                  </a:lnTo>
                  <a:lnTo>
                    <a:pt x="350" y="560"/>
                  </a:lnTo>
                  <a:lnTo>
                    <a:pt x="350" y="560"/>
                  </a:lnTo>
                  <a:lnTo>
                    <a:pt x="352" y="563"/>
                  </a:lnTo>
                  <a:lnTo>
                    <a:pt x="352" y="563"/>
                  </a:lnTo>
                  <a:lnTo>
                    <a:pt x="350" y="565"/>
                  </a:lnTo>
                  <a:lnTo>
                    <a:pt x="350" y="567"/>
                  </a:lnTo>
                  <a:lnTo>
                    <a:pt x="350" y="567"/>
                  </a:lnTo>
                  <a:lnTo>
                    <a:pt x="350" y="572"/>
                  </a:lnTo>
                  <a:lnTo>
                    <a:pt x="348" y="572"/>
                  </a:lnTo>
                  <a:lnTo>
                    <a:pt x="350" y="572"/>
                  </a:lnTo>
                  <a:lnTo>
                    <a:pt x="348" y="574"/>
                  </a:lnTo>
                  <a:lnTo>
                    <a:pt x="348" y="574"/>
                  </a:lnTo>
                  <a:lnTo>
                    <a:pt x="350" y="574"/>
                  </a:lnTo>
                  <a:lnTo>
                    <a:pt x="352" y="574"/>
                  </a:lnTo>
                  <a:lnTo>
                    <a:pt x="355" y="574"/>
                  </a:lnTo>
                  <a:lnTo>
                    <a:pt x="357" y="574"/>
                  </a:lnTo>
                  <a:lnTo>
                    <a:pt x="357" y="577"/>
                  </a:lnTo>
                  <a:lnTo>
                    <a:pt x="357" y="579"/>
                  </a:lnTo>
                  <a:lnTo>
                    <a:pt x="357" y="579"/>
                  </a:lnTo>
                  <a:lnTo>
                    <a:pt x="357" y="581"/>
                  </a:lnTo>
                  <a:lnTo>
                    <a:pt x="359" y="581"/>
                  </a:lnTo>
                  <a:lnTo>
                    <a:pt x="359" y="581"/>
                  </a:lnTo>
                  <a:lnTo>
                    <a:pt x="362" y="584"/>
                  </a:lnTo>
                  <a:lnTo>
                    <a:pt x="364" y="581"/>
                  </a:lnTo>
                  <a:lnTo>
                    <a:pt x="367" y="581"/>
                  </a:lnTo>
                  <a:lnTo>
                    <a:pt x="364" y="584"/>
                  </a:lnTo>
                  <a:lnTo>
                    <a:pt x="367" y="584"/>
                  </a:lnTo>
                  <a:lnTo>
                    <a:pt x="367" y="584"/>
                  </a:lnTo>
                  <a:lnTo>
                    <a:pt x="367" y="586"/>
                  </a:lnTo>
                  <a:lnTo>
                    <a:pt x="367" y="588"/>
                  </a:lnTo>
                  <a:lnTo>
                    <a:pt x="367" y="591"/>
                  </a:lnTo>
                  <a:lnTo>
                    <a:pt x="367" y="591"/>
                  </a:lnTo>
                  <a:lnTo>
                    <a:pt x="367" y="593"/>
                  </a:lnTo>
                  <a:lnTo>
                    <a:pt x="367" y="593"/>
                  </a:lnTo>
                  <a:lnTo>
                    <a:pt x="367" y="596"/>
                  </a:lnTo>
                  <a:lnTo>
                    <a:pt x="364" y="598"/>
                  </a:lnTo>
                  <a:lnTo>
                    <a:pt x="362" y="600"/>
                  </a:lnTo>
                  <a:lnTo>
                    <a:pt x="362" y="603"/>
                  </a:lnTo>
                  <a:lnTo>
                    <a:pt x="359" y="603"/>
                  </a:lnTo>
                  <a:lnTo>
                    <a:pt x="359" y="605"/>
                  </a:lnTo>
                  <a:lnTo>
                    <a:pt x="362" y="605"/>
                  </a:lnTo>
                  <a:lnTo>
                    <a:pt x="362" y="607"/>
                  </a:lnTo>
                  <a:lnTo>
                    <a:pt x="359" y="607"/>
                  </a:lnTo>
                  <a:lnTo>
                    <a:pt x="359" y="607"/>
                  </a:lnTo>
                  <a:lnTo>
                    <a:pt x="359" y="610"/>
                  </a:lnTo>
                  <a:lnTo>
                    <a:pt x="359" y="610"/>
                  </a:lnTo>
                  <a:lnTo>
                    <a:pt x="352" y="610"/>
                  </a:lnTo>
                  <a:lnTo>
                    <a:pt x="352" y="612"/>
                  </a:lnTo>
                  <a:lnTo>
                    <a:pt x="355" y="612"/>
                  </a:lnTo>
                  <a:lnTo>
                    <a:pt x="355" y="614"/>
                  </a:lnTo>
                  <a:lnTo>
                    <a:pt x="352" y="617"/>
                  </a:lnTo>
                  <a:lnTo>
                    <a:pt x="352" y="617"/>
                  </a:lnTo>
                  <a:lnTo>
                    <a:pt x="352" y="619"/>
                  </a:lnTo>
                  <a:lnTo>
                    <a:pt x="352" y="619"/>
                  </a:lnTo>
                  <a:lnTo>
                    <a:pt x="352" y="619"/>
                  </a:lnTo>
                  <a:lnTo>
                    <a:pt x="352" y="622"/>
                  </a:lnTo>
                  <a:lnTo>
                    <a:pt x="352" y="622"/>
                  </a:lnTo>
                  <a:lnTo>
                    <a:pt x="352" y="624"/>
                  </a:lnTo>
                  <a:lnTo>
                    <a:pt x="352" y="624"/>
                  </a:lnTo>
                  <a:lnTo>
                    <a:pt x="352" y="624"/>
                  </a:lnTo>
                  <a:lnTo>
                    <a:pt x="350" y="626"/>
                  </a:lnTo>
                  <a:lnTo>
                    <a:pt x="348" y="626"/>
                  </a:lnTo>
                  <a:lnTo>
                    <a:pt x="345" y="626"/>
                  </a:lnTo>
                  <a:lnTo>
                    <a:pt x="345" y="626"/>
                  </a:lnTo>
                  <a:lnTo>
                    <a:pt x="345" y="629"/>
                  </a:lnTo>
                  <a:lnTo>
                    <a:pt x="343" y="631"/>
                  </a:lnTo>
                  <a:lnTo>
                    <a:pt x="343" y="631"/>
                  </a:lnTo>
                  <a:lnTo>
                    <a:pt x="343" y="633"/>
                  </a:lnTo>
                  <a:lnTo>
                    <a:pt x="343" y="633"/>
                  </a:lnTo>
                  <a:lnTo>
                    <a:pt x="341" y="633"/>
                  </a:lnTo>
                  <a:lnTo>
                    <a:pt x="343" y="633"/>
                  </a:lnTo>
                  <a:lnTo>
                    <a:pt x="341" y="636"/>
                  </a:lnTo>
                  <a:lnTo>
                    <a:pt x="341" y="636"/>
                  </a:lnTo>
                  <a:lnTo>
                    <a:pt x="341" y="636"/>
                  </a:lnTo>
                  <a:lnTo>
                    <a:pt x="338" y="636"/>
                  </a:lnTo>
                  <a:lnTo>
                    <a:pt x="338" y="638"/>
                  </a:lnTo>
                  <a:lnTo>
                    <a:pt x="336" y="636"/>
                  </a:lnTo>
                  <a:lnTo>
                    <a:pt x="336" y="638"/>
                  </a:lnTo>
                  <a:lnTo>
                    <a:pt x="336" y="638"/>
                  </a:lnTo>
                  <a:lnTo>
                    <a:pt x="333" y="638"/>
                  </a:lnTo>
                  <a:lnTo>
                    <a:pt x="331" y="638"/>
                  </a:lnTo>
                  <a:lnTo>
                    <a:pt x="331" y="638"/>
                  </a:lnTo>
                  <a:lnTo>
                    <a:pt x="331" y="638"/>
                  </a:lnTo>
                  <a:lnTo>
                    <a:pt x="331" y="638"/>
                  </a:lnTo>
                  <a:lnTo>
                    <a:pt x="331" y="640"/>
                  </a:lnTo>
                  <a:lnTo>
                    <a:pt x="331" y="643"/>
                  </a:lnTo>
                  <a:lnTo>
                    <a:pt x="331" y="645"/>
                  </a:lnTo>
                  <a:lnTo>
                    <a:pt x="329" y="645"/>
                  </a:lnTo>
                  <a:lnTo>
                    <a:pt x="329" y="645"/>
                  </a:lnTo>
                  <a:lnTo>
                    <a:pt x="326" y="645"/>
                  </a:lnTo>
                  <a:lnTo>
                    <a:pt x="324" y="643"/>
                  </a:lnTo>
                  <a:lnTo>
                    <a:pt x="324" y="645"/>
                  </a:lnTo>
                  <a:lnTo>
                    <a:pt x="324" y="648"/>
                  </a:lnTo>
                  <a:lnTo>
                    <a:pt x="322" y="648"/>
                  </a:lnTo>
                  <a:lnTo>
                    <a:pt x="322" y="648"/>
                  </a:lnTo>
                  <a:lnTo>
                    <a:pt x="319" y="648"/>
                  </a:lnTo>
                  <a:lnTo>
                    <a:pt x="319" y="650"/>
                  </a:lnTo>
                  <a:lnTo>
                    <a:pt x="319" y="650"/>
                  </a:lnTo>
                  <a:lnTo>
                    <a:pt x="317" y="648"/>
                  </a:lnTo>
                  <a:lnTo>
                    <a:pt x="317" y="650"/>
                  </a:lnTo>
                  <a:lnTo>
                    <a:pt x="315" y="650"/>
                  </a:lnTo>
                  <a:lnTo>
                    <a:pt x="315" y="650"/>
                  </a:lnTo>
                  <a:lnTo>
                    <a:pt x="315" y="652"/>
                  </a:lnTo>
                  <a:lnTo>
                    <a:pt x="315" y="652"/>
                  </a:lnTo>
                  <a:lnTo>
                    <a:pt x="315" y="655"/>
                  </a:lnTo>
                  <a:lnTo>
                    <a:pt x="315" y="657"/>
                  </a:lnTo>
                  <a:lnTo>
                    <a:pt x="315" y="657"/>
                  </a:lnTo>
                  <a:lnTo>
                    <a:pt x="312" y="659"/>
                  </a:lnTo>
                  <a:lnTo>
                    <a:pt x="312" y="659"/>
                  </a:lnTo>
                  <a:lnTo>
                    <a:pt x="312" y="662"/>
                  </a:lnTo>
                  <a:lnTo>
                    <a:pt x="312" y="662"/>
                  </a:lnTo>
                  <a:lnTo>
                    <a:pt x="312" y="662"/>
                  </a:lnTo>
                  <a:lnTo>
                    <a:pt x="310" y="662"/>
                  </a:lnTo>
                  <a:lnTo>
                    <a:pt x="307" y="662"/>
                  </a:lnTo>
                  <a:lnTo>
                    <a:pt x="307" y="659"/>
                  </a:lnTo>
                  <a:lnTo>
                    <a:pt x="307" y="657"/>
                  </a:lnTo>
                  <a:lnTo>
                    <a:pt x="305" y="657"/>
                  </a:lnTo>
                  <a:lnTo>
                    <a:pt x="305" y="657"/>
                  </a:lnTo>
                  <a:lnTo>
                    <a:pt x="303" y="657"/>
                  </a:lnTo>
                  <a:lnTo>
                    <a:pt x="300" y="659"/>
                  </a:lnTo>
                  <a:lnTo>
                    <a:pt x="296" y="662"/>
                  </a:lnTo>
                  <a:lnTo>
                    <a:pt x="296" y="662"/>
                  </a:lnTo>
                  <a:lnTo>
                    <a:pt x="298" y="659"/>
                  </a:lnTo>
                  <a:lnTo>
                    <a:pt x="296" y="657"/>
                  </a:lnTo>
                  <a:lnTo>
                    <a:pt x="296" y="657"/>
                  </a:lnTo>
                  <a:lnTo>
                    <a:pt x="296" y="652"/>
                  </a:lnTo>
                  <a:lnTo>
                    <a:pt x="296" y="652"/>
                  </a:lnTo>
                  <a:lnTo>
                    <a:pt x="296" y="650"/>
                  </a:lnTo>
                  <a:lnTo>
                    <a:pt x="293" y="648"/>
                  </a:lnTo>
                  <a:lnTo>
                    <a:pt x="291" y="645"/>
                  </a:lnTo>
                  <a:lnTo>
                    <a:pt x="291" y="645"/>
                  </a:lnTo>
                  <a:lnTo>
                    <a:pt x="286" y="645"/>
                  </a:lnTo>
                  <a:lnTo>
                    <a:pt x="284" y="643"/>
                  </a:lnTo>
                  <a:lnTo>
                    <a:pt x="281" y="640"/>
                  </a:lnTo>
                  <a:lnTo>
                    <a:pt x="279" y="643"/>
                  </a:lnTo>
                  <a:lnTo>
                    <a:pt x="279" y="643"/>
                  </a:lnTo>
                  <a:lnTo>
                    <a:pt x="277" y="643"/>
                  </a:lnTo>
                  <a:lnTo>
                    <a:pt x="277" y="643"/>
                  </a:lnTo>
                  <a:lnTo>
                    <a:pt x="277" y="643"/>
                  </a:lnTo>
                  <a:lnTo>
                    <a:pt x="277" y="640"/>
                  </a:lnTo>
                  <a:lnTo>
                    <a:pt x="277" y="638"/>
                  </a:lnTo>
                  <a:lnTo>
                    <a:pt x="274" y="638"/>
                  </a:lnTo>
                  <a:lnTo>
                    <a:pt x="274" y="638"/>
                  </a:lnTo>
                  <a:lnTo>
                    <a:pt x="274" y="636"/>
                  </a:lnTo>
                  <a:lnTo>
                    <a:pt x="272" y="638"/>
                  </a:lnTo>
                  <a:lnTo>
                    <a:pt x="270" y="638"/>
                  </a:lnTo>
                  <a:lnTo>
                    <a:pt x="270" y="636"/>
                  </a:lnTo>
                  <a:lnTo>
                    <a:pt x="270" y="636"/>
                  </a:lnTo>
                  <a:lnTo>
                    <a:pt x="270" y="633"/>
                  </a:lnTo>
                  <a:lnTo>
                    <a:pt x="270" y="631"/>
                  </a:lnTo>
                  <a:lnTo>
                    <a:pt x="272" y="629"/>
                  </a:lnTo>
                  <a:lnTo>
                    <a:pt x="274" y="629"/>
                  </a:lnTo>
                  <a:lnTo>
                    <a:pt x="272" y="629"/>
                  </a:lnTo>
                  <a:lnTo>
                    <a:pt x="272" y="629"/>
                  </a:lnTo>
                  <a:lnTo>
                    <a:pt x="270" y="629"/>
                  </a:lnTo>
                  <a:lnTo>
                    <a:pt x="270" y="626"/>
                  </a:lnTo>
                  <a:lnTo>
                    <a:pt x="267" y="622"/>
                  </a:lnTo>
                  <a:lnTo>
                    <a:pt x="267" y="622"/>
                  </a:lnTo>
                  <a:lnTo>
                    <a:pt x="267" y="619"/>
                  </a:lnTo>
                  <a:lnTo>
                    <a:pt x="263" y="617"/>
                  </a:lnTo>
                  <a:lnTo>
                    <a:pt x="260" y="614"/>
                  </a:lnTo>
                  <a:lnTo>
                    <a:pt x="258" y="612"/>
                  </a:lnTo>
                  <a:lnTo>
                    <a:pt x="258" y="612"/>
                  </a:lnTo>
                  <a:lnTo>
                    <a:pt x="255" y="612"/>
                  </a:lnTo>
                  <a:lnTo>
                    <a:pt x="251" y="610"/>
                  </a:lnTo>
                  <a:lnTo>
                    <a:pt x="251" y="610"/>
                  </a:lnTo>
                  <a:lnTo>
                    <a:pt x="248" y="610"/>
                  </a:lnTo>
                  <a:lnTo>
                    <a:pt x="246" y="607"/>
                  </a:lnTo>
                  <a:lnTo>
                    <a:pt x="246" y="605"/>
                  </a:lnTo>
                  <a:lnTo>
                    <a:pt x="244" y="605"/>
                  </a:lnTo>
                  <a:lnTo>
                    <a:pt x="241" y="605"/>
                  </a:lnTo>
                  <a:lnTo>
                    <a:pt x="239" y="600"/>
                  </a:lnTo>
                  <a:lnTo>
                    <a:pt x="237" y="600"/>
                  </a:lnTo>
                  <a:lnTo>
                    <a:pt x="234" y="598"/>
                  </a:lnTo>
                  <a:lnTo>
                    <a:pt x="232" y="596"/>
                  </a:lnTo>
                  <a:lnTo>
                    <a:pt x="232" y="596"/>
                  </a:lnTo>
                  <a:lnTo>
                    <a:pt x="232" y="593"/>
                  </a:lnTo>
                  <a:lnTo>
                    <a:pt x="230" y="593"/>
                  </a:lnTo>
                  <a:lnTo>
                    <a:pt x="227" y="593"/>
                  </a:lnTo>
                  <a:lnTo>
                    <a:pt x="225" y="591"/>
                  </a:lnTo>
                  <a:lnTo>
                    <a:pt x="222" y="591"/>
                  </a:lnTo>
                  <a:lnTo>
                    <a:pt x="220" y="591"/>
                  </a:lnTo>
                  <a:lnTo>
                    <a:pt x="218" y="591"/>
                  </a:lnTo>
                  <a:lnTo>
                    <a:pt x="213" y="593"/>
                  </a:lnTo>
                  <a:lnTo>
                    <a:pt x="208" y="593"/>
                  </a:lnTo>
                  <a:lnTo>
                    <a:pt x="206" y="593"/>
                  </a:lnTo>
                  <a:lnTo>
                    <a:pt x="204" y="593"/>
                  </a:lnTo>
                  <a:lnTo>
                    <a:pt x="204" y="593"/>
                  </a:lnTo>
                  <a:lnTo>
                    <a:pt x="201" y="593"/>
                  </a:lnTo>
                  <a:lnTo>
                    <a:pt x="199" y="593"/>
                  </a:lnTo>
                  <a:lnTo>
                    <a:pt x="194" y="596"/>
                  </a:lnTo>
                  <a:lnTo>
                    <a:pt x="194" y="593"/>
                  </a:lnTo>
                  <a:lnTo>
                    <a:pt x="192" y="593"/>
                  </a:lnTo>
                  <a:lnTo>
                    <a:pt x="187" y="600"/>
                  </a:lnTo>
                  <a:lnTo>
                    <a:pt x="185" y="603"/>
                  </a:lnTo>
                  <a:lnTo>
                    <a:pt x="180" y="600"/>
                  </a:lnTo>
                  <a:lnTo>
                    <a:pt x="178" y="603"/>
                  </a:lnTo>
                  <a:lnTo>
                    <a:pt x="173" y="603"/>
                  </a:lnTo>
                  <a:lnTo>
                    <a:pt x="163" y="605"/>
                  </a:lnTo>
                  <a:lnTo>
                    <a:pt x="149" y="607"/>
                  </a:lnTo>
                  <a:lnTo>
                    <a:pt x="147" y="603"/>
                  </a:lnTo>
                  <a:lnTo>
                    <a:pt x="147" y="600"/>
                  </a:lnTo>
                  <a:lnTo>
                    <a:pt x="144" y="600"/>
                  </a:lnTo>
                  <a:lnTo>
                    <a:pt x="140" y="600"/>
                  </a:lnTo>
                  <a:lnTo>
                    <a:pt x="135" y="600"/>
                  </a:lnTo>
                  <a:lnTo>
                    <a:pt x="128" y="600"/>
                  </a:lnTo>
                  <a:lnTo>
                    <a:pt x="118" y="600"/>
                  </a:lnTo>
                  <a:lnTo>
                    <a:pt x="111" y="603"/>
                  </a:lnTo>
                  <a:lnTo>
                    <a:pt x="114" y="596"/>
                  </a:lnTo>
                  <a:lnTo>
                    <a:pt x="111" y="593"/>
                  </a:lnTo>
                  <a:lnTo>
                    <a:pt x="116" y="591"/>
                  </a:lnTo>
                  <a:lnTo>
                    <a:pt x="116" y="591"/>
                  </a:lnTo>
                  <a:lnTo>
                    <a:pt x="116" y="586"/>
                  </a:lnTo>
                  <a:lnTo>
                    <a:pt x="116" y="579"/>
                  </a:lnTo>
                  <a:lnTo>
                    <a:pt x="118" y="574"/>
                  </a:lnTo>
                  <a:lnTo>
                    <a:pt x="118" y="574"/>
                  </a:lnTo>
                  <a:lnTo>
                    <a:pt x="118" y="572"/>
                  </a:lnTo>
                  <a:lnTo>
                    <a:pt x="121" y="567"/>
                  </a:lnTo>
                  <a:lnTo>
                    <a:pt x="118" y="565"/>
                  </a:lnTo>
                  <a:lnTo>
                    <a:pt x="121" y="563"/>
                  </a:lnTo>
                  <a:lnTo>
                    <a:pt x="121" y="563"/>
                  </a:lnTo>
                  <a:lnTo>
                    <a:pt x="123" y="560"/>
                  </a:lnTo>
                  <a:lnTo>
                    <a:pt x="126" y="558"/>
                  </a:lnTo>
                  <a:lnTo>
                    <a:pt x="126" y="555"/>
                  </a:lnTo>
                  <a:lnTo>
                    <a:pt x="128" y="555"/>
                  </a:lnTo>
                  <a:lnTo>
                    <a:pt x="128" y="553"/>
                  </a:lnTo>
                  <a:lnTo>
                    <a:pt x="126" y="553"/>
                  </a:lnTo>
                  <a:lnTo>
                    <a:pt x="126" y="553"/>
                  </a:lnTo>
                  <a:lnTo>
                    <a:pt x="128" y="553"/>
                  </a:lnTo>
                  <a:lnTo>
                    <a:pt x="128" y="553"/>
                  </a:lnTo>
                  <a:lnTo>
                    <a:pt x="130" y="551"/>
                  </a:lnTo>
                  <a:lnTo>
                    <a:pt x="130" y="551"/>
                  </a:lnTo>
                  <a:lnTo>
                    <a:pt x="128" y="551"/>
                  </a:lnTo>
                  <a:lnTo>
                    <a:pt x="128" y="544"/>
                  </a:lnTo>
                  <a:lnTo>
                    <a:pt x="128" y="541"/>
                  </a:lnTo>
                  <a:lnTo>
                    <a:pt x="126" y="537"/>
                  </a:lnTo>
                  <a:lnTo>
                    <a:pt x="128" y="537"/>
                  </a:lnTo>
                  <a:lnTo>
                    <a:pt x="128" y="532"/>
                  </a:lnTo>
                  <a:lnTo>
                    <a:pt x="128" y="532"/>
                  </a:lnTo>
                  <a:lnTo>
                    <a:pt x="130" y="532"/>
                  </a:lnTo>
                  <a:lnTo>
                    <a:pt x="130" y="529"/>
                  </a:lnTo>
                  <a:lnTo>
                    <a:pt x="133" y="527"/>
                  </a:lnTo>
                  <a:lnTo>
                    <a:pt x="133" y="527"/>
                  </a:lnTo>
                  <a:lnTo>
                    <a:pt x="135" y="525"/>
                  </a:lnTo>
                  <a:lnTo>
                    <a:pt x="135" y="525"/>
                  </a:lnTo>
                  <a:lnTo>
                    <a:pt x="133" y="525"/>
                  </a:lnTo>
                  <a:lnTo>
                    <a:pt x="130" y="525"/>
                  </a:lnTo>
                  <a:lnTo>
                    <a:pt x="128" y="527"/>
                  </a:lnTo>
                  <a:lnTo>
                    <a:pt x="128" y="527"/>
                  </a:lnTo>
                  <a:lnTo>
                    <a:pt x="126" y="525"/>
                  </a:lnTo>
                  <a:lnTo>
                    <a:pt x="126" y="522"/>
                  </a:lnTo>
                  <a:lnTo>
                    <a:pt x="126" y="522"/>
                  </a:lnTo>
                  <a:lnTo>
                    <a:pt x="123" y="520"/>
                  </a:lnTo>
                  <a:lnTo>
                    <a:pt x="123" y="518"/>
                  </a:lnTo>
                  <a:lnTo>
                    <a:pt x="121" y="518"/>
                  </a:lnTo>
                  <a:lnTo>
                    <a:pt x="121" y="515"/>
                  </a:lnTo>
                  <a:lnTo>
                    <a:pt x="118" y="515"/>
                  </a:lnTo>
                  <a:lnTo>
                    <a:pt x="116" y="515"/>
                  </a:lnTo>
                  <a:lnTo>
                    <a:pt x="109" y="515"/>
                  </a:lnTo>
                  <a:lnTo>
                    <a:pt x="104" y="513"/>
                  </a:lnTo>
                  <a:lnTo>
                    <a:pt x="104" y="513"/>
                  </a:lnTo>
                  <a:lnTo>
                    <a:pt x="102" y="511"/>
                  </a:lnTo>
                  <a:lnTo>
                    <a:pt x="100" y="508"/>
                  </a:lnTo>
                  <a:lnTo>
                    <a:pt x="92" y="508"/>
                  </a:lnTo>
                  <a:lnTo>
                    <a:pt x="90" y="506"/>
                  </a:lnTo>
                  <a:lnTo>
                    <a:pt x="88" y="506"/>
                  </a:lnTo>
                  <a:lnTo>
                    <a:pt x="90" y="501"/>
                  </a:lnTo>
                  <a:lnTo>
                    <a:pt x="90" y="501"/>
                  </a:lnTo>
                  <a:lnTo>
                    <a:pt x="88" y="499"/>
                  </a:lnTo>
                  <a:lnTo>
                    <a:pt x="88" y="499"/>
                  </a:lnTo>
                  <a:lnTo>
                    <a:pt x="85" y="494"/>
                  </a:lnTo>
                  <a:lnTo>
                    <a:pt x="81" y="489"/>
                  </a:lnTo>
                  <a:lnTo>
                    <a:pt x="81" y="487"/>
                  </a:lnTo>
                  <a:lnTo>
                    <a:pt x="81" y="485"/>
                  </a:lnTo>
                  <a:lnTo>
                    <a:pt x="81" y="482"/>
                  </a:lnTo>
                  <a:lnTo>
                    <a:pt x="81" y="480"/>
                  </a:lnTo>
                  <a:lnTo>
                    <a:pt x="81" y="475"/>
                  </a:lnTo>
                  <a:lnTo>
                    <a:pt x="81" y="470"/>
                  </a:lnTo>
                  <a:lnTo>
                    <a:pt x="81" y="470"/>
                  </a:lnTo>
                  <a:lnTo>
                    <a:pt x="81" y="468"/>
                  </a:lnTo>
                  <a:lnTo>
                    <a:pt x="83" y="463"/>
                  </a:lnTo>
                  <a:lnTo>
                    <a:pt x="83" y="463"/>
                  </a:lnTo>
                  <a:lnTo>
                    <a:pt x="83" y="461"/>
                  </a:lnTo>
                  <a:lnTo>
                    <a:pt x="83" y="461"/>
                  </a:lnTo>
                  <a:lnTo>
                    <a:pt x="81" y="459"/>
                  </a:lnTo>
                  <a:lnTo>
                    <a:pt x="81" y="459"/>
                  </a:lnTo>
                  <a:lnTo>
                    <a:pt x="78" y="459"/>
                  </a:lnTo>
                  <a:lnTo>
                    <a:pt x="76" y="454"/>
                  </a:lnTo>
                  <a:lnTo>
                    <a:pt x="74" y="449"/>
                  </a:lnTo>
                  <a:lnTo>
                    <a:pt x="74" y="447"/>
                  </a:lnTo>
                  <a:lnTo>
                    <a:pt x="74" y="442"/>
                  </a:lnTo>
                  <a:lnTo>
                    <a:pt x="74" y="442"/>
                  </a:lnTo>
                  <a:lnTo>
                    <a:pt x="74" y="442"/>
                  </a:lnTo>
                  <a:lnTo>
                    <a:pt x="74" y="440"/>
                  </a:lnTo>
                  <a:lnTo>
                    <a:pt x="74" y="437"/>
                  </a:lnTo>
                  <a:lnTo>
                    <a:pt x="74" y="433"/>
                  </a:lnTo>
                  <a:lnTo>
                    <a:pt x="71" y="428"/>
                  </a:lnTo>
                  <a:lnTo>
                    <a:pt x="69" y="426"/>
                  </a:lnTo>
                  <a:lnTo>
                    <a:pt x="67" y="426"/>
                  </a:lnTo>
                  <a:lnTo>
                    <a:pt x="67" y="426"/>
                  </a:lnTo>
                  <a:lnTo>
                    <a:pt x="67" y="426"/>
                  </a:lnTo>
                  <a:lnTo>
                    <a:pt x="67" y="423"/>
                  </a:lnTo>
                  <a:lnTo>
                    <a:pt x="69" y="421"/>
                  </a:lnTo>
                  <a:lnTo>
                    <a:pt x="69" y="418"/>
                  </a:lnTo>
                  <a:lnTo>
                    <a:pt x="69" y="418"/>
                  </a:lnTo>
                  <a:lnTo>
                    <a:pt x="71" y="416"/>
                  </a:lnTo>
                  <a:lnTo>
                    <a:pt x="71" y="409"/>
                  </a:lnTo>
                  <a:lnTo>
                    <a:pt x="67" y="407"/>
                  </a:lnTo>
                  <a:lnTo>
                    <a:pt x="69" y="404"/>
                  </a:lnTo>
                  <a:lnTo>
                    <a:pt x="67" y="400"/>
                  </a:lnTo>
                  <a:lnTo>
                    <a:pt x="67" y="397"/>
                  </a:lnTo>
                  <a:lnTo>
                    <a:pt x="67" y="392"/>
                  </a:lnTo>
                  <a:lnTo>
                    <a:pt x="67" y="390"/>
                  </a:lnTo>
                  <a:lnTo>
                    <a:pt x="64" y="385"/>
                  </a:lnTo>
                  <a:lnTo>
                    <a:pt x="67" y="385"/>
                  </a:lnTo>
                  <a:lnTo>
                    <a:pt x="64" y="381"/>
                  </a:lnTo>
                  <a:lnTo>
                    <a:pt x="64" y="378"/>
                  </a:lnTo>
                  <a:lnTo>
                    <a:pt x="62" y="376"/>
                  </a:lnTo>
                  <a:lnTo>
                    <a:pt x="64" y="376"/>
                  </a:lnTo>
                  <a:lnTo>
                    <a:pt x="67" y="376"/>
                  </a:lnTo>
                  <a:lnTo>
                    <a:pt x="67" y="374"/>
                  </a:lnTo>
                  <a:lnTo>
                    <a:pt x="67" y="369"/>
                  </a:lnTo>
                  <a:lnTo>
                    <a:pt x="67" y="369"/>
                  </a:lnTo>
                  <a:lnTo>
                    <a:pt x="67" y="366"/>
                  </a:lnTo>
                  <a:lnTo>
                    <a:pt x="67" y="362"/>
                  </a:lnTo>
                  <a:lnTo>
                    <a:pt x="64" y="362"/>
                  </a:lnTo>
                  <a:lnTo>
                    <a:pt x="64" y="359"/>
                  </a:lnTo>
                  <a:lnTo>
                    <a:pt x="62" y="357"/>
                  </a:lnTo>
                  <a:lnTo>
                    <a:pt x="64" y="357"/>
                  </a:lnTo>
                  <a:lnTo>
                    <a:pt x="64" y="355"/>
                  </a:lnTo>
                  <a:lnTo>
                    <a:pt x="64" y="355"/>
                  </a:lnTo>
                  <a:lnTo>
                    <a:pt x="64" y="352"/>
                  </a:lnTo>
                  <a:lnTo>
                    <a:pt x="64" y="352"/>
                  </a:lnTo>
                  <a:lnTo>
                    <a:pt x="64" y="350"/>
                  </a:lnTo>
                  <a:lnTo>
                    <a:pt x="64" y="350"/>
                  </a:lnTo>
                  <a:lnTo>
                    <a:pt x="64" y="348"/>
                  </a:lnTo>
                  <a:lnTo>
                    <a:pt x="64" y="348"/>
                  </a:lnTo>
                  <a:lnTo>
                    <a:pt x="62" y="348"/>
                  </a:lnTo>
                  <a:lnTo>
                    <a:pt x="62" y="345"/>
                  </a:lnTo>
                  <a:lnTo>
                    <a:pt x="62" y="343"/>
                  </a:lnTo>
                  <a:lnTo>
                    <a:pt x="62" y="343"/>
                  </a:lnTo>
                  <a:lnTo>
                    <a:pt x="64" y="343"/>
                  </a:lnTo>
                  <a:lnTo>
                    <a:pt x="67" y="343"/>
                  </a:lnTo>
                  <a:lnTo>
                    <a:pt x="64" y="340"/>
                  </a:lnTo>
                  <a:lnTo>
                    <a:pt x="64" y="338"/>
                  </a:lnTo>
                  <a:lnTo>
                    <a:pt x="62" y="336"/>
                  </a:lnTo>
                  <a:lnTo>
                    <a:pt x="64" y="333"/>
                  </a:lnTo>
                  <a:lnTo>
                    <a:pt x="64" y="333"/>
                  </a:lnTo>
                  <a:lnTo>
                    <a:pt x="67" y="331"/>
                  </a:lnTo>
                  <a:lnTo>
                    <a:pt x="67" y="329"/>
                  </a:lnTo>
                  <a:lnTo>
                    <a:pt x="64" y="329"/>
                  </a:lnTo>
                  <a:lnTo>
                    <a:pt x="64" y="326"/>
                  </a:lnTo>
                  <a:lnTo>
                    <a:pt x="64" y="326"/>
                  </a:lnTo>
                  <a:lnTo>
                    <a:pt x="64" y="324"/>
                  </a:lnTo>
                  <a:lnTo>
                    <a:pt x="67" y="324"/>
                  </a:lnTo>
                  <a:lnTo>
                    <a:pt x="64" y="322"/>
                  </a:lnTo>
                  <a:lnTo>
                    <a:pt x="64" y="322"/>
                  </a:lnTo>
                  <a:lnTo>
                    <a:pt x="62" y="322"/>
                  </a:lnTo>
                  <a:lnTo>
                    <a:pt x="64" y="319"/>
                  </a:lnTo>
                  <a:lnTo>
                    <a:pt x="64" y="314"/>
                  </a:lnTo>
                  <a:lnTo>
                    <a:pt x="64" y="312"/>
                  </a:lnTo>
                  <a:lnTo>
                    <a:pt x="64" y="312"/>
                  </a:lnTo>
                  <a:lnTo>
                    <a:pt x="62" y="312"/>
                  </a:lnTo>
                  <a:lnTo>
                    <a:pt x="62" y="312"/>
                  </a:lnTo>
                  <a:lnTo>
                    <a:pt x="59" y="307"/>
                  </a:lnTo>
                  <a:lnTo>
                    <a:pt x="57" y="307"/>
                  </a:lnTo>
                  <a:lnTo>
                    <a:pt x="57" y="310"/>
                  </a:lnTo>
                  <a:lnTo>
                    <a:pt x="57" y="307"/>
                  </a:lnTo>
                  <a:lnTo>
                    <a:pt x="52" y="305"/>
                  </a:lnTo>
                  <a:lnTo>
                    <a:pt x="52" y="303"/>
                  </a:lnTo>
                  <a:lnTo>
                    <a:pt x="52" y="303"/>
                  </a:lnTo>
                  <a:lnTo>
                    <a:pt x="50" y="300"/>
                  </a:lnTo>
                  <a:lnTo>
                    <a:pt x="50" y="300"/>
                  </a:lnTo>
                  <a:lnTo>
                    <a:pt x="48" y="303"/>
                  </a:lnTo>
                  <a:lnTo>
                    <a:pt x="45" y="300"/>
                  </a:lnTo>
                  <a:lnTo>
                    <a:pt x="45" y="298"/>
                  </a:lnTo>
                  <a:lnTo>
                    <a:pt x="43" y="298"/>
                  </a:lnTo>
                  <a:lnTo>
                    <a:pt x="43" y="298"/>
                  </a:lnTo>
                  <a:lnTo>
                    <a:pt x="43" y="298"/>
                  </a:lnTo>
                  <a:lnTo>
                    <a:pt x="43" y="296"/>
                  </a:lnTo>
                  <a:lnTo>
                    <a:pt x="38" y="296"/>
                  </a:lnTo>
                  <a:lnTo>
                    <a:pt x="38" y="293"/>
                  </a:lnTo>
                  <a:lnTo>
                    <a:pt x="38" y="289"/>
                  </a:lnTo>
                  <a:lnTo>
                    <a:pt x="38" y="289"/>
                  </a:lnTo>
                  <a:lnTo>
                    <a:pt x="38" y="286"/>
                  </a:lnTo>
                  <a:lnTo>
                    <a:pt x="36" y="286"/>
                  </a:lnTo>
                  <a:lnTo>
                    <a:pt x="36" y="289"/>
                  </a:lnTo>
                  <a:lnTo>
                    <a:pt x="31" y="281"/>
                  </a:lnTo>
                  <a:lnTo>
                    <a:pt x="29" y="281"/>
                  </a:lnTo>
                  <a:lnTo>
                    <a:pt x="29" y="284"/>
                  </a:lnTo>
                  <a:lnTo>
                    <a:pt x="29" y="281"/>
                  </a:lnTo>
                  <a:lnTo>
                    <a:pt x="29" y="281"/>
                  </a:lnTo>
                  <a:lnTo>
                    <a:pt x="26" y="281"/>
                  </a:lnTo>
                  <a:lnTo>
                    <a:pt x="26" y="281"/>
                  </a:lnTo>
                  <a:lnTo>
                    <a:pt x="26" y="279"/>
                  </a:lnTo>
                  <a:lnTo>
                    <a:pt x="24" y="277"/>
                  </a:lnTo>
                  <a:lnTo>
                    <a:pt x="26" y="274"/>
                  </a:lnTo>
                  <a:lnTo>
                    <a:pt x="22" y="272"/>
                  </a:lnTo>
                  <a:lnTo>
                    <a:pt x="24" y="270"/>
                  </a:lnTo>
                  <a:lnTo>
                    <a:pt x="24" y="265"/>
                  </a:lnTo>
                  <a:lnTo>
                    <a:pt x="26" y="265"/>
                  </a:lnTo>
                  <a:lnTo>
                    <a:pt x="26" y="265"/>
                  </a:lnTo>
                  <a:lnTo>
                    <a:pt x="26" y="260"/>
                  </a:lnTo>
                  <a:lnTo>
                    <a:pt x="29" y="260"/>
                  </a:lnTo>
                  <a:lnTo>
                    <a:pt x="29" y="260"/>
                  </a:lnTo>
                  <a:lnTo>
                    <a:pt x="24" y="258"/>
                  </a:lnTo>
                  <a:lnTo>
                    <a:pt x="22" y="258"/>
                  </a:lnTo>
                  <a:lnTo>
                    <a:pt x="22" y="258"/>
                  </a:lnTo>
                  <a:lnTo>
                    <a:pt x="24" y="255"/>
                  </a:lnTo>
                  <a:lnTo>
                    <a:pt x="24" y="255"/>
                  </a:lnTo>
                  <a:lnTo>
                    <a:pt x="26" y="253"/>
                  </a:lnTo>
                  <a:lnTo>
                    <a:pt x="29" y="251"/>
                  </a:lnTo>
                  <a:lnTo>
                    <a:pt x="33" y="246"/>
                  </a:lnTo>
                  <a:lnTo>
                    <a:pt x="31" y="244"/>
                  </a:lnTo>
                  <a:lnTo>
                    <a:pt x="29" y="241"/>
                  </a:lnTo>
                  <a:lnTo>
                    <a:pt x="26" y="239"/>
                  </a:lnTo>
                  <a:lnTo>
                    <a:pt x="26" y="239"/>
                  </a:lnTo>
                  <a:lnTo>
                    <a:pt x="26" y="234"/>
                  </a:lnTo>
                  <a:lnTo>
                    <a:pt x="26" y="234"/>
                  </a:lnTo>
                  <a:lnTo>
                    <a:pt x="26" y="234"/>
                  </a:lnTo>
                  <a:lnTo>
                    <a:pt x="24" y="234"/>
                  </a:lnTo>
                  <a:lnTo>
                    <a:pt x="24" y="232"/>
                  </a:lnTo>
                  <a:lnTo>
                    <a:pt x="24" y="232"/>
                  </a:lnTo>
                  <a:lnTo>
                    <a:pt x="26" y="232"/>
                  </a:lnTo>
                  <a:lnTo>
                    <a:pt x="26" y="229"/>
                  </a:lnTo>
                  <a:lnTo>
                    <a:pt x="29" y="229"/>
                  </a:lnTo>
                  <a:lnTo>
                    <a:pt x="29" y="227"/>
                  </a:lnTo>
                  <a:lnTo>
                    <a:pt x="31" y="225"/>
                  </a:lnTo>
                  <a:lnTo>
                    <a:pt x="31" y="222"/>
                  </a:lnTo>
                  <a:lnTo>
                    <a:pt x="33" y="220"/>
                  </a:lnTo>
                  <a:lnTo>
                    <a:pt x="33" y="215"/>
                  </a:lnTo>
                  <a:lnTo>
                    <a:pt x="33" y="215"/>
                  </a:lnTo>
                  <a:lnTo>
                    <a:pt x="33" y="213"/>
                  </a:lnTo>
                  <a:lnTo>
                    <a:pt x="33" y="208"/>
                  </a:lnTo>
                  <a:lnTo>
                    <a:pt x="33" y="208"/>
                  </a:lnTo>
                  <a:lnTo>
                    <a:pt x="36" y="206"/>
                  </a:lnTo>
                  <a:lnTo>
                    <a:pt x="38" y="203"/>
                  </a:lnTo>
                  <a:lnTo>
                    <a:pt x="38" y="201"/>
                  </a:lnTo>
                  <a:lnTo>
                    <a:pt x="38" y="201"/>
                  </a:lnTo>
                  <a:lnTo>
                    <a:pt x="38" y="199"/>
                  </a:lnTo>
                  <a:lnTo>
                    <a:pt x="38" y="189"/>
                  </a:lnTo>
                  <a:lnTo>
                    <a:pt x="43" y="182"/>
                  </a:lnTo>
                  <a:lnTo>
                    <a:pt x="43" y="180"/>
                  </a:lnTo>
                  <a:lnTo>
                    <a:pt x="41" y="180"/>
                  </a:lnTo>
                  <a:lnTo>
                    <a:pt x="38" y="177"/>
                  </a:lnTo>
                  <a:lnTo>
                    <a:pt x="38" y="177"/>
                  </a:lnTo>
                  <a:lnTo>
                    <a:pt x="36" y="175"/>
                  </a:lnTo>
                  <a:lnTo>
                    <a:pt x="38" y="173"/>
                  </a:lnTo>
                  <a:lnTo>
                    <a:pt x="38" y="168"/>
                  </a:lnTo>
                  <a:lnTo>
                    <a:pt x="38" y="166"/>
                  </a:lnTo>
                  <a:lnTo>
                    <a:pt x="41" y="166"/>
                  </a:lnTo>
                  <a:lnTo>
                    <a:pt x="41" y="163"/>
                  </a:lnTo>
                  <a:lnTo>
                    <a:pt x="38" y="163"/>
                  </a:lnTo>
                  <a:lnTo>
                    <a:pt x="36" y="163"/>
                  </a:lnTo>
                  <a:lnTo>
                    <a:pt x="33" y="161"/>
                  </a:lnTo>
                  <a:lnTo>
                    <a:pt x="33" y="161"/>
                  </a:lnTo>
                  <a:lnTo>
                    <a:pt x="31" y="161"/>
                  </a:lnTo>
                  <a:lnTo>
                    <a:pt x="31" y="161"/>
                  </a:lnTo>
                  <a:lnTo>
                    <a:pt x="31" y="161"/>
                  </a:lnTo>
                  <a:lnTo>
                    <a:pt x="29" y="161"/>
                  </a:lnTo>
                  <a:lnTo>
                    <a:pt x="29" y="161"/>
                  </a:lnTo>
                  <a:lnTo>
                    <a:pt x="26" y="161"/>
                  </a:lnTo>
                  <a:lnTo>
                    <a:pt x="24" y="161"/>
                  </a:lnTo>
                  <a:lnTo>
                    <a:pt x="22" y="163"/>
                  </a:lnTo>
                  <a:lnTo>
                    <a:pt x="22" y="163"/>
                  </a:lnTo>
                  <a:lnTo>
                    <a:pt x="22" y="161"/>
                  </a:lnTo>
                  <a:lnTo>
                    <a:pt x="24" y="161"/>
                  </a:lnTo>
                  <a:lnTo>
                    <a:pt x="24" y="159"/>
                  </a:lnTo>
                  <a:lnTo>
                    <a:pt x="22" y="156"/>
                  </a:lnTo>
                  <a:lnTo>
                    <a:pt x="24" y="156"/>
                  </a:lnTo>
                  <a:lnTo>
                    <a:pt x="24" y="156"/>
                  </a:lnTo>
                  <a:lnTo>
                    <a:pt x="24" y="156"/>
                  </a:lnTo>
                  <a:lnTo>
                    <a:pt x="24" y="154"/>
                  </a:lnTo>
                  <a:lnTo>
                    <a:pt x="26" y="154"/>
                  </a:lnTo>
                  <a:lnTo>
                    <a:pt x="26" y="149"/>
                  </a:lnTo>
                  <a:lnTo>
                    <a:pt x="26" y="147"/>
                  </a:lnTo>
                  <a:lnTo>
                    <a:pt x="24" y="144"/>
                  </a:lnTo>
                  <a:lnTo>
                    <a:pt x="22" y="142"/>
                  </a:lnTo>
                  <a:lnTo>
                    <a:pt x="22" y="142"/>
                  </a:lnTo>
                  <a:lnTo>
                    <a:pt x="22" y="140"/>
                  </a:lnTo>
                  <a:lnTo>
                    <a:pt x="22" y="140"/>
                  </a:lnTo>
                  <a:lnTo>
                    <a:pt x="19" y="140"/>
                  </a:lnTo>
                  <a:lnTo>
                    <a:pt x="19" y="137"/>
                  </a:lnTo>
                  <a:lnTo>
                    <a:pt x="19" y="135"/>
                  </a:lnTo>
                  <a:lnTo>
                    <a:pt x="19" y="135"/>
                  </a:lnTo>
                  <a:lnTo>
                    <a:pt x="19" y="135"/>
                  </a:lnTo>
                  <a:lnTo>
                    <a:pt x="17" y="137"/>
                  </a:lnTo>
                  <a:lnTo>
                    <a:pt x="17" y="135"/>
                  </a:lnTo>
                  <a:lnTo>
                    <a:pt x="22" y="130"/>
                  </a:lnTo>
                  <a:lnTo>
                    <a:pt x="22" y="128"/>
                  </a:lnTo>
                  <a:lnTo>
                    <a:pt x="22" y="128"/>
                  </a:lnTo>
                  <a:lnTo>
                    <a:pt x="22" y="123"/>
                  </a:lnTo>
                  <a:lnTo>
                    <a:pt x="22" y="121"/>
                  </a:lnTo>
                  <a:lnTo>
                    <a:pt x="24" y="121"/>
                  </a:lnTo>
                  <a:lnTo>
                    <a:pt x="24" y="121"/>
                  </a:lnTo>
                  <a:lnTo>
                    <a:pt x="22" y="118"/>
                  </a:lnTo>
                  <a:lnTo>
                    <a:pt x="19" y="118"/>
                  </a:lnTo>
                  <a:lnTo>
                    <a:pt x="17" y="118"/>
                  </a:lnTo>
                  <a:lnTo>
                    <a:pt x="17" y="118"/>
                  </a:lnTo>
                  <a:lnTo>
                    <a:pt x="12" y="118"/>
                  </a:lnTo>
                  <a:lnTo>
                    <a:pt x="12" y="116"/>
                  </a:lnTo>
                  <a:lnTo>
                    <a:pt x="10" y="116"/>
                  </a:lnTo>
                  <a:lnTo>
                    <a:pt x="12" y="114"/>
                  </a:lnTo>
                  <a:lnTo>
                    <a:pt x="12" y="109"/>
                  </a:lnTo>
                  <a:lnTo>
                    <a:pt x="10" y="104"/>
                  </a:lnTo>
                  <a:lnTo>
                    <a:pt x="10" y="104"/>
                  </a:lnTo>
                  <a:lnTo>
                    <a:pt x="7" y="102"/>
                  </a:lnTo>
                  <a:lnTo>
                    <a:pt x="7" y="102"/>
                  </a:lnTo>
                  <a:lnTo>
                    <a:pt x="7" y="102"/>
                  </a:lnTo>
                  <a:lnTo>
                    <a:pt x="7" y="100"/>
                  </a:lnTo>
                  <a:lnTo>
                    <a:pt x="12" y="100"/>
                  </a:lnTo>
                  <a:lnTo>
                    <a:pt x="12" y="97"/>
                  </a:lnTo>
                  <a:lnTo>
                    <a:pt x="12" y="92"/>
                  </a:lnTo>
                  <a:lnTo>
                    <a:pt x="15" y="92"/>
                  </a:lnTo>
                  <a:lnTo>
                    <a:pt x="17" y="92"/>
                  </a:lnTo>
                  <a:lnTo>
                    <a:pt x="15" y="92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2" y="88"/>
                  </a:lnTo>
                  <a:lnTo>
                    <a:pt x="10" y="85"/>
                  </a:lnTo>
                  <a:lnTo>
                    <a:pt x="10" y="85"/>
                  </a:lnTo>
                  <a:lnTo>
                    <a:pt x="10" y="83"/>
                  </a:lnTo>
                  <a:lnTo>
                    <a:pt x="10" y="81"/>
                  </a:lnTo>
                  <a:lnTo>
                    <a:pt x="10" y="81"/>
                  </a:lnTo>
                  <a:lnTo>
                    <a:pt x="5" y="81"/>
                  </a:lnTo>
                  <a:lnTo>
                    <a:pt x="5" y="78"/>
                  </a:lnTo>
                  <a:lnTo>
                    <a:pt x="3" y="78"/>
                  </a:lnTo>
                  <a:lnTo>
                    <a:pt x="3" y="76"/>
                  </a:lnTo>
                  <a:lnTo>
                    <a:pt x="3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3" y="74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 cap="flat">
              <a:solidFill>
                <a:schemeClr val="bg2">
                  <a:lumMod val="7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>
                <a:solidFill>
                  <a:srgbClr val="000000"/>
                </a:solidFill>
              </a:endParaRPr>
            </a:p>
          </p:txBody>
        </p:sp>
        <p:sp>
          <p:nvSpPr>
            <p:cNvPr id="94" name="Freeform 20"/>
            <p:cNvSpPr>
              <a:spLocks noEditPoints="1"/>
            </p:cNvSpPr>
            <p:nvPr/>
          </p:nvSpPr>
          <p:spPr bwMode="gray">
            <a:xfrm>
              <a:off x="2773218" y="2961072"/>
              <a:ext cx="711887" cy="1054834"/>
            </a:xfrm>
            <a:custGeom>
              <a:avLst/>
              <a:gdLst/>
              <a:ahLst/>
              <a:cxnLst>
                <a:cxn ang="0">
                  <a:pos x="175" y="416"/>
                </a:cxn>
                <a:cxn ang="0">
                  <a:pos x="210" y="364"/>
                </a:cxn>
                <a:cxn ang="0">
                  <a:pos x="227" y="312"/>
                </a:cxn>
                <a:cxn ang="0">
                  <a:pos x="253" y="281"/>
                </a:cxn>
                <a:cxn ang="0">
                  <a:pos x="269" y="239"/>
                </a:cxn>
                <a:cxn ang="0">
                  <a:pos x="286" y="199"/>
                </a:cxn>
                <a:cxn ang="0">
                  <a:pos x="319" y="121"/>
                </a:cxn>
                <a:cxn ang="0">
                  <a:pos x="331" y="29"/>
                </a:cxn>
                <a:cxn ang="0">
                  <a:pos x="350" y="12"/>
                </a:cxn>
                <a:cxn ang="0">
                  <a:pos x="361" y="19"/>
                </a:cxn>
                <a:cxn ang="0">
                  <a:pos x="369" y="19"/>
                </a:cxn>
                <a:cxn ang="0">
                  <a:pos x="387" y="14"/>
                </a:cxn>
                <a:cxn ang="0">
                  <a:pos x="387" y="33"/>
                </a:cxn>
                <a:cxn ang="0">
                  <a:pos x="392" y="43"/>
                </a:cxn>
                <a:cxn ang="0">
                  <a:pos x="404" y="31"/>
                </a:cxn>
                <a:cxn ang="0">
                  <a:pos x="411" y="47"/>
                </a:cxn>
                <a:cxn ang="0">
                  <a:pos x="418" y="66"/>
                </a:cxn>
                <a:cxn ang="0">
                  <a:pos x="430" y="40"/>
                </a:cxn>
                <a:cxn ang="0">
                  <a:pos x="425" y="71"/>
                </a:cxn>
                <a:cxn ang="0">
                  <a:pos x="430" y="90"/>
                </a:cxn>
                <a:cxn ang="0">
                  <a:pos x="458" y="66"/>
                </a:cxn>
                <a:cxn ang="0">
                  <a:pos x="465" y="50"/>
                </a:cxn>
                <a:cxn ang="0">
                  <a:pos x="494" y="50"/>
                </a:cxn>
                <a:cxn ang="0">
                  <a:pos x="503" y="78"/>
                </a:cxn>
                <a:cxn ang="0">
                  <a:pos x="513" y="81"/>
                </a:cxn>
                <a:cxn ang="0">
                  <a:pos x="501" y="102"/>
                </a:cxn>
                <a:cxn ang="0">
                  <a:pos x="522" y="102"/>
                </a:cxn>
                <a:cxn ang="0">
                  <a:pos x="536" y="121"/>
                </a:cxn>
                <a:cxn ang="0">
                  <a:pos x="550" y="180"/>
                </a:cxn>
                <a:cxn ang="0">
                  <a:pos x="588" y="187"/>
                </a:cxn>
                <a:cxn ang="0">
                  <a:pos x="758" y="201"/>
                </a:cxn>
                <a:cxn ang="0">
                  <a:pos x="841" y="215"/>
                </a:cxn>
                <a:cxn ang="0">
                  <a:pos x="855" y="288"/>
                </a:cxn>
                <a:cxn ang="0">
                  <a:pos x="782" y="331"/>
                </a:cxn>
                <a:cxn ang="0">
                  <a:pos x="744" y="449"/>
                </a:cxn>
                <a:cxn ang="0">
                  <a:pos x="735" y="577"/>
                </a:cxn>
                <a:cxn ang="0">
                  <a:pos x="746" y="683"/>
                </a:cxn>
                <a:cxn ang="0">
                  <a:pos x="666" y="754"/>
                </a:cxn>
                <a:cxn ang="0">
                  <a:pos x="581" y="763"/>
                </a:cxn>
                <a:cxn ang="0">
                  <a:pos x="489" y="834"/>
                </a:cxn>
                <a:cxn ang="0">
                  <a:pos x="413" y="877"/>
                </a:cxn>
                <a:cxn ang="0">
                  <a:pos x="387" y="959"/>
                </a:cxn>
                <a:cxn ang="0">
                  <a:pos x="350" y="1032"/>
                </a:cxn>
                <a:cxn ang="0">
                  <a:pos x="373" y="1106"/>
                </a:cxn>
                <a:cxn ang="0">
                  <a:pos x="357" y="1198"/>
                </a:cxn>
                <a:cxn ang="0">
                  <a:pos x="267" y="1139"/>
                </a:cxn>
                <a:cxn ang="0">
                  <a:pos x="241" y="1066"/>
                </a:cxn>
                <a:cxn ang="0">
                  <a:pos x="220" y="1035"/>
                </a:cxn>
                <a:cxn ang="0">
                  <a:pos x="231" y="988"/>
                </a:cxn>
                <a:cxn ang="0">
                  <a:pos x="260" y="955"/>
                </a:cxn>
                <a:cxn ang="0">
                  <a:pos x="250" y="903"/>
                </a:cxn>
                <a:cxn ang="0">
                  <a:pos x="208" y="905"/>
                </a:cxn>
                <a:cxn ang="0">
                  <a:pos x="182" y="865"/>
                </a:cxn>
                <a:cxn ang="0">
                  <a:pos x="128" y="808"/>
                </a:cxn>
                <a:cxn ang="0">
                  <a:pos x="168" y="655"/>
                </a:cxn>
                <a:cxn ang="0">
                  <a:pos x="24" y="553"/>
                </a:cxn>
                <a:cxn ang="0">
                  <a:pos x="508" y="83"/>
                </a:cxn>
                <a:cxn ang="0">
                  <a:pos x="484" y="45"/>
                </a:cxn>
                <a:cxn ang="0">
                  <a:pos x="503" y="69"/>
                </a:cxn>
                <a:cxn ang="0">
                  <a:pos x="600" y="177"/>
                </a:cxn>
                <a:cxn ang="0">
                  <a:pos x="465" y="45"/>
                </a:cxn>
                <a:cxn ang="0">
                  <a:pos x="480" y="45"/>
                </a:cxn>
                <a:cxn ang="0">
                  <a:pos x="503" y="64"/>
                </a:cxn>
              </a:cxnLst>
              <a:rect l="0" t="0" r="r" b="b"/>
              <a:pathLst>
                <a:path w="881" h="1205">
                  <a:moveTo>
                    <a:pt x="0" y="562"/>
                  </a:moveTo>
                  <a:lnTo>
                    <a:pt x="24" y="543"/>
                  </a:lnTo>
                  <a:lnTo>
                    <a:pt x="35" y="534"/>
                  </a:lnTo>
                  <a:lnTo>
                    <a:pt x="38" y="532"/>
                  </a:lnTo>
                  <a:lnTo>
                    <a:pt x="40" y="532"/>
                  </a:lnTo>
                  <a:lnTo>
                    <a:pt x="38" y="529"/>
                  </a:lnTo>
                  <a:lnTo>
                    <a:pt x="40" y="527"/>
                  </a:lnTo>
                  <a:lnTo>
                    <a:pt x="40" y="527"/>
                  </a:lnTo>
                  <a:lnTo>
                    <a:pt x="43" y="529"/>
                  </a:lnTo>
                  <a:lnTo>
                    <a:pt x="45" y="527"/>
                  </a:lnTo>
                  <a:lnTo>
                    <a:pt x="68" y="508"/>
                  </a:lnTo>
                  <a:lnTo>
                    <a:pt x="71" y="506"/>
                  </a:lnTo>
                  <a:lnTo>
                    <a:pt x="85" y="494"/>
                  </a:lnTo>
                  <a:lnTo>
                    <a:pt x="87" y="494"/>
                  </a:lnTo>
                  <a:lnTo>
                    <a:pt x="92" y="489"/>
                  </a:lnTo>
                  <a:lnTo>
                    <a:pt x="102" y="480"/>
                  </a:lnTo>
                  <a:lnTo>
                    <a:pt x="118" y="468"/>
                  </a:lnTo>
                  <a:lnTo>
                    <a:pt x="120" y="466"/>
                  </a:lnTo>
                  <a:lnTo>
                    <a:pt x="120" y="463"/>
                  </a:lnTo>
                  <a:lnTo>
                    <a:pt x="125" y="463"/>
                  </a:lnTo>
                  <a:lnTo>
                    <a:pt x="125" y="463"/>
                  </a:lnTo>
                  <a:lnTo>
                    <a:pt x="128" y="466"/>
                  </a:lnTo>
                  <a:lnTo>
                    <a:pt x="128" y="466"/>
                  </a:lnTo>
                  <a:lnTo>
                    <a:pt x="130" y="466"/>
                  </a:lnTo>
                  <a:lnTo>
                    <a:pt x="130" y="466"/>
                  </a:lnTo>
                  <a:lnTo>
                    <a:pt x="132" y="466"/>
                  </a:lnTo>
                  <a:lnTo>
                    <a:pt x="135" y="468"/>
                  </a:lnTo>
                  <a:lnTo>
                    <a:pt x="139" y="463"/>
                  </a:lnTo>
                  <a:lnTo>
                    <a:pt x="139" y="461"/>
                  </a:lnTo>
                  <a:lnTo>
                    <a:pt x="142" y="461"/>
                  </a:lnTo>
                  <a:lnTo>
                    <a:pt x="144" y="461"/>
                  </a:lnTo>
                  <a:lnTo>
                    <a:pt x="144" y="458"/>
                  </a:lnTo>
                  <a:lnTo>
                    <a:pt x="149" y="454"/>
                  </a:lnTo>
                  <a:lnTo>
                    <a:pt x="149" y="449"/>
                  </a:lnTo>
                  <a:lnTo>
                    <a:pt x="154" y="444"/>
                  </a:lnTo>
                  <a:lnTo>
                    <a:pt x="156" y="442"/>
                  </a:lnTo>
                  <a:lnTo>
                    <a:pt x="158" y="440"/>
                  </a:lnTo>
                  <a:lnTo>
                    <a:pt x="158" y="440"/>
                  </a:lnTo>
                  <a:lnTo>
                    <a:pt x="158" y="437"/>
                  </a:lnTo>
                  <a:lnTo>
                    <a:pt x="158" y="435"/>
                  </a:lnTo>
                  <a:lnTo>
                    <a:pt x="161" y="432"/>
                  </a:lnTo>
                  <a:lnTo>
                    <a:pt x="161" y="432"/>
                  </a:lnTo>
                  <a:lnTo>
                    <a:pt x="161" y="432"/>
                  </a:lnTo>
                  <a:lnTo>
                    <a:pt x="161" y="430"/>
                  </a:lnTo>
                  <a:lnTo>
                    <a:pt x="163" y="430"/>
                  </a:lnTo>
                  <a:lnTo>
                    <a:pt x="161" y="428"/>
                  </a:lnTo>
                  <a:lnTo>
                    <a:pt x="165" y="425"/>
                  </a:lnTo>
                  <a:lnTo>
                    <a:pt x="165" y="425"/>
                  </a:lnTo>
                  <a:lnTo>
                    <a:pt x="165" y="425"/>
                  </a:lnTo>
                  <a:lnTo>
                    <a:pt x="168" y="425"/>
                  </a:lnTo>
                  <a:lnTo>
                    <a:pt x="168" y="423"/>
                  </a:lnTo>
                  <a:lnTo>
                    <a:pt x="168" y="423"/>
                  </a:lnTo>
                  <a:lnTo>
                    <a:pt x="170" y="423"/>
                  </a:lnTo>
                  <a:lnTo>
                    <a:pt x="170" y="423"/>
                  </a:lnTo>
                  <a:lnTo>
                    <a:pt x="172" y="421"/>
                  </a:lnTo>
                  <a:lnTo>
                    <a:pt x="172" y="421"/>
                  </a:lnTo>
                  <a:lnTo>
                    <a:pt x="175" y="421"/>
                  </a:lnTo>
                  <a:lnTo>
                    <a:pt x="172" y="416"/>
                  </a:lnTo>
                  <a:lnTo>
                    <a:pt x="175" y="416"/>
                  </a:lnTo>
                  <a:lnTo>
                    <a:pt x="175" y="416"/>
                  </a:lnTo>
                  <a:lnTo>
                    <a:pt x="175" y="414"/>
                  </a:lnTo>
                  <a:lnTo>
                    <a:pt x="175" y="414"/>
                  </a:lnTo>
                  <a:lnTo>
                    <a:pt x="175" y="411"/>
                  </a:lnTo>
                  <a:lnTo>
                    <a:pt x="175" y="411"/>
                  </a:lnTo>
                  <a:lnTo>
                    <a:pt x="177" y="411"/>
                  </a:lnTo>
                  <a:lnTo>
                    <a:pt x="177" y="411"/>
                  </a:lnTo>
                  <a:lnTo>
                    <a:pt x="177" y="411"/>
                  </a:lnTo>
                  <a:lnTo>
                    <a:pt x="177" y="409"/>
                  </a:lnTo>
                  <a:lnTo>
                    <a:pt x="177" y="406"/>
                  </a:lnTo>
                  <a:lnTo>
                    <a:pt x="177" y="406"/>
                  </a:lnTo>
                  <a:lnTo>
                    <a:pt x="177" y="406"/>
                  </a:lnTo>
                  <a:lnTo>
                    <a:pt x="177" y="404"/>
                  </a:lnTo>
                  <a:lnTo>
                    <a:pt x="177" y="402"/>
                  </a:lnTo>
                  <a:lnTo>
                    <a:pt x="177" y="402"/>
                  </a:lnTo>
                  <a:lnTo>
                    <a:pt x="177" y="399"/>
                  </a:lnTo>
                  <a:lnTo>
                    <a:pt x="180" y="399"/>
                  </a:lnTo>
                  <a:lnTo>
                    <a:pt x="180" y="397"/>
                  </a:lnTo>
                  <a:lnTo>
                    <a:pt x="180" y="397"/>
                  </a:lnTo>
                  <a:lnTo>
                    <a:pt x="180" y="397"/>
                  </a:lnTo>
                  <a:lnTo>
                    <a:pt x="180" y="395"/>
                  </a:lnTo>
                  <a:lnTo>
                    <a:pt x="182" y="395"/>
                  </a:lnTo>
                  <a:lnTo>
                    <a:pt x="182" y="395"/>
                  </a:lnTo>
                  <a:lnTo>
                    <a:pt x="182" y="395"/>
                  </a:lnTo>
                  <a:lnTo>
                    <a:pt x="182" y="395"/>
                  </a:lnTo>
                  <a:lnTo>
                    <a:pt x="182" y="395"/>
                  </a:lnTo>
                  <a:lnTo>
                    <a:pt x="184" y="395"/>
                  </a:lnTo>
                  <a:lnTo>
                    <a:pt x="184" y="392"/>
                  </a:lnTo>
                  <a:lnTo>
                    <a:pt x="184" y="392"/>
                  </a:lnTo>
                  <a:lnTo>
                    <a:pt x="184" y="392"/>
                  </a:lnTo>
                  <a:lnTo>
                    <a:pt x="187" y="390"/>
                  </a:lnTo>
                  <a:lnTo>
                    <a:pt x="187" y="390"/>
                  </a:lnTo>
                  <a:lnTo>
                    <a:pt x="187" y="390"/>
                  </a:lnTo>
                  <a:lnTo>
                    <a:pt x="191" y="388"/>
                  </a:lnTo>
                  <a:lnTo>
                    <a:pt x="191" y="388"/>
                  </a:lnTo>
                  <a:lnTo>
                    <a:pt x="194" y="388"/>
                  </a:lnTo>
                  <a:lnTo>
                    <a:pt x="194" y="388"/>
                  </a:lnTo>
                  <a:lnTo>
                    <a:pt x="194" y="385"/>
                  </a:lnTo>
                  <a:lnTo>
                    <a:pt x="196" y="385"/>
                  </a:lnTo>
                  <a:lnTo>
                    <a:pt x="196" y="383"/>
                  </a:lnTo>
                  <a:lnTo>
                    <a:pt x="198" y="385"/>
                  </a:lnTo>
                  <a:lnTo>
                    <a:pt x="198" y="383"/>
                  </a:lnTo>
                  <a:lnTo>
                    <a:pt x="198" y="383"/>
                  </a:lnTo>
                  <a:lnTo>
                    <a:pt x="198" y="380"/>
                  </a:lnTo>
                  <a:lnTo>
                    <a:pt x="198" y="380"/>
                  </a:lnTo>
                  <a:lnTo>
                    <a:pt x="198" y="380"/>
                  </a:lnTo>
                  <a:lnTo>
                    <a:pt x="201" y="378"/>
                  </a:lnTo>
                  <a:lnTo>
                    <a:pt x="201" y="376"/>
                  </a:lnTo>
                  <a:lnTo>
                    <a:pt x="201" y="376"/>
                  </a:lnTo>
                  <a:lnTo>
                    <a:pt x="203" y="373"/>
                  </a:lnTo>
                  <a:lnTo>
                    <a:pt x="203" y="376"/>
                  </a:lnTo>
                  <a:lnTo>
                    <a:pt x="203" y="373"/>
                  </a:lnTo>
                  <a:lnTo>
                    <a:pt x="203" y="371"/>
                  </a:lnTo>
                  <a:lnTo>
                    <a:pt x="206" y="371"/>
                  </a:lnTo>
                  <a:lnTo>
                    <a:pt x="206" y="371"/>
                  </a:lnTo>
                  <a:lnTo>
                    <a:pt x="208" y="371"/>
                  </a:lnTo>
                  <a:lnTo>
                    <a:pt x="208" y="371"/>
                  </a:lnTo>
                  <a:lnTo>
                    <a:pt x="208" y="369"/>
                  </a:lnTo>
                  <a:lnTo>
                    <a:pt x="210" y="369"/>
                  </a:lnTo>
                  <a:lnTo>
                    <a:pt x="210" y="366"/>
                  </a:lnTo>
                  <a:lnTo>
                    <a:pt x="210" y="364"/>
                  </a:lnTo>
                  <a:lnTo>
                    <a:pt x="213" y="364"/>
                  </a:lnTo>
                  <a:lnTo>
                    <a:pt x="213" y="362"/>
                  </a:lnTo>
                  <a:lnTo>
                    <a:pt x="213" y="362"/>
                  </a:lnTo>
                  <a:lnTo>
                    <a:pt x="213" y="359"/>
                  </a:lnTo>
                  <a:lnTo>
                    <a:pt x="213" y="359"/>
                  </a:lnTo>
                  <a:lnTo>
                    <a:pt x="213" y="357"/>
                  </a:lnTo>
                  <a:lnTo>
                    <a:pt x="213" y="357"/>
                  </a:lnTo>
                  <a:lnTo>
                    <a:pt x="215" y="355"/>
                  </a:lnTo>
                  <a:lnTo>
                    <a:pt x="215" y="352"/>
                  </a:lnTo>
                  <a:lnTo>
                    <a:pt x="213" y="352"/>
                  </a:lnTo>
                  <a:lnTo>
                    <a:pt x="215" y="350"/>
                  </a:lnTo>
                  <a:lnTo>
                    <a:pt x="215" y="350"/>
                  </a:lnTo>
                  <a:lnTo>
                    <a:pt x="215" y="345"/>
                  </a:lnTo>
                  <a:lnTo>
                    <a:pt x="217" y="343"/>
                  </a:lnTo>
                  <a:lnTo>
                    <a:pt x="217" y="343"/>
                  </a:lnTo>
                  <a:lnTo>
                    <a:pt x="215" y="343"/>
                  </a:lnTo>
                  <a:lnTo>
                    <a:pt x="215" y="343"/>
                  </a:lnTo>
                  <a:lnTo>
                    <a:pt x="215" y="343"/>
                  </a:lnTo>
                  <a:lnTo>
                    <a:pt x="215" y="340"/>
                  </a:lnTo>
                  <a:lnTo>
                    <a:pt x="215" y="340"/>
                  </a:lnTo>
                  <a:lnTo>
                    <a:pt x="217" y="340"/>
                  </a:lnTo>
                  <a:lnTo>
                    <a:pt x="215" y="340"/>
                  </a:lnTo>
                  <a:lnTo>
                    <a:pt x="217" y="340"/>
                  </a:lnTo>
                  <a:lnTo>
                    <a:pt x="215" y="340"/>
                  </a:lnTo>
                  <a:lnTo>
                    <a:pt x="217" y="338"/>
                  </a:lnTo>
                  <a:lnTo>
                    <a:pt x="215" y="338"/>
                  </a:lnTo>
                  <a:lnTo>
                    <a:pt x="217" y="338"/>
                  </a:lnTo>
                  <a:lnTo>
                    <a:pt x="217" y="336"/>
                  </a:lnTo>
                  <a:lnTo>
                    <a:pt x="217" y="336"/>
                  </a:lnTo>
                  <a:lnTo>
                    <a:pt x="217" y="333"/>
                  </a:lnTo>
                  <a:lnTo>
                    <a:pt x="217" y="333"/>
                  </a:lnTo>
                  <a:lnTo>
                    <a:pt x="217" y="331"/>
                  </a:lnTo>
                  <a:lnTo>
                    <a:pt x="217" y="331"/>
                  </a:lnTo>
                  <a:lnTo>
                    <a:pt x="217" y="331"/>
                  </a:lnTo>
                  <a:lnTo>
                    <a:pt x="217" y="331"/>
                  </a:lnTo>
                  <a:lnTo>
                    <a:pt x="220" y="331"/>
                  </a:lnTo>
                  <a:lnTo>
                    <a:pt x="220" y="329"/>
                  </a:lnTo>
                  <a:lnTo>
                    <a:pt x="220" y="329"/>
                  </a:lnTo>
                  <a:lnTo>
                    <a:pt x="220" y="326"/>
                  </a:lnTo>
                  <a:lnTo>
                    <a:pt x="222" y="326"/>
                  </a:lnTo>
                  <a:lnTo>
                    <a:pt x="222" y="326"/>
                  </a:lnTo>
                  <a:lnTo>
                    <a:pt x="224" y="324"/>
                  </a:lnTo>
                  <a:lnTo>
                    <a:pt x="224" y="324"/>
                  </a:lnTo>
                  <a:lnTo>
                    <a:pt x="227" y="324"/>
                  </a:lnTo>
                  <a:lnTo>
                    <a:pt x="224" y="321"/>
                  </a:lnTo>
                  <a:lnTo>
                    <a:pt x="224" y="321"/>
                  </a:lnTo>
                  <a:lnTo>
                    <a:pt x="227" y="321"/>
                  </a:lnTo>
                  <a:lnTo>
                    <a:pt x="227" y="321"/>
                  </a:lnTo>
                  <a:lnTo>
                    <a:pt x="227" y="321"/>
                  </a:lnTo>
                  <a:lnTo>
                    <a:pt x="227" y="317"/>
                  </a:lnTo>
                  <a:lnTo>
                    <a:pt x="229" y="319"/>
                  </a:lnTo>
                  <a:lnTo>
                    <a:pt x="229" y="317"/>
                  </a:lnTo>
                  <a:lnTo>
                    <a:pt x="227" y="317"/>
                  </a:lnTo>
                  <a:lnTo>
                    <a:pt x="227" y="317"/>
                  </a:lnTo>
                  <a:lnTo>
                    <a:pt x="229" y="317"/>
                  </a:lnTo>
                  <a:lnTo>
                    <a:pt x="227" y="314"/>
                  </a:lnTo>
                  <a:lnTo>
                    <a:pt x="229" y="314"/>
                  </a:lnTo>
                  <a:lnTo>
                    <a:pt x="229" y="314"/>
                  </a:lnTo>
                  <a:lnTo>
                    <a:pt x="227" y="314"/>
                  </a:lnTo>
                  <a:lnTo>
                    <a:pt x="227" y="312"/>
                  </a:lnTo>
                  <a:lnTo>
                    <a:pt x="229" y="312"/>
                  </a:lnTo>
                  <a:lnTo>
                    <a:pt x="229" y="312"/>
                  </a:lnTo>
                  <a:lnTo>
                    <a:pt x="229" y="312"/>
                  </a:lnTo>
                  <a:lnTo>
                    <a:pt x="229" y="312"/>
                  </a:lnTo>
                  <a:lnTo>
                    <a:pt x="229" y="310"/>
                  </a:lnTo>
                  <a:lnTo>
                    <a:pt x="229" y="307"/>
                  </a:lnTo>
                  <a:lnTo>
                    <a:pt x="229" y="307"/>
                  </a:lnTo>
                  <a:lnTo>
                    <a:pt x="229" y="307"/>
                  </a:lnTo>
                  <a:lnTo>
                    <a:pt x="229" y="305"/>
                  </a:lnTo>
                  <a:lnTo>
                    <a:pt x="229" y="305"/>
                  </a:lnTo>
                  <a:lnTo>
                    <a:pt x="231" y="305"/>
                  </a:lnTo>
                  <a:lnTo>
                    <a:pt x="231" y="305"/>
                  </a:lnTo>
                  <a:lnTo>
                    <a:pt x="231" y="305"/>
                  </a:lnTo>
                  <a:lnTo>
                    <a:pt x="231" y="305"/>
                  </a:lnTo>
                  <a:lnTo>
                    <a:pt x="231" y="303"/>
                  </a:lnTo>
                  <a:lnTo>
                    <a:pt x="234" y="305"/>
                  </a:lnTo>
                  <a:lnTo>
                    <a:pt x="234" y="303"/>
                  </a:lnTo>
                  <a:lnTo>
                    <a:pt x="234" y="303"/>
                  </a:lnTo>
                  <a:lnTo>
                    <a:pt x="234" y="303"/>
                  </a:lnTo>
                  <a:lnTo>
                    <a:pt x="234" y="303"/>
                  </a:lnTo>
                  <a:lnTo>
                    <a:pt x="236" y="300"/>
                  </a:lnTo>
                  <a:lnTo>
                    <a:pt x="236" y="300"/>
                  </a:lnTo>
                  <a:lnTo>
                    <a:pt x="236" y="300"/>
                  </a:lnTo>
                  <a:lnTo>
                    <a:pt x="236" y="303"/>
                  </a:lnTo>
                  <a:lnTo>
                    <a:pt x="239" y="300"/>
                  </a:lnTo>
                  <a:lnTo>
                    <a:pt x="239" y="300"/>
                  </a:lnTo>
                  <a:lnTo>
                    <a:pt x="239" y="298"/>
                  </a:lnTo>
                  <a:lnTo>
                    <a:pt x="239" y="298"/>
                  </a:lnTo>
                  <a:lnTo>
                    <a:pt x="239" y="300"/>
                  </a:lnTo>
                  <a:lnTo>
                    <a:pt x="241" y="300"/>
                  </a:lnTo>
                  <a:lnTo>
                    <a:pt x="241" y="300"/>
                  </a:lnTo>
                  <a:lnTo>
                    <a:pt x="241" y="298"/>
                  </a:lnTo>
                  <a:lnTo>
                    <a:pt x="241" y="298"/>
                  </a:lnTo>
                  <a:lnTo>
                    <a:pt x="243" y="298"/>
                  </a:lnTo>
                  <a:lnTo>
                    <a:pt x="243" y="298"/>
                  </a:lnTo>
                  <a:lnTo>
                    <a:pt x="246" y="298"/>
                  </a:lnTo>
                  <a:lnTo>
                    <a:pt x="246" y="295"/>
                  </a:lnTo>
                  <a:lnTo>
                    <a:pt x="243" y="295"/>
                  </a:lnTo>
                  <a:lnTo>
                    <a:pt x="246" y="293"/>
                  </a:lnTo>
                  <a:lnTo>
                    <a:pt x="243" y="291"/>
                  </a:lnTo>
                  <a:lnTo>
                    <a:pt x="246" y="291"/>
                  </a:lnTo>
                  <a:lnTo>
                    <a:pt x="246" y="291"/>
                  </a:lnTo>
                  <a:lnTo>
                    <a:pt x="246" y="291"/>
                  </a:lnTo>
                  <a:lnTo>
                    <a:pt x="246" y="288"/>
                  </a:lnTo>
                  <a:lnTo>
                    <a:pt x="248" y="286"/>
                  </a:lnTo>
                  <a:lnTo>
                    <a:pt x="248" y="288"/>
                  </a:lnTo>
                  <a:lnTo>
                    <a:pt x="248" y="288"/>
                  </a:lnTo>
                  <a:lnTo>
                    <a:pt x="250" y="286"/>
                  </a:lnTo>
                  <a:lnTo>
                    <a:pt x="248" y="286"/>
                  </a:lnTo>
                  <a:lnTo>
                    <a:pt x="250" y="284"/>
                  </a:lnTo>
                  <a:lnTo>
                    <a:pt x="250" y="284"/>
                  </a:lnTo>
                  <a:lnTo>
                    <a:pt x="253" y="286"/>
                  </a:lnTo>
                  <a:lnTo>
                    <a:pt x="253" y="284"/>
                  </a:lnTo>
                  <a:lnTo>
                    <a:pt x="253" y="284"/>
                  </a:lnTo>
                  <a:lnTo>
                    <a:pt x="250" y="284"/>
                  </a:lnTo>
                  <a:lnTo>
                    <a:pt x="253" y="281"/>
                  </a:lnTo>
                  <a:lnTo>
                    <a:pt x="253" y="281"/>
                  </a:lnTo>
                  <a:lnTo>
                    <a:pt x="250" y="279"/>
                  </a:lnTo>
                  <a:lnTo>
                    <a:pt x="250" y="279"/>
                  </a:lnTo>
                  <a:lnTo>
                    <a:pt x="253" y="281"/>
                  </a:lnTo>
                  <a:lnTo>
                    <a:pt x="255" y="279"/>
                  </a:lnTo>
                  <a:lnTo>
                    <a:pt x="253" y="277"/>
                  </a:lnTo>
                  <a:lnTo>
                    <a:pt x="255" y="277"/>
                  </a:lnTo>
                  <a:lnTo>
                    <a:pt x="255" y="277"/>
                  </a:lnTo>
                  <a:lnTo>
                    <a:pt x="257" y="277"/>
                  </a:lnTo>
                  <a:lnTo>
                    <a:pt x="255" y="274"/>
                  </a:lnTo>
                  <a:lnTo>
                    <a:pt x="255" y="274"/>
                  </a:lnTo>
                  <a:lnTo>
                    <a:pt x="255" y="274"/>
                  </a:lnTo>
                  <a:lnTo>
                    <a:pt x="253" y="272"/>
                  </a:lnTo>
                  <a:lnTo>
                    <a:pt x="255" y="272"/>
                  </a:lnTo>
                  <a:lnTo>
                    <a:pt x="255" y="272"/>
                  </a:lnTo>
                  <a:lnTo>
                    <a:pt x="255" y="272"/>
                  </a:lnTo>
                  <a:lnTo>
                    <a:pt x="257" y="269"/>
                  </a:lnTo>
                  <a:lnTo>
                    <a:pt x="257" y="269"/>
                  </a:lnTo>
                  <a:lnTo>
                    <a:pt x="257" y="274"/>
                  </a:lnTo>
                  <a:lnTo>
                    <a:pt x="257" y="274"/>
                  </a:lnTo>
                  <a:lnTo>
                    <a:pt x="260" y="272"/>
                  </a:lnTo>
                  <a:lnTo>
                    <a:pt x="257" y="269"/>
                  </a:lnTo>
                  <a:lnTo>
                    <a:pt x="260" y="267"/>
                  </a:lnTo>
                  <a:lnTo>
                    <a:pt x="262" y="269"/>
                  </a:lnTo>
                  <a:lnTo>
                    <a:pt x="262" y="267"/>
                  </a:lnTo>
                  <a:lnTo>
                    <a:pt x="262" y="265"/>
                  </a:lnTo>
                  <a:lnTo>
                    <a:pt x="262" y="265"/>
                  </a:lnTo>
                  <a:lnTo>
                    <a:pt x="262" y="260"/>
                  </a:lnTo>
                  <a:lnTo>
                    <a:pt x="265" y="260"/>
                  </a:lnTo>
                  <a:lnTo>
                    <a:pt x="262" y="260"/>
                  </a:lnTo>
                  <a:lnTo>
                    <a:pt x="265" y="258"/>
                  </a:lnTo>
                  <a:lnTo>
                    <a:pt x="262" y="258"/>
                  </a:lnTo>
                  <a:lnTo>
                    <a:pt x="262" y="255"/>
                  </a:lnTo>
                  <a:lnTo>
                    <a:pt x="265" y="255"/>
                  </a:lnTo>
                  <a:lnTo>
                    <a:pt x="265" y="255"/>
                  </a:lnTo>
                  <a:lnTo>
                    <a:pt x="267" y="255"/>
                  </a:lnTo>
                  <a:lnTo>
                    <a:pt x="265" y="253"/>
                  </a:lnTo>
                  <a:lnTo>
                    <a:pt x="265" y="253"/>
                  </a:lnTo>
                  <a:lnTo>
                    <a:pt x="265" y="253"/>
                  </a:lnTo>
                  <a:lnTo>
                    <a:pt x="267" y="253"/>
                  </a:lnTo>
                  <a:lnTo>
                    <a:pt x="267" y="251"/>
                  </a:lnTo>
                  <a:lnTo>
                    <a:pt x="265" y="251"/>
                  </a:lnTo>
                  <a:lnTo>
                    <a:pt x="265" y="251"/>
                  </a:lnTo>
                  <a:lnTo>
                    <a:pt x="265" y="248"/>
                  </a:lnTo>
                  <a:lnTo>
                    <a:pt x="265" y="248"/>
                  </a:lnTo>
                  <a:lnTo>
                    <a:pt x="265" y="248"/>
                  </a:lnTo>
                  <a:lnTo>
                    <a:pt x="265" y="246"/>
                  </a:lnTo>
                  <a:lnTo>
                    <a:pt x="265" y="246"/>
                  </a:lnTo>
                  <a:lnTo>
                    <a:pt x="265" y="243"/>
                  </a:lnTo>
                  <a:lnTo>
                    <a:pt x="265" y="243"/>
                  </a:lnTo>
                  <a:lnTo>
                    <a:pt x="262" y="241"/>
                  </a:lnTo>
                  <a:lnTo>
                    <a:pt x="262" y="241"/>
                  </a:lnTo>
                  <a:lnTo>
                    <a:pt x="262" y="241"/>
                  </a:lnTo>
                  <a:lnTo>
                    <a:pt x="265" y="241"/>
                  </a:lnTo>
                  <a:lnTo>
                    <a:pt x="265" y="241"/>
                  </a:lnTo>
                  <a:lnTo>
                    <a:pt x="267" y="241"/>
                  </a:lnTo>
                  <a:lnTo>
                    <a:pt x="267" y="241"/>
                  </a:lnTo>
                  <a:lnTo>
                    <a:pt x="267" y="239"/>
                  </a:lnTo>
                  <a:lnTo>
                    <a:pt x="267" y="239"/>
                  </a:lnTo>
                  <a:lnTo>
                    <a:pt x="267" y="239"/>
                  </a:lnTo>
                  <a:lnTo>
                    <a:pt x="267" y="239"/>
                  </a:lnTo>
                  <a:lnTo>
                    <a:pt x="267" y="236"/>
                  </a:lnTo>
                  <a:lnTo>
                    <a:pt x="267" y="236"/>
                  </a:lnTo>
                  <a:lnTo>
                    <a:pt x="269" y="239"/>
                  </a:lnTo>
                  <a:lnTo>
                    <a:pt x="272" y="236"/>
                  </a:lnTo>
                  <a:lnTo>
                    <a:pt x="269" y="236"/>
                  </a:lnTo>
                  <a:lnTo>
                    <a:pt x="269" y="234"/>
                  </a:lnTo>
                  <a:lnTo>
                    <a:pt x="269" y="234"/>
                  </a:lnTo>
                  <a:lnTo>
                    <a:pt x="269" y="234"/>
                  </a:lnTo>
                  <a:lnTo>
                    <a:pt x="272" y="234"/>
                  </a:lnTo>
                  <a:lnTo>
                    <a:pt x="274" y="236"/>
                  </a:lnTo>
                  <a:lnTo>
                    <a:pt x="274" y="234"/>
                  </a:lnTo>
                  <a:lnTo>
                    <a:pt x="276" y="234"/>
                  </a:lnTo>
                  <a:lnTo>
                    <a:pt x="274" y="234"/>
                  </a:lnTo>
                  <a:lnTo>
                    <a:pt x="274" y="234"/>
                  </a:lnTo>
                  <a:lnTo>
                    <a:pt x="274" y="234"/>
                  </a:lnTo>
                  <a:lnTo>
                    <a:pt x="274" y="234"/>
                  </a:lnTo>
                  <a:lnTo>
                    <a:pt x="274" y="234"/>
                  </a:lnTo>
                  <a:lnTo>
                    <a:pt x="274" y="234"/>
                  </a:lnTo>
                  <a:lnTo>
                    <a:pt x="274" y="232"/>
                  </a:lnTo>
                  <a:lnTo>
                    <a:pt x="272" y="232"/>
                  </a:lnTo>
                  <a:lnTo>
                    <a:pt x="272" y="232"/>
                  </a:lnTo>
                  <a:lnTo>
                    <a:pt x="272" y="229"/>
                  </a:lnTo>
                  <a:lnTo>
                    <a:pt x="272" y="229"/>
                  </a:lnTo>
                  <a:lnTo>
                    <a:pt x="272" y="229"/>
                  </a:lnTo>
                  <a:lnTo>
                    <a:pt x="272" y="229"/>
                  </a:lnTo>
                  <a:lnTo>
                    <a:pt x="269" y="229"/>
                  </a:lnTo>
                  <a:lnTo>
                    <a:pt x="269" y="232"/>
                  </a:lnTo>
                  <a:lnTo>
                    <a:pt x="267" y="229"/>
                  </a:lnTo>
                  <a:lnTo>
                    <a:pt x="267" y="227"/>
                  </a:lnTo>
                  <a:lnTo>
                    <a:pt x="267" y="225"/>
                  </a:lnTo>
                  <a:lnTo>
                    <a:pt x="267" y="225"/>
                  </a:lnTo>
                  <a:lnTo>
                    <a:pt x="267" y="225"/>
                  </a:lnTo>
                  <a:lnTo>
                    <a:pt x="267" y="225"/>
                  </a:lnTo>
                  <a:lnTo>
                    <a:pt x="265" y="222"/>
                  </a:lnTo>
                  <a:lnTo>
                    <a:pt x="265" y="222"/>
                  </a:lnTo>
                  <a:lnTo>
                    <a:pt x="265" y="220"/>
                  </a:lnTo>
                  <a:lnTo>
                    <a:pt x="265" y="222"/>
                  </a:lnTo>
                  <a:lnTo>
                    <a:pt x="265" y="220"/>
                  </a:lnTo>
                  <a:lnTo>
                    <a:pt x="262" y="220"/>
                  </a:lnTo>
                  <a:lnTo>
                    <a:pt x="265" y="215"/>
                  </a:lnTo>
                  <a:lnTo>
                    <a:pt x="267" y="215"/>
                  </a:lnTo>
                  <a:lnTo>
                    <a:pt x="267" y="215"/>
                  </a:lnTo>
                  <a:lnTo>
                    <a:pt x="267" y="215"/>
                  </a:lnTo>
                  <a:lnTo>
                    <a:pt x="267" y="215"/>
                  </a:lnTo>
                  <a:lnTo>
                    <a:pt x="267" y="213"/>
                  </a:lnTo>
                  <a:lnTo>
                    <a:pt x="269" y="213"/>
                  </a:lnTo>
                  <a:lnTo>
                    <a:pt x="269" y="213"/>
                  </a:lnTo>
                  <a:lnTo>
                    <a:pt x="269" y="210"/>
                  </a:lnTo>
                  <a:lnTo>
                    <a:pt x="269" y="210"/>
                  </a:lnTo>
                  <a:lnTo>
                    <a:pt x="272" y="210"/>
                  </a:lnTo>
                  <a:lnTo>
                    <a:pt x="274" y="213"/>
                  </a:lnTo>
                  <a:lnTo>
                    <a:pt x="274" y="213"/>
                  </a:lnTo>
                  <a:lnTo>
                    <a:pt x="274" y="208"/>
                  </a:lnTo>
                  <a:lnTo>
                    <a:pt x="276" y="208"/>
                  </a:lnTo>
                  <a:lnTo>
                    <a:pt x="276" y="208"/>
                  </a:lnTo>
                  <a:lnTo>
                    <a:pt x="279" y="208"/>
                  </a:lnTo>
                  <a:lnTo>
                    <a:pt x="281" y="206"/>
                  </a:lnTo>
                  <a:lnTo>
                    <a:pt x="283" y="206"/>
                  </a:lnTo>
                  <a:lnTo>
                    <a:pt x="283" y="203"/>
                  </a:lnTo>
                  <a:lnTo>
                    <a:pt x="286" y="201"/>
                  </a:lnTo>
                  <a:lnTo>
                    <a:pt x="286" y="201"/>
                  </a:lnTo>
                  <a:lnTo>
                    <a:pt x="286" y="201"/>
                  </a:lnTo>
                  <a:lnTo>
                    <a:pt x="286" y="199"/>
                  </a:lnTo>
                  <a:lnTo>
                    <a:pt x="286" y="199"/>
                  </a:lnTo>
                  <a:lnTo>
                    <a:pt x="286" y="196"/>
                  </a:lnTo>
                  <a:lnTo>
                    <a:pt x="286" y="196"/>
                  </a:lnTo>
                  <a:lnTo>
                    <a:pt x="286" y="196"/>
                  </a:lnTo>
                  <a:lnTo>
                    <a:pt x="288" y="196"/>
                  </a:lnTo>
                  <a:lnTo>
                    <a:pt x="291" y="196"/>
                  </a:lnTo>
                  <a:lnTo>
                    <a:pt x="295" y="194"/>
                  </a:lnTo>
                  <a:lnTo>
                    <a:pt x="295" y="194"/>
                  </a:lnTo>
                  <a:lnTo>
                    <a:pt x="293" y="194"/>
                  </a:lnTo>
                  <a:lnTo>
                    <a:pt x="293" y="192"/>
                  </a:lnTo>
                  <a:lnTo>
                    <a:pt x="293" y="192"/>
                  </a:lnTo>
                  <a:lnTo>
                    <a:pt x="293" y="189"/>
                  </a:lnTo>
                  <a:lnTo>
                    <a:pt x="293" y="187"/>
                  </a:lnTo>
                  <a:lnTo>
                    <a:pt x="293" y="184"/>
                  </a:lnTo>
                  <a:lnTo>
                    <a:pt x="293" y="184"/>
                  </a:lnTo>
                  <a:lnTo>
                    <a:pt x="293" y="184"/>
                  </a:lnTo>
                  <a:lnTo>
                    <a:pt x="293" y="182"/>
                  </a:lnTo>
                  <a:lnTo>
                    <a:pt x="293" y="180"/>
                  </a:lnTo>
                  <a:lnTo>
                    <a:pt x="295" y="177"/>
                  </a:lnTo>
                  <a:lnTo>
                    <a:pt x="295" y="175"/>
                  </a:lnTo>
                  <a:lnTo>
                    <a:pt x="295" y="175"/>
                  </a:lnTo>
                  <a:lnTo>
                    <a:pt x="295" y="173"/>
                  </a:lnTo>
                  <a:lnTo>
                    <a:pt x="295" y="173"/>
                  </a:lnTo>
                  <a:lnTo>
                    <a:pt x="293" y="175"/>
                  </a:lnTo>
                  <a:lnTo>
                    <a:pt x="291" y="175"/>
                  </a:lnTo>
                  <a:lnTo>
                    <a:pt x="291" y="175"/>
                  </a:lnTo>
                  <a:lnTo>
                    <a:pt x="291" y="175"/>
                  </a:lnTo>
                  <a:lnTo>
                    <a:pt x="291" y="173"/>
                  </a:lnTo>
                  <a:lnTo>
                    <a:pt x="293" y="170"/>
                  </a:lnTo>
                  <a:lnTo>
                    <a:pt x="293" y="168"/>
                  </a:lnTo>
                  <a:lnTo>
                    <a:pt x="293" y="168"/>
                  </a:lnTo>
                  <a:lnTo>
                    <a:pt x="293" y="166"/>
                  </a:lnTo>
                  <a:lnTo>
                    <a:pt x="295" y="163"/>
                  </a:lnTo>
                  <a:lnTo>
                    <a:pt x="295" y="158"/>
                  </a:lnTo>
                  <a:lnTo>
                    <a:pt x="293" y="158"/>
                  </a:lnTo>
                  <a:lnTo>
                    <a:pt x="293" y="156"/>
                  </a:lnTo>
                  <a:lnTo>
                    <a:pt x="295" y="156"/>
                  </a:lnTo>
                  <a:lnTo>
                    <a:pt x="298" y="158"/>
                  </a:lnTo>
                  <a:lnTo>
                    <a:pt x="300" y="158"/>
                  </a:lnTo>
                  <a:lnTo>
                    <a:pt x="300" y="158"/>
                  </a:lnTo>
                  <a:lnTo>
                    <a:pt x="302" y="156"/>
                  </a:lnTo>
                  <a:lnTo>
                    <a:pt x="302" y="156"/>
                  </a:lnTo>
                  <a:lnTo>
                    <a:pt x="305" y="154"/>
                  </a:lnTo>
                  <a:lnTo>
                    <a:pt x="305" y="154"/>
                  </a:lnTo>
                  <a:lnTo>
                    <a:pt x="307" y="149"/>
                  </a:lnTo>
                  <a:lnTo>
                    <a:pt x="309" y="149"/>
                  </a:lnTo>
                  <a:lnTo>
                    <a:pt x="312" y="147"/>
                  </a:lnTo>
                  <a:lnTo>
                    <a:pt x="312" y="147"/>
                  </a:lnTo>
                  <a:lnTo>
                    <a:pt x="312" y="144"/>
                  </a:lnTo>
                  <a:lnTo>
                    <a:pt x="312" y="144"/>
                  </a:lnTo>
                  <a:lnTo>
                    <a:pt x="314" y="142"/>
                  </a:lnTo>
                  <a:lnTo>
                    <a:pt x="314" y="140"/>
                  </a:lnTo>
                  <a:lnTo>
                    <a:pt x="314" y="137"/>
                  </a:lnTo>
                  <a:lnTo>
                    <a:pt x="314" y="137"/>
                  </a:lnTo>
                  <a:lnTo>
                    <a:pt x="314" y="132"/>
                  </a:lnTo>
                  <a:lnTo>
                    <a:pt x="314" y="132"/>
                  </a:lnTo>
                  <a:lnTo>
                    <a:pt x="314" y="130"/>
                  </a:lnTo>
                  <a:lnTo>
                    <a:pt x="317" y="128"/>
                  </a:lnTo>
                  <a:lnTo>
                    <a:pt x="317" y="125"/>
                  </a:lnTo>
                  <a:lnTo>
                    <a:pt x="319" y="121"/>
                  </a:lnTo>
                  <a:lnTo>
                    <a:pt x="321" y="114"/>
                  </a:lnTo>
                  <a:lnTo>
                    <a:pt x="319" y="111"/>
                  </a:lnTo>
                  <a:lnTo>
                    <a:pt x="319" y="111"/>
                  </a:lnTo>
                  <a:lnTo>
                    <a:pt x="319" y="109"/>
                  </a:lnTo>
                  <a:lnTo>
                    <a:pt x="321" y="104"/>
                  </a:lnTo>
                  <a:lnTo>
                    <a:pt x="321" y="102"/>
                  </a:lnTo>
                  <a:lnTo>
                    <a:pt x="321" y="102"/>
                  </a:lnTo>
                  <a:lnTo>
                    <a:pt x="319" y="99"/>
                  </a:lnTo>
                  <a:lnTo>
                    <a:pt x="314" y="99"/>
                  </a:lnTo>
                  <a:lnTo>
                    <a:pt x="312" y="99"/>
                  </a:lnTo>
                  <a:lnTo>
                    <a:pt x="312" y="99"/>
                  </a:lnTo>
                  <a:lnTo>
                    <a:pt x="312" y="99"/>
                  </a:lnTo>
                  <a:lnTo>
                    <a:pt x="309" y="99"/>
                  </a:lnTo>
                  <a:lnTo>
                    <a:pt x="309" y="99"/>
                  </a:lnTo>
                  <a:lnTo>
                    <a:pt x="307" y="95"/>
                  </a:lnTo>
                  <a:lnTo>
                    <a:pt x="309" y="92"/>
                  </a:lnTo>
                  <a:lnTo>
                    <a:pt x="309" y="90"/>
                  </a:lnTo>
                  <a:lnTo>
                    <a:pt x="309" y="90"/>
                  </a:lnTo>
                  <a:lnTo>
                    <a:pt x="312" y="90"/>
                  </a:lnTo>
                  <a:lnTo>
                    <a:pt x="314" y="90"/>
                  </a:lnTo>
                  <a:lnTo>
                    <a:pt x="319" y="90"/>
                  </a:lnTo>
                  <a:lnTo>
                    <a:pt x="319" y="90"/>
                  </a:lnTo>
                  <a:lnTo>
                    <a:pt x="321" y="90"/>
                  </a:lnTo>
                  <a:lnTo>
                    <a:pt x="321" y="90"/>
                  </a:lnTo>
                  <a:lnTo>
                    <a:pt x="321" y="90"/>
                  </a:lnTo>
                  <a:lnTo>
                    <a:pt x="321" y="88"/>
                  </a:lnTo>
                  <a:lnTo>
                    <a:pt x="324" y="88"/>
                  </a:lnTo>
                  <a:lnTo>
                    <a:pt x="324" y="88"/>
                  </a:lnTo>
                  <a:lnTo>
                    <a:pt x="326" y="85"/>
                  </a:lnTo>
                  <a:lnTo>
                    <a:pt x="328" y="85"/>
                  </a:lnTo>
                  <a:lnTo>
                    <a:pt x="328" y="83"/>
                  </a:lnTo>
                  <a:lnTo>
                    <a:pt x="328" y="81"/>
                  </a:lnTo>
                  <a:lnTo>
                    <a:pt x="328" y="81"/>
                  </a:lnTo>
                  <a:lnTo>
                    <a:pt x="328" y="81"/>
                  </a:lnTo>
                  <a:lnTo>
                    <a:pt x="328" y="76"/>
                  </a:lnTo>
                  <a:lnTo>
                    <a:pt x="331" y="73"/>
                  </a:lnTo>
                  <a:lnTo>
                    <a:pt x="331" y="73"/>
                  </a:lnTo>
                  <a:lnTo>
                    <a:pt x="328" y="73"/>
                  </a:lnTo>
                  <a:lnTo>
                    <a:pt x="328" y="71"/>
                  </a:lnTo>
                  <a:lnTo>
                    <a:pt x="331" y="71"/>
                  </a:lnTo>
                  <a:lnTo>
                    <a:pt x="331" y="64"/>
                  </a:lnTo>
                  <a:lnTo>
                    <a:pt x="331" y="62"/>
                  </a:lnTo>
                  <a:lnTo>
                    <a:pt x="328" y="59"/>
                  </a:lnTo>
                  <a:lnTo>
                    <a:pt x="328" y="59"/>
                  </a:lnTo>
                  <a:lnTo>
                    <a:pt x="326" y="57"/>
                  </a:lnTo>
                  <a:lnTo>
                    <a:pt x="331" y="52"/>
                  </a:lnTo>
                  <a:lnTo>
                    <a:pt x="331" y="52"/>
                  </a:lnTo>
                  <a:lnTo>
                    <a:pt x="328" y="50"/>
                  </a:lnTo>
                  <a:lnTo>
                    <a:pt x="331" y="47"/>
                  </a:lnTo>
                  <a:lnTo>
                    <a:pt x="333" y="45"/>
                  </a:lnTo>
                  <a:lnTo>
                    <a:pt x="333" y="43"/>
                  </a:lnTo>
                  <a:lnTo>
                    <a:pt x="333" y="40"/>
                  </a:lnTo>
                  <a:lnTo>
                    <a:pt x="335" y="38"/>
                  </a:lnTo>
                  <a:lnTo>
                    <a:pt x="335" y="38"/>
                  </a:lnTo>
                  <a:lnTo>
                    <a:pt x="331" y="38"/>
                  </a:lnTo>
                  <a:lnTo>
                    <a:pt x="331" y="38"/>
                  </a:lnTo>
                  <a:lnTo>
                    <a:pt x="331" y="36"/>
                  </a:lnTo>
                  <a:lnTo>
                    <a:pt x="328" y="36"/>
                  </a:lnTo>
                  <a:lnTo>
                    <a:pt x="328" y="31"/>
                  </a:lnTo>
                  <a:lnTo>
                    <a:pt x="331" y="29"/>
                  </a:lnTo>
                  <a:lnTo>
                    <a:pt x="328" y="24"/>
                  </a:lnTo>
                  <a:lnTo>
                    <a:pt x="331" y="21"/>
                  </a:lnTo>
                  <a:lnTo>
                    <a:pt x="333" y="21"/>
                  </a:lnTo>
                  <a:lnTo>
                    <a:pt x="335" y="21"/>
                  </a:lnTo>
                  <a:lnTo>
                    <a:pt x="335" y="21"/>
                  </a:lnTo>
                  <a:lnTo>
                    <a:pt x="338" y="21"/>
                  </a:lnTo>
                  <a:lnTo>
                    <a:pt x="338" y="17"/>
                  </a:lnTo>
                  <a:lnTo>
                    <a:pt x="340" y="14"/>
                  </a:lnTo>
                  <a:lnTo>
                    <a:pt x="340" y="17"/>
                  </a:lnTo>
                  <a:lnTo>
                    <a:pt x="340" y="17"/>
                  </a:lnTo>
                  <a:lnTo>
                    <a:pt x="340" y="14"/>
                  </a:lnTo>
                  <a:lnTo>
                    <a:pt x="340" y="12"/>
                  </a:lnTo>
                  <a:lnTo>
                    <a:pt x="343" y="12"/>
                  </a:lnTo>
                  <a:lnTo>
                    <a:pt x="343" y="12"/>
                  </a:lnTo>
                  <a:lnTo>
                    <a:pt x="343" y="14"/>
                  </a:lnTo>
                  <a:lnTo>
                    <a:pt x="343" y="17"/>
                  </a:lnTo>
                  <a:lnTo>
                    <a:pt x="343" y="17"/>
                  </a:lnTo>
                  <a:lnTo>
                    <a:pt x="343" y="14"/>
                  </a:lnTo>
                  <a:lnTo>
                    <a:pt x="343" y="12"/>
                  </a:lnTo>
                  <a:lnTo>
                    <a:pt x="343" y="10"/>
                  </a:lnTo>
                  <a:lnTo>
                    <a:pt x="343" y="10"/>
                  </a:lnTo>
                  <a:lnTo>
                    <a:pt x="345" y="10"/>
                  </a:lnTo>
                  <a:lnTo>
                    <a:pt x="347" y="5"/>
                  </a:lnTo>
                  <a:lnTo>
                    <a:pt x="347" y="7"/>
                  </a:lnTo>
                  <a:lnTo>
                    <a:pt x="347" y="5"/>
                  </a:lnTo>
                  <a:lnTo>
                    <a:pt x="347" y="3"/>
                  </a:lnTo>
                  <a:lnTo>
                    <a:pt x="347" y="3"/>
                  </a:lnTo>
                  <a:lnTo>
                    <a:pt x="347" y="5"/>
                  </a:lnTo>
                  <a:lnTo>
                    <a:pt x="347" y="7"/>
                  </a:lnTo>
                  <a:lnTo>
                    <a:pt x="350" y="7"/>
                  </a:lnTo>
                  <a:lnTo>
                    <a:pt x="350" y="3"/>
                  </a:lnTo>
                  <a:lnTo>
                    <a:pt x="350" y="3"/>
                  </a:lnTo>
                  <a:lnTo>
                    <a:pt x="350" y="3"/>
                  </a:lnTo>
                  <a:lnTo>
                    <a:pt x="350" y="0"/>
                  </a:lnTo>
                  <a:lnTo>
                    <a:pt x="352" y="0"/>
                  </a:lnTo>
                  <a:lnTo>
                    <a:pt x="352" y="3"/>
                  </a:lnTo>
                  <a:lnTo>
                    <a:pt x="352" y="3"/>
                  </a:lnTo>
                  <a:lnTo>
                    <a:pt x="352" y="3"/>
                  </a:lnTo>
                  <a:lnTo>
                    <a:pt x="352" y="3"/>
                  </a:lnTo>
                  <a:lnTo>
                    <a:pt x="352" y="3"/>
                  </a:lnTo>
                  <a:lnTo>
                    <a:pt x="352" y="5"/>
                  </a:lnTo>
                  <a:lnTo>
                    <a:pt x="354" y="5"/>
                  </a:lnTo>
                  <a:lnTo>
                    <a:pt x="354" y="7"/>
                  </a:lnTo>
                  <a:lnTo>
                    <a:pt x="352" y="7"/>
                  </a:lnTo>
                  <a:lnTo>
                    <a:pt x="352" y="7"/>
                  </a:lnTo>
                  <a:lnTo>
                    <a:pt x="350" y="7"/>
                  </a:lnTo>
                  <a:lnTo>
                    <a:pt x="350" y="7"/>
                  </a:lnTo>
                  <a:lnTo>
                    <a:pt x="352" y="7"/>
                  </a:lnTo>
                  <a:lnTo>
                    <a:pt x="352" y="10"/>
                  </a:lnTo>
                  <a:lnTo>
                    <a:pt x="352" y="10"/>
                  </a:lnTo>
                  <a:lnTo>
                    <a:pt x="350" y="10"/>
                  </a:lnTo>
                  <a:lnTo>
                    <a:pt x="352" y="10"/>
                  </a:lnTo>
                  <a:lnTo>
                    <a:pt x="352" y="10"/>
                  </a:lnTo>
                  <a:lnTo>
                    <a:pt x="354" y="10"/>
                  </a:lnTo>
                  <a:lnTo>
                    <a:pt x="354" y="7"/>
                  </a:lnTo>
                  <a:lnTo>
                    <a:pt x="354" y="10"/>
                  </a:lnTo>
                  <a:lnTo>
                    <a:pt x="354" y="12"/>
                  </a:lnTo>
                  <a:lnTo>
                    <a:pt x="354" y="12"/>
                  </a:lnTo>
                  <a:lnTo>
                    <a:pt x="352" y="12"/>
                  </a:lnTo>
                  <a:lnTo>
                    <a:pt x="350" y="12"/>
                  </a:lnTo>
                  <a:lnTo>
                    <a:pt x="350" y="14"/>
                  </a:lnTo>
                  <a:lnTo>
                    <a:pt x="350" y="14"/>
                  </a:lnTo>
                  <a:lnTo>
                    <a:pt x="350" y="17"/>
                  </a:lnTo>
                  <a:lnTo>
                    <a:pt x="350" y="14"/>
                  </a:lnTo>
                  <a:lnTo>
                    <a:pt x="350" y="17"/>
                  </a:lnTo>
                  <a:lnTo>
                    <a:pt x="350" y="17"/>
                  </a:lnTo>
                  <a:lnTo>
                    <a:pt x="352" y="17"/>
                  </a:lnTo>
                  <a:lnTo>
                    <a:pt x="350" y="14"/>
                  </a:lnTo>
                  <a:lnTo>
                    <a:pt x="352" y="12"/>
                  </a:lnTo>
                  <a:lnTo>
                    <a:pt x="352" y="12"/>
                  </a:lnTo>
                  <a:lnTo>
                    <a:pt x="352" y="14"/>
                  </a:lnTo>
                  <a:lnTo>
                    <a:pt x="354" y="12"/>
                  </a:lnTo>
                  <a:lnTo>
                    <a:pt x="357" y="12"/>
                  </a:lnTo>
                  <a:lnTo>
                    <a:pt x="354" y="14"/>
                  </a:lnTo>
                  <a:lnTo>
                    <a:pt x="354" y="17"/>
                  </a:lnTo>
                  <a:lnTo>
                    <a:pt x="357" y="17"/>
                  </a:lnTo>
                  <a:lnTo>
                    <a:pt x="354" y="17"/>
                  </a:lnTo>
                  <a:lnTo>
                    <a:pt x="354" y="19"/>
                  </a:lnTo>
                  <a:lnTo>
                    <a:pt x="354" y="21"/>
                  </a:lnTo>
                  <a:lnTo>
                    <a:pt x="354" y="21"/>
                  </a:lnTo>
                  <a:lnTo>
                    <a:pt x="354" y="26"/>
                  </a:lnTo>
                  <a:lnTo>
                    <a:pt x="354" y="26"/>
                  </a:lnTo>
                  <a:lnTo>
                    <a:pt x="357" y="26"/>
                  </a:lnTo>
                  <a:lnTo>
                    <a:pt x="357" y="21"/>
                  </a:lnTo>
                  <a:lnTo>
                    <a:pt x="357" y="19"/>
                  </a:lnTo>
                  <a:lnTo>
                    <a:pt x="359" y="12"/>
                  </a:lnTo>
                  <a:lnTo>
                    <a:pt x="361" y="14"/>
                  </a:lnTo>
                  <a:lnTo>
                    <a:pt x="359" y="12"/>
                  </a:lnTo>
                  <a:lnTo>
                    <a:pt x="361" y="10"/>
                  </a:lnTo>
                  <a:lnTo>
                    <a:pt x="364" y="10"/>
                  </a:lnTo>
                  <a:lnTo>
                    <a:pt x="364" y="10"/>
                  </a:lnTo>
                  <a:lnTo>
                    <a:pt x="364" y="7"/>
                  </a:lnTo>
                  <a:lnTo>
                    <a:pt x="364" y="7"/>
                  </a:lnTo>
                  <a:lnTo>
                    <a:pt x="364" y="7"/>
                  </a:lnTo>
                  <a:lnTo>
                    <a:pt x="364" y="7"/>
                  </a:lnTo>
                  <a:lnTo>
                    <a:pt x="366" y="5"/>
                  </a:lnTo>
                  <a:lnTo>
                    <a:pt x="366" y="5"/>
                  </a:lnTo>
                  <a:lnTo>
                    <a:pt x="366" y="3"/>
                  </a:lnTo>
                  <a:lnTo>
                    <a:pt x="364" y="3"/>
                  </a:lnTo>
                  <a:lnTo>
                    <a:pt x="366" y="3"/>
                  </a:lnTo>
                  <a:lnTo>
                    <a:pt x="369" y="0"/>
                  </a:lnTo>
                  <a:lnTo>
                    <a:pt x="366" y="0"/>
                  </a:lnTo>
                  <a:lnTo>
                    <a:pt x="369" y="0"/>
                  </a:lnTo>
                  <a:lnTo>
                    <a:pt x="369" y="0"/>
                  </a:lnTo>
                  <a:lnTo>
                    <a:pt x="369" y="0"/>
                  </a:lnTo>
                  <a:lnTo>
                    <a:pt x="369" y="3"/>
                  </a:lnTo>
                  <a:lnTo>
                    <a:pt x="369" y="7"/>
                  </a:lnTo>
                  <a:lnTo>
                    <a:pt x="369" y="7"/>
                  </a:lnTo>
                  <a:lnTo>
                    <a:pt x="369" y="7"/>
                  </a:lnTo>
                  <a:lnTo>
                    <a:pt x="369" y="7"/>
                  </a:lnTo>
                  <a:lnTo>
                    <a:pt x="366" y="10"/>
                  </a:lnTo>
                  <a:lnTo>
                    <a:pt x="366" y="10"/>
                  </a:lnTo>
                  <a:lnTo>
                    <a:pt x="366" y="12"/>
                  </a:lnTo>
                  <a:lnTo>
                    <a:pt x="364" y="12"/>
                  </a:lnTo>
                  <a:lnTo>
                    <a:pt x="364" y="12"/>
                  </a:lnTo>
                  <a:lnTo>
                    <a:pt x="359" y="17"/>
                  </a:lnTo>
                  <a:lnTo>
                    <a:pt x="359" y="17"/>
                  </a:lnTo>
                  <a:lnTo>
                    <a:pt x="359" y="19"/>
                  </a:lnTo>
                  <a:lnTo>
                    <a:pt x="359" y="19"/>
                  </a:lnTo>
                  <a:lnTo>
                    <a:pt x="361" y="19"/>
                  </a:lnTo>
                  <a:lnTo>
                    <a:pt x="359" y="19"/>
                  </a:lnTo>
                  <a:lnTo>
                    <a:pt x="359" y="19"/>
                  </a:lnTo>
                  <a:lnTo>
                    <a:pt x="359" y="21"/>
                  </a:lnTo>
                  <a:lnTo>
                    <a:pt x="361" y="19"/>
                  </a:lnTo>
                  <a:lnTo>
                    <a:pt x="361" y="17"/>
                  </a:lnTo>
                  <a:lnTo>
                    <a:pt x="364" y="14"/>
                  </a:lnTo>
                  <a:lnTo>
                    <a:pt x="364" y="14"/>
                  </a:lnTo>
                  <a:lnTo>
                    <a:pt x="366" y="14"/>
                  </a:lnTo>
                  <a:lnTo>
                    <a:pt x="366" y="14"/>
                  </a:lnTo>
                  <a:lnTo>
                    <a:pt x="366" y="17"/>
                  </a:lnTo>
                  <a:lnTo>
                    <a:pt x="366" y="17"/>
                  </a:lnTo>
                  <a:lnTo>
                    <a:pt x="364" y="17"/>
                  </a:lnTo>
                  <a:lnTo>
                    <a:pt x="364" y="17"/>
                  </a:lnTo>
                  <a:lnTo>
                    <a:pt x="364" y="17"/>
                  </a:lnTo>
                  <a:lnTo>
                    <a:pt x="364" y="19"/>
                  </a:lnTo>
                  <a:lnTo>
                    <a:pt x="364" y="19"/>
                  </a:lnTo>
                  <a:lnTo>
                    <a:pt x="364" y="19"/>
                  </a:lnTo>
                  <a:lnTo>
                    <a:pt x="364" y="19"/>
                  </a:lnTo>
                  <a:lnTo>
                    <a:pt x="366" y="17"/>
                  </a:lnTo>
                  <a:lnTo>
                    <a:pt x="366" y="17"/>
                  </a:lnTo>
                  <a:lnTo>
                    <a:pt x="366" y="17"/>
                  </a:lnTo>
                  <a:lnTo>
                    <a:pt x="364" y="19"/>
                  </a:lnTo>
                  <a:lnTo>
                    <a:pt x="366" y="19"/>
                  </a:lnTo>
                  <a:lnTo>
                    <a:pt x="366" y="21"/>
                  </a:lnTo>
                  <a:lnTo>
                    <a:pt x="364" y="21"/>
                  </a:lnTo>
                  <a:lnTo>
                    <a:pt x="364" y="21"/>
                  </a:lnTo>
                  <a:lnTo>
                    <a:pt x="361" y="24"/>
                  </a:lnTo>
                  <a:lnTo>
                    <a:pt x="359" y="24"/>
                  </a:lnTo>
                  <a:lnTo>
                    <a:pt x="361" y="26"/>
                  </a:lnTo>
                  <a:lnTo>
                    <a:pt x="361" y="26"/>
                  </a:lnTo>
                  <a:lnTo>
                    <a:pt x="359" y="26"/>
                  </a:lnTo>
                  <a:lnTo>
                    <a:pt x="359" y="26"/>
                  </a:lnTo>
                  <a:lnTo>
                    <a:pt x="359" y="26"/>
                  </a:lnTo>
                  <a:lnTo>
                    <a:pt x="361" y="26"/>
                  </a:lnTo>
                  <a:lnTo>
                    <a:pt x="359" y="29"/>
                  </a:lnTo>
                  <a:lnTo>
                    <a:pt x="361" y="29"/>
                  </a:lnTo>
                  <a:lnTo>
                    <a:pt x="361" y="29"/>
                  </a:lnTo>
                  <a:lnTo>
                    <a:pt x="361" y="26"/>
                  </a:lnTo>
                  <a:lnTo>
                    <a:pt x="361" y="26"/>
                  </a:lnTo>
                  <a:lnTo>
                    <a:pt x="361" y="26"/>
                  </a:lnTo>
                  <a:lnTo>
                    <a:pt x="364" y="24"/>
                  </a:lnTo>
                  <a:lnTo>
                    <a:pt x="366" y="24"/>
                  </a:lnTo>
                  <a:lnTo>
                    <a:pt x="369" y="21"/>
                  </a:lnTo>
                  <a:lnTo>
                    <a:pt x="369" y="24"/>
                  </a:lnTo>
                  <a:lnTo>
                    <a:pt x="366" y="26"/>
                  </a:lnTo>
                  <a:lnTo>
                    <a:pt x="366" y="26"/>
                  </a:lnTo>
                  <a:lnTo>
                    <a:pt x="366" y="26"/>
                  </a:lnTo>
                  <a:lnTo>
                    <a:pt x="369" y="24"/>
                  </a:lnTo>
                  <a:lnTo>
                    <a:pt x="369" y="26"/>
                  </a:lnTo>
                  <a:lnTo>
                    <a:pt x="364" y="29"/>
                  </a:lnTo>
                  <a:lnTo>
                    <a:pt x="364" y="29"/>
                  </a:lnTo>
                  <a:lnTo>
                    <a:pt x="366" y="29"/>
                  </a:lnTo>
                  <a:lnTo>
                    <a:pt x="366" y="31"/>
                  </a:lnTo>
                  <a:lnTo>
                    <a:pt x="366" y="31"/>
                  </a:lnTo>
                  <a:lnTo>
                    <a:pt x="366" y="31"/>
                  </a:lnTo>
                  <a:lnTo>
                    <a:pt x="366" y="31"/>
                  </a:lnTo>
                  <a:lnTo>
                    <a:pt x="366" y="29"/>
                  </a:lnTo>
                  <a:lnTo>
                    <a:pt x="369" y="26"/>
                  </a:lnTo>
                  <a:lnTo>
                    <a:pt x="369" y="21"/>
                  </a:lnTo>
                  <a:lnTo>
                    <a:pt x="369" y="19"/>
                  </a:lnTo>
                  <a:lnTo>
                    <a:pt x="371" y="21"/>
                  </a:lnTo>
                  <a:lnTo>
                    <a:pt x="373" y="24"/>
                  </a:lnTo>
                  <a:lnTo>
                    <a:pt x="371" y="26"/>
                  </a:lnTo>
                  <a:lnTo>
                    <a:pt x="371" y="29"/>
                  </a:lnTo>
                  <a:lnTo>
                    <a:pt x="373" y="24"/>
                  </a:lnTo>
                  <a:lnTo>
                    <a:pt x="371" y="19"/>
                  </a:lnTo>
                  <a:lnTo>
                    <a:pt x="373" y="17"/>
                  </a:lnTo>
                  <a:lnTo>
                    <a:pt x="373" y="17"/>
                  </a:lnTo>
                  <a:lnTo>
                    <a:pt x="376" y="17"/>
                  </a:lnTo>
                  <a:lnTo>
                    <a:pt x="376" y="17"/>
                  </a:lnTo>
                  <a:lnTo>
                    <a:pt x="376" y="17"/>
                  </a:lnTo>
                  <a:lnTo>
                    <a:pt x="376" y="19"/>
                  </a:lnTo>
                  <a:lnTo>
                    <a:pt x="373" y="19"/>
                  </a:lnTo>
                  <a:lnTo>
                    <a:pt x="373" y="21"/>
                  </a:lnTo>
                  <a:lnTo>
                    <a:pt x="373" y="21"/>
                  </a:lnTo>
                  <a:lnTo>
                    <a:pt x="376" y="24"/>
                  </a:lnTo>
                  <a:lnTo>
                    <a:pt x="371" y="29"/>
                  </a:lnTo>
                  <a:lnTo>
                    <a:pt x="373" y="29"/>
                  </a:lnTo>
                  <a:lnTo>
                    <a:pt x="373" y="29"/>
                  </a:lnTo>
                  <a:lnTo>
                    <a:pt x="373" y="29"/>
                  </a:lnTo>
                  <a:lnTo>
                    <a:pt x="373" y="29"/>
                  </a:lnTo>
                  <a:lnTo>
                    <a:pt x="373" y="29"/>
                  </a:lnTo>
                  <a:lnTo>
                    <a:pt x="376" y="29"/>
                  </a:lnTo>
                  <a:lnTo>
                    <a:pt x="373" y="26"/>
                  </a:lnTo>
                  <a:lnTo>
                    <a:pt x="376" y="26"/>
                  </a:lnTo>
                  <a:lnTo>
                    <a:pt x="376" y="26"/>
                  </a:lnTo>
                  <a:lnTo>
                    <a:pt x="376" y="29"/>
                  </a:lnTo>
                  <a:lnTo>
                    <a:pt x="376" y="29"/>
                  </a:lnTo>
                  <a:lnTo>
                    <a:pt x="376" y="29"/>
                  </a:lnTo>
                  <a:lnTo>
                    <a:pt x="373" y="31"/>
                  </a:lnTo>
                  <a:lnTo>
                    <a:pt x="373" y="31"/>
                  </a:lnTo>
                  <a:lnTo>
                    <a:pt x="373" y="31"/>
                  </a:lnTo>
                  <a:lnTo>
                    <a:pt x="373" y="31"/>
                  </a:lnTo>
                  <a:lnTo>
                    <a:pt x="376" y="31"/>
                  </a:lnTo>
                  <a:lnTo>
                    <a:pt x="376" y="31"/>
                  </a:lnTo>
                  <a:lnTo>
                    <a:pt x="376" y="31"/>
                  </a:lnTo>
                  <a:lnTo>
                    <a:pt x="378" y="31"/>
                  </a:lnTo>
                  <a:lnTo>
                    <a:pt x="376" y="31"/>
                  </a:lnTo>
                  <a:lnTo>
                    <a:pt x="376" y="26"/>
                  </a:lnTo>
                  <a:lnTo>
                    <a:pt x="378" y="24"/>
                  </a:lnTo>
                  <a:lnTo>
                    <a:pt x="378" y="19"/>
                  </a:lnTo>
                  <a:lnTo>
                    <a:pt x="378" y="19"/>
                  </a:lnTo>
                  <a:lnTo>
                    <a:pt x="378" y="19"/>
                  </a:lnTo>
                  <a:lnTo>
                    <a:pt x="378" y="19"/>
                  </a:lnTo>
                  <a:lnTo>
                    <a:pt x="378" y="21"/>
                  </a:lnTo>
                  <a:lnTo>
                    <a:pt x="380" y="17"/>
                  </a:lnTo>
                  <a:lnTo>
                    <a:pt x="380" y="17"/>
                  </a:lnTo>
                  <a:lnTo>
                    <a:pt x="383" y="17"/>
                  </a:lnTo>
                  <a:lnTo>
                    <a:pt x="383" y="14"/>
                  </a:lnTo>
                  <a:lnTo>
                    <a:pt x="383" y="14"/>
                  </a:lnTo>
                  <a:lnTo>
                    <a:pt x="383" y="12"/>
                  </a:lnTo>
                  <a:lnTo>
                    <a:pt x="383" y="12"/>
                  </a:lnTo>
                  <a:lnTo>
                    <a:pt x="385" y="12"/>
                  </a:lnTo>
                  <a:lnTo>
                    <a:pt x="387" y="12"/>
                  </a:lnTo>
                  <a:lnTo>
                    <a:pt x="387" y="12"/>
                  </a:lnTo>
                  <a:lnTo>
                    <a:pt x="390" y="12"/>
                  </a:lnTo>
                  <a:lnTo>
                    <a:pt x="390" y="14"/>
                  </a:lnTo>
                  <a:lnTo>
                    <a:pt x="387" y="14"/>
                  </a:lnTo>
                  <a:lnTo>
                    <a:pt x="387" y="17"/>
                  </a:lnTo>
                  <a:lnTo>
                    <a:pt x="387" y="14"/>
                  </a:lnTo>
                  <a:lnTo>
                    <a:pt x="387" y="17"/>
                  </a:lnTo>
                  <a:lnTo>
                    <a:pt x="387" y="17"/>
                  </a:lnTo>
                  <a:lnTo>
                    <a:pt x="387" y="17"/>
                  </a:lnTo>
                  <a:lnTo>
                    <a:pt x="385" y="19"/>
                  </a:lnTo>
                  <a:lnTo>
                    <a:pt x="385" y="19"/>
                  </a:lnTo>
                  <a:lnTo>
                    <a:pt x="383" y="21"/>
                  </a:lnTo>
                  <a:lnTo>
                    <a:pt x="383" y="21"/>
                  </a:lnTo>
                  <a:lnTo>
                    <a:pt x="383" y="21"/>
                  </a:lnTo>
                  <a:lnTo>
                    <a:pt x="383" y="24"/>
                  </a:lnTo>
                  <a:lnTo>
                    <a:pt x="383" y="26"/>
                  </a:lnTo>
                  <a:lnTo>
                    <a:pt x="380" y="26"/>
                  </a:lnTo>
                  <a:lnTo>
                    <a:pt x="383" y="26"/>
                  </a:lnTo>
                  <a:lnTo>
                    <a:pt x="383" y="26"/>
                  </a:lnTo>
                  <a:lnTo>
                    <a:pt x="385" y="26"/>
                  </a:lnTo>
                  <a:lnTo>
                    <a:pt x="385" y="29"/>
                  </a:lnTo>
                  <a:lnTo>
                    <a:pt x="387" y="31"/>
                  </a:lnTo>
                  <a:lnTo>
                    <a:pt x="387" y="31"/>
                  </a:lnTo>
                  <a:lnTo>
                    <a:pt x="385" y="33"/>
                  </a:lnTo>
                  <a:lnTo>
                    <a:pt x="387" y="36"/>
                  </a:lnTo>
                  <a:lnTo>
                    <a:pt x="385" y="36"/>
                  </a:lnTo>
                  <a:lnTo>
                    <a:pt x="383" y="38"/>
                  </a:lnTo>
                  <a:lnTo>
                    <a:pt x="383" y="40"/>
                  </a:lnTo>
                  <a:lnTo>
                    <a:pt x="383" y="40"/>
                  </a:lnTo>
                  <a:lnTo>
                    <a:pt x="383" y="40"/>
                  </a:lnTo>
                  <a:lnTo>
                    <a:pt x="385" y="38"/>
                  </a:lnTo>
                  <a:lnTo>
                    <a:pt x="385" y="36"/>
                  </a:lnTo>
                  <a:lnTo>
                    <a:pt x="385" y="36"/>
                  </a:lnTo>
                  <a:lnTo>
                    <a:pt x="385" y="36"/>
                  </a:lnTo>
                  <a:lnTo>
                    <a:pt x="387" y="36"/>
                  </a:lnTo>
                  <a:lnTo>
                    <a:pt x="387" y="36"/>
                  </a:lnTo>
                  <a:lnTo>
                    <a:pt x="387" y="38"/>
                  </a:lnTo>
                  <a:lnTo>
                    <a:pt x="390" y="40"/>
                  </a:lnTo>
                  <a:lnTo>
                    <a:pt x="385" y="40"/>
                  </a:lnTo>
                  <a:lnTo>
                    <a:pt x="385" y="43"/>
                  </a:lnTo>
                  <a:lnTo>
                    <a:pt x="385" y="43"/>
                  </a:lnTo>
                  <a:lnTo>
                    <a:pt x="385" y="45"/>
                  </a:lnTo>
                  <a:lnTo>
                    <a:pt x="383" y="45"/>
                  </a:lnTo>
                  <a:lnTo>
                    <a:pt x="383" y="45"/>
                  </a:lnTo>
                  <a:lnTo>
                    <a:pt x="380" y="43"/>
                  </a:lnTo>
                  <a:lnTo>
                    <a:pt x="380" y="43"/>
                  </a:lnTo>
                  <a:lnTo>
                    <a:pt x="380" y="45"/>
                  </a:lnTo>
                  <a:lnTo>
                    <a:pt x="380" y="45"/>
                  </a:lnTo>
                  <a:lnTo>
                    <a:pt x="383" y="45"/>
                  </a:lnTo>
                  <a:lnTo>
                    <a:pt x="383" y="45"/>
                  </a:lnTo>
                  <a:lnTo>
                    <a:pt x="385" y="45"/>
                  </a:lnTo>
                  <a:lnTo>
                    <a:pt x="385" y="43"/>
                  </a:lnTo>
                  <a:lnTo>
                    <a:pt x="387" y="40"/>
                  </a:lnTo>
                  <a:lnTo>
                    <a:pt x="390" y="40"/>
                  </a:lnTo>
                  <a:lnTo>
                    <a:pt x="390" y="40"/>
                  </a:lnTo>
                  <a:lnTo>
                    <a:pt x="390" y="38"/>
                  </a:lnTo>
                  <a:lnTo>
                    <a:pt x="387" y="38"/>
                  </a:lnTo>
                  <a:lnTo>
                    <a:pt x="387" y="38"/>
                  </a:lnTo>
                  <a:lnTo>
                    <a:pt x="390" y="36"/>
                  </a:lnTo>
                  <a:lnTo>
                    <a:pt x="390" y="36"/>
                  </a:lnTo>
                  <a:lnTo>
                    <a:pt x="390" y="33"/>
                  </a:lnTo>
                  <a:lnTo>
                    <a:pt x="390" y="36"/>
                  </a:lnTo>
                  <a:lnTo>
                    <a:pt x="387" y="36"/>
                  </a:lnTo>
                  <a:lnTo>
                    <a:pt x="387" y="36"/>
                  </a:lnTo>
                  <a:lnTo>
                    <a:pt x="387" y="36"/>
                  </a:lnTo>
                  <a:lnTo>
                    <a:pt x="387" y="33"/>
                  </a:lnTo>
                  <a:lnTo>
                    <a:pt x="387" y="33"/>
                  </a:lnTo>
                  <a:lnTo>
                    <a:pt x="390" y="33"/>
                  </a:lnTo>
                  <a:lnTo>
                    <a:pt x="387" y="33"/>
                  </a:lnTo>
                  <a:lnTo>
                    <a:pt x="387" y="31"/>
                  </a:lnTo>
                  <a:lnTo>
                    <a:pt x="392" y="29"/>
                  </a:lnTo>
                  <a:lnTo>
                    <a:pt x="392" y="31"/>
                  </a:lnTo>
                  <a:lnTo>
                    <a:pt x="392" y="29"/>
                  </a:lnTo>
                  <a:lnTo>
                    <a:pt x="394" y="26"/>
                  </a:lnTo>
                  <a:lnTo>
                    <a:pt x="394" y="26"/>
                  </a:lnTo>
                  <a:lnTo>
                    <a:pt x="394" y="29"/>
                  </a:lnTo>
                  <a:lnTo>
                    <a:pt x="392" y="29"/>
                  </a:lnTo>
                  <a:lnTo>
                    <a:pt x="392" y="26"/>
                  </a:lnTo>
                  <a:lnTo>
                    <a:pt x="394" y="26"/>
                  </a:lnTo>
                  <a:lnTo>
                    <a:pt x="394" y="26"/>
                  </a:lnTo>
                  <a:lnTo>
                    <a:pt x="394" y="21"/>
                  </a:lnTo>
                  <a:lnTo>
                    <a:pt x="394" y="19"/>
                  </a:lnTo>
                  <a:lnTo>
                    <a:pt x="394" y="17"/>
                  </a:lnTo>
                  <a:lnTo>
                    <a:pt x="394" y="14"/>
                  </a:lnTo>
                  <a:lnTo>
                    <a:pt x="397" y="12"/>
                  </a:lnTo>
                  <a:lnTo>
                    <a:pt x="397" y="12"/>
                  </a:lnTo>
                  <a:lnTo>
                    <a:pt x="397" y="12"/>
                  </a:lnTo>
                  <a:lnTo>
                    <a:pt x="397" y="12"/>
                  </a:lnTo>
                  <a:lnTo>
                    <a:pt x="394" y="12"/>
                  </a:lnTo>
                  <a:lnTo>
                    <a:pt x="397" y="10"/>
                  </a:lnTo>
                  <a:lnTo>
                    <a:pt x="397" y="10"/>
                  </a:lnTo>
                  <a:lnTo>
                    <a:pt x="397" y="12"/>
                  </a:lnTo>
                  <a:lnTo>
                    <a:pt x="399" y="12"/>
                  </a:lnTo>
                  <a:lnTo>
                    <a:pt x="399" y="12"/>
                  </a:lnTo>
                  <a:lnTo>
                    <a:pt x="399" y="17"/>
                  </a:lnTo>
                  <a:lnTo>
                    <a:pt x="399" y="17"/>
                  </a:lnTo>
                  <a:lnTo>
                    <a:pt x="397" y="19"/>
                  </a:lnTo>
                  <a:lnTo>
                    <a:pt x="397" y="17"/>
                  </a:lnTo>
                  <a:lnTo>
                    <a:pt x="397" y="19"/>
                  </a:lnTo>
                  <a:lnTo>
                    <a:pt x="394" y="24"/>
                  </a:lnTo>
                  <a:lnTo>
                    <a:pt x="394" y="26"/>
                  </a:lnTo>
                  <a:lnTo>
                    <a:pt x="397" y="26"/>
                  </a:lnTo>
                  <a:lnTo>
                    <a:pt x="397" y="26"/>
                  </a:lnTo>
                  <a:lnTo>
                    <a:pt x="397" y="29"/>
                  </a:lnTo>
                  <a:lnTo>
                    <a:pt x="397" y="29"/>
                  </a:lnTo>
                  <a:lnTo>
                    <a:pt x="394" y="31"/>
                  </a:lnTo>
                  <a:lnTo>
                    <a:pt x="394" y="33"/>
                  </a:lnTo>
                  <a:lnTo>
                    <a:pt x="394" y="33"/>
                  </a:lnTo>
                  <a:lnTo>
                    <a:pt x="394" y="36"/>
                  </a:lnTo>
                  <a:lnTo>
                    <a:pt x="394" y="36"/>
                  </a:lnTo>
                  <a:lnTo>
                    <a:pt x="394" y="36"/>
                  </a:lnTo>
                  <a:lnTo>
                    <a:pt x="394" y="36"/>
                  </a:lnTo>
                  <a:lnTo>
                    <a:pt x="394" y="38"/>
                  </a:lnTo>
                  <a:lnTo>
                    <a:pt x="394" y="38"/>
                  </a:lnTo>
                  <a:lnTo>
                    <a:pt x="394" y="36"/>
                  </a:lnTo>
                  <a:lnTo>
                    <a:pt x="394" y="36"/>
                  </a:lnTo>
                  <a:lnTo>
                    <a:pt x="394" y="36"/>
                  </a:lnTo>
                  <a:lnTo>
                    <a:pt x="397" y="38"/>
                  </a:lnTo>
                  <a:lnTo>
                    <a:pt x="394" y="38"/>
                  </a:lnTo>
                  <a:lnTo>
                    <a:pt x="394" y="40"/>
                  </a:lnTo>
                  <a:lnTo>
                    <a:pt x="394" y="40"/>
                  </a:lnTo>
                  <a:lnTo>
                    <a:pt x="394" y="43"/>
                  </a:lnTo>
                  <a:lnTo>
                    <a:pt x="394" y="43"/>
                  </a:lnTo>
                  <a:lnTo>
                    <a:pt x="392" y="43"/>
                  </a:lnTo>
                  <a:lnTo>
                    <a:pt x="392" y="43"/>
                  </a:lnTo>
                  <a:lnTo>
                    <a:pt x="392" y="43"/>
                  </a:lnTo>
                  <a:lnTo>
                    <a:pt x="392" y="43"/>
                  </a:lnTo>
                  <a:lnTo>
                    <a:pt x="387" y="43"/>
                  </a:lnTo>
                  <a:lnTo>
                    <a:pt x="387" y="40"/>
                  </a:lnTo>
                  <a:lnTo>
                    <a:pt x="385" y="45"/>
                  </a:lnTo>
                  <a:lnTo>
                    <a:pt x="385" y="47"/>
                  </a:lnTo>
                  <a:lnTo>
                    <a:pt x="383" y="50"/>
                  </a:lnTo>
                  <a:lnTo>
                    <a:pt x="385" y="47"/>
                  </a:lnTo>
                  <a:lnTo>
                    <a:pt x="385" y="47"/>
                  </a:lnTo>
                  <a:lnTo>
                    <a:pt x="387" y="45"/>
                  </a:lnTo>
                  <a:lnTo>
                    <a:pt x="387" y="47"/>
                  </a:lnTo>
                  <a:lnTo>
                    <a:pt x="387" y="47"/>
                  </a:lnTo>
                  <a:lnTo>
                    <a:pt x="387" y="45"/>
                  </a:lnTo>
                  <a:lnTo>
                    <a:pt x="387" y="45"/>
                  </a:lnTo>
                  <a:lnTo>
                    <a:pt x="387" y="43"/>
                  </a:lnTo>
                  <a:lnTo>
                    <a:pt x="390" y="43"/>
                  </a:lnTo>
                  <a:lnTo>
                    <a:pt x="390" y="45"/>
                  </a:lnTo>
                  <a:lnTo>
                    <a:pt x="392" y="43"/>
                  </a:lnTo>
                  <a:lnTo>
                    <a:pt x="394" y="43"/>
                  </a:lnTo>
                  <a:lnTo>
                    <a:pt x="394" y="43"/>
                  </a:lnTo>
                  <a:lnTo>
                    <a:pt x="397" y="40"/>
                  </a:lnTo>
                  <a:lnTo>
                    <a:pt x="397" y="38"/>
                  </a:lnTo>
                  <a:lnTo>
                    <a:pt x="397" y="38"/>
                  </a:lnTo>
                  <a:lnTo>
                    <a:pt x="397" y="36"/>
                  </a:lnTo>
                  <a:lnTo>
                    <a:pt x="397" y="31"/>
                  </a:lnTo>
                  <a:lnTo>
                    <a:pt x="397" y="31"/>
                  </a:lnTo>
                  <a:lnTo>
                    <a:pt x="402" y="29"/>
                  </a:lnTo>
                  <a:lnTo>
                    <a:pt x="402" y="31"/>
                  </a:lnTo>
                  <a:lnTo>
                    <a:pt x="402" y="29"/>
                  </a:lnTo>
                  <a:lnTo>
                    <a:pt x="402" y="29"/>
                  </a:lnTo>
                  <a:lnTo>
                    <a:pt x="402" y="29"/>
                  </a:lnTo>
                  <a:lnTo>
                    <a:pt x="402" y="31"/>
                  </a:lnTo>
                  <a:lnTo>
                    <a:pt x="402" y="31"/>
                  </a:lnTo>
                  <a:lnTo>
                    <a:pt x="402" y="33"/>
                  </a:lnTo>
                  <a:lnTo>
                    <a:pt x="399" y="33"/>
                  </a:lnTo>
                  <a:lnTo>
                    <a:pt x="399" y="36"/>
                  </a:lnTo>
                  <a:lnTo>
                    <a:pt x="397" y="36"/>
                  </a:lnTo>
                  <a:lnTo>
                    <a:pt x="399" y="36"/>
                  </a:lnTo>
                  <a:lnTo>
                    <a:pt x="399" y="33"/>
                  </a:lnTo>
                  <a:lnTo>
                    <a:pt x="402" y="33"/>
                  </a:lnTo>
                  <a:lnTo>
                    <a:pt x="402" y="38"/>
                  </a:lnTo>
                  <a:lnTo>
                    <a:pt x="399" y="38"/>
                  </a:lnTo>
                  <a:lnTo>
                    <a:pt x="399" y="38"/>
                  </a:lnTo>
                  <a:lnTo>
                    <a:pt x="397" y="40"/>
                  </a:lnTo>
                  <a:lnTo>
                    <a:pt x="399" y="40"/>
                  </a:lnTo>
                  <a:lnTo>
                    <a:pt x="399" y="38"/>
                  </a:lnTo>
                  <a:lnTo>
                    <a:pt x="399" y="40"/>
                  </a:lnTo>
                  <a:lnTo>
                    <a:pt x="402" y="38"/>
                  </a:lnTo>
                  <a:lnTo>
                    <a:pt x="402" y="38"/>
                  </a:lnTo>
                  <a:lnTo>
                    <a:pt x="402" y="40"/>
                  </a:lnTo>
                  <a:lnTo>
                    <a:pt x="402" y="40"/>
                  </a:lnTo>
                  <a:lnTo>
                    <a:pt x="402" y="40"/>
                  </a:lnTo>
                  <a:lnTo>
                    <a:pt x="402" y="38"/>
                  </a:lnTo>
                  <a:lnTo>
                    <a:pt x="402" y="38"/>
                  </a:lnTo>
                  <a:lnTo>
                    <a:pt x="402" y="38"/>
                  </a:lnTo>
                  <a:lnTo>
                    <a:pt x="402" y="36"/>
                  </a:lnTo>
                  <a:lnTo>
                    <a:pt x="402" y="33"/>
                  </a:lnTo>
                  <a:lnTo>
                    <a:pt x="404" y="31"/>
                  </a:lnTo>
                  <a:lnTo>
                    <a:pt x="404" y="31"/>
                  </a:lnTo>
                  <a:lnTo>
                    <a:pt x="404" y="31"/>
                  </a:lnTo>
                  <a:lnTo>
                    <a:pt x="404" y="31"/>
                  </a:lnTo>
                  <a:lnTo>
                    <a:pt x="406" y="29"/>
                  </a:lnTo>
                  <a:lnTo>
                    <a:pt x="409" y="29"/>
                  </a:lnTo>
                  <a:lnTo>
                    <a:pt x="406" y="33"/>
                  </a:lnTo>
                  <a:lnTo>
                    <a:pt x="406" y="31"/>
                  </a:lnTo>
                  <a:lnTo>
                    <a:pt x="404" y="33"/>
                  </a:lnTo>
                  <a:lnTo>
                    <a:pt x="406" y="33"/>
                  </a:lnTo>
                  <a:lnTo>
                    <a:pt x="406" y="33"/>
                  </a:lnTo>
                  <a:lnTo>
                    <a:pt x="406" y="36"/>
                  </a:lnTo>
                  <a:lnTo>
                    <a:pt x="404" y="36"/>
                  </a:lnTo>
                  <a:lnTo>
                    <a:pt x="404" y="36"/>
                  </a:lnTo>
                  <a:lnTo>
                    <a:pt x="404" y="38"/>
                  </a:lnTo>
                  <a:lnTo>
                    <a:pt x="402" y="38"/>
                  </a:lnTo>
                  <a:lnTo>
                    <a:pt x="402" y="38"/>
                  </a:lnTo>
                  <a:lnTo>
                    <a:pt x="404" y="38"/>
                  </a:lnTo>
                  <a:lnTo>
                    <a:pt x="404" y="38"/>
                  </a:lnTo>
                  <a:lnTo>
                    <a:pt x="406" y="36"/>
                  </a:lnTo>
                  <a:lnTo>
                    <a:pt x="406" y="36"/>
                  </a:lnTo>
                  <a:lnTo>
                    <a:pt x="406" y="36"/>
                  </a:lnTo>
                  <a:lnTo>
                    <a:pt x="406" y="36"/>
                  </a:lnTo>
                  <a:lnTo>
                    <a:pt x="409" y="36"/>
                  </a:lnTo>
                  <a:lnTo>
                    <a:pt x="406" y="38"/>
                  </a:lnTo>
                  <a:lnTo>
                    <a:pt x="406" y="38"/>
                  </a:lnTo>
                  <a:lnTo>
                    <a:pt x="406" y="38"/>
                  </a:lnTo>
                  <a:lnTo>
                    <a:pt x="404" y="38"/>
                  </a:lnTo>
                  <a:lnTo>
                    <a:pt x="404" y="40"/>
                  </a:lnTo>
                  <a:lnTo>
                    <a:pt x="404" y="40"/>
                  </a:lnTo>
                  <a:lnTo>
                    <a:pt x="404" y="40"/>
                  </a:lnTo>
                  <a:lnTo>
                    <a:pt x="404" y="45"/>
                  </a:lnTo>
                  <a:lnTo>
                    <a:pt x="404" y="43"/>
                  </a:lnTo>
                  <a:lnTo>
                    <a:pt x="406" y="40"/>
                  </a:lnTo>
                  <a:lnTo>
                    <a:pt x="404" y="38"/>
                  </a:lnTo>
                  <a:lnTo>
                    <a:pt x="404" y="38"/>
                  </a:lnTo>
                  <a:lnTo>
                    <a:pt x="406" y="38"/>
                  </a:lnTo>
                  <a:lnTo>
                    <a:pt x="406" y="38"/>
                  </a:lnTo>
                  <a:lnTo>
                    <a:pt x="406" y="38"/>
                  </a:lnTo>
                  <a:lnTo>
                    <a:pt x="409" y="38"/>
                  </a:lnTo>
                  <a:lnTo>
                    <a:pt x="409" y="36"/>
                  </a:lnTo>
                  <a:lnTo>
                    <a:pt x="411" y="33"/>
                  </a:lnTo>
                  <a:lnTo>
                    <a:pt x="411" y="33"/>
                  </a:lnTo>
                  <a:lnTo>
                    <a:pt x="411" y="36"/>
                  </a:lnTo>
                  <a:lnTo>
                    <a:pt x="411" y="36"/>
                  </a:lnTo>
                  <a:lnTo>
                    <a:pt x="411" y="36"/>
                  </a:lnTo>
                  <a:lnTo>
                    <a:pt x="411" y="38"/>
                  </a:lnTo>
                  <a:lnTo>
                    <a:pt x="409" y="40"/>
                  </a:lnTo>
                  <a:lnTo>
                    <a:pt x="409" y="40"/>
                  </a:lnTo>
                  <a:lnTo>
                    <a:pt x="409" y="40"/>
                  </a:lnTo>
                  <a:lnTo>
                    <a:pt x="411" y="38"/>
                  </a:lnTo>
                  <a:lnTo>
                    <a:pt x="411" y="40"/>
                  </a:lnTo>
                  <a:lnTo>
                    <a:pt x="409" y="40"/>
                  </a:lnTo>
                  <a:lnTo>
                    <a:pt x="409" y="43"/>
                  </a:lnTo>
                  <a:lnTo>
                    <a:pt x="406" y="43"/>
                  </a:lnTo>
                  <a:lnTo>
                    <a:pt x="409" y="43"/>
                  </a:lnTo>
                  <a:lnTo>
                    <a:pt x="411" y="40"/>
                  </a:lnTo>
                  <a:lnTo>
                    <a:pt x="411" y="43"/>
                  </a:lnTo>
                  <a:lnTo>
                    <a:pt x="411" y="45"/>
                  </a:lnTo>
                  <a:lnTo>
                    <a:pt x="409" y="47"/>
                  </a:lnTo>
                  <a:lnTo>
                    <a:pt x="409" y="47"/>
                  </a:lnTo>
                  <a:lnTo>
                    <a:pt x="409" y="47"/>
                  </a:lnTo>
                  <a:lnTo>
                    <a:pt x="411" y="47"/>
                  </a:lnTo>
                  <a:lnTo>
                    <a:pt x="411" y="47"/>
                  </a:lnTo>
                  <a:lnTo>
                    <a:pt x="413" y="45"/>
                  </a:lnTo>
                  <a:lnTo>
                    <a:pt x="411" y="45"/>
                  </a:lnTo>
                  <a:lnTo>
                    <a:pt x="413" y="43"/>
                  </a:lnTo>
                  <a:lnTo>
                    <a:pt x="413" y="40"/>
                  </a:lnTo>
                  <a:lnTo>
                    <a:pt x="413" y="43"/>
                  </a:lnTo>
                  <a:lnTo>
                    <a:pt x="416" y="40"/>
                  </a:lnTo>
                  <a:lnTo>
                    <a:pt x="416" y="40"/>
                  </a:lnTo>
                  <a:lnTo>
                    <a:pt x="416" y="40"/>
                  </a:lnTo>
                  <a:lnTo>
                    <a:pt x="413" y="40"/>
                  </a:lnTo>
                  <a:lnTo>
                    <a:pt x="413" y="40"/>
                  </a:lnTo>
                  <a:lnTo>
                    <a:pt x="416" y="38"/>
                  </a:lnTo>
                  <a:lnTo>
                    <a:pt x="416" y="40"/>
                  </a:lnTo>
                  <a:lnTo>
                    <a:pt x="416" y="38"/>
                  </a:lnTo>
                  <a:lnTo>
                    <a:pt x="416" y="36"/>
                  </a:lnTo>
                  <a:lnTo>
                    <a:pt x="418" y="36"/>
                  </a:lnTo>
                  <a:lnTo>
                    <a:pt x="418" y="36"/>
                  </a:lnTo>
                  <a:lnTo>
                    <a:pt x="418" y="36"/>
                  </a:lnTo>
                  <a:lnTo>
                    <a:pt x="420" y="36"/>
                  </a:lnTo>
                  <a:lnTo>
                    <a:pt x="420" y="36"/>
                  </a:lnTo>
                  <a:lnTo>
                    <a:pt x="418" y="36"/>
                  </a:lnTo>
                  <a:lnTo>
                    <a:pt x="420" y="33"/>
                  </a:lnTo>
                  <a:lnTo>
                    <a:pt x="423" y="33"/>
                  </a:lnTo>
                  <a:lnTo>
                    <a:pt x="425" y="36"/>
                  </a:lnTo>
                  <a:lnTo>
                    <a:pt x="423" y="38"/>
                  </a:lnTo>
                  <a:lnTo>
                    <a:pt x="423" y="40"/>
                  </a:lnTo>
                  <a:lnTo>
                    <a:pt x="423" y="40"/>
                  </a:lnTo>
                  <a:lnTo>
                    <a:pt x="420" y="38"/>
                  </a:lnTo>
                  <a:lnTo>
                    <a:pt x="420" y="40"/>
                  </a:lnTo>
                  <a:lnTo>
                    <a:pt x="420" y="40"/>
                  </a:lnTo>
                  <a:lnTo>
                    <a:pt x="420" y="40"/>
                  </a:lnTo>
                  <a:lnTo>
                    <a:pt x="420" y="40"/>
                  </a:lnTo>
                  <a:lnTo>
                    <a:pt x="418" y="43"/>
                  </a:lnTo>
                  <a:lnTo>
                    <a:pt x="418" y="40"/>
                  </a:lnTo>
                  <a:lnTo>
                    <a:pt x="418" y="43"/>
                  </a:lnTo>
                  <a:lnTo>
                    <a:pt x="418" y="43"/>
                  </a:lnTo>
                  <a:lnTo>
                    <a:pt x="416" y="43"/>
                  </a:lnTo>
                  <a:lnTo>
                    <a:pt x="416" y="45"/>
                  </a:lnTo>
                  <a:lnTo>
                    <a:pt x="413" y="50"/>
                  </a:lnTo>
                  <a:lnTo>
                    <a:pt x="416" y="50"/>
                  </a:lnTo>
                  <a:lnTo>
                    <a:pt x="416" y="52"/>
                  </a:lnTo>
                  <a:lnTo>
                    <a:pt x="413" y="52"/>
                  </a:lnTo>
                  <a:lnTo>
                    <a:pt x="413" y="50"/>
                  </a:lnTo>
                  <a:lnTo>
                    <a:pt x="416" y="55"/>
                  </a:lnTo>
                  <a:lnTo>
                    <a:pt x="416" y="55"/>
                  </a:lnTo>
                  <a:lnTo>
                    <a:pt x="413" y="57"/>
                  </a:lnTo>
                  <a:lnTo>
                    <a:pt x="416" y="57"/>
                  </a:lnTo>
                  <a:lnTo>
                    <a:pt x="416" y="59"/>
                  </a:lnTo>
                  <a:lnTo>
                    <a:pt x="416" y="59"/>
                  </a:lnTo>
                  <a:lnTo>
                    <a:pt x="416" y="59"/>
                  </a:lnTo>
                  <a:lnTo>
                    <a:pt x="418" y="59"/>
                  </a:lnTo>
                  <a:lnTo>
                    <a:pt x="418" y="62"/>
                  </a:lnTo>
                  <a:lnTo>
                    <a:pt x="416" y="64"/>
                  </a:lnTo>
                  <a:lnTo>
                    <a:pt x="416" y="64"/>
                  </a:lnTo>
                  <a:lnTo>
                    <a:pt x="413" y="64"/>
                  </a:lnTo>
                  <a:lnTo>
                    <a:pt x="413" y="64"/>
                  </a:lnTo>
                  <a:lnTo>
                    <a:pt x="413" y="64"/>
                  </a:lnTo>
                  <a:lnTo>
                    <a:pt x="413" y="66"/>
                  </a:lnTo>
                  <a:lnTo>
                    <a:pt x="413" y="64"/>
                  </a:lnTo>
                  <a:lnTo>
                    <a:pt x="416" y="64"/>
                  </a:lnTo>
                  <a:lnTo>
                    <a:pt x="418" y="66"/>
                  </a:lnTo>
                  <a:lnTo>
                    <a:pt x="418" y="64"/>
                  </a:lnTo>
                  <a:lnTo>
                    <a:pt x="418" y="64"/>
                  </a:lnTo>
                  <a:lnTo>
                    <a:pt x="418" y="64"/>
                  </a:lnTo>
                  <a:lnTo>
                    <a:pt x="418" y="59"/>
                  </a:lnTo>
                  <a:lnTo>
                    <a:pt x="416" y="57"/>
                  </a:lnTo>
                  <a:lnTo>
                    <a:pt x="416" y="57"/>
                  </a:lnTo>
                  <a:lnTo>
                    <a:pt x="418" y="55"/>
                  </a:lnTo>
                  <a:lnTo>
                    <a:pt x="418" y="55"/>
                  </a:lnTo>
                  <a:lnTo>
                    <a:pt x="420" y="50"/>
                  </a:lnTo>
                  <a:lnTo>
                    <a:pt x="423" y="50"/>
                  </a:lnTo>
                  <a:lnTo>
                    <a:pt x="423" y="50"/>
                  </a:lnTo>
                  <a:lnTo>
                    <a:pt x="423" y="50"/>
                  </a:lnTo>
                  <a:lnTo>
                    <a:pt x="423" y="52"/>
                  </a:lnTo>
                  <a:lnTo>
                    <a:pt x="423" y="55"/>
                  </a:lnTo>
                  <a:lnTo>
                    <a:pt x="420" y="55"/>
                  </a:lnTo>
                  <a:lnTo>
                    <a:pt x="423" y="57"/>
                  </a:lnTo>
                  <a:lnTo>
                    <a:pt x="423" y="57"/>
                  </a:lnTo>
                  <a:lnTo>
                    <a:pt x="423" y="59"/>
                  </a:lnTo>
                  <a:lnTo>
                    <a:pt x="420" y="55"/>
                  </a:lnTo>
                  <a:lnTo>
                    <a:pt x="423" y="55"/>
                  </a:lnTo>
                  <a:lnTo>
                    <a:pt x="423" y="52"/>
                  </a:lnTo>
                  <a:lnTo>
                    <a:pt x="423" y="52"/>
                  </a:lnTo>
                  <a:lnTo>
                    <a:pt x="425" y="52"/>
                  </a:lnTo>
                  <a:lnTo>
                    <a:pt x="425" y="55"/>
                  </a:lnTo>
                  <a:lnTo>
                    <a:pt x="423" y="55"/>
                  </a:lnTo>
                  <a:lnTo>
                    <a:pt x="423" y="55"/>
                  </a:lnTo>
                  <a:lnTo>
                    <a:pt x="425" y="55"/>
                  </a:lnTo>
                  <a:lnTo>
                    <a:pt x="423" y="55"/>
                  </a:lnTo>
                  <a:lnTo>
                    <a:pt x="423" y="55"/>
                  </a:lnTo>
                  <a:lnTo>
                    <a:pt x="425" y="55"/>
                  </a:lnTo>
                  <a:lnTo>
                    <a:pt x="425" y="55"/>
                  </a:lnTo>
                  <a:lnTo>
                    <a:pt x="423" y="52"/>
                  </a:lnTo>
                  <a:lnTo>
                    <a:pt x="425" y="50"/>
                  </a:lnTo>
                  <a:lnTo>
                    <a:pt x="425" y="50"/>
                  </a:lnTo>
                  <a:lnTo>
                    <a:pt x="425" y="50"/>
                  </a:lnTo>
                  <a:lnTo>
                    <a:pt x="428" y="50"/>
                  </a:lnTo>
                  <a:lnTo>
                    <a:pt x="428" y="50"/>
                  </a:lnTo>
                  <a:lnTo>
                    <a:pt x="428" y="52"/>
                  </a:lnTo>
                  <a:lnTo>
                    <a:pt x="430" y="50"/>
                  </a:lnTo>
                  <a:lnTo>
                    <a:pt x="430" y="50"/>
                  </a:lnTo>
                  <a:lnTo>
                    <a:pt x="430" y="50"/>
                  </a:lnTo>
                  <a:lnTo>
                    <a:pt x="425" y="50"/>
                  </a:lnTo>
                  <a:lnTo>
                    <a:pt x="425" y="47"/>
                  </a:lnTo>
                  <a:lnTo>
                    <a:pt x="428" y="47"/>
                  </a:lnTo>
                  <a:lnTo>
                    <a:pt x="430" y="45"/>
                  </a:lnTo>
                  <a:lnTo>
                    <a:pt x="430" y="45"/>
                  </a:lnTo>
                  <a:lnTo>
                    <a:pt x="430" y="45"/>
                  </a:lnTo>
                  <a:lnTo>
                    <a:pt x="430" y="45"/>
                  </a:lnTo>
                  <a:lnTo>
                    <a:pt x="430" y="47"/>
                  </a:lnTo>
                  <a:lnTo>
                    <a:pt x="430" y="45"/>
                  </a:lnTo>
                  <a:lnTo>
                    <a:pt x="432" y="45"/>
                  </a:lnTo>
                  <a:lnTo>
                    <a:pt x="430" y="45"/>
                  </a:lnTo>
                  <a:lnTo>
                    <a:pt x="430" y="45"/>
                  </a:lnTo>
                  <a:lnTo>
                    <a:pt x="428" y="45"/>
                  </a:lnTo>
                  <a:lnTo>
                    <a:pt x="430" y="45"/>
                  </a:lnTo>
                  <a:lnTo>
                    <a:pt x="428" y="45"/>
                  </a:lnTo>
                  <a:lnTo>
                    <a:pt x="428" y="45"/>
                  </a:lnTo>
                  <a:lnTo>
                    <a:pt x="428" y="43"/>
                  </a:lnTo>
                  <a:lnTo>
                    <a:pt x="428" y="43"/>
                  </a:lnTo>
                  <a:lnTo>
                    <a:pt x="430" y="40"/>
                  </a:lnTo>
                  <a:lnTo>
                    <a:pt x="430" y="40"/>
                  </a:lnTo>
                  <a:lnTo>
                    <a:pt x="432" y="40"/>
                  </a:lnTo>
                  <a:lnTo>
                    <a:pt x="430" y="40"/>
                  </a:lnTo>
                  <a:lnTo>
                    <a:pt x="430" y="40"/>
                  </a:lnTo>
                  <a:lnTo>
                    <a:pt x="432" y="40"/>
                  </a:lnTo>
                  <a:lnTo>
                    <a:pt x="432" y="43"/>
                  </a:lnTo>
                  <a:lnTo>
                    <a:pt x="432" y="40"/>
                  </a:lnTo>
                  <a:lnTo>
                    <a:pt x="432" y="40"/>
                  </a:lnTo>
                  <a:lnTo>
                    <a:pt x="432" y="40"/>
                  </a:lnTo>
                  <a:lnTo>
                    <a:pt x="432" y="40"/>
                  </a:lnTo>
                  <a:lnTo>
                    <a:pt x="432" y="40"/>
                  </a:lnTo>
                  <a:lnTo>
                    <a:pt x="432" y="38"/>
                  </a:lnTo>
                  <a:lnTo>
                    <a:pt x="430" y="38"/>
                  </a:lnTo>
                  <a:lnTo>
                    <a:pt x="430" y="36"/>
                  </a:lnTo>
                  <a:lnTo>
                    <a:pt x="432" y="36"/>
                  </a:lnTo>
                  <a:lnTo>
                    <a:pt x="435" y="36"/>
                  </a:lnTo>
                  <a:lnTo>
                    <a:pt x="435" y="38"/>
                  </a:lnTo>
                  <a:lnTo>
                    <a:pt x="435" y="38"/>
                  </a:lnTo>
                  <a:lnTo>
                    <a:pt x="435" y="40"/>
                  </a:lnTo>
                  <a:lnTo>
                    <a:pt x="437" y="38"/>
                  </a:lnTo>
                  <a:lnTo>
                    <a:pt x="437" y="40"/>
                  </a:lnTo>
                  <a:lnTo>
                    <a:pt x="437" y="43"/>
                  </a:lnTo>
                  <a:lnTo>
                    <a:pt x="437" y="43"/>
                  </a:lnTo>
                  <a:lnTo>
                    <a:pt x="437" y="45"/>
                  </a:lnTo>
                  <a:lnTo>
                    <a:pt x="437" y="47"/>
                  </a:lnTo>
                  <a:lnTo>
                    <a:pt x="437" y="43"/>
                  </a:lnTo>
                  <a:lnTo>
                    <a:pt x="437" y="43"/>
                  </a:lnTo>
                  <a:lnTo>
                    <a:pt x="439" y="50"/>
                  </a:lnTo>
                  <a:lnTo>
                    <a:pt x="437" y="50"/>
                  </a:lnTo>
                  <a:lnTo>
                    <a:pt x="437" y="50"/>
                  </a:lnTo>
                  <a:lnTo>
                    <a:pt x="437" y="50"/>
                  </a:lnTo>
                  <a:lnTo>
                    <a:pt x="435" y="52"/>
                  </a:lnTo>
                  <a:lnTo>
                    <a:pt x="435" y="52"/>
                  </a:lnTo>
                  <a:lnTo>
                    <a:pt x="435" y="52"/>
                  </a:lnTo>
                  <a:lnTo>
                    <a:pt x="430" y="55"/>
                  </a:lnTo>
                  <a:lnTo>
                    <a:pt x="428" y="57"/>
                  </a:lnTo>
                  <a:lnTo>
                    <a:pt x="428" y="57"/>
                  </a:lnTo>
                  <a:lnTo>
                    <a:pt x="425" y="57"/>
                  </a:lnTo>
                  <a:lnTo>
                    <a:pt x="425" y="59"/>
                  </a:lnTo>
                  <a:lnTo>
                    <a:pt x="428" y="62"/>
                  </a:lnTo>
                  <a:lnTo>
                    <a:pt x="428" y="62"/>
                  </a:lnTo>
                  <a:lnTo>
                    <a:pt x="428" y="62"/>
                  </a:lnTo>
                  <a:lnTo>
                    <a:pt x="425" y="57"/>
                  </a:lnTo>
                  <a:lnTo>
                    <a:pt x="428" y="57"/>
                  </a:lnTo>
                  <a:lnTo>
                    <a:pt x="430" y="57"/>
                  </a:lnTo>
                  <a:lnTo>
                    <a:pt x="430" y="57"/>
                  </a:lnTo>
                  <a:lnTo>
                    <a:pt x="432" y="57"/>
                  </a:lnTo>
                  <a:lnTo>
                    <a:pt x="432" y="59"/>
                  </a:lnTo>
                  <a:lnTo>
                    <a:pt x="430" y="59"/>
                  </a:lnTo>
                  <a:lnTo>
                    <a:pt x="430" y="62"/>
                  </a:lnTo>
                  <a:lnTo>
                    <a:pt x="430" y="64"/>
                  </a:lnTo>
                  <a:lnTo>
                    <a:pt x="430" y="64"/>
                  </a:lnTo>
                  <a:lnTo>
                    <a:pt x="428" y="66"/>
                  </a:lnTo>
                  <a:lnTo>
                    <a:pt x="428" y="66"/>
                  </a:lnTo>
                  <a:lnTo>
                    <a:pt x="428" y="66"/>
                  </a:lnTo>
                  <a:lnTo>
                    <a:pt x="425" y="64"/>
                  </a:lnTo>
                  <a:lnTo>
                    <a:pt x="425" y="66"/>
                  </a:lnTo>
                  <a:lnTo>
                    <a:pt x="425" y="69"/>
                  </a:lnTo>
                  <a:lnTo>
                    <a:pt x="425" y="69"/>
                  </a:lnTo>
                  <a:lnTo>
                    <a:pt x="425" y="71"/>
                  </a:lnTo>
                  <a:lnTo>
                    <a:pt x="425" y="69"/>
                  </a:lnTo>
                  <a:lnTo>
                    <a:pt x="425" y="66"/>
                  </a:lnTo>
                  <a:lnTo>
                    <a:pt x="428" y="66"/>
                  </a:lnTo>
                  <a:lnTo>
                    <a:pt x="428" y="66"/>
                  </a:lnTo>
                  <a:lnTo>
                    <a:pt x="430" y="66"/>
                  </a:lnTo>
                  <a:lnTo>
                    <a:pt x="430" y="64"/>
                  </a:lnTo>
                  <a:lnTo>
                    <a:pt x="430" y="64"/>
                  </a:lnTo>
                  <a:lnTo>
                    <a:pt x="430" y="62"/>
                  </a:lnTo>
                  <a:lnTo>
                    <a:pt x="430" y="59"/>
                  </a:lnTo>
                  <a:lnTo>
                    <a:pt x="432" y="59"/>
                  </a:lnTo>
                  <a:lnTo>
                    <a:pt x="432" y="57"/>
                  </a:lnTo>
                  <a:lnTo>
                    <a:pt x="432" y="57"/>
                  </a:lnTo>
                  <a:lnTo>
                    <a:pt x="435" y="59"/>
                  </a:lnTo>
                  <a:lnTo>
                    <a:pt x="432" y="59"/>
                  </a:lnTo>
                  <a:lnTo>
                    <a:pt x="432" y="59"/>
                  </a:lnTo>
                  <a:lnTo>
                    <a:pt x="435" y="62"/>
                  </a:lnTo>
                  <a:lnTo>
                    <a:pt x="435" y="62"/>
                  </a:lnTo>
                  <a:lnTo>
                    <a:pt x="435" y="62"/>
                  </a:lnTo>
                  <a:lnTo>
                    <a:pt x="435" y="57"/>
                  </a:lnTo>
                  <a:lnTo>
                    <a:pt x="435" y="57"/>
                  </a:lnTo>
                  <a:lnTo>
                    <a:pt x="437" y="59"/>
                  </a:lnTo>
                  <a:lnTo>
                    <a:pt x="435" y="62"/>
                  </a:lnTo>
                  <a:lnTo>
                    <a:pt x="435" y="64"/>
                  </a:lnTo>
                  <a:lnTo>
                    <a:pt x="435" y="66"/>
                  </a:lnTo>
                  <a:lnTo>
                    <a:pt x="435" y="66"/>
                  </a:lnTo>
                  <a:lnTo>
                    <a:pt x="435" y="69"/>
                  </a:lnTo>
                  <a:lnTo>
                    <a:pt x="432" y="71"/>
                  </a:lnTo>
                  <a:lnTo>
                    <a:pt x="432" y="73"/>
                  </a:lnTo>
                  <a:lnTo>
                    <a:pt x="432" y="73"/>
                  </a:lnTo>
                  <a:lnTo>
                    <a:pt x="432" y="76"/>
                  </a:lnTo>
                  <a:lnTo>
                    <a:pt x="432" y="76"/>
                  </a:lnTo>
                  <a:lnTo>
                    <a:pt x="430" y="76"/>
                  </a:lnTo>
                  <a:lnTo>
                    <a:pt x="430" y="76"/>
                  </a:lnTo>
                  <a:lnTo>
                    <a:pt x="430" y="76"/>
                  </a:lnTo>
                  <a:lnTo>
                    <a:pt x="430" y="76"/>
                  </a:lnTo>
                  <a:lnTo>
                    <a:pt x="430" y="76"/>
                  </a:lnTo>
                  <a:lnTo>
                    <a:pt x="432" y="76"/>
                  </a:lnTo>
                  <a:lnTo>
                    <a:pt x="430" y="83"/>
                  </a:lnTo>
                  <a:lnTo>
                    <a:pt x="430" y="83"/>
                  </a:lnTo>
                  <a:lnTo>
                    <a:pt x="428" y="83"/>
                  </a:lnTo>
                  <a:lnTo>
                    <a:pt x="428" y="83"/>
                  </a:lnTo>
                  <a:lnTo>
                    <a:pt x="425" y="83"/>
                  </a:lnTo>
                  <a:lnTo>
                    <a:pt x="425" y="85"/>
                  </a:lnTo>
                  <a:lnTo>
                    <a:pt x="425" y="85"/>
                  </a:lnTo>
                  <a:lnTo>
                    <a:pt x="423" y="88"/>
                  </a:lnTo>
                  <a:lnTo>
                    <a:pt x="425" y="85"/>
                  </a:lnTo>
                  <a:lnTo>
                    <a:pt x="425" y="85"/>
                  </a:lnTo>
                  <a:lnTo>
                    <a:pt x="425" y="83"/>
                  </a:lnTo>
                  <a:lnTo>
                    <a:pt x="428" y="85"/>
                  </a:lnTo>
                  <a:lnTo>
                    <a:pt x="428" y="83"/>
                  </a:lnTo>
                  <a:lnTo>
                    <a:pt x="430" y="83"/>
                  </a:lnTo>
                  <a:lnTo>
                    <a:pt x="428" y="85"/>
                  </a:lnTo>
                  <a:lnTo>
                    <a:pt x="428" y="85"/>
                  </a:lnTo>
                  <a:lnTo>
                    <a:pt x="425" y="88"/>
                  </a:lnTo>
                  <a:lnTo>
                    <a:pt x="428" y="85"/>
                  </a:lnTo>
                  <a:lnTo>
                    <a:pt x="428" y="85"/>
                  </a:lnTo>
                  <a:lnTo>
                    <a:pt x="430" y="83"/>
                  </a:lnTo>
                  <a:lnTo>
                    <a:pt x="430" y="83"/>
                  </a:lnTo>
                  <a:lnTo>
                    <a:pt x="430" y="88"/>
                  </a:lnTo>
                  <a:lnTo>
                    <a:pt x="430" y="90"/>
                  </a:lnTo>
                  <a:lnTo>
                    <a:pt x="430" y="92"/>
                  </a:lnTo>
                  <a:lnTo>
                    <a:pt x="430" y="90"/>
                  </a:lnTo>
                  <a:lnTo>
                    <a:pt x="432" y="90"/>
                  </a:lnTo>
                  <a:lnTo>
                    <a:pt x="432" y="88"/>
                  </a:lnTo>
                  <a:lnTo>
                    <a:pt x="432" y="85"/>
                  </a:lnTo>
                  <a:lnTo>
                    <a:pt x="432" y="83"/>
                  </a:lnTo>
                  <a:lnTo>
                    <a:pt x="435" y="78"/>
                  </a:lnTo>
                  <a:lnTo>
                    <a:pt x="435" y="73"/>
                  </a:lnTo>
                  <a:lnTo>
                    <a:pt x="435" y="73"/>
                  </a:lnTo>
                  <a:lnTo>
                    <a:pt x="439" y="73"/>
                  </a:lnTo>
                  <a:lnTo>
                    <a:pt x="439" y="76"/>
                  </a:lnTo>
                  <a:lnTo>
                    <a:pt x="439" y="76"/>
                  </a:lnTo>
                  <a:lnTo>
                    <a:pt x="442" y="76"/>
                  </a:lnTo>
                  <a:lnTo>
                    <a:pt x="442" y="76"/>
                  </a:lnTo>
                  <a:lnTo>
                    <a:pt x="444" y="76"/>
                  </a:lnTo>
                  <a:lnTo>
                    <a:pt x="444" y="76"/>
                  </a:lnTo>
                  <a:lnTo>
                    <a:pt x="442" y="73"/>
                  </a:lnTo>
                  <a:lnTo>
                    <a:pt x="444" y="71"/>
                  </a:lnTo>
                  <a:lnTo>
                    <a:pt x="444" y="71"/>
                  </a:lnTo>
                  <a:lnTo>
                    <a:pt x="444" y="71"/>
                  </a:lnTo>
                  <a:lnTo>
                    <a:pt x="444" y="66"/>
                  </a:lnTo>
                  <a:lnTo>
                    <a:pt x="444" y="66"/>
                  </a:lnTo>
                  <a:lnTo>
                    <a:pt x="449" y="64"/>
                  </a:lnTo>
                  <a:lnTo>
                    <a:pt x="451" y="62"/>
                  </a:lnTo>
                  <a:lnTo>
                    <a:pt x="451" y="62"/>
                  </a:lnTo>
                  <a:lnTo>
                    <a:pt x="451" y="64"/>
                  </a:lnTo>
                  <a:lnTo>
                    <a:pt x="454" y="62"/>
                  </a:lnTo>
                  <a:lnTo>
                    <a:pt x="454" y="62"/>
                  </a:lnTo>
                  <a:lnTo>
                    <a:pt x="454" y="59"/>
                  </a:lnTo>
                  <a:lnTo>
                    <a:pt x="454" y="59"/>
                  </a:lnTo>
                  <a:lnTo>
                    <a:pt x="456" y="59"/>
                  </a:lnTo>
                  <a:lnTo>
                    <a:pt x="456" y="57"/>
                  </a:lnTo>
                  <a:lnTo>
                    <a:pt x="456" y="57"/>
                  </a:lnTo>
                  <a:lnTo>
                    <a:pt x="456" y="55"/>
                  </a:lnTo>
                  <a:lnTo>
                    <a:pt x="456" y="55"/>
                  </a:lnTo>
                  <a:lnTo>
                    <a:pt x="456" y="57"/>
                  </a:lnTo>
                  <a:lnTo>
                    <a:pt x="458" y="55"/>
                  </a:lnTo>
                  <a:lnTo>
                    <a:pt x="458" y="55"/>
                  </a:lnTo>
                  <a:lnTo>
                    <a:pt x="458" y="57"/>
                  </a:lnTo>
                  <a:lnTo>
                    <a:pt x="458" y="57"/>
                  </a:lnTo>
                  <a:lnTo>
                    <a:pt x="458" y="57"/>
                  </a:lnTo>
                  <a:lnTo>
                    <a:pt x="458" y="57"/>
                  </a:lnTo>
                  <a:lnTo>
                    <a:pt x="458" y="59"/>
                  </a:lnTo>
                  <a:lnTo>
                    <a:pt x="458" y="59"/>
                  </a:lnTo>
                  <a:lnTo>
                    <a:pt x="458" y="59"/>
                  </a:lnTo>
                  <a:lnTo>
                    <a:pt x="458" y="57"/>
                  </a:lnTo>
                  <a:lnTo>
                    <a:pt x="458" y="59"/>
                  </a:lnTo>
                  <a:lnTo>
                    <a:pt x="458" y="59"/>
                  </a:lnTo>
                  <a:lnTo>
                    <a:pt x="458" y="62"/>
                  </a:lnTo>
                  <a:lnTo>
                    <a:pt x="456" y="64"/>
                  </a:lnTo>
                  <a:lnTo>
                    <a:pt x="458" y="64"/>
                  </a:lnTo>
                  <a:lnTo>
                    <a:pt x="458" y="62"/>
                  </a:lnTo>
                  <a:lnTo>
                    <a:pt x="458" y="64"/>
                  </a:lnTo>
                  <a:lnTo>
                    <a:pt x="458" y="66"/>
                  </a:lnTo>
                  <a:lnTo>
                    <a:pt x="461" y="66"/>
                  </a:lnTo>
                  <a:lnTo>
                    <a:pt x="461" y="66"/>
                  </a:lnTo>
                  <a:lnTo>
                    <a:pt x="461" y="66"/>
                  </a:lnTo>
                  <a:lnTo>
                    <a:pt x="461" y="66"/>
                  </a:lnTo>
                  <a:lnTo>
                    <a:pt x="461" y="66"/>
                  </a:lnTo>
                  <a:lnTo>
                    <a:pt x="458" y="66"/>
                  </a:lnTo>
                  <a:lnTo>
                    <a:pt x="458" y="64"/>
                  </a:lnTo>
                  <a:lnTo>
                    <a:pt x="461" y="62"/>
                  </a:lnTo>
                  <a:lnTo>
                    <a:pt x="458" y="59"/>
                  </a:lnTo>
                  <a:lnTo>
                    <a:pt x="458" y="57"/>
                  </a:lnTo>
                  <a:lnTo>
                    <a:pt x="458" y="55"/>
                  </a:lnTo>
                  <a:lnTo>
                    <a:pt x="461" y="55"/>
                  </a:lnTo>
                  <a:lnTo>
                    <a:pt x="461" y="52"/>
                  </a:lnTo>
                  <a:lnTo>
                    <a:pt x="461" y="52"/>
                  </a:lnTo>
                  <a:lnTo>
                    <a:pt x="461" y="50"/>
                  </a:lnTo>
                  <a:lnTo>
                    <a:pt x="463" y="47"/>
                  </a:lnTo>
                  <a:lnTo>
                    <a:pt x="461" y="47"/>
                  </a:lnTo>
                  <a:lnTo>
                    <a:pt x="461" y="47"/>
                  </a:lnTo>
                  <a:lnTo>
                    <a:pt x="461" y="47"/>
                  </a:lnTo>
                  <a:lnTo>
                    <a:pt x="461" y="47"/>
                  </a:lnTo>
                  <a:lnTo>
                    <a:pt x="461" y="45"/>
                  </a:lnTo>
                  <a:lnTo>
                    <a:pt x="461" y="45"/>
                  </a:lnTo>
                  <a:lnTo>
                    <a:pt x="461" y="45"/>
                  </a:lnTo>
                  <a:lnTo>
                    <a:pt x="461" y="43"/>
                  </a:lnTo>
                  <a:lnTo>
                    <a:pt x="461" y="43"/>
                  </a:lnTo>
                  <a:lnTo>
                    <a:pt x="463" y="43"/>
                  </a:lnTo>
                  <a:lnTo>
                    <a:pt x="463" y="43"/>
                  </a:lnTo>
                  <a:lnTo>
                    <a:pt x="463" y="45"/>
                  </a:lnTo>
                  <a:lnTo>
                    <a:pt x="463" y="45"/>
                  </a:lnTo>
                  <a:lnTo>
                    <a:pt x="463" y="47"/>
                  </a:lnTo>
                  <a:lnTo>
                    <a:pt x="461" y="50"/>
                  </a:lnTo>
                  <a:lnTo>
                    <a:pt x="463" y="55"/>
                  </a:lnTo>
                  <a:lnTo>
                    <a:pt x="463" y="57"/>
                  </a:lnTo>
                  <a:lnTo>
                    <a:pt x="461" y="57"/>
                  </a:lnTo>
                  <a:lnTo>
                    <a:pt x="461" y="59"/>
                  </a:lnTo>
                  <a:lnTo>
                    <a:pt x="461" y="59"/>
                  </a:lnTo>
                  <a:lnTo>
                    <a:pt x="463" y="59"/>
                  </a:lnTo>
                  <a:lnTo>
                    <a:pt x="463" y="59"/>
                  </a:lnTo>
                  <a:lnTo>
                    <a:pt x="463" y="59"/>
                  </a:lnTo>
                  <a:lnTo>
                    <a:pt x="463" y="62"/>
                  </a:lnTo>
                  <a:lnTo>
                    <a:pt x="463" y="62"/>
                  </a:lnTo>
                  <a:lnTo>
                    <a:pt x="463" y="59"/>
                  </a:lnTo>
                  <a:lnTo>
                    <a:pt x="465" y="59"/>
                  </a:lnTo>
                  <a:lnTo>
                    <a:pt x="463" y="59"/>
                  </a:lnTo>
                  <a:lnTo>
                    <a:pt x="463" y="59"/>
                  </a:lnTo>
                  <a:lnTo>
                    <a:pt x="463" y="59"/>
                  </a:lnTo>
                  <a:lnTo>
                    <a:pt x="463" y="57"/>
                  </a:lnTo>
                  <a:lnTo>
                    <a:pt x="463" y="57"/>
                  </a:lnTo>
                  <a:lnTo>
                    <a:pt x="465" y="57"/>
                  </a:lnTo>
                  <a:lnTo>
                    <a:pt x="465" y="57"/>
                  </a:lnTo>
                  <a:lnTo>
                    <a:pt x="463" y="57"/>
                  </a:lnTo>
                  <a:lnTo>
                    <a:pt x="465" y="55"/>
                  </a:lnTo>
                  <a:lnTo>
                    <a:pt x="465" y="55"/>
                  </a:lnTo>
                  <a:lnTo>
                    <a:pt x="465" y="57"/>
                  </a:lnTo>
                  <a:lnTo>
                    <a:pt x="465" y="57"/>
                  </a:lnTo>
                  <a:lnTo>
                    <a:pt x="465" y="57"/>
                  </a:lnTo>
                  <a:lnTo>
                    <a:pt x="463" y="59"/>
                  </a:lnTo>
                  <a:lnTo>
                    <a:pt x="465" y="57"/>
                  </a:lnTo>
                  <a:lnTo>
                    <a:pt x="465" y="59"/>
                  </a:lnTo>
                  <a:lnTo>
                    <a:pt x="468" y="57"/>
                  </a:lnTo>
                  <a:lnTo>
                    <a:pt x="468" y="55"/>
                  </a:lnTo>
                  <a:lnTo>
                    <a:pt x="465" y="52"/>
                  </a:lnTo>
                  <a:lnTo>
                    <a:pt x="465" y="52"/>
                  </a:lnTo>
                  <a:lnTo>
                    <a:pt x="465" y="50"/>
                  </a:lnTo>
                  <a:lnTo>
                    <a:pt x="465" y="50"/>
                  </a:lnTo>
                  <a:lnTo>
                    <a:pt x="465" y="50"/>
                  </a:lnTo>
                  <a:lnTo>
                    <a:pt x="465" y="52"/>
                  </a:lnTo>
                  <a:lnTo>
                    <a:pt x="465" y="50"/>
                  </a:lnTo>
                  <a:lnTo>
                    <a:pt x="468" y="50"/>
                  </a:lnTo>
                  <a:lnTo>
                    <a:pt x="468" y="52"/>
                  </a:lnTo>
                  <a:lnTo>
                    <a:pt x="468" y="52"/>
                  </a:lnTo>
                  <a:lnTo>
                    <a:pt x="465" y="52"/>
                  </a:lnTo>
                  <a:lnTo>
                    <a:pt x="468" y="52"/>
                  </a:lnTo>
                  <a:lnTo>
                    <a:pt x="465" y="55"/>
                  </a:lnTo>
                  <a:lnTo>
                    <a:pt x="465" y="55"/>
                  </a:lnTo>
                  <a:lnTo>
                    <a:pt x="468" y="55"/>
                  </a:lnTo>
                  <a:lnTo>
                    <a:pt x="468" y="55"/>
                  </a:lnTo>
                  <a:lnTo>
                    <a:pt x="468" y="59"/>
                  </a:lnTo>
                  <a:lnTo>
                    <a:pt x="468" y="59"/>
                  </a:lnTo>
                  <a:lnTo>
                    <a:pt x="465" y="64"/>
                  </a:lnTo>
                  <a:lnTo>
                    <a:pt x="468" y="62"/>
                  </a:lnTo>
                  <a:lnTo>
                    <a:pt x="468" y="59"/>
                  </a:lnTo>
                  <a:lnTo>
                    <a:pt x="468" y="57"/>
                  </a:lnTo>
                  <a:lnTo>
                    <a:pt x="468" y="57"/>
                  </a:lnTo>
                  <a:lnTo>
                    <a:pt x="470" y="59"/>
                  </a:lnTo>
                  <a:lnTo>
                    <a:pt x="470" y="59"/>
                  </a:lnTo>
                  <a:lnTo>
                    <a:pt x="470" y="59"/>
                  </a:lnTo>
                  <a:lnTo>
                    <a:pt x="472" y="59"/>
                  </a:lnTo>
                  <a:lnTo>
                    <a:pt x="475" y="57"/>
                  </a:lnTo>
                  <a:lnTo>
                    <a:pt x="475" y="57"/>
                  </a:lnTo>
                  <a:lnTo>
                    <a:pt x="475" y="59"/>
                  </a:lnTo>
                  <a:lnTo>
                    <a:pt x="477" y="59"/>
                  </a:lnTo>
                  <a:lnTo>
                    <a:pt x="480" y="59"/>
                  </a:lnTo>
                  <a:lnTo>
                    <a:pt x="480" y="62"/>
                  </a:lnTo>
                  <a:lnTo>
                    <a:pt x="480" y="62"/>
                  </a:lnTo>
                  <a:lnTo>
                    <a:pt x="480" y="59"/>
                  </a:lnTo>
                  <a:lnTo>
                    <a:pt x="480" y="59"/>
                  </a:lnTo>
                  <a:lnTo>
                    <a:pt x="480" y="57"/>
                  </a:lnTo>
                  <a:lnTo>
                    <a:pt x="482" y="57"/>
                  </a:lnTo>
                  <a:lnTo>
                    <a:pt x="484" y="59"/>
                  </a:lnTo>
                  <a:lnTo>
                    <a:pt x="482" y="59"/>
                  </a:lnTo>
                  <a:lnTo>
                    <a:pt x="482" y="59"/>
                  </a:lnTo>
                  <a:lnTo>
                    <a:pt x="482" y="62"/>
                  </a:lnTo>
                  <a:lnTo>
                    <a:pt x="482" y="62"/>
                  </a:lnTo>
                  <a:lnTo>
                    <a:pt x="482" y="59"/>
                  </a:lnTo>
                  <a:lnTo>
                    <a:pt x="482" y="59"/>
                  </a:lnTo>
                  <a:lnTo>
                    <a:pt x="484" y="62"/>
                  </a:lnTo>
                  <a:lnTo>
                    <a:pt x="484" y="62"/>
                  </a:lnTo>
                  <a:lnTo>
                    <a:pt x="484" y="62"/>
                  </a:lnTo>
                  <a:lnTo>
                    <a:pt x="482" y="59"/>
                  </a:lnTo>
                  <a:lnTo>
                    <a:pt x="487" y="59"/>
                  </a:lnTo>
                  <a:lnTo>
                    <a:pt x="487" y="59"/>
                  </a:lnTo>
                  <a:lnTo>
                    <a:pt x="484" y="59"/>
                  </a:lnTo>
                  <a:lnTo>
                    <a:pt x="484" y="57"/>
                  </a:lnTo>
                  <a:lnTo>
                    <a:pt x="487" y="57"/>
                  </a:lnTo>
                  <a:lnTo>
                    <a:pt x="489" y="55"/>
                  </a:lnTo>
                  <a:lnTo>
                    <a:pt x="489" y="52"/>
                  </a:lnTo>
                  <a:lnTo>
                    <a:pt x="491" y="55"/>
                  </a:lnTo>
                  <a:lnTo>
                    <a:pt x="491" y="52"/>
                  </a:lnTo>
                  <a:lnTo>
                    <a:pt x="494" y="55"/>
                  </a:lnTo>
                  <a:lnTo>
                    <a:pt x="491" y="52"/>
                  </a:lnTo>
                  <a:lnTo>
                    <a:pt x="491" y="50"/>
                  </a:lnTo>
                  <a:lnTo>
                    <a:pt x="494" y="50"/>
                  </a:lnTo>
                  <a:lnTo>
                    <a:pt x="494" y="50"/>
                  </a:lnTo>
                  <a:lnTo>
                    <a:pt x="491" y="50"/>
                  </a:lnTo>
                  <a:lnTo>
                    <a:pt x="494" y="50"/>
                  </a:lnTo>
                  <a:lnTo>
                    <a:pt x="496" y="50"/>
                  </a:lnTo>
                  <a:lnTo>
                    <a:pt x="496" y="50"/>
                  </a:lnTo>
                  <a:lnTo>
                    <a:pt x="494" y="50"/>
                  </a:lnTo>
                  <a:lnTo>
                    <a:pt x="496" y="50"/>
                  </a:lnTo>
                  <a:lnTo>
                    <a:pt x="496" y="50"/>
                  </a:lnTo>
                  <a:lnTo>
                    <a:pt x="498" y="50"/>
                  </a:lnTo>
                  <a:lnTo>
                    <a:pt x="498" y="50"/>
                  </a:lnTo>
                  <a:lnTo>
                    <a:pt x="498" y="50"/>
                  </a:lnTo>
                  <a:lnTo>
                    <a:pt x="498" y="52"/>
                  </a:lnTo>
                  <a:lnTo>
                    <a:pt x="498" y="50"/>
                  </a:lnTo>
                  <a:lnTo>
                    <a:pt x="496" y="55"/>
                  </a:lnTo>
                  <a:lnTo>
                    <a:pt x="496" y="59"/>
                  </a:lnTo>
                  <a:lnTo>
                    <a:pt x="496" y="57"/>
                  </a:lnTo>
                  <a:lnTo>
                    <a:pt x="496" y="55"/>
                  </a:lnTo>
                  <a:lnTo>
                    <a:pt x="494" y="57"/>
                  </a:lnTo>
                  <a:lnTo>
                    <a:pt x="494" y="59"/>
                  </a:lnTo>
                  <a:lnTo>
                    <a:pt x="491" y="57"/>
                  </a:lnTo>
                  <a:lnTo>
                    <a:pt x="489" y="57"/>
                  </a:lnTo>
                  <a:lnTo>
                    <a:pt x="491" y="57"/>
                  </a:lnTo>
                  <a:lnTo>
                    <a:pt x="494" y="59"/>
                  </a:lnTo>
                  <a:lnTo>
                    <a:pt x="494" y="59"/>
                  </a:lnTo>
                  <a:lnTo>
                    <a:pt x="494" y="59"/>
                  </a:lnTo>
                  <a:lnTo>
                    <a:pt x="491" y="59"/>
                  </a:lnTo>
                  <a:lnTo>
                    <a:pt x="491" y="59"/>
                  </a:lnTo>
                  <a:lnTo>
                    <a:pt x="494" y="59"/>
                  </a:lnTo>
                  <a:lnTo>
                    <a:pt x="491" y="62"/>
                  </a:lnTo>
                  <a:lnTo>
                    <a:pt x="491" y="62"/>
                  </a:lnTo>
                  <a:lnTo>
                    <a:pt x="489" y="64"/>
                  </a:lnTo>
                  <a:lnTo>
                    <a:pt x="491" y="64"/>
                  </a:lnTo>
                  <a:lnTo>
                    <a:pt x="489" y="64"/>
                  </a:lnTo>
                  <a:lnTo>
                    <a:pt x="489" y="66"/>
                  </a:lnTo>
                  <a:lnTo>
                    <a:pt x="489" y="66"/>
                  </a:lnTo>
                  <a:lnTo>
                    <a:pt x="487" y="66"/>
                  </a:lnTo>
                  <a:lnTo>
                    <a:pt x="487" y="69"/>
                  </a:lnTo>
                  <a:lnTo>
                    <a:pt x="487" y="71"/>
                  </a:lnTo>
                  <a:lnTo>
                    <a:pt x="487" y="71"/>
                  </a:lnTo>
                  <a:lnTo>
                    <a:pt x="487" y="73"/>
                  </a:lnTo>
                  <a:lnTo>
                    <a:pt x="489" y="76"/>
                  </a:lnTo>
                  <a:lnTo>
                    <a:pt x="489" y="73"/>
                  </a:lnTo>
                  <a:lnTo>
                    <a:pt x="489" y="73"/>
                  </a:lnTo>
                  <a:lnTo>
                    <a:pt x="491" y="73"/>
                  </a:lnTo>
                  <a:lnTo>
                    <a:pt x="494" y="76"/>
                  </a:lnTo>
                  <a:lnTo>
                    <a:pt x="494" y="76"/>
                  </a:lnTo>
                  <a:lnTo>
                    <a:pt x="494" y="76"/>
                  </a:lnTo>
                  <a:lnTo>
                    <a:pt x="496" y="73"/>
                  </a:lnTo>
                  <a:lnTo>
                    <a:pt x="496" y="71"/>
                  </a:lnTo>
                  <a:lnTo>
                    <a:pt x="498" y="71"/>
                  </a:lnTo>
                  <a:lnTo>
                    <a:pt x="501" y="73"/>
                  </a:lnTo>
                  <a:lnTo>
                    <a:pt x="501" y="73"/>
                  </a:lnTo>
                  <a:lnTo>
                    <a:pt x="501" y="76"/>
                  </a:lnTo>
                  <a:lnTo>
                    <a:pt x="501" y="76"/>
                  </a:lnTo>
                  <a:lnTo>
                    <a:pt x="501" y="76"/>
                  </a:lnTo>
                  <a:lnTo>
                    <a:pt x="503" y="76"/>
                  </a:lnTo>
                  <a:lnTo>
                    <a:pt x="501" y="73"/>
                  </a:lnTo>
                  <a:lnTo>
                    <a:pt x="501" y="73"/>
                  </a:lnTo>
                  <a:lnTo>
                    <a:pt x="503" y="76"/>
                  </a:lnTo>
                  <a:lnTo>
                    <a:pt x="503" y="78"/>
                  </a:lnTo>
                  <a:lnTo>
                    <a:pt x="501" y="81"/>
                  </a:lnTo>
                  <a:lnTo>
                    <a:pt x="503" y="81"/>
                  </a:lnTo>
                  <a:lnTo>
                    <a:pt x="503" y="78"/>
                  </a:lnTo>
                  <a:lnTo>
                    <a:pt x="503" y="76"/>
                  </a:lnTo>
                  <a:lnTo>
                    <a:pt x="503" y="76"/>
                  </a:lnTo>
                  <a:lnTo>
                    <a:pt x="503" y="71"/>
                  </a:lnTo>
                  <a:lnTo>
                    <a:pt x="503" y="71"/>
                  </a:lnTo>
                  <a:lnTo>
                    <a:pt x="503" y="71"/>
                  </a:lnTo>
                  <a:lnTo>
                    <a:pt x="503" y="71"/>
                  </a:lnTo>
                  <a:lnTo>
                    <a:pt x="503" y="71"/>
                  </a:lnTo>
                  <a:lnTo>
                    <a:pt x="503" y="71"/>
                  </a:lnTo>
                  <a:lnTo>
                    <a:pt x="506" y="71"/>
                  </a:lnTo>
                  <a:lnTo>
                    <a:pt x="506" y="69"/>
                  </a:lnTo>
                  <a:lnTo>
                    <a:pt x="506" y="71"/>
                  </a:lnTo>
                  <a:lnTo>
                    <a:pt x="506" y="76"/>
                  </a:lnTo>
                  <a:lnTo>
                    <a:pt x="506" y="76"/>
                  </a:lnTo>
                  <a:lnTo>
                    <a:pt x="506" y="76"/>
                  </a:lnTo>
                  <a:lnTo>
                    <a:pt x="506" y="76"/>
                  </a:lnTo>
                  <a:lnTo>
                    <a:pt x="508" y="76"/>
                  </a:lnTo>
                  <a:lnTo>
                    <a:pt x="506" y="73"/>
                  </a:lnTo>
                  <a:lnTo>
                    <a:pt x="506" y="73"/>
                  </a:lnTo>
                  <a:lnTo>
                    <a:pt x="508" y="76"/>
                  </a:lnTo>
                  <a:lnTo>
                    <a:pt x="508" y="73"/>
                  </a:lnTo>
                  <a:lnTo>
                    <a:pt x="508" y="71"/>
                  </a:lnTo>
                  <a:lnTo>
                    <a:pt x="510" y="69"/>
                  </a:lnTo>
                  <a:lnTo>
                    <a:pt x="513" y="69"/>
                  </a:lnTo>
                  <a:lnTo>
                    <a:pt x="513" y="69"/>
                  </a:lnTo>
                  <a:lnTo>
                    <a:pt x="513" y="69"/>
                  </a:lnTo>
                  <a:lnTo>
                    <a:pt x="513" y="69"/>
                  </a:lnTo>
                  <a:lnTo>
                    <a:pt x="513" y="66"/>
                  </a:lnTo>
                  <a:lnTo>
                    <a:pt x="513" y="71"/>
                  </a:lnTo>
                  <a:lnTo>
                    <a:pt x="510" y="73"/>
                  </a:lnTo>
                  <a:lnTo>
                    <a:pt x="510" y="76"/>
                  </a:lnTo>
                  <a:lnTo>
                    <a:pt x="510" y="76"/>
                  </a:lnTo>
                  <a:lnTo>
                    <a:pt x="508" y="76"/>
                  </a:lnTo>
                  <a:lnTo>
                    <a:pt x="510" y="76"/>
                  </a:lnTo>
                  <a:lnTo>
                    <a:pt x="513" y="73"/>
                  </a:lnTo>
                  <a:lnTo>
                    <a:pt x="513" y="73"/>
                  </a:lnTo>
                  <a:lnTo>
                    <a:pt x="513" y="71"/>
                  </a:lnTo>
                  <a:lnTo>
                    <a:pt x="515" y="71"/>
                  </a:lnTo>
                  <a:lnTo>
                    <a:pt x="515" y="71"/>
                  </a:lnTo>
                  <a:lnTo>
                    <a:pt x="515" y="71"/>
                  </a:lnTo>
                  <a:lnTo>
                    <a:pt x="515" y="73"/>
                  </a:lnTo>
                  <a:lnTo>
                    <a:pt x="513" y="73"/>
                  </a:lnTo>
                  <a:lnTo>
                    <a:pt x="515" y="73"/>
                  </a:lnTo>
                  <a:lnTo>
                    <a:pt x="515" y="71"/>
                  </a:lnTo>
                  <a:lnTo>
                    <a:pt x="515" y="69"/>
                  </a:lnTo>
                  <a:lnTo>
                    <a:pt x="517" y="69"/>
                  </a:lnTo>
                  <a:lnTo>
                    <a:pt x="517" y="71"/>
                  </a:lnTo>
                  <a:lnTo>
                    <a:pt x="517" y="71"/>
                  </a:lnTo>
                  <a:lnTo>
                    <a:pt x="517" y="73"/>
                  </a:lnTo>
                  <a:lnTo>
                    <a:pt x="520" y="76"/>
                  </a:lnTo>
                  <a:lnTo>
                    <a:pt x="520" y="76"/>
                  </a:lnTo>
                  <a:lnTo>
                    <a:pt x="520" y="81"/>
                  </a:lnTo>
                  <a:lnTo>
                    <a:pt x="517" y="83"/>
                  </a:lnTo>
                  <a:lnTo>
                    <a:pt x="517" y="81"/>
                  </a:lnTo>
                  <a:lnTo>
                    <a:pt x="517" y="81"/>
                  </a:lnTo>
                  <a:lnTo>
                    <a:pt x="515" y="81"/>
                  </a:lnTo>
                  <a:lnTo>
                    <a:pt x="515" y="81"/>
                  </a:lnTo>
                  <a:lnTo>
                    <a:pt x="515" y="81"/>
                  </a:lnTo>
                  <a:lnTo>
                    <a:pt x="513" y="81"/>
                  </a:lnTo>
                  <a:lnTo>
                    <a:pt x="513" y="78"/>
                  </a:lnTo>
                  <a:lnTo>
                    <a:pt x="513" y="81"/>
                  </a:lnTo>
                  <a:lnTo>
                    <a:pt x="508" y="81"/>
                  </a:lnTo>
                  <a:lnTo>
                    <a:pt x="508" y="81"/>
                  </a:lnTo>
                  <a:lnTo>
                    <a:pt x="506" y="81"/>
                  </a:lnTo>
                  <a:lnTo>
                    <a:pt x="508" y="81"/>
                  </a:lnTo>
                  <a:lnTo>
                    <a:pt x="508" y="81"/>
                  </a:lnTo>
                  <a:lnTo>
                    <a:pt x="506" y="83"/>
                  </a:lnTo>
                  <a:lnTo>
                    <a:pt x="506" y="83"/>
                  </a:lnTo>
                  <a:lnTo>
                    <a:pt x="506" y="85"/>
                  </a:lnTo>
                  <a:lnTo>
                    <a:pt x="503" y="83"/>
                  </a:lnTo>
                  <a:lnTo>
                    <a:pt x="501" y="85"/>
                  </a:lnTo>
                  <a:lnTo>
                    <a:pt x="503" y="83"/>
                  </a:lnTo>
                  <a:lnTo>
                    <a:pt x="503" y="85"/>
                  </a:lnTo>
                  <a:lnTo>
                    <a:pt x="503" y="85"/>
                  </a:lnTo>
                  <a:lnTo>
                    <a:pt x="503" y="85"/>
                  </a:lnTo>
                  <a:lnTo>
                    <a:pt x="503" y="85"/>
                  </a:lnTo>
                  <a:lnTo>
                    <a:pt x="501" y="88"/>
                  </a:lnTo>
                  <a:lnTo>
                    <a:pt x="501" y="88"/>
                  </a:lnTo>
                  <a:lnTo>
                    <a:pt x="501" y="88"/>
                  </a:lnTo>
                  <a:lnTo>
                    <a:pt x="503" y="88"/>
                  </a:lnTo>
                  <a:lnTo>
                    <a:pt x="503" y="90"/>
                  </a:lnTo>
                  <a:lnTo>
                    <a:pt x="503" y="90"/>
                  </a:lnTo>
                  <a:lnTo>
                    <a:pt x="503" y="90"/>
                  </a:lnTo>
                  <a:lnTo>
                    <a:pt x="503" y="90"/>
                  </a:lnTo>
                  <a:lnTo>
                    <a:pt x="506" y="90"/>
                  </a:lnTo>
                  <a:lnTo>
                    <a:pt x="506" y="92"/>
                  </a:lnTo>
                  <a:lnTo>
                    <a:pt x="503" y="92"/>
                  </a:lnTo>
                  <a:lnTo>
                    <a:pt x="503" y="92"/>
                  </a:lnTo>
                  <a:lnTo>
                    <a:pt x="503" y="92"/>
                  </a:lnTo>
                  <a:lnTo>
                    <a:pt x="506" y="92"/>
                  </a:lnTo>
                  <a:lnTo>
                    <a:pt x="506" y="92"/>
                  </a:lnTo>
                  <a:lnTo>
                    <a:pt x="506" y="90"/>
                  </a:lnTo>
                  <a:lnTo>
                    <a:pt x="506" y="90"/>
                  </a:lnTo>
                  <a:lnTo>
                    <a:pt x="506" y="90"/>
                  </a:lnTo>
                  <a:lnTo>
                    <a:pt x="503" y="90"/>
                  </a:lnTo>
                  <a:lnTo>
                    <a:pt x="503" y="88"/>
                  </a:lnTo>
                  <a:lnTo>
                    <a:pt x="506" y="88"/>
                  </a:lnTo>
                  <a:lnTo>
                    <a:pt x="508" y="90"/>
                  </a:lnTo>
                  <a:lnTo>
                    <a:pt x="508" y="90"/>
                  </a:lnTo>
                  <a:lnTo>
                    <a:pt x="513" y="90"/>
                  </a:lnTo>
                  <a:lnTo>
                    <a:pt x="513" y="90"/>
                  </a:lnTo>
                  <a:lnTo>
                    <a:pt x="513" y="90"/>
                  </a:lnTo>
                  <a:lnTo>
                    <a:pt x="513" y="92"/>
                  </a:lnTo>
                  <a:lnTo>
                    <a:pt x="513" y="92"/>
                  </a:lnTo>
                  <a:lnTo>
                    <a:pt x="513" y="92"/>
                  </a:lnTo>
                  <a:lnTo>
                    <a:pt x="510" y="92"/>
                  </a:lnTo>
                  <a:lnTo>
                    <a:pt x="510" y="92"/>
                  </a:lnTo>
                  <a:lnTo>
                    <a:pt x="508" y="92"/>
                  </a:lnTo>
                  <a:lnTo>
                    <a:pt x="510" y="92"/>
                  </a:lnTo>
                  <a:lnTo>
                    <a:pt x="510" y="95"/>
                  </a:lnTo>
                  <a:lnTo>
                    <a:pt x="508" y="97"/>
                  </a:lnTo>
                  <a:lnTo>
                    <a:pt x="506" y="97"/>
                  </a:lnTo>
                  <a:lnTo>
                    <a:pt x="503" y="99"/>
                  </a:lnTo>
                  <a:lnTo>
                    <a:pt x="503" y="99"/>
                  </a:lnTo>
                  <a:lnTo>
                    <a:pt x="501" y="99"/>
                  </a:lnTo>
                  <a:lnTo>
                    <a:pt x="501" y="99"/>
                  </a:lnTo>
                  <a:lnTo>
                    <a:pt x="498" y="99"/>
                  </a:lnTo>
                  <a:lnTo>
                    <a:pt x="498" y="99"/>
                  </a:lnTo>
                  <a:lnTo>
                    <a:pt x="498" y="102"/>
                  </a:lnTo>
                  <a:lnTo>
                    <a:pt x="501" y="99"/>
                  </a:lnTo>
                  <a:lnTo>
                    <a:pt x="501" y="102"/>
                  </a:lnTo>
                  <a:lnTo>
                    <a:pt x="498" y="102"/>
                  </a:lnTo>
                  <a:lnTo>
                    <a:pt x="498" y="102"/>
                  </a:lnTo>
                  <a:lnTo>
                    <a:pt x="496" y="102"/>
                  </a:lnTo>
                  <a:lnTo>
                    <a:pt x="494" y="104"/>
                  </a:lnTo>
                  <a:lnTo>
                    <a:pt x="498" y="102"/>
                  </a:lnTo>
                  <a:lnTo>
                    <a:pt x="498" y="102"/>
                  </a:lnTo>
                  <a:lnTo>
                    <a:pt x="501" y="102"/>
                  </a:lnTo>
                  <a:lnTo>
                    <a:pt x="503" y="99"/>
                  </a:lnTo>
                  <a:lnTo>
                    <a:pt x="506" y="99"/>
                  </a:lnTo>
                  <a:lnTo>
                    <a:pt x="510" y="97"/>
                  </a:lnTo>
                  <a:lnTo>
                    <a:pt x="510" y="99"/>
                  </a:lnTo>
                  <a:lnTo>
                    <a:pt x="510" y="99"/>
                  </a:lnTo>
                  <a:lnTo>
                    <a:pt x="508" y="102"/>
                  </a:lnTo>
                  <a:lnTo>
                    <a:pt x="506" y="102"/>
                  </a:lnTo>
                  <a:lnTo>
                    <a:pt x="506" y="102"/>
                  </a:lnTo>
                  <a:lnTo>
                    <a:pt x="508" y="102"/>
                  </a:lnTo>
                  <a:lnTo>
                    <a:pt x="508" y="102"/>
                  </a:lnTo>
                  <a:lnTo>
                    <a:pt x="513" y="99"/>
                  </a:lnTo>
                  <a:lnTo>
                    <a:pt x="513" y="99"/>
                  </a:lnTo>
                  <a:lnTo>
                    <a:pt x="513" y="99"/>
                  </a:lnTo>
                  <a:lnTo>
                    <a:pt x="513" y="99"/>
                  </a:lnTo>
                  <a:lnTo>
                    <a:pt x="513" y="99"/>
                  </a:lnTo>
                  <a:lnTo>
                    <a:pt x="513" y="95"/>
                  </a:lnTo>
                  <a:lnTo>
                    <a:pt x="515" y="95"/>
                  </a:lnTo>
                  <a:lnTo>
                    <a:pt x="517" y="95"/>
                  </a:lnTo>
                  <a:lnTo>
                    <a:pt x="517" y="92"/>
                  </a:lnTo>
                  <a:lnTo>
                    <a:pt x="520" y="92"/>
                  </a:lnTo>
                  <a:lnTo>
                    <a:pt x="520" y="95"/>
                  </a:lnTo>
                  <a:lnTo>
                    <a:pt x="517" y="95"/>
                  </a:lnTo>
                  <a:lnTo>
                    <a:pt x="517" y="99"/>
                  </a:lnTo>
                  <a:lnTo>
                    <a:pt x="517" y="99"/>
                  </a:lnTo>
                  <a:lnTo>
                    <a:pt x="515" y="99"/>
                  </a:lnTo>
                  <a:lnTo>
                    <a:pt x="515" y="99"/>
                  </a:lnTo>
                  <a:lnTo>
                    <a:pt x="515" y="99"/>
                  </a:lnTo>
                  <a:lnTo>
                    <a:pt x="515" y="102"/>
                  </a:lnTo>
                  <a:lnTo>
                    <a:pt x="515" y="99"/>
                  </a:lnTo>
                  <a:lnTo>
                    <a:pt x="517" y="99"/>
                  </a:lnTo>
                  <a:lnTo>
                    <a:pt x="517" y="99"/>
                  </a:lnTo>
                  <a:lnTo>
                    <a:pt x="517" y="97"/>
                  </a:lnTo>
                  <a:lnTo>
                    <a:pt x="520" y="95"/>
                  </a:lnTo>
                  <a:lnTo>
                    <a:pt x="520" y="95"/>
                  </a:lnTo>
                  <a:lnTo>
                    <a:pt x="520" y="97"/>
                  </a:lnTo>
                  <a:lnTo>
                    <a:pt x="520" y="99"/>
                  </a:lnTo>
                  <a:lnTo>
                    <a:pt x="520" y="97"/>
                  </a:lnTo>
                  <a:lnTo>
                    <a:pt x="520" y="95"/>
                  </a:lnTo>
                  <a:lnTo>
                    <a:pt x="520" y="92"/>
                  </a:lnTo>
                  <a:lnTo>
                    <a:pt x="520" y="92"/>
                  </a:lnTo>
                  <a:lnTo>
                    <a:pt x="520" y="92"/>
                  </a:lnTo>
                  <a:lnTo>
                    <a:pt x="520" y="92"/>
                  </a:lnTo>
                  <a:lnTo>
                    <a:pt x="522" y="92"/>
                  </a:lnTo>
                  <a:lnTo>
                    <a:pt x="520" y="90"/>
                  </a:lnTo>
                  <a:lnTo>
                    <a:pt x="520" y="90"/>
                  </a:lnTo>
                  <a:lnTo>
                    <a:pt x="522" y="90"/>
                  </a:lnTo>
                  <a:lnTo>
                    <a:pt x="524" y="90"/>
                  </a:lnTo>
                  <a:lnTo>
                    <a:pt x="527" y="92"/>
                  </a:lnTo>
                  <a:lnTo>
                    <a:pt x="527" y="92"/>
                  </a:lnTo>
                  <a:lnTo>
                    <a:pt x="524" y="92"/>
                  </a:lnTo>
                  <a:lnTo>
                    <a:pt x="522" y="97"/>
                  </a:lnTo>
                  <a:lnTo>
                    <a:pt x="522" y="99"/>
                  </a:lnTo>
                  <a:lnTo>
                    <a:pt x="522" y="102"/>
                  </a:lnTo>
                  <a:lnTo>
                    <a:pt x="522" y="104"/>
                  </a:lnTo>
                  <a:lnTo>
                    <a:pt x="524" y="102"/>
                  </a:lnTo>
                  <a:lnTo>
                    <a:pt x="524" y="102"/>
                  </a:lnTo>
                  <a:lnTo>
                    <a:pt x="524" y="102"/>
                  </a:lnTo>
                  <a:lnTo>
                    <a:pt x="524" y="99"/>
                  </a:lnTo>
                  <a:lnTo>
                    <a:pt x="524" y="99"/>
                  </a:lnTo>
                  <a:lnTo>
                    <a:pt x="527" y="95"/>
                  </a:lnTo>
                  <a:lnTo>
                    <a:pt x="529" y="97"/>
                  </a:lnTo>
                  <a:lnTo>
                    <a:pt x="529" y="97"/>
                  </a:lnTo>
                  <a:lnTo>
                    <a:pt x="524" y="99"/>
                  </a:lnTo>
                  <a:lnTo>
                    <a:pt x="527" y="102"/>
                  </a:lnTo>
                  <a:lnTo>
                    <a:pt x="524" y="102"/>
                  </a:lnTo>
                  <a:lnTo>
                    <a:pt x="524" y="102"/>
                  </a:lnTo>
                  <a:lnTo>
                    <a:pt x="527" y="104"/>
                  </a:lnTo>
                  <a:lnTo>
                    <a:pt x="527" y="104"/>
                  </a:lnTo>
                  <a:lnTo>
                    <a:pt x="527" y="106"/>
                  </a:lnTo>
                  <a:lnTo>
                    <a:pt x="527" y="109"/>
                  </a:lnTo>
                  <a:lnTo>
                    <a:pt x="529" y="106"/>
                  </a:lnTo>
                  <a:lnTo>
                    <a:pt x="532" y="104"/>
                  </a:lnTo>
                  <a:lnTo>
                    <a:pt x="532" y="104"/>
                  </a:lnTo>
                  <a:lnTo>
                    <a:pt x="534" y="102"/>
                  </a:lnTo>
                  <a:lnTo>
                    <a:pt x="534" y="104"/>
                  </a:lnTo>
                  <a:lnTo>
                    <a:pt x="534" y="106"/>
                  </a:lnTo>
                  <a:lnTo>
                    <a:pt x="532" y="109"/>
                  </a:lnTo>
                  <a:lnTo>
                    <a:pt x="529" y="111"/>
                  </a:lnTo>
                  <a:lnTo>
                    <a:pt x="529" y="111"/>
                  </a:lnTo>
                  <a:lnTo>
                    <a:pt x="527" y="111"/>
                  </a:lnTo>
                  <a:lnTo>
                    <a:pt x="527" y="111"/>
                  </a:lnTo>
                  <a:lnTo>
                    <a:pt x="524" y="114"/>
                  </a:lnTo>
                  <a:lnTo>
                    <a:pt x="527" y="111"/>
                  </a:lnTo>
                  <a:lnTo>
                    <a:pt x="527" y="114"/>
                  </a:lnTo>
                  <a:lnTo>
                    <a:pt x="527" y="111"/>
                  </a:lnTo>
                  <a:lnTo>
                    <a:pt x="529" y="111"/>
                  </a:lnTo>
                  <a:lnTo>
                    <a:pt x="529" y="111"/>
                  </a:lnTo>
                  <a:lnTo>
                    <a:pt x="529" y="114"/>
                  </a:lnTo>
                  <a:lnTo>
                    <a:pt x="529" y="114"/>
                  </a:lnTo>
                  <a:lnTo>
                    <a:pt x="529" y="114"/>
                  </a:lnTo>
                  <a:lnTo>
                    <a:pt x="532" y="116"/>
                  </a:lnTo>
                  <a:lnTo>
                    <a:pt x="532" y="114"/>
                  </a:lnTo>
                  <a:lnTo>
                    <a:pt x="529" y="114"/>
                  </a:lnTo>
                  <a:lnTo>
                    <a:pt x="534" y="111"/>
                  </a:lnTo>
                  <a:lnTo>
                    <a:pt x="534" y="114"/>
                  </a:lnTo>
                  <a:lnTo>
                    <a:pt x="534" y="111"/>
                  </a:lnTo>
                  <a:lnTo>
                    <a:pt x="534" y="114"/>
                  </a:lnTo>
                  <a:lnTo>
                    <a:pt x="534" y="114"/>
                  </a:lnTo>
                  <a:lnTo>
                    <a:pt x="534" y="114"/>
                  </a:lnTo>
                  <a:lnTo>
                    <a:pt x="534" y="111"/>
                  </a:lnTo>
                  <a:lnTo>
                    <a:pt x="536" y="111"/>
                  </a:lnTo>
                  <a:lnTo>
                    <a:pt x="536" y="111"/>
                  </a:lnTo>
                  <a:lnTo>
                    <a:pt x="539" y="116"/>
                  </a:lnTo>
                  <a:lnTo>
                    <a:pt x="539" y="118"/>
                  </a:lnTo>
                  <a:lnTo>
                    <a:pt x="541" y="118"/>
                  </a:lnTo>
                  <a:lnTo>
                    <a:pt x="541" y="121"/>
                  </a:lnTo>
                  <a:lnTo>
                    <a:pt x="539" y="121"/>
                  </a:lnTo>
                  <a:lnTo>
                    <a:pt x="539" y="118"/>
                  </a:lnTo>
                  <a:lnTo>
                    <a:pt x="539" y="121"/>
                  </a:lnTo>
                  <a:lnTo>
                    <a:pt x="536" y="118"/>
                  </a:lnTo>
                  <a:lnTo>
                    <a:pt x="536" y="121"/>
                  </a:lnTo>
                  <a:lnTo>
                    <a:pt x="536" y="121"/>
                  </a:lnTo>
                  <a:lnTo>
                    <a:pt x="536" y="121"/>
                  </a:lnTo>
                  <a:lnTo>
                    <a:pt x="539" y="121"/>
                  </a:lnTo>
                  <a:lnTo>
                    <a:pt x="541" y="123"/>
                  </a:lnTo>
                  <a:lnTo>
                    <a:pt x="539" y="123"/>
                  </a:lnTo>
                  <a:lnTo>
                    <a:pt x="541" y="123"/>
                  </a:lnTo>
                  <a:lnTo>
                    <a:pt x="541" y="123"/>
                  </a:lnTo>
                  <a:lnTo>
                    <a:pt x="541" y="125"/>
                  </a:lnTo>
                  <a:lnTo>
                    <a:pt x="539" y="128"/>
                  </a:lnTo>
                  <a:lnTo>
                    <a:pt x="541" y="128"/>
                  </a:lnTo>
                  <a:lnTo>
                    <a:pt x="541" y="128"/>
                  </a:lnTo>
                  <a:lnTo>
                    <a:pt x="543" y="128"/>
                  </a:lnTo>
                  <a:lnTo>
                    <a:pt x="543" y="128"/>
                  </a:lnTo>
                  <a:lnTo>
                    <a:pt x="541" y="130"/>
                  </a:lnTo>
                  <a:lnTo>
                    <a:pt x="539" y="132"/>
                  </a:lnTo>
                  <a:lnTo>
                    <a:pt x="539" y="132"/>
                  </a:lnTo>
                  <a:lnTo>
                    <a:pt x="539" y="140"/>
                  </a:lnTo>
                  <a:lnTo>
                    <a:pt x="539" y="144"/>
                  </a:lnTo>
                  <a:lnTo>
                    <a:pt x="541" y="142"/>
                  </a:lnTo>
                  <a:lnTo>
                    <a:pt x="543" y="144"/>
                  </a:lnTo>
                  <a:lnTo>
                    <a:pt x="543" y="144"/>
                  </a:lnTo>
                  <a:lnTo>
                    <a:pt x="548" y="147"/>
                  </a:lnTo>
                  <a:lnTo>
                    <a:pt x="548" y="149"/>
                  </a:lnTo>
                  <a:lnTo>
                    <a:pt x="548" y="149"/>
                  </a:lnTo>
                  <a:lnTo>
                    <a:pt x="546" y="151"/>
                  </a:lnTo>
                  <a:lnTo>
                    <a:pt x="548" y="149"/>
                  </a:lnTo>
                  <a:lnTo>
                    <a:pt x="548" y="149"/>
                  </a:lnTo>
                  <a:lnTo>
                    <a:pt x="548" y="149"/>
                  </a:lnTo>
                  <a:lnTo>
                    <a:pt x="550" y="151"/>
                  </a:lnTo>
                  <a:lnTo>
                    <a:pt x="553" y="154"/>
                  </a:lnTo>
                  <a:lnTo>
                    <a:pt x="550" y="154"/>
                  </a:lnTo>
                  <a:lnTo>
                    <a:pt x="550" y="156"/>
                  </a:lnTo>
                  <a:lnTo>
                    <a:pt x="550" y="156"/>
                  </a:lnTo>
                  <a:lnTo>
                    <a:pt x="550" y="154"/>
                  </a:lnTo>
                  <a:lnTo>
                    <a:pt x="550" y="156"/>
                  </a:lnTo>
                  <a:lnTo>
                    <a:pt x="550" y="156"/>
                  </a:lnTo>
                  <a:lnTo>
                    <a:pt x="550" y="156"/>
                  </a:lnTo>
                  <a:lnTo>
                    <a:pt x="550" y="154"/>
                  </a:lnTo>
                  <a:lnTo>
                    <a:pt x="553" y="156"/>
                  </a:lnTo>
                  <a:lnTo>
                    <a:pt x="553" y="158"/>
                  </a:lnTo>
                  <a:lnTo>
                    <a:pt x="553" y="163"/>
                  </a:lnTo>
                  <a:lnTo>
                    <a:pt x="553" y="161"/>
                  </a:lnTo>
                  <a:lnTo>
                    <a:pt x="553" y="163"/>
                  </a:lnTo>
                  <a:lnTo>
                    <a:pt x="553" y="163"/>
                  </a:lnTo>
                  <a:lnTo>
                    <a:pt x="555" y="163"/>
                  </a:lnTo>
                  <a:lnTo>
                    <a:pt x="557" y="168"/>
                  </a:lnTo>
                  <a:lnTo>
                    <a:pt x="557" y="168"/>
                  </a:lnTo>
                  <a:lnTo>
                    <a:pt x="557" y="170"/>
                  </a:lnTo>
                  <a:lnTo>
                    <a:pt x="557" y="170"/>
                  </a:lnTo>
                  <a:lnTo>
                    <a:pt x="555" y="173"/>
                  </a:lnTo>
                  <a:lnTo>
                    <a:pt x="555" y="173"/>
                  </a:lnTo>
                  <a:lnTo>
                    <a:pt x="553" y="173"/>
                  </a:lnTo>
                  <a:lnTo>
                    <a:pt x="550" y="173"/>
                  </a:lnTo>
                  <a:lnTo>
                    <a:pt x="553" y="173"/>
                  </a:lnTo>
                  <a:lnTo>
                    <a:pt x="555" y="175"/>
                  </a:lnTo>
                  <a:lnTo>
                    <a:pt x="555" y="175"/>
                  </a:lnTo>
                  <a:lnTo>
                    <a:pt x="555" y="177"/>
                  </a:lnTo>
                  <a:lnTo>
                    <a:pt x="553" y="180"/>
                  </a:lnTo>
                  <a:lnTo>
                    <a:pt x="550" y="180"/>
                  </a:lnTo>
                  <a:lnTo>
                    <a:pt x="550" y="180"/>
                  </a:lnTo>
                  <a:lnTo>
                    <a:pt x="550" y="180"/>
                  </a:lnTo>
                  <a:lnTo>
                    <a:pt x="550" y="180"/>
                  </a:lnTo>
                  <a:lnTo>
                    <a:pt x="555" y="184"/>
                  </a:lnTo>
                  <a:lnTo>
                    <a:pt x="555" y="184"/>
                  </a:lnTo>
                  <a:lnTo>
                    <a:pt x="560" y="192"/>
                  </a:lnTo>
                  <a:lnTo>
                    <a:pt x="562" y="192"/>
                  </a:lnTo>
                  <a:lnTo>
                    <a:pt x="562" y="189"/>
                  </a:lnTo>
                  <a:lnTo>
                    <a:pt x="565" y="189"/>
                  </a:lnTo>
                  <a:lnTo>
                    <a:pt x="569" y="189"/>
                  </a:lnTo>
                  <a:lnTo>
                    <a:pt x="569" y="189"/>
                  </a:lnTo>
                  <a:lnTo>
                    <a:pt x="574" y="187"/>
                  </a:lnTo>
                  <a:lnTo>
                    <a:pt x="574" y="187"/>
                  </a:lnTo>
                  <a:lnTo>
                    <a:pt x="579" y="187"/>
                  </a:lnTo>
                  <a:lnTo>
                    <a:pt x="579" y="184"/>
                  </a:lnTo>
                  <a:lnTo>
                    <a:pt x="581" y="184"/>
                  </a:lnTo>
                  <a:lnTo>
                    <a:pt x="583" y="184"/>
                  </a:lnTo>
                  <a:lnTo>
                    <a:pt x="586" y="182"/>
                  </a:lnTo>
                  <a:lnTo>
                    <a:pt x="583" y="182"/>
                  </a:lnTo>
                  <a:lnTo>
                    <a:pt x="586" y="182"/>
                  </a:lnTo>
                  <a:lnTo>
                    <a:pt x="586" y="182"/>
                  </a:lnTo>
                  <a:lnTo>
                    <a:pt x="588" y="180"/>
                  </a:lnTo>
                  <a:lnTo>
                    <a:pt x="588" y="182"/>
                  </a:lnTo>
                  <a:lnTo>
                    <a:pt x="588" y="180"/>
                  </a:lnTo>
                  <a:lnTo>
                    <a:pt x="588" y="180"/>
                  </a:lnTo>
                  <a:lnTo>
                    <a:pt x="591" y="180"/>
                  </a:lnTo>
                  <a:lnTo>
                    <a:pt x="591" y="180"/>
                  </a:lnTo>
                  <a:lnTo>
                    <a:pt x="591" y="180"/>
                  </a:lnTo>
                  <a:lnTo>
                    <a:pt x="591" y="180"/>
                  </a:lnTo>
                  <a:lnTo>
                    <a:pt x="591" y="182"/>
                  </a:lnTo>
                  <a:lnTo>
                    <a:pt x="591" y="180"/>
                  </a:lnTo>
                  <a:lnTo>
                    <a:pt x="591" y="182"/>
                  </a:lnTo>
                  <a:lnTo>
                    <a:pt x="593" y="180"/>
                  </a:lnTo>
                  <a:lnTo>
                    <a:pt x="591" y="180"/>
                  </a:lnTo>
                  <a:lnTo>
                    <a:pt x="591" y="180"/>
                  </a:lnTo>
                  <a:lnTo>
                    <a:pt x="591" y="177"/>
                  </a:lnTo>
                  <a:lnTo>
                    <a:pt x="593" y="177"/>
                  </a:lnTo>
                  <a:lnTo>
                    <a:pt x="598" y="180"/>
                  </a:lnTo>
                  <a:lnTo>
                    <a:pt x="598" y="177"/>
                  </a:lnTo>
                  <a:lnTo>
                    <a:pt x="600" y="177"/>
                  </a:lnTo>
                  <a:lnTo>
                    <a:pt x="600" y="177"/>
                  </a:lnTo>
                  <a:lnTo>
                    <a:pt x="598" y="180"/>
                  </a:lnTo>
                  <a:lnTo>
                    <a:pt x="600" y="184"/>
                  </a:lnTo>
                  <a:lnTo>
                    <a:pt x="600" y="184"/>
                  </a:lnTo>
                  <a:lnTo>
                    <a:pt x="598" y="184"/>
                  </a:lnTo>
                  <a:lnTo>
                    <a:pt x="598" y="184"/>
                  </a:lnTo>
                  <a:lnTo>
                    <a:pt x="598" y="184"/>
                  </a:lnTo>
                  <a:lnTo>
                    <a:pt x="598" y="184"/>
                  </a:lnTo>
                  <a:lnTo>
                    <a:pt x="595" y="182"/>
                  </a:lnTo>
                  <a:lnTo>
                    <a:pt x="595" y="182"/>
                  </a:lnTo>
                  <a:lnTo>
                    <a:pt x="595" y="182"/>
                  </a:lnTo>
                  <a:lnTo>
                    <a:pt x="595" y="184"/>
                  </a:lnTo>
                  <a:lnTo>
                    <a:pt x="595" y="184"/>
                  </a:lnTo>
                  <a:lnTo>
                    <a:pt x="595" y="182"/>
                  </a:lnTo>
                  <a:lnTo>
                    <a:pt x="593" y="184"/>
                  </a:lnTo>
                  <a:lnTo>
                    <a:pt x="593" y="182"/>
                  </a:lnTo>
                  <a:lnTo>
                    <a:pt x="593" y="184"/>
                  </a:lnTo>
                  <a:lnTo>
                    <a:pt x="595" y="184"/>
                  </a:lnTo>
                  <a:lnTo>
                    <a:pt x="593" y="184"/>
                  </a:lnTo>
                  <a:lnTo>
                    <a:pt x="591" y="184"/>
                  </a:lnTo>
                  <a:lnTo>
                    <a:pt x="588" y="187"/>
                  </a:lnTo>
                  <a:lnTo>
                    <a:pt x="588" y="187"/>
                  </a:lnTo>
                  <a:lnTo>
                    <a:pt x="588" y="187"/>
                  </a:lnTo>
                  <a:lnTo>
                    <a:pt x="591" y="187"/>
                  </a:lnTo>
                  <a:lnTo>
                    <a:pt x="591" y="184"/>
                  </a:lnTo>
                  <a:lnTo>
                    <a:pt x="591" y="187"/>
                  </a:lnTo>
                  <a:lnTo>
                    <a:pt x="595" y="187"/>
                  </a:lnTo>
                  <a:lnTo>
                    <a:pt x="593" y="187"/>
                  </a:lnTo>
                  <a:lnTo>
                    <a:pt x="593" y="187"/>
                  </a:lnTo>
                  <a:lnTo>
                    <a:pt x="595" y="189"/>
                  </a:lnTo>
                  <a:lnTo>
                    <a:pt x="595" y="187"/>
                  </a:lnTo>
                  <a:lnTo>
                    <a:pt x="598" y="187"/>
                  </a:lnTo>
                  <a:lnTo>
                    <a:pt x="605" y="187"/>
                  </a:lnTo>
                  <a:lnTo>
                    <a:pt x="607" y="189"/>
                  </a:lnTo>
                  <a:lnTo>
                    <a:pt x="605" y="196"/>
                  </a:lnTo>
                  <a:lnTo>
                    <a:pt x="602" y="201"/>
                  </a:lnTo>
                  <a:lnTo>
                    <a:pt x="605" y="201"/>
                  </a:lnTo>
                  <a:lnTo>
                    <a:pt x="607" y="196"/>
                  </a:lnTo>
                  <a:lnTo>
                    <a:pt x="612" y="192"/>
                  </a:lnTo>
                  <a:lnTo>
                    <a:pt x="614" y="187"/>
                  </a:lnTo>
                  <a:lnTo>
                    <a:pt x="617" y="182"/>
                  </a:lnTo>
                  <a:lnTo>
                    <a:pt x="619" y="177"/>
                  </a:lnTo>
                  <a:lnTo>
                    <a:pt x="621" y="177"/>
                  </a:lnTo>
                  <a:lnTo>
                    <a:pt x="624" y="173"/>
                  </a:lnTo>
                  <a:lnTo>
                    <a:pt x="628" y="170"/>
                  </a:lnTo>
                  <a:lnTo>
                    <a:pt x="631" y="170"/>
                  </a:lnTo>
                  <a:lnTo>
                    <a:pt x="631" y="173"/>
                  </a:lnTo>
                  <a:lnTo>
                    <a:pt x="631" y="173"/>
                  </a:lnTo>
                  <a:lnTo>
                    <a:pt x="631" y="173"/>
                  </a:lnTo>
                  <a:lnTo>
                    <a:pt x="633" y="173"/>
                  </a:lnTo>
                  <a:lnTo>
                    <a:pt x="633" y="175"/>
                  </a:lnTo>
                  <a:lnTo>
                    <a:pt x="633" y="173"/>
                  </a:lnTo>
                  <a:lnTo>
                    <a:pt x="635" y="163"/>
                  </a:lnTo>
                  <a:lnTo>
                    <a:pt x="638" y="163"/>
                  </a:lnTo>
                  <a:lnTo>
                    <a:pt x="645" y="158"/>
                  </a:lnTo>
                  <a:lnTo>
                    <a:pt x="650" y="156"/>
                  </a:lnTo>
                  <a:lnTo>
                    <a:pt x="652" y="154"/>
                  </a:lnTo>
                  <a:lnTo>
                    <a:pt x="654" y="156"/>
                  </a:lnTo>
                  <a:lnTo>
                    <a:pt x="657" y="158"/>
                  </a:lnTo>
                  <a:lnTo>
                    <a:pt x="664" y="170"/>
                  </a:lnTo>
                  <a:lnTo>
                    <a:pt x="664" y="173"/>
                  </a:lnTo>
                  <a:lnTo>
                    <a:pt x="666" y="175"/>
                  </a:lnTo>
                  <a:lnTo>
                    <a:pt x="669" y="173"/>
                  </a:lnTo>
                  <a:lnTo>
                    <a:pt x="671" y="170"/>
                  </a:lnTo>
                  <a:lnTo>
                    <a:pt x="673" y="168"/>
                  </a:lnTo>
                  <a:lnTo>
                    <a:pt x="678" y="168"/>
                  </a:lnTo>
                  <a:lnTo>
                    <a:pt x="680" y="168"/>
                  </a:lnTo>
                  <a:lnTo>
                    <a:pt x="680" y="168"/>
                  </a:lnTo>
                  <a:lnTo>
                    <a:pt x="680" y="168"/>
                  </a:lnTo>
                  <a:lnTo>
                    <a:pt x="683" y="168"/>
                  </a:lnTo>
                  <a:lnTo>
                    <a:pt x="685" y="170"/>
                  </a:lnTo>
                  <a:lnTo>
                    <a:pt x="687" y="170"/>
                  </a:lnTo>
                  <a:lnTo>
                    <a:pt x="690" y="170"/>
                  </a:lnTo>
                  <a:lnTo>
                    <a:pt x="706" y="175"/>
                  </a:lnTo>
                  <a:lnTo>
                    <a:pt x="709" y="175"/>
                  </a:lnTo>
                  <a:lnTo>
                    <a:pt x="716" y="180"/>
                  </a:lnTo>
                  <a:lnTo>
                    <a:pt x="728" y="184"/>
                  </a:lnTo>
                  <a:lnTo>
                    <a:pt x="730" y="187"/>
                  </a:lnTo>
                  <a:lnTo>
                    <a:pt x="735" y="189"/>
                  </a:lnTo>
                  <a:lnTo>
                    <a:pt x="749" y="196"/>
                  </a:lnTo>
                  <a:lnTo>
                    <a:pt x="756" y="199"/>
                  </a:lnTo>
                  <a:lnTo>
                    <a:pt x="761" y="199"/>
                  </a:lnTo>
                  <a:lnTo>
                    <a:pt x="758" y="201"/>
                  </a:lnTo>
                  <a:lnTo>
                    <a:pt x="758" y="201"/>
                  </a:lnTo>
                  <a:lnTo>
                    <a:pt x="761" y="201"/>
                  </a:lnTo>
                  <a:lnTo>
                    <a:pt x="761" y="199"/>
                  </a:lnTo>
                  <a:lnTo>
                    <a:pt x="761" y="196"/>
                  </a:lnTo>
                  <a:lnTo>
                    <a:pt x="761" y="199"/>
                  </a:lnTo>
                  <a:lnTo>
                    <a:pt x="761" y="196"/>
                  </a:lnTo>
                  <a:lnTo>
                    <a:pt x="761" y="196"/>
                  </a:lnTo>
                  <a:lnTo>
                    <a:pt x="763" y="201"/>
                  </a:lnTo>
                  <a:lnTo>
                    <a:pt x="763" y="201"/>
                  </a:lnTo>
                  <a:lnTo>
                    <a:pt x="763" y="201"/>
                  </a:lnTo>
                  <a:lnTo>
                    <a:pt x="763" y="203"/>
                  </a:lnTo>
                  <a:lnTo>
                    <a:pt x="768" y="203"/>
                  </a:lnTo>
                  <a:lnTo>
                    <a:pt x="768" y="206"/>
                  </a:lnTo>
                  <a:lnTo>
                    <a:pt x="768" y="206"/>
                  </a:lnTo>
                  <a:lnTo>
                    <a:pt x="765" y="210"/>
                  </a:lnTo>
                  <a:lnTo>
                    <a:pt x="768" y="210"/>
                  </a:lnTo>
                  <a:lnTo>
                    <a:pt x="768" y="210"/>
                  </a:lnTo>
                  <a:lnTo>
                    <a:pt x="770" y="206"/>
                  </a:lnTo>
                  <a:lnTo>
                    <a:pt x="768" y="203"/>
                  </a:lnTo>
                  <a:lnTo>
                    <a:pt x="765" y="201"/>
                  </a:lnTo>
                  <a:lnTo>
                    <a:pt x="765" y="201"/>
                  </a:lnTo>
                  <a:lnTo>
                    <a:pt x="763" y="201"/>
                  </a:lnTo>
                  <a:lnTo>
                    <a:pt x="763" y="201"/>
                  </a:lnTo>
                  <a:lnTo>
                    <a:pt x="765" y="201"/>
                  </a:lnTo>
                  <a:lnTo>
                    <a:pt x="765" y="199"/>
                  </a:lnTo>
                  <a:lnTo>
                    <a:pt x="765" y="199"/>
                  </a:lnTo>
                  <a:lnTo>
                    <a:pt x="763" y="199"/>
                  </a:lnTo>
                  <a:lnTo>
                    <a:pt x="763" y="199"/>
                  </a:lnTo>
                  <a:lnTo>
                    <a:pt x="761" y="199"/>
                  </a:lnTo>
                  <a:lnTo>
                    <a:pt x="763" y="196"/>
                  </a:lnTo>
                  <a:lnTo>
                    <a:pt x="763" y="196"/>
                  </a:lnTo>
                  <a:lnTo>
                    <a:pt x="765" y="199"/>
                  </a:lnTo>
                  <a:lnTo>
                    <a:pt x="775" y="208"/>
                  </a:lnTo>
                  <a:lnTo>
                    <a:pt x="780" y="213"/>
                  </a:lnTo>
                  <a:lnTo>
                    <a:pt x="784" y="215"/>
                  </a:lnTo>
                  <a:lnTo>
                    <a:pt x="787" y="215"/>
                  </a:lnTo>
                  <a:lnTo>
                    <a:pt x="787" y="215"/>
                  </a:lnTo>
                  <a:lnTo>
                    <a:pt x="791" y="215"/>
                  </a:lnTo>
                  <a:lnTo>
                    <a:pt x="794" y="218"/>
                  </a:lnTo>
                  <a:lnTo>
                    <a:pt x="796" y="220"/>
                  </a:lnTo>
                  <a:lnTo>
                    <a:pt x="794" y="215"/>
                  </a:lnTo>
                  <a:lnTo>
                    <a:pt x="796" y="215"/>
                  </a:lnTo>
                  <a:lnTo>
                    <a:pt x="801" y="218"/>
                  </a:lnTo>
                  <a:lnTo>
                    <a:pt x="808" y="220"/>
                  </a:lnTo>
                  <a:lnTo>
                    <a:pt x="815" y="215"/>
                  </a:lnTo>
                  <a:lnTo>
                    <a:pt x="815" y="215"/>
                  </a:lnTo>
                  <a:lnTo>
                    <a:pt x="815" y="215"/>
                  </a:lnTo>
                  <a:lnTo>
                    <a:pt x="817" y="215"/>
                  </a:lnTo>
                  <a:lnTo>
                    <a:pt x="820" y="215"/>
                  </a:lnTo>
                  <a:lnTo>
                    <a:pt x="822" y="215"/>
                  </a:lnTo>
                  <a:lnTo>
                    <a:pt x="827" y="213"/>
                  </a:lnTo>
                  <a:lnTo>
                    <a:pt x="827" y="213"/>
                  </a:lnTo>
                  <a:lnTo>
                    <a:pt x="827" y="213"/>
                  </a:lnTo>
                  <a:lnTo>
                    <a:pt x="827" y="215"/>
                  </a:lnTo>
                  <a:lnTo>
                    <a:pt x="829" y="218"/>
                  </a:lnTo>
                  <a:lnTo>
                    <a:pt x="829" y="215"/>
                  </a:lnTo>
                  <a:lnTo>
                    <a:pt x="827" y="215"/>
                  </a:lnTo>
                  <a:lnTo>
                    <a:pt x="829" y="215"/>
                  </a:lnTo>
                  <a:lnTo>
                    <a:pt x="836" y="215"/>
                  </a:lnTo>
                  <a:lnTo>
                    <a:pt x="841" y="215"/>
                  </a:lnTo>
                  <a:lnTo>
                    <a:pt x="846" y="215"/>
                  </a:lnTo>
                  <a:lnTo>
                    <a:pt x="848" y="215"/>
                  </a:lnTo>
                  <a:lnTo>
                    <a:pt x="848" y="215"/>
                  </a:lnTo>
                  <a:lnTo>
                    <a:pt x="848" y="215"/>
                  </a:lnTo>
                  <a:lnTo>
                    <a:pt x="848" y="215"/>
                  </a:lnTo>
                  <a:lnTo>
                    <a:pt x="848" y="218"/>
                  </a:lnTo>
                  <a:lnTo>
                    <a:pt x="853" y="222"/>
                  </a:lnTo>
                  <a:lnTo>
                    <a:pt x="853" y="225"/>
                  </a:lnTo>
                  <a:lnTo>
                    <a:pt x="853" y="222"/>
                  </a:lnTo>
                  <a:lnTo>
                    <a:pt x="855" y="222"/>
                  </a:lnTo>
                  <a:lnTo>
                    <a:pt x="853" y="220"/>
                  </a:lnTo>
                  <a:lnTo>
                    <a:pt x="855" y="220"/>
                  </a:lnTo>
                  <a:lnTo>
                    <a:pt x="857" y="220"/>
                  </a:lnTo>
                  <a:lnTo>
                    <a:pt x="860" y="220"/>
                  </a:lnTo>
                  <a:lnTo>
                    <a:pt x="862" y="220"/>
                  </a:lnTo>
                  <a:lnTo>
                    <a:pt x="867" y="220"/>
                  </a:lnTo>
                  <a:lnTo>
                    <a:pt x="867" y="220"/>
                  </a:lnTo>
                  <a:lnTo>
                    <a:pt x="869" y="220"/>
                  </a:lnTo>
                  <a:lnTo>
                    <a:pt x="874" y="220"/>
                  </a:lnTo>
                  <a:lnTo>
                    <a:pt x="879" y="220"/>
                  </a:lnTo>
                  <a:lnTo>
                    <a:pt x="879" y="220"/>
                  </a:lnTo>
                  <a:lnTo>
                    <a:pt x="879" y="220"/>
                  </a:lnTo>
                  <a:lnTo>
                    <a:pt x="879" y="222"/>
                  </a:lnTo>
                  <a:lnTo>
                    <a:pt x="879" y="225"/>
                  </a:lnTo>
                  <a:lnTo>
                    <a:pt x="874" y="227"/>
                  </a:lnTo>
                  <a:lnTo>
                    <a:pt x="874" y="232"/>
                  </a:lnTo>
                  <a:lnTo>
                    <a:pt x="876" y="232"/>
                  </a:lnTo>
                  <a:lnTo>
                    <a:pt x="876" y="234"/>
                  </a:lnTo>
                  <a:lnTo>
                    <a:pt x="874" y="234"/>
                  </a:lnTo>
                  <a:lnTo>
                    <a:pt x="874" y="236"/>
                  </a:lnTo>
                  <a:lnTo>
                    <a:pt x="872" y="241"/>
                  </a:lnTo>
                  <a:lnTo>
                    <a:pt x="874" y="241"/>
                  </a:lnTo>
                  <a:lnTo>
                    <a:pt x="876" y="246"/>
                  </a:lnTo>
                  <a:lnTo>
                    <a:pt x="876" y="246"/>
                  </a:lnTo>
                  <a:lnTo>
                    <a:pt x="881" y="248"/>
                  </a:lnTo>
                  <a:lnTo>
                    <a:pt x="881" y="248"/>
                  </a:lnTo>
                  <a:lnTo>
                    <a:pt x="881" y="251"/>
                  </a:lnTo>
                  <a:lnTo>
                    <a:pt x="879" y="255"/>
                  </a:lnTo>
                  <a:lnTo>
                    <a:pt x="879" y="255"/>
                  </a:lnTo>
                  <a:lnTo>
                    <a:pt x="879" y="260"/>
                  </a:lnTo>
                  <a:lnTo>
                    <a:pt x="876" y="260"/>
                  </a:lnTo>
                  <a:lnTo>
                    <a:pt x="874" y="262"/>
                  </a:lnTo>
                  <a:lnTo>
                    <a:pt x="872" y="265"/>
                  </a:lnTo>
                  <a:lnTo>
                    <a:pt x="869" y="267"/>
                  </a:lnTo>
                  <a:lnTo>
                    <a:pt x="869" y="269"/>
                  </a:lnTo>
                  <a:lnTo>
                    <a:pt x="867" y="269"/>
                  </a:lnTo>
                  <a:lnTo>
                    <a:pt x="865" y="269"/>
                  </a:lnTo>
                  <a:lnTo>
                    <a:pt x="865" y="272"/>
                  </a:lnTo>
                  <a:lnTo>
                    <a:pt x="865" y="274"/>
                  </a:lnTo>
                  <a:lnTo>
                    <a:pt x="865" y="277"/>
                  </a:lnTo>
                  <a:lnTo>
                    <a:pt x="865" y="277"/>
                  </a:lnTo>
                  <a:lnTo>
                    <a:pt x="865" y="281"/>
                  </a:lnTo>
                  <a:lnTo>
                    <a:pt x="862" y="281"/>
                  </a:lnTo>
                  <a:lnTo>
                    <a:pt x="862" y="279"/>
                  </a:lnTo>
                  <a:lnTo>
                    <a:pt x="860" y="279"/>
                  </a:lnTo>
                  <a:lnTo>
                    <a:pt x="860" y="281"/>
                  </a:lnTo>
                  <a:lnTo>
                    <a:pt x="857" y="284"/>
                  </a:lnTo>
                  <a:lnTo>
                    <a:pt x="857" y="286"/>
                  </a:lnTo>
                  <a:lnTo>
                    <a:pt x="857" y="286"/>
                  </a:lnTo>
                  <a:lnTo>
                    <a:pt x="855" y="288"/>
                  </a:lnTo>
                  <a:lnTo>
                    <a:pt x="855" y="288"/>
                  </a:lnTo>
                  <a:lnTo>
                    <a:pt x="853" y="288"/>
                  </a:lnTo>
                  <a:lnTo>
                    <a:pt x="848" y="288"/>
                  </a:lnTo>
                  <a:lnTo>
                    <a:pt x="846" y="291"/>
                  </a:lnTo>
                  <a:lnTo>
                    <a:pt x="841" y="291"/>
                  </a:lnTo>
                  <a:lnTo>
                    <a:pt x="839" y="293"/>
                  </a:lnTo>
                  <a:lnTo>
                    <a:pt x="839" y="293"/>
                  </a:lnTo>
                  <a:lnTo>
                    <a:pt x="839" y="295"/>
                  </a:lnTo>
                  <a:lnTo>
                    <a:pt x="843" y="295"/>
                  </a:lnTo>
                  <a:lnTo>
                    <a:pt x="843" y="295"/>
                  </a:lnTo>
                  <a:lnTo>
                    <a:pt x="843" y="295"/>
                  </a:lnTo>
                  <a:lnTo>
                    <a:pt x="843" y="295"/>
                  </a:lnTo>
                  <a:lnTo>
                    <a:pt x="843" y="298"/>
                  </a:lnTo>
                  <a:lnTo>
                    <a:pt x="841" y="298"/>
                  </a:lnTo>
                  <a:lnTo>
                    <a:pt x="841" y="298"/>
                  </a:lnTo>
                  <a:lnTo>
                    <a:pt x="839" y="300"/>
                  </a:lnTo>
                  <a:lnTo>
                    <a:pt x="839" y="303"/>
                  </a:lnTo>
                  <a:lnTo>
                    <a:pt x="839" y="303"/>
                  </a:lnTo>
                  <a:lnTo>
                    <a:pt x="839" y="303"/>
                  </a:lnTo>
                  <a:lnTo>
                    <a:pt x="836" y="307"/>
                  </a:lnTo>
                  <a:lnTo>
                    <a:pt x="832" y="307"/>
                  </a:lnTo>
                  <a:lnTo>
                    <a:pt x="832" y="307"/>
                  </a:lnTo>
                  <a:lnTo>
                    <a:pt x="829" y="310"/>
                  </a:lnTo>
                  <a:lnTo>
                    <a:pt x="832" y="312"/>
                  </a:lnTo>
                  <a:lnTo>
                    <a:pt x="829" y="314"/>
                  </a:lnTo>
                  <a:lnTo>
                    <a:pt x="829" y="312"/>
                  </a:lnTo>
                  <a:lnTo>
                    <a:pt x="829" y="314"/>
                  </a:lnTo>
                  <a:lnTo>
                    <a:pt x="824" y="312"/>
                  </a:lnTo>
                  <a:lnTo>
                    <a:pt x="820" y="314"/>
                  </a:lnTo>
                  <a:lnTo>
                    <a:pt x="820" y="314"/>
                  </a:lnTo>
                  <a:lnTo>
                    <a:pt x="817" y="314"/>
                  </a:lnTo>
                  <a:lnTo>
                    <a:pt x="815" y="314"/>
                  </a:lnTo>
                  <a:lnTo>
                    <a:pt x="815" y="312"/>
                  </a:lnTo>
                  <a:lnTo>
                    <a:pt x="810" y="314"/>
                  </a:lnTo>
                  <a:lnTo>
                    <a:pt x="808" y="314"/>
                  </a:lnTo>
                  <a:lnTo>
                    <a:pt x="806" y="314"/>
                  </a:lnTo>
                  <a:lnTo>
                    <a:pt x="806" y="317"/>
                  </a:lnTo>
                  <a:lnTo>
                    <a:pt x="806" y="317"/>
                  </a:lnTo>
                  <a:lnTo>
                    <a:pt x="803" y="319"/>
                  </a:lnTo>
                  <a:lnTo>
                    <a:pt x="803" y="317"/>
                  </a:lnTo>
                  <a:lnTo>
                    <a:pt x="803" y="317"/>
                  </a:lnTo>
                  <a:lnTo>
                    <a:pt x="801" y="317"/>
                  </a:lnTo>
                  <a:lnTo>
                    <a:pt x="801" y="317"/>
                  </a:lnTo>
                  <a:lnTo>
                    <a:pt x="798" y="319"/>
                  </a:lnTo>
                  <a:lnTo>
                    <a:pt x="798" y="319"/>
                  </a:lnTo>
                  <a:lnTo>
                    <a:pt x="796" y="319"/>
                  </a:lnTo>
                  <a:lnTo>
                    <a:pt x="796" y="319"/>
                  </a:lnTo>
                  <a:lnTo>
                    <a:pt x="794" y="317"/>
                  </a:lnTo>
                  <a:lnTo>
                    <a:pt x="794" y="314"/>
                  </a:lnTo>
                  <a:lnTo>
                    <a:pt x="794" y="314"/>
                  </a:lnTo>
                  <a:lnTo>
                    <a:pt x="791" y="314"/>
                  </a:lnTo>
                  <a:lnTo>
                    <a:pt x="791" y="317"/>
                  </a:lnTo>
                  <a:lnTo>
                    <a:pt x="791" y="319"/>
                  </a:lnTo>
                  <a:lnTo>
                    <a:pt x="789" y="321"/>
                  </a:lnTo>
                  <a:lnTo>
                    <a:pt x="789" y="321"/>
                  </a:lnTo>
                  <a:lnTo>
                    <a:pt x="789" y="324"/>
                  </a:lnTo>
                  <a:lnTo>
                    <a:pt x="789" y="324"/>
                  </a:lnTo>
                  <a:lnTo>
                    <a:pt x="789" y="324"/>
                  </a:lnTo>
                  <a:lnTo>
                    <a:pt x="784" y="329"/>
                  </a:lnTo>
                  <a:lnTo>
                    <a:pt x="782" y="331"/>
                  </a:lnTo>
                  <a:lnTo>
                    <a:pt x="782" y="331"/>
                  </a:lnTo>
                  <a:lnTo>
                    <a:pt x="780" y="333"/>
                  </a:lnTo>
                  <a:lnTo>
                    <a:pt x="777" y="336"/>
                  </a:lnTo>
                  <a:lnTo>
                    <a:pt x="777" y="338"/>
                  </a:lnTo>
                  <a:lnTo>
                    <a:pt x="777" y="338"/>
                  </a:lnTo>
                  <a:lnTo>
                    <a:pt x="775" y="338"/>
                  </a:lnTo>
                  <a:lnTo>
                    <a:pt x="772" y="343"/>
                  </a:lnTo>
                  <a:lnTo>
                    <a:pt x="770" y="345"/>
                  </a:lnTo>
                  <a:lnTo>
                    <a:pt x="770" y="347"/>
                  </a:lnTo>
                  <a:lnTo>
                    <a:pt x="770" y="347"/>
                  </a:lnTo>
                  <a:lnTo>
                    <a:pt x="770" y="347"/>
                  </a:lnTo>
                  <a:lnTo>
                    <a:pt x="770" y="352"/>
                  </a:lnTo>
                  <a:lnTo>
                    <a:pt x="770" y="352"/>
                  </a:lnTo>
                  <a:lnTo>
                    <a:pt x="770" y="355"/>
                  </a:lnTo>
                  <a:lnTo>
                    <a:pt x="770" y="357"/>
                  </a:lnTo>
                  <a:lnTo>
                    <a:pt x="770" y="359"/>
                  </a:lnTo>
                  <a:lnTo>
                    <a:pt x="770" y="359"/>
                  </a:lnTo>
                  <a:lnTo>
                    <a:pt x="770" y="362"/>
                  </a:lnTo>
                  <a:lnTo>
                    <a:pt x="770" y="362"/>
                  </a:lnTo>
                  <a:lnTo>
                    <a:pt x="763" y="371"/>
                  </a:lnTo>
                  <a:lnTo>
                    <a:pt x="763" y="371"/>
                  </a:lnTo>
                  <a:lnTo>
                    <a:pt x="763" y="373"/>
                  </a:lnTo>
                  <a:lnTo>
                    <a:pt x="763" y="376"/>
                  </a:lnTo>
                  <a:lnTo>
                    <a:pt x="763" y="378"/>
                  </a:lnTo>
                  <a:lnTo>
                    <a:pt x="756" y="380"/>
                  </a:lnTo>
                  <a:lnTo>
                    <a:pt x="756" y="385"/>
                  </a:lnTo>
                  <a:lnTo>
                    <a:pt x="754" y="388"/>
                  </a:lnTo>
                  <a:lnTo>
                    <a:pt x="754" y="388"/>
                  </a:lnTo>
                  <a:lnTo>
                    <a:pt x="754" y="385"/>
                  </a:lnTo>
                  <a:lnTo>
                    <a:pt x="751" y="385"/>
                  </a:lnTo>
                  <a:lnTo>
                    <a:pt x="749" y="390"/>
                  </a:lnTo>
                  <a:lnTo>
                    <a:pt x="749" y="392"/>
                  </a:lnTo>
                  <a:lnTo>
                    <a:pt x="746" y="397"/>
                  </a:lnTo>
                  <a:lnTo>
                    <a:pt x="746" y="399"/>
                  </a:lnTo>
                  <a:lnTo>
                    <a:pt x="744" y="402"/>
                  </a:lnTo>
                  <a:lnTo>
                    <a:pt x="742" y="402"/>
                  </a:lnTo>
                  <a:lnTo>
                    <a:pt x="742" y="404"/>
                  </a:lnTo>
                  <a:lnTo>
                    <a:pt x="742" y="404"/>
                  </a:lnTo>
                  <a:lnTo>
                    <a:pt x="744" y="406"/>
                  </a:lnTo>
                  <a:lnTo>
                    <a:pt x="744" y="406"/>
                  </a:lnTo>
                  <a:lnTo>
                    <a:pt x="737" y="406"/>
                  </a:lnTo>
                  <a:lnTo>
                    <a:pt x="737" y="409"/>
                  </a:lnTo>
                  <a:lnTo>
                    <a:pt x="737" y="409"/>
                  </a:lnTo>
                  <a:lnTo>
                    <a:pt x="732" y="416"/>
                  </a:lnTo>
                  <a:lnTo>
                    <a:pt x="730" y="418"/>
                  </a:lnTo>
                  <a:lnTo>
                    <a:pt x="730" y="421"/>
                  </a:lnTo>
                  <a:lnTo>
                    <a:pt x="732" y="425"/>
                  </a:lnTo>
                  <a:lnTo>
                    <a:pt x="732" y="425"/>
                  </a:lnTo>
                  <a:lnTo>
                    <a:pt x="735" y="430"/>
                  </a:lnTo>
                  <a:lnTo>
                    <a:pt x="735" y="432"/>
                  </a:lnTo>
                  <a:lnTo>
                    <a:pt x="735" y="437"/>
                  </a:lnTo>
                  <a:lnTo>
                    <a:pt x="735" y="437"/>
                  </a:lnTo>
                  <a:lnTo>
                    <a:pt x="735" y="437"/>
                  </a:lnTo>
                  <a:lnTo>
                    <a:pt x="737" y="437"/>
                  </a:lnTo>
                  <a:lnTo>
                    <a:pt x="737" y="437"/>
                  </a:lnTo>
                  <a:lnTo>
                    <a:pt x="737" y="437"/>
                  </a:lnTo>
                  <a:lnTo>
                    <a:pt x="744" y="442"/>
                  </a:lnTo>
                  <a:lnTo>
                    <a:pt x="744" y="442"/>
                  </a:lnTo>
                  <a:lnTo>
                    <a:pt x="744" y="447"/>
                  </a:lnTo>
                  <a:lnTo>
                    <a:pt x="744" y="449"/>
                  </a:lnTo>
                  <a:lnTo>
                    <a:pt x="746" y="449"/>
                  </a:lnTo>
                  <a:lnTo>
                    <a:pt x="746" y="451"/>
                  </a:lnTo>
                  <a:lnTo>
                    <a:pt x="746" y="451"/>
                  </a:lnTo>
                  <a:lnTo>
                    <a:pt x="746" y="451"/>
                  </a:lnTo>
                  <a:lnTo>
                    <a:pt x="746" y="451"/>
                  </a:lnTo>
                  <a:lnTo>
                    <a:pt x="746" y="454"/>
                  </a:lnTo>
                  <a:lnTo>
                    <a:pt x="744" y="458"/>
                  </a:lnTo>
                  <a:lnTo>
                    <a:pt x="746" y="461"/>
                  </a:lnTo>
                  <a:lnTo>
                    <a:pt x="746" y="461"/>
                  </a:lnTo>
                  <a:lnTo>
                    <a:pt x="744" y="463"/>
                  </a:lnTo>
                  <a:lnTo>
                    <a:pt x="744" y="466"/>
                  </a:lnTo>
                  <a:lnTo>
                    <a:pt x="739" y="470"/>
                  </a:lnTo>
                  <a:lnTo>
                    <a:pt x="739" y="473"/>
                  </a:lnTo>
                  <a:lnTo>
                    <a:pt x="739" y="473"/>
                  </a:lnTo>
                  <a:lnTo>
                    <a:pt x="737" y="473"/>
                  </a:lnTo>
                  <a:lnTo>
                    <a:pt x="735" y="475"/>
                  </a:lnTo>
                  <a:lnTo>
                    <a:pt x="735" y="477"/>
                  </a:lnTo>
                  <a:lnTo>
                    <a:pt x="735" y="480"/>
                  </a:lnTo>
                  <a:lnTo>
                    <a:pt x="737" y="480"/>
                  </a:lnTo>
                  <a:lnTo>
                    <a:pt x="739" y="482"/>
                  </a:lnTo>
                  <a:lnTo>
                    <a:pt x="739" y="482"/>
                  </a:lnTo>
                  <a:lnTo>
                    <a:pt x="737" y="484"/>
                  </a:lnTo>
                  <a:lnTo>
                    <a:pt x="735" y="487"/>
                  </a:lnTo>
                  <a:lnTo>
                    <a:pt x="735" y="489"/>
                  </a:lnTo>
                  <a:lnTo>
                    <a:pt x="737" y="494"/>
                  </a:lnTo>
                  <a:lnTo>
                    <a:pt x="737" y="494"/>
                  </a:lnTo>
                  <a:lnTo>
                    <a:pt x="742" y="496"/>
                  </a:lnTo>
                  <a:lnTo>
                    <a:pt x="742" y="499"/>
                  </a:lnTo>
                  <a:lnTo>
                    <a:pt x="742" y="503"/>
                  </a:lnTo>
                  <a:lnTo>
                    <a:pt x="742" y="503"/>
                  </a:lnTo>
                  <a:lnTo>
                    <a:pt x="746" y="508"/>
                  </a:lnTo>
                  <a:lnTo>
                    <a:pt x="746" y="508"/>
                  </a:lnTo>
                  <a:lnTo>
                    <a:pt x="746" y="510"/>
                  </a:lnTo>
                  <a:lnTo>
                    <a:pt x="746" y="515"/>
                  </a:lnTo>
                  <a:lnTo>
                    <a:pt x="746" y="515"/>
                  </a:lnTo>
                  <a:lnTo>
                    <a:pt x="749" y="522"/>
                  </a:lnTo>
                  <a:lnTo>
                    <a:pt x="749" y="525"/>
                  </a:lnTo>
                  <a:lnTo>
                    <a:pt x="749" y="527"/>
                  </a:lnTo>
                  <a:lnTo>
                    <a:pt x="751" y="527"/>
                  </a:lnTo>
                  <a:lnTo>
                    <a:pt x="751" y="529"/>
                  </a:lnTo>
                  <a:lnTo>
                    <a:pt x="754" y="534"/>
                  </a:lnTo>
                  <a:lnTo>
                    <a:pt x="754" y="536"/>
                  </a:lnTo>
                  <a:lnTo>
                    <a:pt x="754" y="541"/>
                  </a:lnTo>
                  <a:lnTo>
                    <a:pt x="754" y="543"/>
                  </a:lnTo>
                  <a:lnTo>
                    <a:pt x="751" y="548"/>
                  </a:lnTo>
                  <a:lnTo>
                    <a:pt x="751" y="551"/>
                  </a:lnTo>
                  <a:lnTo>
                    <a:pt x="754" y="555"/>
                  </a:lnTo>
                  <a:lnTo>
                    <a:pt x="754" y="555"/>
                  </a:lnTo>
                  <a:lnTo>
                    <a:pt x="754" y="558"/>
                  </a:lnTo>
                  <a:lnTo>
                    <a:pt x="751" y="562"/>
                  </a:lnTo>
                  <a:lnTo>
                    <a:pt x="751" y="562"/>
                  </a:lnTo>
                  <a:lnTo>
                    <a:pt x="749" y="565"/>
                  </a:lnTo>
                  <a:lnTo>
                    <a:pt x="746" y="565"/>
                  </a:lnTo>
                  <a:lnTo>
                    <a:pt x="746" y="567"/>
                  </a:lnTo>
                  <a:lnTo>
                    <a:pt x="744" y="569"/>
                  </a:lnTo>
                  <a:lnTo>
                    <a:pt x="742" y="569"/>
                  </a:lnTo>
                  <a:lnTo>
                    <a:pt x="739" y="569"/>
                  </a:lnTo>
                  <a:lnTo>
                    <a:pt x="739" y="574"/>
                  </a:lnTo>
                  <a:lnTo>
                    <a:pt x="737" y="577"/>
                  </a:lnTo>
                  <a:lnTo>
                    <a:pt x="735" y="577"/>
                  </a:lnTo>
                  <a:lnTo>
                    <a:pt x="732" y="577"/>
                  </a:lnTo>
                  <a:lnTo>
                    <a:pt x="732" y="581"/>
                  </a:lnTo>
                  <a:lnTo>
                    <a:pt x="732" y="581"/>
                  </a:lnTo>
                  <a:lnTo>
                    <a:pt x="730" y="584"/>
                  </a:lnTo>
                  <a:lnTo>
                    <a:pt x="728" y="588"/>
                  </a:lnTo>
                  <a:lnTo>
                    <a:pt x="725" y="591"/>
                  </a:lnTo>
                  <a:lnTo>
                    <a:pt x="725" y="593"/>
                  </a:lnTo>
                  <a:lnTo>
                    <a:pt x="725" y="595"/>
                  </a:lnTo>
                  <a:lnTo>
                    <a:pt x="723" y="595"/>
                  </a:lnTo>
                  <a:lnTo>
                    <a:pt x="718" y="595"/>
                  </a:lnTo>
                  <a:lnTo>
                    <a:pt x="718" y="598"/>
                  </a:lnTo>
                  <a:lnTo>
                    <a:pt x="716" y="598"/>
                  </a:lnTo>
                  <a:lnTo>
                    <a:pt x="716" y="600"/>
                  </a:lnTo>
                  <a:lnTo>
                    <a:pt x="718" y="600"/>
                  </a:lnTo>
                  <a:lnTo>
                    <a:pt x="718" y="603"/>
                  </a:lnTo>
                  <a:lnTo>
                    <a:pt x="718" y="603"/>
                  </a:lnTo>
                  <a:lnTo>
                    <a:pt x="718" y="607"/>
                  </a:lnTo>
                  <a:lnTo>
                    <a:pt x="718" y="614"/>
                  </a:lnTo>
                  <a:lnTo>
                    <a:pt x="718" y="614"/>
                  </a:lnTo>
                  <a:lnTo>
                    <a:pt x="716" y="614"/>
                  </a:lnTo>
                  <a:lnTo>
                    <a:pt x="716" y="617"/>
                  </a:lnTo>
                  <a:lnTo>
                    <a:pt x="716" y="617"/>
                  </a:lnTo>
                  <a:lnTo>
                    <a:pt x="716" y="621"/>
                  </a:lnTo>
                  <a:lnTo>
                    <a:pt x="718" y="624"/>
                  </a:lnTo>
                  <a:lnTo>
                    <a:pt x="716" y="626"/>
                  </a:lnTo>
                  <a:lnTo>
                    <a:pt x="718" y="631"/>
                  </a:lnTo>
                  <a:lnTo>
                    <a:pt x="716" y="636"/>
                  </a:lnTo>
                  <a:lnTo>
                    <a:pt x="716" y="638"/>
                  </a:lnTo>
                  <a:lnTo>
                    <a:pt x="718" y="638"/>
                  </a:lnTo>
                  <a:lnTo>
                    <a:pt x="718" y="643"/>
                  </a:lnTo>
                  <a:lnTo>
                    <a:pt x="718" y="643"/>
                  </a:lnTo>
                  <a:lnTo>
                    <a:pt x="720" y="645"/>
                  </a:lnTo>
                  <a:lnTo>
                    <a:pt x="723" y="647"/>
                  </a:lnTo>
                  <a:lnTo>
                    <a:pt x="723" y="647"/>
                  </a:lnTo>
                  <a:lnTo>
                    <a:pt x="723" y="650"/>
                  </a:lnTo>
                  <a:lnTo>
                    <a:pt x="723" y="652"/>
                  </a:lnTo>
                  <a:lnTo>
                    <a:pt x="723" y="652"/>
                  </a:lnTo>
                  <a:lnTo>
                    <a:pt x="723" y="652"/>
                  </a:lnTo>
                  <a:lnTo>
                    <a:pt x="720" y="655"/>
                  </a:lnTo>
                  <a:lnTo>
                    <a:pt x="718" y="655"/>
                  </a:lnTo>
                  <a:lnTo>
                    <a:pt x="718" y="655"/>
                  </a:lnTo>
                  <a:lnTo>
                    <a:pt x="723" y="657"/>
                  </a:lnTo>
                  <a:lnTo>
                    <a:pt x="723" y="662"/>
                  </a:lnTo>
                  <a:lnTo>
                    <a:pt x="725" y="664"/>
                  </a:lnTo>
                  <a:lnTo>
                    <a:pt x="728" y="664"/>
                  </a:lnTo>
                  <a:lnTo>
                    <a:pt x="730" y="664"/>
                  </a:lnTo>
                  <a:lnTo>
                    <a:pt x="732" y="664"/>
                  </a:lnTo>
                  <a:lnTo>
                    <a:pt x="732" y="666"/>
                  </a:lnTo>
                  <a:lnTo>
                    <a:pt x="732" y="671"/>
                  </a:lnTo>
                  <a:lnTo>
                    <a:pt x="732" y="671"/>
                  </a:lnTo>
                  <a:lnTo>
                    <a:pt x="735" y="673"/>
                  </a:lnTo>
                  <a:lnTo>
                    <a:pt x="737" y="673"/>
                  </a:lnTo>
                  <a:lnTo>
                    <a:pt x="739" y="678"/>
                  </a:lnTo>
                  <a:lnTo>
                    <a:pt x="742" y="678"/>
                  </a:lnTo>
                  <a:lnTo>
                    <a:pt x="744" y="678"/>
                  </a:lnTo>
                  <a:lnTo>
                    <a:pt x="746" y="678"/>
                  </a:lnTo>
                  <a:lnTo>
                    <a:pt x="746" y="680"/>
                  </a:lnTo>
                  <a:lnTo>
                    <a:pt x="746" y="680"/>
                  </a:lnTo>
                  <a:lnTo>
                    <a:pt x="746" y="683"/>
                  </a:lnTo>
                  <a:lnTo>
                    <a:pt x="746" y="683"/>
                  </a:lnTo>
                  <a:lnTo>
                    <a:pt x="749" y="685"/>
                  </a:lnTo>
                  <a:lnTo>
                    <a:pt x="746" y="690"/>
                  </a:lnTo>
                  <a:lnTo>
                    <a:pt x="746" y="692"/>
                  </a:lnTo>
                  <a:lnTo>
                    <a:pt x="746" y="692"/>
                  </a:lnTo>
                  <a:lnTo>
                    <a:pt x="749" y="692"/>
                  </a:lnTo>
                  <a:lnTo>
                    <a:pt x="751" y="692"/>
                  </a:lnTo>
                  <a:lnTo>
                    <a:pt x="751" y="692"/>
                  </a:lnTo>
                  <a:lnTo>
                    <a:pt x="746" y="697"/>
                  </a:lnTo>
                  <a:lnTo>
                    <a:pt x="746" y="697"/>
                  </a:lnTo>
                  <a:lnTo>
                    <a:pt x="746" y="699"/>
                  </a:lnTo>
                  <a:lnTo>
                    <a:pt x="744" y="704"/>
                  </a:lnTo>
                  <a:lnTo>
                    <a:pt x="744" y="704"/>
                  </a:lnTo>
                  <a:lnTo>
                    <a:pt x="746" y="706"/>
                  </a:lnTo>
                  <a:lnTo>
                    <a:pt x="744" y="709"/>
                  </a:lnTo>
                  <a:lnTo>
                    <a:pt x="746" y="711"/>
                  </a:lnTo>
                  <a:lnTo>
                    <a:pt x="744" y="714"/>
                  </a:lnTo>
                  <a:lnTo>
                    <a:pt x="744" y="714"/>
                  </a:lnTo>
                  <a:lnTo>
                    <a:pt x="744" y="716"/>
                  </a:lnTo>
                  <a:lnTo>
                    <a:pt x="744" y="716"/>
                  </a:lnTo>
                  <a:lnTo>
                    <a:pt x="744" y="718"/>
                  </a:lnTo>
                  <a:lnTo>
                    <a:pt x="744" y="721"/>
                  </a:lnTo>
                  <a:lnTo>
                    <a:pt x="744" y="723"/>
                  </a:lnTo>
                  <a:lnTo>
                    <a:pt x="742" y="728"/>
                  </a:lnTo>
                  <a:lnTo>
                    <a:pt x="739" y="732"/>
                  </a:lnTo>
                  <a:lnTo>
                    <a:pt x="739" y="732"/>
                  </a:lnTo>
                  <a:lnTo>
                    <a:pt x="739" y="735"/>
                  </a:lnTo>
                  <a:lnTo>
                    <a:pt x="739" y="737"/>
                  </a:lnTo>
                  <a:lnTo>
                    <a:pt x="735" y="740"/>
                  </a:lnTo>
                  <a:lnTo>
                    <a:pt x="732" y="742"/>
                  </a:lnTo>
                  <a:lnTo>
                    <a:pt x="730" y="747"/>
                  </a:lnTo>
                  <a:lnTo>
                    <a:pt x="728" y="747"/>
                  </a:lnTo>
                  <a:lnTo>
                    <a:pt x="728" y="747"/>
                  </a:lnTo>
                  <a:lnTo>
                    <a:pt x="725" y="749"/>
                  </a:lnTo>
                  <a:lnTo>
                    <a:pt x="723" y="749"/>
                  </a:lnTo>
                  <a:lnTo>
                    <a:pt x="720" y="747"/>
                  </a:lnTo>
                  <a:lnTo>
                    <a:pt x="718" y="747"/>
                  </a:lnTo>
                  <a:lnTo>
                    <a:pt x="716" y="749"/>
                  </a:lnTo>
                  <a:lnTo>
                    <a:pt x="713" y="751"/>
                  </a:lnTo>
                  <a:lnTo>
                    <a:pt x="711" y="751"/>
                  </a:lnTo>
                  <a:lnTo>
                    <a:pt x="709" y="751"/>
                  </a:lnTo>
                  <a:lnTo>
                    <a:pt x="706" y="749"/>
                  </a:lnTo>
                  <a:lnTo>
                    <a:pt x="704" y="749"/>
                  </a:lnTo>
                  <a:lnTo>
                    <a:pt x="697" y="749"/>
                  </a:lnTo>
                  <a:lnTo>
                    <a:pt x="697" y="749"/>
                  </a:lnTo>
                  <a:lnTo>
                    <a:pt x="697" y="751"/>
                  </a:lnTo>
                  <a:lnTo>
                    <a:pt x="692" y="754"/>
                  </a:lnTo>
                  <a:lnTo>
                    <a:pt x="690" y="754"/>
                  </a:lnTo>
                  <a:lnTo>
                    <a:pt x="685" y="754"/>
                  </a:lnTo>
                  <a:lnTo>
                    <a:pt x="683" y="756"/>
                  </a:lnTo>
                  <a:lnTo>
                    <a:pt x="680" y="756"/>
                  </a:lnTo>
                  <a:lnTo>
                    <a:pt x="680" y="758"/>
                  </a:lnTo>
                  <a:lnTo>
                    <a:pt x="678" y="758"/>
                  </a:lnTo>
                  <a:lnTo>
                    <a:pt x="678" y="758"/>
                  </a:lnTo>
                  <a:lnTo>
                    <a:pt x="676" y="758"/>
                  </a:lnTo>
                  <a:lnTo>
                    <a:pt x="673" y="758"/>
                  </a:lnTo>
                  <a:lnTo>
                    <a:pt x="671" y="758"/>
                  </a:lnTo>
                  <a:lnTo>
                    <a:pt x="671" y="761"/>
                  </a:lnTo>
                  <a:lnTo>
                    <a:pt x="669" y="758"/>
                  </a:lnTo>
                  <a:lnTo>
                    <a:pt x="666" y="756"/>
                  </a:lnTo>
                  <a:lnTo>
                    <a:pt x="666" y="754"/>
                  </a:lnTo>
                  <a:lnTo>
                    <a:pt x="664" y="754"/>
                  </a:lnTo>
                  <a:lnTo>
                    <a:pt x="661" y="751"/>
                  </a:lnTo>
                  <a:lnTo>
                    <a:pt x="659" y="751"/>
                  </a:lnTo>
                  <a:lnTo>
                    <a:pt x="659" y="749"/>
                  </a:lnTo>
                  <a:lnTo>
                    <a:pt x="659" y="747"/>
                  </a:lnTo>
                  <a:lnTo>
                    <a:pt x="659" y="747"/>
                  </a:lnTo>
                  <a:lnTo>
                    <a:pt x="657" y="747"/>
                  </a:lnTo>
                  <a:lnTo>
                    <a:pt x="657" y="747"/>
                  </a:lnTo>
                  <a:lnTo>
                    <a:pt x="657" y="747"/>
                  </a:lnTo>
                  <a:lnTo>
                    <a:pt x="654" y="747"/>
                  </a:lnTo>
                  <a:lnTo>
                    <a:pt x="654" y="747"/>
                  </a:lnTo>
                  <a:lnTo>
                    <a:pt x="652" y="747"/>
                  </a:lnTo>
                  <a:lnTo>
                    <a:pt x="650" y="744"/>
                  </a:lnTo>
                  <a:lnTo>
                    <a:pt x="647" y="742"/>
                  </a:lnTo>
                  <a:lnTo>
                    <a:pt x="645" y="742"/>
                  </a:lnTo>
                  <a:lnTo>
                    <a:pt x="643" y="740"/>
                  </a:lnTo>
                  <a:lnTo>
                    <a:pt x="640" y="742"/>
                  </a:lnTo>
                  <a:lnTo>
                    <a:pt x="640" y="740"/>
                  </a:lnTo>
                  <a:lnTo>
                    <a:pt x="640" y="740"/>
                  </a:lnTo>
                  <a:lnTo>
                    <a:pt x="638" y="740"/>
                  </a:lnTo>
                  <a:lnTo>
                    <a:pt x="635" y="740"/>
                  </a:lnTo>
                  <a:lnTo>
                    <a:pt x="633" y="740"/>
                  </a:lnTo>
                  <a:lnTo>
                    <a:pt x="633" y="740"/>
                  </a:lnTo>
                  <a:lnTo>
                    <a:pt x="631" y="742"/>
                  </a:lnTo>
                  <a:lnTo>
                    <a:pt x="628" y="740"/>
                  </a:lnTo>
                  <a:lnTo>
                    <a:pt x="626" y="742"/>
                  </a:lnTo>
                  <a:lnTo>
                    <a:pt x="626" y="742"/>
                  </a:lnTo>
                  <a:lnTo>
                    <a:pt x="626" y="744"/>
                  </a:lnTo>
                  <a:lnTo>
                    <a:pt x="621" y="744"/>
                  </a:lnTo>
                  <a:lnTo>
                    <a:pt x="617" y="747"/>
                  </a:lnTo>
                  <a:lnTo>
                    <a:pt x="614" y="747"/>
                  </a:lnTo>
                  <a:lnTo>
                    <a:pt x="612" y="747"/>
                  </a:lnTo>
                  <a:lnTo>
                    <a:pt x="612" y="749"/>
                  </a:lnTo>
                  <a:lnTo>
                    <a:pt x="609" y="749"/>
                  </a:lnTo>
                  <a:lnTo>
                    <a:pt x="609" y="749"/>
                  </a:lnTo>
                  <a:lnTo>
                    <a:pt x="609" y="747"/>
                  </a:lnTo>
                  <a:lnTo>
                    <a:pt x="607" y="747"/>
                  </a:lnTo>
                  <a:lnTo>
                    <a:pt x="605" y="747"/>
                  </a:lnTo>
                  <a:lnTo>
                    <a:pt x="605" y="747"/>
                  </a:lnTo>
                  <a:lnTo>
                    <a:pt x="598" y="749"/>
                  </a:lnTo>
                  <a:lnTo>
                    <a:pt x="598" y="749"/>
                  </a:lnTo>
                  <a:lnTo>
                    <a:pt x="595" y="749"/>
                  </a:lnTo>
                  <a:lnTo>
                    <a:pt x="595" y="751"/>
                  </a:lnTo>
                  <a:lnTo>
                    <a:pt x="595" y="754"/>
                  </a:lnTo>
                  <a:lnTo>
                    <a:pt x="593" y="756"/>
                  </a:lnTo>
                  <a:lnTo>
                    <a:pt x="593" y="756"/>
                  </a:lnTo>
                  <a:lnTo>
                    <a:pt x="591" y="754"/>
                  </a:lnTo>
                  <a:lnTo>
                    <a:pt x="588" y="754"/>
                  </a:lnTo>
                  <a:lnTo>
                    <a:pt x="588" y="754"/>
                  </a:lnTo>
                  <a:lnTo>
                    <a:pt x="588" y="754"/>
                  </a:lnTo>
                  <a:lnTo>
                    <a:pt x="588" y="756"/>
                  </a:lnTo>
                  <a:lnTo>
                    <a:pt x="591" y="758"/>
                  </a:lnTo>
                  <a:lnTo>
                    <a:pt x="588" y="761"/>
                  </a:lnTo>
                  <a:lnTo>
                    <a:pt x="588" y="761"/>
                  </a:lnTo>
                  <a:lnTo>
                    <a:pt x="588" y="761"/>
                  </a:lnTo>
                  <a:lnTo>
                    <a:pt x="588" y="758"/>
                  </a:lnTo>
                  <a:lnTo>
                    <a:pt x="586" y="758"/>
                  </a:lnTo>
                  <a:lnTo>
                    <a:pt x="586" y="758"/>
                  </a:lnTo>
                  <a:lnTo>
                    <a:pt x="586" y="761"/>
                  </a:lnTo>
                  <a:lnTo>
                    <a:pt x="581" y="763"/>
                  </a:lnTo>
                  <a:lnTo>
                    <a:pt x="579" y="766"/>
                  </a:lnTo>
                  <a:lnTo>
                    <a:pt x="579" y="766"/>
                  </a:lnTo>
                  <a:lnTo>
                    <a:pt x="579" y="770"/>
                  </a:lnTo>
                  <a:lnTo>
                    <a:pt x="579" y="770"/>
                  </a:lnTo>
                  <a:lnTo>
                    <a:pt x="579" y="770"/>
                  </a:lnTo>
                  <a:lnTo>
                    <a:pt x="576" y="770"/>
                  </a:lnTo>
                  <a:lnTo>
                    <a:pt x="576" y="775"/>
                  </a:lnTo>
                  <a:lnTo>
                    <a:pt x="572" y="780"/>
                  </a:lnTo>
                  <a:lnTo>
                    <a:pt x="569" y="780"/>
                  </a:lnTo>
                  <a:lnTo>
                    <a:pt x="569" y="780"/>
                  </a:lnTo>
                  <a:lnTo>
                    <a:pt x="569" y="782"/>
                  </a:lnTo>
                  <a:lnTo>
                    <a:pt x="567" y="784"/>
                  </a:lnTo>
                  <a:lnTo>
                    <a:pt x="567" y="784"/>
                  </a:lnTo>
                  <a:lnTo>
                    <a:pt x="567" y="789"/>
                  </a:lnTo>
                  <a:lnTo>
                    <a:pt x="567" y="789"/>
                  </a:lnTo>
                  <a:lnTo>
                    <a:pt x="567" y="792"/>
                  </a:lnTo>
                  <a:lnTo>
                    <a:pt x="562" y="794"/>
                  </a:lnTo>
                  <a:lnTo>
                    <a:pt x="562" y="794"/>
                  </a:lnTo>
                  <a:lnTo>
                    <a:pt x="560" y="794"/>
                  </a:lnTo>
                  <a:lnTo>
                    <a:pt x="555" y="794"/>
                  </a:lnTo>
                  <a:lnTo>
                    <a:pt x="553" y="794"/>
                  </a:lnTo>
                  <a:lnTo>
                    <a:pt x="550" y="796"/>
                  </a:lnTo>
                  <a:lnTo>
                    <a:pt x="550" y="799"/>
                  </a:lnTo>
                  <a:lnTo>
                    <a:pt x="548" y="801"/>
                  </a:lnTo>
                  <a:lnTo>
                    <a:pt x="543" y="801"/>
                  </a:lnTo>
                  <a:lnTo>
                    <a:pt x="541" y="803"/>
                  </a:lnTo>
                  <a:lnTo>
                    <a:pt x="541" y="803"/>
                  </a:lnTo>
                  <a:lnTo>
                    <a:pt x="539" y="803"/>
                  </a:lnTo>
                  <a:lnTo>
                    <a:pt x="536" y="806"/>
                  </a:lnTo>
                  <a:lnTo>
                    <a:pt x="536" y="808"/>
                  </a:lnTo>
                  <a:lnTo>
                    <a:pt x="534" y="808"/>
                  </a:lnTo>
                  <a:lnTo>
                    <a:pt x="532" y="810"/>
                  </a:lnTo>
                  <a:lnTo>
                    <a:pt x="529" y="813"/>
                  </a:lnTo>
                  <a:lnTo>
                    <a:pt x="529" y="813"/>
                  </a:lnTo>
                  <a:lnTo>
                    <a:pt x="527" y="815"/>
                  </a:lnTo>
                  <a:lnTo>
                    <a:pt x="527" y="815"/>
                  </a:lnTo>
                  <a:lnTo>
                    <a:pt x="524" y="820"/>
                  </a:lnTo>
                  <a:lnTo>
                    <a:pt x="522" y="820"/>
                  </a:lnTo>
                  <a:lnTo>
                    <a:pt x="520" y="822"/>
                  </a:lnTo>
                  <a:lnTo>
                    <a:pt x="517" y="822"/>
                  </a:lnTo>
                  <a:lnTo>
                    <a:pt x="517" y="822"/>
                  </a:lnTo>
                  <a:lnTo>
                    <a:pt x="517" y="827"/>
                  </a:lnTo>
                  <a:lnTo>
                    <a:pt x="515" y="827"/>
                  </a:lnTo>
                  <a:lnTo>
                    <a:pt x="515" y="832"/>
                  </a:lnTo>
                  <a:lnTo>
                    <a:pt x="513" y="832"/>
                  </a:lnTo>
                  <a:lnTo>
                    <a:pt x="513" y="832"/>
                  </a:lnTo>
                  <a:lnTo>
                    <a:pt x="513" y="832"/>
                  </a:lnTo>
                  <a:lnTo>
                    <a:pt x="510" y="829"/>
                  </a:lnTo>
                  <a:lnTo>
                    <a:pt x="508" y="827"/>
                  </a:lnTo>
                  <a:lnTo>
                    <a:pt x="503" y="829"/>
                  </a:lnTo>
                  <a:lnTo>
                    <a:pt x="503" y="827"/>
                  </a:lnTo>
                  <a:lnTo>
                    <a:pt x="498" y="827"/>
                  </a:lnTo>
                  <a:lnTo>
                    <a:pt x="498" y="829"/>
                  </a:lnTo>
                  <a:lnTo>
                    <a:pt x="494" y="829"/>
                  </a:lnTo>
                  <a:lnTo>
                    <a:pt x="494" y="832"/>
                  </a:lnTo>
                  <a:lnTo>
                    <a:pt x="494" y="832"/>
                  </a:lnTo>
                  <a:lnTo>
                    <a:pt x="494" y="834"/>
                  </a:lnTo>
                  <a:lnTo>
                    <a:pt x="491" y="834"/>
                  </a:lnTo>
                  <a:lnTo>
                    <a:pt x="489" y="836"/>
                  </a:lnTo>
                  <a:lnTo>
                    <a:pt x="489" y="834"/>
                  </a:lnTo>
                  <a:lnTo>
                    <a:pt x="487" y="836"/>
                  </a:lnTo>
                  <a:lnTo>
                    <a:pt x="487" y="836"/>
                  </a:lnTo>
                  <a:lnTo>
                    <a:pt x="487" y="839"/>
                  </a:lnTo>
                  <a:lnTo>
                    <a:pt x="484" y="841"/>
                  </a:lnTo>
                  <a:lnTo>
                    <a:pt x="484" y="841"/>
                  </a:lnTo>
                  <a:lnTo>
                    <a:pt x="484" y="841"/>
                  </a:lnTo>
                  <a:lnTo>
                    <a:pt x="480" y="841"/>
                  </a:lnTo>
                  <a:lnTo>
                    <a:pt x="480" y="843"/>
                  </a:lnTo>
                  <a:lnTo>
                    <a:pt x="477" y="843"/>
                  </a:lnTo>
                  <a:lnTo>
                    <a:pt x="477" y="843"/>
                  </a:lnTo>
                  <a:lnTo>
                    <a:pt x="475" y="843"/>
                  </a:lnTo>
                  <a:lnTo>
                    <a:pt x="472" y="843"/>
                  </a:lnTo>
                  <a:lnTo>
                    <a:pt x="470" y="846"/>
                  </a:lnTo>
                  <a:lnTo>
                    <a:pt x="468" y="846"/>
                  </a:lnTo>
                  <a:lnTo>
                    <a:pt x="468" y="846"/>
                  </a:lnTo>
                  <a:lnTo>
                    <a:pt x="465" y="846"/>
                  </a:lnTo>
                  <a:lnTo>
                    <a:pt x="458" y="846"/>
                  </a:lnTo>
                  <a:lnTo>
                    <a:pt x="458" y="848"/>
                  </a:lnTo>
                  <a:lnTo>
                    <a:pt x="456" y="848"/>
                  </a:lnTo>
                  <a:lnTo>
                    <a:pt x="456" y="846"/>
                  </a:lnTo>
                  <a:lnTo>
                    <a:pt x="454" y="848"/>
                  </a:lnTo>
                  <a:lnTo>
                    <a:pt x="451" y="851"/>
                  </a:lnTo>
                  <a:lnTo>
                    <a:pt x="449" y="853"/>
                  </a:lnTo>
                  <a:lnTo>
                    <a:pt x="449" y="853"/>
                  </a:lnTo>
                  <a:lnTo>
                    <a:pt x="446" y="853"/>
                  </a:lnTo>
                  <a:lnTo>
                    <a:pt x="446" y="853"/>
                  </a:lnTo>
                  <a:lnTo>
                    <a:pt x="444" y="853"/>
                  </a:lnTo>
                  <a:lnTo>
                    <a:pt x="444" y="853"/>
                  </a:lnTo>
                  <a:lnTo>
                    <a:pt x="444" y="853"/>
                  </a:lnTo>
                  <a:lnTo>
                    <a:pt x="442" y="855"/>
                  </a:lnTo>
                  <a:lnTo>
                    <a:pt x="439" y="853"/>
                  </a:lnTo>
                  <a:lnTo>
                    <a:pt x="437" y="855"/>
                  </a:lnTo>
                  <a:lnTo>
                    <a:pt x="437" y="855"/>
                  </a:lnTo>
                  <a:lnTo>
                    <a:pt x="435" y="855"/>
                  </a:lnTo>
                  <a:lnTo>
                    <a:pt x="432" y="855"/>
                  </a:lnTo>
                  <a:lnTo>
                    <a:pt x="432" y="858"/>
                  </a:lnTo>
                  <a:lnTo>
                    <a:pt x="428" y="860"/>
                  </a:lnTo>
                  <a:lnTo>
                    <a:pt x="425" y="860"/>
                  </a:lnTo>
                  <a:lnTo>
                    <a:pt x="425" y="860"/>
                  </a:lnTo>
                  <a:lnTo>
                    <a:pt x="425" y="862"/>
                  </a:lnTo>
                  <a:lnTo>
                    <a:pt x="425" y="862"/>
                  </a:lnTo>
                  <a:lnTo>
                    <a:pt x="423" y="865"/>
                  </a:lnTo>
                  <a:lnTo>
                    <a:pt x="423" y="865"/>
                  </a:lnTo>
                  <a:lnTo>
                    <a:pt x="423" y="865"/>
                  </a:lnTo>
                  <a:lnTo>
                    <a:pt x="423" y="865"/>
                  </a:lnTo>
                  <a:lnTo>
                    <a:pt x="420" y="865"/>
                  </a:lnTo>
                  <a:lnTo>
                    <a:pt x="420" y="867"/>
                  </a:lnTo>
                  <a:lnTo>
                    <a:pt x="420" y="867"/>
                  </a:lnTo>
                  <a:lnTo>
                    <a:pt x="420" y="867"/>
                  </a:lnTo>
                  <a:lnTo>
                    <a:pt x="418" y="867"/>
                  </a:lnTo>
                  <a:lnTo>
                    <a:pt x="416" y="867"/>
                  </a:lnTo>
                  <a:lnTo>
                    <a:pt x="416" y="867"/>
                  </a:lnTo>
                  <a:lnTo>
                    <a:pt x="418" y="869"/>
                  </a:lnTo>
                  <a:lnTo>
                    <a:pt x="416" y="869"/>
                  </a:lnTo>
                  <a:lnTo>
                    <a:pt x="416" y="869"/>
                  </a:lnTo>
                  <a:lnTo>
                    <a:pt x="416" y="872"/>
                  </a:lnTo>
                  <a:lnTo>
                    <a:pt x="416" y="872"/>
                  </a:lnTo>
                  <a:lnTo>
                    <a:pt x="413" y="874"/>
                  </a:lnTo>
                  <a:lnTo>
                    <a:pt x="413" y="874"/>
                  </a:lnTo>
                  <a:lnTo>
                    <a:pt x="413" y="877"/>
                  </a:lnTo>
                  <a:lnTo>
                    <a:pt x="413" y="877"/>
                  </a:lnTo>
                  <a:lnTo>
                    <a:pt x="413" y="877"/>
                  </a:lnTo>
                  <a:lnTo>
                    <a:pt x="413" y="877"/>
                  </a:lnTo>
                  <a:lnTo>
                    <a:pt x="413" y="877"/>
                  </a:lnTo>
                  <a:lnTo>
                    <a:pt x="413" y="879"/>
                  </a:lnTo>
                  <a:lnTo>
                    <a:pt x="413" y="881"/>
                  </a:lnTo>
                  <a:lnTo>
                    <a:pt x="413" y="881"/>
                  </a:lnTo>
                  <a:lnTo>
                    <a:pt x="413" y="884"/>
                  </a:lnTo>
                  <a:lnTo>
                    <a:pt x="411" y="881"/>
                  </a:lnTo>
                  <a:lnTo>
                    <a:pt x="411" y="884"/>
                  </a:lnTo>
                  <a:lnTo>
                    <a:pt x="411" y="884"/>
                  </a:lnTo>
                  <a:lnTo>
                    <a:pt x="411" y="886"/>
                  </a:lnTo>
                  <a:lnTo>
                    <a:pt x="411" y="888"/>
                  </a:lnTo>
                  <a:lnTo>
                    <a:pt x="409" y="891"/>
                  </a:lnTo>
                  <a:lnTo>
                    <a:pt x="409" y="891"/>
                  </a:lnTo>
                  <a:lnTo>
                    <a:pt x="406" y="893"/>
                  </a:lnTo>
                  <a:lnTo>
                    <a:pt x="406" y="893"/>
                  </a:lnTo>
                  <a:lnTo>
                    <a:pt x="406" y="893"/>
                  </a:lnTo>
                  <a:lnTo>
                    <a:pt x="409" y="895"/>
                  </a:lnTo>
                  <a:lnTo>
                    <a:pt x="409" y="895"/>
                  </a:lnTo>
                  <a:lnTo>
                    <a:pt x="406" y="895"/>
                  </a:lnTo>
                  <a:lnTo>
                    <a:pt x="409" y="898"/>
                  </a:lnTo>
                  <a:lnTo>
                    <a:pt x="409" y="900"/>
                  </a:lnTo>
                  <a:lnTo>
                    <a:pt x="406" y="900"/>
                  </a:lnTo>
                  <a:lnTo>
                    <a:pt x="406" y="900"/>
                  </a:lnTo>
                  <a:lnTo>
                    <a:pt x="406" y="900"/>
                  </a:lnTo>
                  <a:lnTo>
                    <a:pt x="406" y="903"/>
                  </a:lnTo>
                  <a:lnTo>
                    <a:pt x="406" y="903"/>
                  </a:lnTo>
                  <a:lnTo>
                    <a:pt x="404" y="905"/>
                  </a:lnTo>
                  <a:lnTo>
                    <a:pt x="406" y="905"/>
                  </a:lnTo>
                  <a:lnTo>
                    <a:pt x="406" y="905"/>
                  </a:lnTo>
                  <a:lnTo>
                    <a:pt x="404" y="907"/>
                  </a:lnTo>
                  <a:lnTo>
                    <a:pt x="404" y="910"/>
                  </a:lnTo>
                  <a:lnTo>
                    <a:pt x="406" y="912"/>
                  </a:lnTo>
                  <a:lnTo>
                    <a:pt x="406" y="912"/>
                  </a:lnTo>
                  <a:lnTo>
                    <a:pt x="404" y="912"/>
                  </a:lnTo>
                  <a:lnTo>
                    <a:pt x="404" y="912"/>
                  </a:lnTo>
                  <a:lnTo>
                    <a:pt x="402" y="914"/>
                  </a:lnTo>
                  <a:lnTo>
                    <a:pt x="404" y="917"/>
                  </a:lnTo>
                  <a:lnTo>
                    <a:pt x="404" y="917"/>
                  </a:lnTo>
                  <a:lnTo>
                    <a:pt x="404" y="919"/>
                  </a:lnTo>
                  <a:lnTo>
                    <a:pt x="402" y="924"/>
                  </a:lnTo>
                  <a:lnTo>
                    <a:pt x="402" y="926"/>
                  </a:lnTo>
                  <a:lnTo>
                    <a:pt x="402" y="926"/>
                  </a:lnTo>
                  <a:lnTo>
                    <a:pt x="402" y="929"/>
                  </a:lnTo>
                  <a:lnTo>
                    <a:pt x="402" y="931"/>
                  </a:lnTo>
                  <a:lnTo>
                    <a:pt x="402" y="933"/>
                  </a:lnTo>
                  <a:lnTo>
                    <a:pt x="399" y="933"/>
                  </a:lnTo>
                  <a:lnTo>
                    <a:pt x="397" y="936"/>
                  </a:lnTo>
                  <a:lnTo>
                    <a:pt x="397" y="936"/>
                  </a:lnTo>
                  <a:lnTo>
                    <a:pt x="397" y="938"/>
                  </a:lnTo>
                  <a:lnTo>
                    <a:pt x="392" y="943"/>
                  </a:lnTo>
                  <a:lnTo>
                    <a:pt x="392" y="947"/>
                  </a:lnTo>
                  <a:lnTo>
                    <a:pt x="390" y="950"/>
                  </a:lnTo>
                  <a:lnTo>
                    <a:pt x="390" y="952"/>
                  </a:lnTo>
                  <a:lnTo>
                    <a:pt x="387" y="955"/>
                  </a:lnTo>
                  <a:lnTo>
                    <a:pt x="387" y="957"/>
                  </a:lnTo>
                  <a:lnTo>
                    <a:pt x="387" y="957"/>
                  </a:lnTo>
                  <a:lnTo>
                    <a:pt x="385" y="959"/>
                  </a:lnTo>
                  <a:lnTo>
                    <a:pt x="387" y="959"/>
                  </a:lnTo>
                  <a:lnTo>
                    <a:pt x="385" y="962"/>
                  </a:lnTo>
                  <a:lnTo>
                    <a:pt x="385" y="962"/>
                  </a:lnTo>
                  <a:lnTo>
                    <a:pt x="383" y="962"/>
                  </a:lnTo>
                  <a:lnTo>
                    <a:pt x="385" y="964"/>
                  </a:lnTo>
                  <a:lnTo>
                    <a:pt x="383" y="964"/>
                  </a:lnTo>
                  <a:lnTo>
                    <a:pt x="383" y="964"/>
                  </a:lnTo>
                  <a:lnTo>
                    <a:pt x="383" y="966"/>
                  </a:lnTo>
                  <a:lnTo>
                    <a:pt x="383" y="966"/>
                  </a:lnTo>
                  <a:lnTo>
                    <a:pt x="383" y="969"/>
                  </a:lnTo>
                  <a:lnTo>
                    <a:pt x="380" y="969"/>
                  </a:lnTo>
                  <a:lnTo>
                    <a:pt x="383" y="973"/>
                  </a:lnTo>
                  <a:lnTo>
                    <a:pt x="380" y="976"/>
                  </a:lnTo>
                  <a:lnTo>
                    <a:pt x="383" y="976"/>
                  </a:lnTo>
                  <a:lnTo>
                    <a:pt x="380" y="978"/>
                  </a:lnTo>
                  <a:lnTo>
                    <a:pt x="378" y="978"/>
                  </a:lnTo>
                  <a:lnTo>
                    <a:pt x="380" y="980"/>
                  </a:lnTo>
                  <a:lnTo>
                    <a:pt x="378" y="983"/>
                  </a:lnTo>
                  <a:lnTo>
                    <a:pt x="378" y="983"/>
                  </a:lnTo>
                  <a:lnTo>
                    <a:pt x="378" y="985"/>
                  </a:lnTo>
                  <a:lnTo>
                    <a:pt x="376" y="988"/>
                  </a:lnTo>
                  <a:lnTo>
                    <a:pt x="376" y="988"/>
                  </a:lnTo>
                  <a:lnTo>
                    <a:pt x="378" y="990"/>
                  </a:lnTo>
                  <a:lnTo>
                    <a:pt x="376" y="992"/>
                  </a:lnTo>
                  <a:lnTo>
                    <a:pt x="373" y="990"/>
                  </a:lnTo>
                  <a:lnTo>
                    <a:pt x="373" y="992"/>
                  </a:lnTo>
                  <a:lnTo>
                    <a:pt x="373" y="992"/>
                  </a:lnTo>
                  <a:lnTo>
                    <a:pt x="373" y="992"/>
                  </a:lnTo>
                  <a:lnTo>
                    <a:pt x="371" y="995"/>
                  </a:lnTo>
                  <a:lnTo>
                    <a:pt x="373" y="997"/>
                  </a:lnTo>
                  <a:lnTo>
                    <a:pt x="371" y="997"/>
                  </a:lnTo>
                  <a:lnTo>
                    <a:pt x="369" y="1004"/>
                  </a:lnTo>
                  <a:lnTo>
                    <a:pt x="366" y="1004"/>
                  </a:lnTo>
                  <a:lnTo>
                    <a:pt x="366" y="1004"/>
                  </a:lnTo>
                  <a:lnTo>
                    <a:pt x="366" y="1006"/>
                  </a:lnTo>
                  <a:lnTo>
                    <a:pt x="364" y="1006"/>
                  </a:lnTo>
                  <a:lnTo>
                    <a:pt x="364" y="1006"/>
                  </a:lnTo>
                  <a:lnTo>
                    <a:pt x="361" y="1011"/>
                  </a:lnTo>
                  <a:lnTo>
                    <a:pt x="359" y="1009"/>
                  </a:lnTo>
                  <a:lnTo>
                    <a:pt x="357" y="1011"/>
                  </a:lnTo>
                  <a:lnTo>
                    <a:pt x="357" y="1011"/>
                  </a:lnTo>
                  <a:lnTo>
                    <a:pt x="357" y="1014"/>
                  </a:lnTo>
                  <a:lnTo>
                    <a:pt x="357" y="1014"/>
                  </a:lnTo>
                  <a:lnTo>
                    <a:pt x="354" y="1016"/>
                  </a:lnTo>
                  <a:lnTo>
                    <a:pt x="352" y="1018"/>
                  </a:lnTo>
                  <a:lnTo>
                    <a:pt x="354" y="1018"/>
                  </a:lnTo>
                  <a:lnTo>
                    <a:pt x="357" y="1018"/>
                  </a:lnTo>
                  <a:lnTo>
                    <a:pt x="357" y="1021"/>
                  </a:lnTo>
                  <a:lnTo>
                    <a:pt x="354" y="1021"/>
                  </a:lnTo>
                  <a:lnTo>
                    <a:pt x="354" y="1021"/>
                  </a:lnTo>
                  <a:lnTo>
                    <a:pt x="352" y="1021"/>
                  </a:lnTo>
                  <a:lnTo>
                    <a:pt x="352" y="1023"/>
                  </a:lnTo>
                  <a:lnTo>
                    <a:pt x="352" y="1023"/>
                  </a:lnTo>
                  <a:lnTo>
                    <a:pt x="352" y="1025"/>
                  </a:lnTo>
                  <a:lnTo>
                    <a:pt x="350" y="1025"/>
                  </a:lnTo>
                  <a:lnTo>
                    <a:pt x="350" y="1028"/>
                  </a:lnTo>
                  <a:lnTo>
                    <a:pt x="350" y="1028"/>
                  </a:lnTo>
                  <a:lnTo>
                    <a:pt x="350" y="1030"/>
                  </a:lnTo>
                  <a:lnTo>
                    <a:pt x="350" y="1030"/>
                  </a:lnTo>
                  <a:lnTo>
                    <a:pt x="350" y="1032"/>
                  </a:lnTo>
                  <a:lnTo>
                    <a:pt x="350" y="1032"/>
                  </a:lnTo>
                  <a:lnTo>
                    <a:pt x="350" y="1037"/>
                  </a:lnTo>
                  <a:lnTo>
                    <a:pt x="350" y="1037"/>
                  </a:lnTo>
                  <a:lnTo>
                    <a:pt x="352" y="1040"/>
                  </a:lnTo>
                  <a:lnTo>
                    <a:pt x="352" y="1042"/>
                  </a:lnTo>
                  <a:lnTo>
                    <a:pt x="357" y="1042"/>
                  </a:lnTo>
                  <a:lnTo>
                    <a:pt x="357" y="1044"/>
                  </a:lnTo>
                  <a:lnTo>
                    <a:pt x="357" y="1047"/>
                  </a:lnTo>
                  <a:lnTo>
                    <a:pt x="357" y="1049"/>
                  </a:lnTo>
                  <a:lnTo>
                    <a:pt x="357" y="1049"/>
                  </a:lnTo>
                  <a:lnTo>
                    <a:pt x="357" y="1049"/>
                  </a:lnTo>
                  <a:lnTo>
                    <a:pt x="357" y="1051"/>
                  </a:lnTo>
                  <a:lnTo>
                    <a:pt x="357" y="1051"/>
                  </a:lnTo>
                  <a:lnTo>
                    <a:pt x="359" y="1051"/>
                  </a:lnTo>
                  <a:lnTo>
                    <a:pt x="359" y="1054"/>
                  </a:lnTo>
                  <a:lnTo>
                    <a:pt x="357" y="1054"/>
                  </a:lnTo>
                  <a:lnTo>
                    <a:pt x="357" y="1056"/>
                  </a:lnTo>
                  <a:lnTo>
                    <a:pt x="357" y="1058"/>
                  </a:lnTo>
                  <a:lnTo>
                    <a:pt x="359" y="1061"/>
                  </a:lnTo>
                  <a:lnTo>
                    <a:pt x="359" y="1063"/>
                  </a:lnTo>
                  <a:lnTo>
                    <a:pt x="359" y="1063"/>
                  </a:lnTo>
                  <a:lnTo>
                    <a:pt x="361" y="1066"/>
                  </a:lnTo>
                  <a:lnTo>
                    <a:pt x="361" y="1066"/>
                  </a:lnTo>
                  <a:lnTo>
                    <a:pt x="359" y="1066"/>
                  </a:lnTo>
                  <a:lnTo>
                    <a:pt x="361" y="1068"/>
                  </a:lnTo>
                  <a:lnTo>
                    <a:pt x="361" y="1070"/>
                  </a:lnTo>
                  <a:lnTo>
                    <a:pt x="361" y="1070"/>
                  </a:lnTo>
                  <a:lnTo>
                    <a:pt x="361" y="1075"/>
                  </a:lnTo>
                  <a:lnTo>
                    <a:pt x="361" y="1075"/>
                  </a:lnTo>
                  <a:lnTo>
                    <a:pt x="361" y="1077"/>
                  </a:lnTo>
                  <a:lnTo>
                    <a:pt x="361" y="1080"/>
                  </a:lnTo>
                  <a:lnTo>
                    <a:pt x="359" y="1080"/>
                  </a:lnTo>
                  <a:lnTo>
                    <a:pt x="359" y="1080"/>
                  </a:lnTo>
                  <a:lnTo>
                    <a:pt x="361" y="1082"/>
                  </a:lnTo>
                  <a:lnTo>
                    <a:pt x="361" y="1082"/>
                  </a:lnTo>
                  <a:lnTo>
                    <a:pt x="361" y="1082"/>
                  </a:lnTo>
                  <a:lnTo>
                    <a:pt x="361" y="1084"/>
                  </a:lnTo>
                  <a:lnTo>
                    <a:pt x="364" y="1084"/>
                  </a:lnTo>
                  <a:lnTo>
                    <a:pt x="361" y="1087"/>
                  </a:lnTo>
                  <a:lnTo>
                    <a:pt x="364" y="1087"/>
                  </a:lnTo>
                  <a:lnTo>
                    <a:pt x="364" y="1087"/>
                  </a:lnTo>
                  <a:lnTo>
                    <a:pt x="364" y="1087"/>
                  </a:lnTo>
                  <a:lnTo>
                    <a:pt x="366" y="1087"/>
                  </a:lnTo>
                  <a:lnTo>
                    <a:pt x="369" y="1087"/>
                  </a:lnTo>
                  <a:lnTo>
                    <a:pt x="369" y="1089"/>
                  </a:lnTo>
                  <a:lnTo>
                    <a:pt x="371" y="1089"/>
                  </a:lnTo>
                  <a:lnTo>
                    <a:pt x="371" y="1092"/>
                  </a:lnTo>
                  <a:lnTo>
                    <a:pt x="373" y="1096"/>
                  </a:lnTo>
                  <a:lnTo>
                    <a:pt x="373" y="1096"/>
                  </a:lnTo>
                  <a:lnTo>
                    <a:pt x="373" y="1099"/>
                  </a:lnTo>
                  <a:lnTo>
                    <a:pt x="376" y="1099"/>
                  </a:lnTo>
                  <a:lnTo>
                    <a:pt x="373" y="1099"/>
                  </a:lnTo>
                  <a:lnTo>
                    <a:pt x="376" y="1099"/>
                  </a:lnTo>
                  <a:lnTo>
                    <a:pt x="376" y="1101"/>
                  </a:lnTo>
                  <a:lnTo>
                    <a:pt x="376" y="1101"/>
                  </a:lnTo>
                  <a:lnTo>
                    <a:pt x="376" y="1101"/>
                  </a:lnTo>
                  <a:lnTo>
                    <a:pt x="376" y="1101"/>
                  </a:lnTo>
                  <a:lnTo>
                    <a:pt x="376" y="1103"/>
                  </a:lnTo>
                  <a:lnTo>
                    <a:pt x="376" y="1103"/>
                  </a:lnTo>
                  <a:lnTo>
                    <a:pt x="373" y="1106"/>
                  </a:lnTo>
                  <a:lnTo>
                    <a:pt x="373" y="1106"/>
                  </a:lnTo>
                  <a:lnTo>
                    <a:pt x="373" y="1106"/>
                  </a:lnTo>
                  <a:lnTo>
                    <a:pt x="371" y="1110"/>
                  </a:lnTo>
                  <a:lnTo>
                    <a:pt x="371" y="1110"/>
                  </a:lnTo>
                  <a:lnTo>
                    <a:pt x="369" y="1110"/>
                  </a:lnTo>
                  <a:lnTo>
                    <a:pt x="371" y="1113"/>
                  </a:lnTo>
                  <a:lnTo>
                    <a:pt x="369" y="1115"/>
                  </a:lnTo>
                  <a:lnTo>
                    <a:pt x="369" y="1115"/>
                  </a:lnTo>
                  <a:lnTo>
                    <a:pt x="369" y="1117"/>
                  </a:lnTo>
                  <a:lnTo>
                    <a:pt x="369" y="1120"/>
                  </a:lnTo>
                  <a:lnTo>
                    <a:pt x="369" y="1120"/>
                  </a:lnTo>
                  <a:lnTo>
                    <a:pt x="371" y="1120"/>
                  </a:lnTo>
                  <a:lnTo>
                    <a:pt x="371" y="1122"/>
                  </a:lnTo>
                  <a:lnTo>
                    <a:pt x="371" y="1122"/>
                  </a:lnTo>
                  <a:lnTo>
                    <a:pt x="371" y="1122"/>
                  </a:lnTo>
                  <a:lnTo>
                    <a:pt x="371" y="1125"/>
                  </a:lnTo>
                  <a:lnTo>
                    <a:pt x="369" y="1127"/>
                  </a:lnTo>
                  <a:lnTo>
                    <a:pt x="371" y="1129"/>
                  </a:lnTo>
                  <a:lnTo>
                    <a:pt x="369" y="1132"/>
                  </a:lnTo>
                  <a:lnTo>
                    <a:pt x="371" y="1134"/>
                  </a:lnTo>
                  <a:lnTo>
                    <a:pt x="369" y="1134"/>
                  </a:lnTo>
                  <a:lnTo>
                    <a:pt x="371" y="1134"/>
                  </a:lnTo>
                  <a:lnTo>
                    <a:pt x="371" y="1136"/>
                  </a:lnTo>
                  <a:lnTo>
                    <a:pt x="371" y="1139"/>
                  </a:lnTo>
                  <a:lnTo>
                    <a:pt x="371" y="1139"/>
                  </a:lnTo>
                  <a:lnTo>
                    <a:pt x="371" y="1141"/>
                  </a:lnTo>
                  <a:lnTo>
                    <a:pt x="371" y="1141"/>
                  </a:lnTo>
                  <a:lnTo>
                    <a:pt x="371" y="1141"/>
                  </a:lnTo>
                  <a:lnTo>
                    <a:pt x="371" y="1143"/>
                  </a:lnTo>
                  <a:lnTo>
                    <a:pt x="369" y="1146"/>
                  </a:lnTo>
                  <a:lnTo>
                    <a:pt x="369" y="1146"/>
                  </a:lnTo>
                  <a:lnTo>
                    <a:pt x="369" y="1148"/>
                  </a:lnTo>
                  <a:lnTo>
                    <a:pt x="366" y="1151"/>
                  </a:lnTo>
                  <a:lnTo>
                    <a:pt x="366" y="1151"/>
                  </a:lnTo>
                  <a:lnTo>
                    <a:pt x="366" y="1153"/>
                  </a:lnTo>
                  <a:lnTo>
                    <a:pt x="366" y="1155"/>
                  </a:lnTo>
                  <a:lnTo>
                    <a:pt x="366" y="1155"/>
                  </a:lnTo>
                  <a:lnTo>
                    <a:pt x="366" y="1158"/>
                  </a:lnTo>
                  <a:lnTo>
                    <a:pt x="366" y="1160"/>
                  </a:lnTo>
                  <a:lnTo>
                    <a:pt x="366" y="1160"/>
                  </a:lnTo>
                  <a:lnTo>
                    <a:pt x="369" y="1162"/>
                  </a:lnTo>
                  <a:lnTo>
                    <a:pt x="369" y="1165"/>
                  </a:lnTo>
                  <a:lnTo>
                    <a:pt x="369" y="1167"/>
                  </a:lnTo>
                  <a:lnTo>
                    <a:pt x="369" y="1167"/>
                  </a:lnTo>
                  <a:lnTo>
                    <a:pt x="366" y="1169"/>
                  </a:lnTo>
                  <a:lnTo>
                    <a:pt x="366" y="1172"/>
                  </a:lnTo>
                  <a:lnTo>
                    <a:pt x="366" y="1172"/>
                  </a:lnTo>
                  <a:lnTo>
                    <a:pt x="366" y="1174"/>
                  </a:lnTo>
                  <a:lnTo>
                    <a:pt x="364" y="1177"/>
                  </a:lnTo>
                  <a:lnTo>
                    <a:pt x="364" y="1179"/>
                  </a:lnTo>
                  <a:lnTo>
                    <a:pt x="364" y="1179"/>
                  </a:lnTo>
                  <a:lnTo>
                    <a:pt x="366" y="1181"/>
                  </a:lnTo>
                  <a:lnTo>
                    <a:pt x="364" y="1186"/>
                  </a:lnTo>
                  <a:lnTo>
                    <a:pt x="364" y="1186"/>
                  </a:lnTo>
                  <a:lnTo>
                    <a:pt x="361" y="1188"/>
                  </a:lnTo>
                  <a:lnTo>
                    <a:pt x="361" y="1193"/>
                  </a:lnTo>
                  <a:lnTo>
                    <a:pt x="359" y="1193"/>
                  </a:lnTo>
                  <a:lnTo>
                    <a:pt x="359" y="1193"/>
                  </a:lnTo>
                  <a:lnTo>
                    <a:pt x="359" y="1195"/>
                  </a:lnTo>
                  <a:lnTo>
                    <a:pt x="357" y="1198"/>
                  </a:lnTo>
                  <a:lnTo>
                    <a:pt x="357" y="1198"/>
                  </a:lnTo>
                  <a:lnTo>
                    <a:pt x="354" y="1198"/>
                  </a:lnTo>
                  <a:lnTo>
                    <a:pt x="354" y="1198"/>
                  </a:lnTo>
                  <a:lnTo>
                    <a:pt x="354" y="1200"/>
                  </a:lnTo>
                  <a:lnTo>
                    <a:pt x="354" y="1205"/>
                  </a:lnTo>
                  <a:lnTo>
                    <a:pt x="352" y="1205"/>
                  </a:lnTo>
                  <a:lnTo>
                    <a:pt x="350" y="1205"/>
                  </a:lnTo>
                  <a:lnTo>
                    <a:pt x="347" y="1205"/>
                  </a:lnTo>
                  <a:lnTo>
                    <a:pt x="347" y="1203"/>
                  </a:lnTo>
                  <a:lnTo>
                    <a:pt x="345" y="1195"/>
                  </a:lnTo>
                  <a:lnTo>
                    <a:pt x="345" y="1195"/>
                  </a:lnTo>
                  <a:lnTo>
                    <a:pt x="343" y="1195"/>
                  </a:lnTo>
                  <a:lnTo>
                    <a:pt x="343" y="1195"/>
                  </a:lnTo>
                  <a:lnTo>
                    <a:pt x="335" y="1200"/>
                  </a:lnTo>
                  <a:lnTo>
                    <a:pt x="331" y="1198"/>
                  </a:lnTo>
                  <a:lnTo>
                    <a:pt x="328" y="1200"/>
                  </a:lnTo>
                  <a:lnTo>
                    <a:pt x="324" y="1195"/>
                  </a:lnTo>
                  <a:lnTo>
                    <a:pt x="324" y="1195"/>
                  </a:lnTo>
                  <a:lnTo>
                    <a:pt x="324" y="1195"/>
                  </a:lnTo>
                  <a:lnTo>
                    <a:pt x="321" y="1193"/>
                  </a:lnTo>
                  <a:lnTo>
                    <a:pt x="319" y="1195"/>
                  </a:lnTo>
                  <a:lnTo>
                    <a:pt x="314" y="1195"/>
                  </a:lnTo>
                  <a:lnTo>
                    <a:pt x="309" y="1195"/>
                  </a:lnTo>
                  <a:lnTo>
                    <a:pt x="309" y="1195"/>
                  </a:lnTo>
                  <a:lnTo>
                    <a:pt x="307" y="1195"/>
                  </a:lnTo>
                  <a:lnTo>
                    <a:pt x="305" y="1195"/>
                  </a:lnTo>
                  <a:lnTo>
                    <a:pt x="302" y="1193"/>
                  </a:lnTo>
                  <a:lnTo>
                    <a:pt x="300" y="1188"/>
                  </a:lnTo>
                  <a:lnTo>
                    <a:pt x="295" y="1184"/>
                  </a:lnTo>
                  <a:lnTo>
                    <a:pt x="295" y="1184"/>
                  </a:lnTo>
                  <a:lnTo>
                    <a:pt x="293" y="1181"/>
                  </a:lnTo>
                  <a:lnTo>
                    <a:pt x="291" y="1179"/>
                  </a:lnTo>
                  <a:lnTo>
                    <a:pt x="291" y="1179"/>
                  </a:lnTo>
                  <a:lnTo>
                    <a:pt x="291" y="1174"/>
                  </a:lnTo>
                  <a:lnTo>
                    <a:pt x="288" y="1169"/>
                  </a:lnTo>
                  <a:lnTo>
                    <a:pt x="288" y="1169"/>
                  </a:lnTo>
                  <a:lnTo>
                    <a:pt x="288" y="1165"/>
                  </a:lnTo>
                  <a:lnTo>
                    <a:pt x="291" y="1162"/>
                  </a:lnTo>
                  <a:lnTo>
                    <a:pt x="288" y="1162"/>
                  </a:lnTo>
                  <a:lnTo>
                    <a:pt x="288" y="1160"/>
                  </a:lnTo>
                  <a:lnTo>
                    <a:pt x="288" y="1158"/>
                  </a:lnTo>
                  <a:lnTo>
                    <a:pt x="288" y="1155"/>
                  </a:lnTo>
                  <a:lnTo>
                    <a:pt x="286" y="1155"/>
                  </a:lnTo>
                  <a:lnTo>
                    <a:pt x="286" y="1153"/>
                  </a:lnTo>
                  <a:lnTo>
                    <a:pt x="288" y="1153"/>
                  </a:lnTo>
                  <a:lnTo>
                    <a:pt x="286" y="1151"/>
                  </a:lnTo>
                  <a:lnTo>
                    <a:pt x="286" y="1151"/>
                  </a:lnTo>
                  <a:lnTo>
                    <a:pt x="286" y="1148"/>
                  </a:lnTo>
                  <a:lnTo>
                    <a:pt x="283" y="1148"/>
                  </a:lnTo>
                  <a:lnTo>
                    <a:pt x="283" y="1146"/>
                  </a:lnTo>
                  <a:lnTo>
                    <a:pt x="281" y="1148"/>
                  </a:lnTo>
                  <a:lnTo>
                    <a:pt x="276" y="1148"/>
                  </a:lnTo>
                  <a:lnTo>
                    <a:pt x="274" y="1146"/>
                  </a:lnTo>
                  <a:lnTo>
                    <a:pt x="274" y="1146"/>
                  </a:lnTo>
                  <a:lnTo>
                    <a:pt x="276" y="1143"/>
                  </a:lnTo>
                  <a:lnTo>
                    <a:pt x="276" y="1141"/>
                  </a:lnTo>
                  <a:lnTo>
                    <a:pt x="276" y="1141"/>
                  </a:lnTo>
                  <a:lnTo>
                    <a:pt x="274" y="1139"/>
                  </a:lnTo>
                  <a:lnTo>
                    <a:pt x="269" y="1139"/>
                  </a:lnTo>
                  <a:lnTo>
                    <a:pt x="267" y="1139"/>
                  </a:lnTo>
                  <a:lnTo>
                    <a:pt x="267" y="1139"/>
                  </a:lnTo>
                  <a:lnTo>
                    <a:pt x="267" y="1136"/>
                  </a:lnTo>
                  <a:lnTo>
                    <a:pt x="267" y="1134"/>
                  </a:lnTo>
                  <a:lnTo>
                    <a:pt x="265" y="1132"/>
                  </a:lnTo>
                  <a:lnTo>
                    <a:pt x="269" y="1129"/>
                  </a:lnTo>
                  <a:lnTo>
                    <a:pt x="272" y="1127"/>
                  </a:lnTo>
                  <a:lnTo>
                    <a:pt x="272" y="1122"/>
                  </a:lnTo>
                  <a:lnTo>
                    <a:pt x="274" y="1120"/>
                  </a:lnTo>
                  <a:lnTo>
                    <a:pt x="274" y="1117"/>
                  </a:lnTo>
                  <a:lnTo>
                    <a:pt x="274" y="1117"/>
                  </a:lnTo>
                  <a:lnTo>
                    <a:pt x="281" y="1113"/>
                  </a:lnTo>
                  <a:lnTo>
                    <a:pt x="281" y="1113"/>
                  </a:lnTo>
                  <a:lnTo>
                    <a:pt x="276" y="1113"/>
                  </a:lnTo>
                  <a:lnTo>
                    <a:pt x="276" y="1110"/>
                  </a:lnTo>
                  <a:lnTo>
                    <a:pt x="276" y="1108"/>
                  </a:lnTo>
                  <a:lnTo>
                    <a:pt x="276" y="1108"/>
                  </a:lnTo>
                  <a:lnTo>
                    <a:pt x="276" y="1106"/>
                  </a:lnTo>
                  <a:lnTo>
                    <a:pt x="276" y="1103"/>
                  </a:lnTo>
                  <a:lnTo>
                    <a:pt x="276" y="1103"/>
                  </a:lnTo>
                  <a:lnTo>
                    <a:pt x="274" y="1103"/>
                  </a:lnTo>
                  <a:lnTo>
                    <a:pt x="272" y="1103"/>
                  </a:lnTo>
                  <a:lnTo>
                    <a:pt x="269" y="1101"/>
                  </a:lnTo>
                  <a:lnTo>
                    <a:pt x="269" y="1101"/>
                  </a:lnTo>
                  <a:lnTo>
                    <a:pt x="267" y="1101"/>
                  </a:lnTo>
                  <a:lnTo>
                    <a:pt x="267" y="1099"/>
                  </a:lnTo>
                  <a:lnTo>
                    <a:pt x="267" y="1096"/>
                  </a:lnTo>
                  <a:lnTo>
                    <a:pt x="267" y="1096"/>
                  </a:lnTo>
                  <a:lnTo>
                    <a:pt x="267" y="1094"/>
                  </a:lnTo>
                  <a:lnTo>
                    <a:pt x="265" y="1094"/>
                  </a:lnTo>
                  <a:lnTo>
                    <a:pt x="265" y="1092"/>
                  </a:lnTo>
                  <a:lnTo>
                    <a:pt x="262" y="1092"/>
                  </a:lnTo>
                  <a:lnTo>
                    <a:pt x="260" y="1094"/>
                  </a:lnTo>
                  <a:lnTo>
                    <a:pt x="257" y="1094"/>
                  </a:lnTo>
                  <a:lnTo>
                    <a:pt x="255" y="1094"/>
                  </a:lnTo>
                  <a:lnTo>
                    <a:pt x="255" y="1094"/>
                  </a:lnTo>
                  <a:lnTo>
                    <a:pt x="255" y="1096"/>
                  </a:lnTo>
                  <a:lnTo>
                    <a:pt x="250" y="1094"/>
                  </a:lnTo>
                  <a:lnTo>
                    <a:pt x="250" y="1094"/>
                  </a:lnTo>
                  <a:lnTo>
                    <a:pt x="253" y="1092"/>
                  </a:lnTo>
                  <a:lnTo>
                    <a:pt x="250" y="1089"/>
                  </a:lnTo>
                  <a:lnTo>
                    <a:pt x="250" y="1087"/>
                  </a:lnTo>
                  <a:lnTo>
                    <a:pt x="248" y="1087"/>
                  </a:lnTo>
                  <a:lnTo>
                    <a:pt x="248" y="1084"/>
                  </a:lnTo>
                  <a:lnTo>
                    <a:pt x="246" y="1082"/>
                  </a:lnTo>
                  <a:lnTo>
                    <a:pt x="246" y="1080"/>
                  </a:lnTo>
                  <a:lnTo>
                    <a:pt x="246" y="1080"/>
                  </a:lnTo>
                  <a:lnTo>
                    <a:pt x="241" y="1082"/>
                  </a:lnTo>
                  <a:lnTo>
                    <a:pt x="241" y="1080"/>
                  </a:lnTo>
                  <a:lnTo>
                    <a:pt x="241" y="1080"/>
                  </a:lnTo>
                  <a:lnTo>
                    <a:pt x="241" y="1077"/>
                  </a:lnTo>
                  <a:lnTo>
                    <a:pt x="243" y="1077"/>
                  </a:lnTo>
                  <a:lnTo>
                    <a:pt x="243" y="1077"/>
                  </a:lnTo>
                  <a:lnTo>
                    <a:pt x="243" y="1075"/>
                  </a:lnTo>
                  <a:lnTo>
                    <a:pt x="246" y="1075"/>
                  </a:lnTo>
                  <a:lnTo>
                    <a:pt x="243" y="1073"/>
                  </a:lnTo>
                  <a:lnTo>
                    <a:pt x="243" y="1070"/>
                  </a:lnTo>
                  <a:lnTo>
                    <a:pt x="246" y="1068"/>
                  </a:lnTo>
                  <a:lnTo>
                    <a:pt x="243" y="1068"/>
                  </a:lnTo>
                  <a:lnTo>
                    <a:pt x="243" y="1066"/>
                  </a:lnTo>
                  <a:lnTo>
                    <a:pt x="241" y="1068"/>
                  </a:lnTo>
                  <a:lnTo>
                    <a:pt x="241" y="1066"/>
                  </a:lnTo>
                  <a:lnTo>
                    <a:pt x="241" y="1066"/>
                  </a:lnTo>
                  <a:lnTo>
                    <a:pt x="241" y="1063"/>
                  </a:lnTo>
                  <a:lnTo>
                    <a:pt x="241" y="1061"/>
                  </a:lnTo>
                  <a:lnTo>
                    <a:pt x="239" y="1061"/>
                  </a:lnTo>
                  <a:lnTo>
                    <a:pt x="236" y="1058"/>
                  </a:lnTo>
                  <a:lnTo>
                    <a:pt x="236" y="1058"/>
                  </a:lnTo>
                  <a:lnTo>
                    <a:pt x="236" y="1058"/>
                  </a:lnTo>
                  <a:lnTo>
                    <a:pt x="236" y="1056"/>
                  </a:lnTo>
                  <a:lnTo>
                    <a:pt x="234" y="1058"/>
                  </a:lnTo>
                  <a:lnTo>
                    <a:pt x="234" y="1058"/>
                  </a:lnTo>
                  <a:lnTo>
                    <a:pt x="231" y="1058"/>
                  </a:lnTo>
                  <a:lnTo>
                    <a:pt x="231" y="1058"/>
                  </a:lnTo>
                  <a:lnTo>
                    <a:pt x="229" y="1056"/>
                  </a:lnTo>
                  <a:lnTo>
                    <a:pt x="231" y="1056"/>
                  </a:lnTo>
                  <a:lnTo>
                    <a:pt x="229" y="1056"/>
                  </a:lnTo>
                  <a:lnTo>
                    <a:pt x="231" y="1054"/>
                  </a:lnTo>
                  <a:lnTo>
                    <a:pt x="229" y="1054"/>
                  </a:lnTo>
                  <a:lnTo>
                    <a:pt x="231" y="1054"/>
                  </a:lnTo>
                  <a:lnTo>
                    <a:pt x="229" y="1051"/>
                  </a:lnTo>
                  <a:lnTo>
                    <a:pt x="231" y="1051"/>
                  </a:lnTo>
                  <a:lnTo>
                    <a:pt x="231" y="1051"/>
                  </a:lnTo>
                  <a:lnTo>
                    <a:pt x="231" y="1051"/>
                  </a:lnTo>
                  <a:lnTo>
                    <a:pt x="231" y="1049"/>
                  </a:lnTo>
                  <a:lnTo>
                    <a:pt x="229" y="1049"/>
                  </a:lnTo>
                  <a:lnTo>
                    <a:pt x="224" y="1051"/>
                  </a:lnTo>
                  <a:lnTo>
                    <a:pt x="222" y="1051"/>
                  </a:lnTo>
                  <a:lnTo>
                    <a:pt x="222" y="1051"/>
                  </a:lnTo>
                  <a:lnTo>
                    <a:pt x="222" y="1051"/>
                  </a:lnTo>
                  <a:lnTo>
                    <a:pt x="220" y="1051"/>
                  </a:lnTo>
                  <a:lnTo>
                    <a:pt x="220" y="1051"/>
                  </a:lnTo>
                  <a:lnTo>
                    <a:pt x="220" y="1049"/>
                  </a:lnTo>
                  <a:lnTo>
                    <a:pt x="220" y="1051"/>
                  </a:lnTo>
                  <a:lnTo>
                    <a:pt x="217" y="1049"/>
                  </a:lnTo>
                  <a:lnTo>
                    <a:pt x="215" y="1049"/>
                  </a:lnTo>
                  <a:lnTo>
                    <a:pt x="215" y="1051"/>
                  </a:lnTo>
                  <a:lnTo>
                    <a:pt x="213" y="1049"/>
                  </a:lnTo>
                  <a:lnTo>
                    <a:pt x="213" y="1049"/>
                  </a:lnTo>
                  <a:lnTo>
                    <a:pt x="215" y="1049"/>
                  </a:lnTo>
                  <a:lnTo>
                    <a:pt x="213" y="1047"/>
                  </a:lnTo>
                  <a:lnTo>
                    <a:pt x="215" y="1047"/>
                  </a:lnTo>
                  <a:lnTo>
                    <a:pt x="215" y="1047"/>
                  </a:lnTo>
                  <a:lnTo>
                    <a:pt x="215" y="1047"/>
                  </a:lnTo>
                  <a:lnTo>
                    <a:pt x="217" y="1044"/>
                  </a:lnTo>
                  <a:lnTo>
                    <a:pt x="217" y="1044"/>
                  </a:lnTo>
                  <a:lnTo>
                    <a:pt x="215" y="1044"/>
                  </a:lnTo>
                  <a:lnTo>
                    <a:pt x="215" y="1042"/>
                  </a:lnTo>
                  <a:lnTo>
                    <a:pt x="215" y="1044"/>
                  </a:lnTo>
                  <a:lnTo>
                    <a:pt x="213" y="1042"/>
                  </a:lnTo>
                  <a:lnTo>
                    <a:pt x="213" y="1042"/>
                  </a:lnTo>
                  <a:lnTo>
                    <a:pt x="217" y="1042"/>
                  </a:lnTo>
                  <a:lnTo>
                    <a:pt x="217" y="1042"/>
                  </a:lnTo>
                  <a:lnTo>
                    <a:pt x="217" y="1040"/>
                  </a:lnTo>
                  <a:lnTo>
                    <a:pt x="217" y="1040"/>
                  </a:lnTo>
                  <a:lnTo>
                    <a:pt x="217" y="1040"/>
                  </a:lnTo>
                  <a:lnTo>
                    <a:pt x="220" y="1040"/>
                  </a:lnTo>
                  <a:lnTo>
                    <a:pt x="220" y="1040"/>
                  </a:lnTo>
                  <a:lnTo>
                    <a:pt x="220" y="1037"/>
                  </a:lnTo>
                  <a:lnTo>
                    <a:pt x="220" y="1037"/>
                  </a:lnTo>
                  <a:lnTo>
                    <a:pt x="220" y="1035"/>
                  </a:lnTo>
                  <a:lnTo>
                    <a:pt x="220" y="1035"/>
                  </a:lnTo>
                  <a:lnTo>
                    <a:pt x="220" y="1035"/>
                  </a:lnTo>
                  <a:lnTo>
                    <a:pt x="222" y="1032"/>
                  </a:lnTo>
                  <a:lnTo>
                    <a:pt x="222" y="1032"/>
                  </a:lnTo>
                  <a:lnTo>
                    <a:pt x="224" y="1032"/>
                  </a:lnTo>
                  <a:lnTo>
                    <a:pt x="224" y="1030"/>
                  </a:lnTo>
                  <a:lnTo>
                    <a:pt x="227" y="1030"/>
                  </a:lnTo>
                  <a:lnTo>
                    <a:pt x="224" y="1028"/>
                  </a:lnTo>
                  <a:lnTo>
                    <a:pt x="224" y="1028"/>
                  </a:lnTo>
                  <a:lnTo>
                    <a:pt x="222" y="1028"/>
                  </a:lnTo>
                  <a:lnTo>
                    <a:pt x="222" y="1028"/>
                  </a:lnTo>
                  <a:lnTo>
                    <a:pt x="222" y="1025"/>
                  </a:lnTo>
                  <a:lnTo>
                    <a:pt x="224" y="1023"/>
                  </a:lnTo>
                  <a:lnTo>
                    <a:pt x="224" y="1023"/>
                  </a:lnTo>
                  <a:lnTo>
                    <a:pt x="227" y="1023"/>
                  </a:lnTo>
                  <a:lnTo>
                    <a:pt x="227" y="1025"/>
                  </a:lnTo>
                  <a:lnTo>
                    <a:pt x="227" y="1023"/>
                  </a:lnTo>
                  <a:lnTo>
                    <a:pt x="229" y="1023"/>
                  </a:lnTo>
                  <a:lnTo>
                    <a:pt x="231" y="1023"/>
                  </a:lnTo>
                  <a:lnTo>
                    <a:pt x="231" y="1021"/>
                  </a:lnTo>
                  <a:lnTo>
                    <a:pt x="231" y="1021"/>
                  </a:lnTo>
                  <a:lnTo>
                    <a:pt x="231" y="1021"/>
                  </a:lnTo>
                  <a:lnTo>
                    <a:pt x="231" y="1021"/>
                  </a:lnTo>
                  <a:lnTo>
                    <a:pt x="234" y="1018"/>
                  </a:lnTo>
                  <a:lnTo>
                    <a:pt x="231" y="1018"/>
                  </a:lnTo>
                  <a:lnTo>
                    <a:pt x="234" y="1018"/>
                  </a:lnTo>
                  <a:lnTo>
                    <a:pt x="234" y="1014"/>
                  </a:lnTo>
                  <a:lnTo>
                    <a:pt x="234" y="1014"/>
                  </a:lnTo>
                  <a:lnTo>
                    <a:pt x="234" y="1011"/>
                  </a:lnTo>
                  <a:lnTo>
                    <a:pt x="231" y="1011"/>
                  </a:lnTo>
                  <a:lnTo>
                    <a:pt x="231" y="1011"/>
                  </a:lnTo>
                  <a:lnTo>
                    <a:pt x="231" y="1011"/>
                  </a:lnTo>
                  <a:lnTo>
                    <a:pt x="231" y="1009"/>
                  </a:lnTo>
                  <a:lnTo>
                    <a:pt x="231" y="1009"/>
                  </a:lnTo>
                  <a:lnTo>
                    <a:pt x="229" y="1004"/>
                  </a:lnTo>
                  <a:lnTo>
                    <a:pt x="231" y="1004"/>
                  </a:lnTo>
                  <a:lnTo>
                    <a:pt x="231" y="1004"/>
                  </a:lnTo>
                  <a:lnTo>
                    <a:pt x="231" y="1004"/>
                  </a:lnTo>
                  <a:lnTo>
                    <a:pt x="231" y="1002"/>
                  </a:lnTo>
                  <a:lnTo>
                    <a:pt x="234" y="1002"/>
                  </a:lnTo>
                  <a:lnTo>
                    <a:pt x="236" y="1002"/>
                  </a:lnTo>
                  <a:lnTo>
                    <a:pt x="236" y="999"/>
                  </a:lnTo>
                  <a:lnTo>
                    <a:pt x="236" y="997"/>
                  </a:lnTo>
                  <a:lnTo>
                    <a:pt x="234" y="997"/>
                  </a:lnTo>
                  <a:lnTo>
                    <a:pt x="236" y="997"/>
                  </a:lnTo>
                  <a:lnTo>
                    <a:pt x="234" y="997"/>
                  </a:lnTo>
                  <a:lnTo>
                    <a:pt x="234" y="995"/>
                  </a:lnTo>
                  <a:lnTo>
                    <a:pt x="234" y="995"/>
                  </a:lnTo>
                  <a:lnTo>
                    <a:pt x="231" y="995"/>
                  </a:lnTo>
                  <a:lnTo>
                    <a:pt x="231" y="995"/>
                  </a:lnTo>
                  <a:lnTo>
                    <a:pt x="231" y="992"/>
                  </a:lnTo>
                  <a:lnTo>
                    <a:pt x="231" y="992"/>
                  </a:lnTo>
                  <a:lnTo>
                    <a:pt x="231" y="992"/>
                  </a:lnTo>
                  <a:lnTo>
                    <a:pt x="234" y="992"/>
                  </a:lnTo>
                  <a:lnTo>
                    <a:pt x="234" y="990"/>
                  </a:lnTo>
                  <a:lnTo>
                    <a:pt x="234" y="990"/>
                  </a:lnTo>
                  <a:lnTo>
                    <a:pt x="234" y="990"/>
                  </a:lnTo>
                  <a:lnTo>
                    <a:pt x="234" y="990"/>
                  </a:lnTo>
                  <a:lnTo>
                    <a:pt x="234" y="988"/>
                  </a:lnTo>
                  <a:lnTo>
                    <a:pt x="234" y="988"/>
                  </a:lnTo>
                  <a:lnTo>
                    <a:pt x="231" y="988"/>
                  </a:lnTo>
                  <a:lnTo>
                    <a:pt x="231" y="988"/>
                  </a:lnTo>
                  <a:lnTo>
                    <a:pt x="231" y="988"/>
                  </a:lnTo>
                  <a:lnTo>
                    <a:pt x="231" y="988"/>
                  </a:lnTo>
                  <a:lnTo>
                    <a:pt x="231" y="988"/>
                  </a:lnTo>
                  <a:lnTo>
                    <a:pt x="234" y="988"/>
                  </a:lnTo>
                  <a:lnTo>
                    <a:pt x="234" y="988"/>
                  </a:lnTo>
                  <a:lnTo>
                    <a:pt x="234" y="988"/>
                  </a:lnTo>
                  <a:lnTo>
                    <a:pt x="234" y="985"/>
                  </a:lnTo>
                  <a:lnTo>
                    <a:pt x="234" y="985"/>
                  </a:lnTo>
                  <a:lnTo>
                    <a:pt x="236" y="985"/>
                  </a:lnTo>
                  <a:lnTo>
                    <a:pt x="236" y="985"/>
                  </a:lnTo>
                  <a:lnTo>
                    <a:pt x="236" y="985"/>
                  </a:lnTo>
                  <a:lnTo>
                    <a:pt x="236" y="985"/>
                  </a:lnTo>
                  <a:lnTo>
                    <a:pt x="236" y="985"/>
                  </a:lnTo>
                  <a:lnTo>
                    <a:pt x="236" y="985"/>
                  </a:lnTo>
                  <a:lnTo>
                    <a:pt x="236" y="985"/>
                  </a:lnTo>
                  <a:lnTo>
                    <a:pt x="239" y="985"/>
                  </a:lnTo>
                  <a:lnTo>
                    <a:pt x="236" y="983"/>
                  </a:lnTo>
                  <a:lnTo>
                    <a:pt x="239" y="983"/>
                  </a:lnTo>
                  <a:lnTo>
                    <a:pt x="239" y="983"/>
                  </a:lnTo>
                  <a:lnTo>
                    <a:pt x="239" y="983"/>
                  </a:lnTo>
                  <a:lnTo>
                    <a:pt x="239" y="983"/>
                  </a:lnTo>
                  <a:lnTo>
                    <a:pt x="239" y="983"/>
                  </a:lnTo>
                  <a:lnTo>
                    <a:pt x="241" y="980"/>
                  </a:lnTo>
                  <a:lnTo>
                    <a:pt x="241" y="980"/>
                  </a:lnTo>
                  <a:lnTo>
                    <a:pt x="241" y="980"/>
                  </a:lnTo>
                  <a:lnTo>
                    <a:pt x="241" y="978"/>
                  </a:lnTo>
                  <a:lnTo>
                    <a:pt x="241" y="978"/>
                  </a:lnTo>
                  <a:lnTo>
                    <a:pt x="241" y="978"/>
                  </a:lnTo>
                  <a:lnTo>
                    <a:pt x="241" y="976"/>
                  </a:lnTo>
                  <a:lnTo>
                    <a:pt x="241" y="976"/>
                  </a:lnTo>
                  <a:lnTo>
                    <a:pt x="241" y="976"/>
                  </a:lnTo>
                  <a:lnTo>
                    <a:pt x="241" y="973"/>
                  </a:lnTo>
                  <a:lnTo>
                    <a:pt x="241" y="973"/>
                  </a:lnTo>
                  <a:lnTo>
                    <a:pt x="241" y="973"/>
                  </a:lnTo>
                  <a:lnTo>
                    <a:pt x="241" y="971"/>
                  </a:lnTo>
                  <a:lnTo>
                    <a:pt x="243" y="971"/>
                  </a:lnTo>
                  <a:lnTo>
                    <a:pt x="243" y="973"/>
                  </a:lnTo>
                  <a:lnTo>
                    <a:pt x="246" y="971"/>
                  </a:lnTo>
                  <a:lnTo>
                    <a:pt x="248" y="969"/>
                  </a:lnTo>
                  <a:lnTo>
                    <a:pt x="246" y="969"/>
                  </a:lnTo>
                  <a:lnTo>
                    <a:pt x="248" y="966"/>
                  </a:lnTo>
                  <a:lnTo>
                    <a:pt x="248" y="966"/>
                  </a:lnTo>
                  <a:lnTo>
                    <a:pt x="248" y="964"/>
                  </a:lnTo>
                  <a:lnTo>
                    <a:pt x="246" y="962"/>
                  </a:lnTo>
                  <a:lnTo>
                    <a:pt x="248" y="964"/>
                  </a:lnTo>
                  <a:lnTo>
                    <a:pt x="248" y="962"/>
                  </a:lnTo>
                  <a:lnTo>
                    <a:pt x="248" y="959"/>
                  </a:lnTo>
                  <a:lnTo>
                    <a:pt x="248" y="959"/>
                  </a:lnTo>
                  <a:lnTo>
                    <a:pt x="248" y="959"/>
                  </a:lnTo>
                  <a:lnTo>
                    <a:pt x="248" y="959"/>
                  </a:lnTo>
                  <a:lnTo>
                    <a:pt x="250" y="959"/>
                  </a:lnTo>
                  <a:lnTo>
                    <a:pt x="253" y="959"/>
                  </a:lnTo>
                  <a:lnTo>
                    <a:pt x="255" y="959"/>
                  </a:lnTo>
                  <a:lnTo>
                    <a:pt x="255" y="959"/>
                  </a:lnTo>
                  <a:lnTo>
                    <a:pt x="255" y="959"/>
                  </a:lnTo>
                  <a:lnTo>
                    <a:pt x="257" y="959"/>
                  </a:lnTo>
                  <a:lnTo>
                    <a:pt x="257" y="957"/>
                  </a:lnTo>
                  <a:lnTo>
                    <a:pt x="257" y="957"/>
                  </a:lnTo>
                  <a:lnTo>
                    <a:pt x="260" y="955"/>
                  </a:lnTo>
                  <a:lnTo>
                    <a:pt x="262" y="955"/>
                  </a:lnTo>
                  <a:lnTo>
                    <a:pt x="265" y="955"/>
                  </a:lnTo>
                  <a:lnTo>
                    <a:pt x="267" y="952"/>
                  </a:lnTo>
                  <a:lnTo>
                    <a:pt x="272" y="955"/>
                  </a:lnTo>
                  <a:lnTo>
                    <a:pt x="274" y="955"/>
                  </a:lnTo>
                  <a:lnTo>
                    <a:pt x="274" y="952"/>
                  </a:lnTo>
                  <a:lnTo>
                    <a:pt x="276" y="952"/>
                  </a:lnTo>
                  <a:lnTo>
                    <a:pt x="279" y="952"/>
                  </a:lnTo>
                  <a:lnTo>
                    <a:pt x="281" y="950"/>
                  </a:lnTo>
                  <a:lnTo>
                    <a:pt x="283" y="947"/>
                  </a:lnTo>
                  <a:lnTo>
                    <a:pt x="283" y="945"/>
                  </a:lnTo>
                  <a:lnTo>
                    <a:pt x="283" y="940"/>
                  </a:lnTo>
                  <a:lnTo>
                    <a:pt x="283" y="938"/>
                  </a:lnTo>
                  <a:lnTo>
                    <a:pt x="286" y="938"/>
                  </a:lnTo>
                  <a:lnTo>
                    <a:pt x="286" y="936"/>
                  </a:lnTo>
                  <a:lnTo>
                    <a:pt x="286" y="936"/>
                  </a:lnTo>
                  <a:lnTo>
                    <a:pt x="283" y="933"/>
                  </a:lnTo>
                  <a:lnTo>
                    <a:pt x="283" y="933"/>
                  </a:lnTo>
                  <a:lnTo>
                    <a:pt x="283" y="931"/>
                  </a:lnTo>
                  <a:lnTo>
                    <a:pt x="286" y="926"/>
                  </a:lnTo>
                  <a:lnTo>
                    <a:pt x="286" y="924"/>
                  </a:lnTo>
                  <a:lnTo>
                    <a:pt x="286" y="921"/>
                  </a:lnTo>
                  <a:lnTo>
                    <a:pt x="288" y="921"/>
                  </a:lnTo>
                  <a:lnTo>
                    <a:pt x="291" y="921"/>
                  </a:lnTo>
                  <a:lnTo>
                    <a:pt x="291" y="919"/>
                  </a:lnTo>
                  <a:lnTo>
                    <a:pt x="288" y="917"/>
                  </a:lnTo>
                  <a:lnTo>
                    <a:pt x="288" y="914"/>
                  </a:lnTo>
                  <a:lnTo>
                    <a:pt x="288" y="912"/>
                  </a:lnTo>
                  <a:lnTo>
                    <a:pt x="288" y="912"/>
                  </a:lnTo>
                  <a:lnTo>
                    <a:pt x="286" y="910"/>
                  </a:lnTo>
                  <a:lnTo>
                    <a:pt x="286" y="910"/>
                  </a:lnTo>
                  <a:lnTo>
                    <a:pt x="286" y="907"/>
                  </a:lnTo>
                  <a:lnTo>
                    <a:pt x="283" y="905"/>
                  </a:lnTo>
                  <a:lnTo>
                    <a:pt x="279" y="903"/>
                  </a:lnTo>
                  <a:lnTo>
                    <a:pt x="276" y="903"/>
                  </a:lnTo>
                  <a:lnTo>
                    <a:pt x="276" y="900"/>
                  </a:lnTo>
                  <a:lnTo>
                    <a:pt x="276" y="900"/>
                  </a:lnTo>
                  <a:lnTo>
                    <a:pt x="276" y="900"/>
                  </a:lnTo>
                  <a:lnTo>
                    <a:pt x="274" y="898"/>
                  </a:lnTo>
                  <a:lnTo>
                    <a:pt x="274" y="898"/>
                  </a:lnTo>
                  <a:lnTo>
                    <a:pt x="274" y="898"/>
                  </a:lnTo>
                  <a:lnTo>
                    <a:pt x="272" y="895"/>
                  </a:lnTo>
                  <a:lnTo>
                    <a:pt x="269" y="895"/>
                  </a:lnTo>
                  <a:lnTo>
                    <a:pt x="267" y="898"/>
                  </a:lnTo>
                  <a:lnTo>
                    <a:pt x="267" y="898"/>
                  </a:lnTo>
                  <a:lnTo>
                    <a:pt x="265" y="898"/>
                  </a:lnTo>
                  <a:lnTo>
                    <a:pt x="265" y="898"/>
                  </a:lnTo>
                  <a:lnTo>
                    <a:pt x="262" y="900"/>
                  </a:lnTo>
                  <a:lnTo>
                    <a:pt x="260" y="900"/>
                  </a:lnTo>
                  <a:lnTo>
                    <a:pt x="260" y="900"/>
                  </a:lnTo>
                  <a:lnTo>
                    <a:pt x="257" y="898"/>
                  </a:lnTo>
                  <a:lnTo>
                    <a:pt x="257" y="900"/>
                  </a:lnTo>
                  <a:lnTo>
                    <a:pt x="257" y="900"/>
                  </a:lnTo>
                  <a:lnTo>
                    <a:pt x="255" y="900"/>
                  </a:lnTo>
                  <a:lnTo>
                    <a:pt x="255" y="900"/>
                  </a:lnTo>
                  <a:lnTo>
                    <a:pt x="255" y="900"/>
                  </a:lnTo>
                  <a:lnTo>
                    <a:pt x="253" y="900"/>
                  </a:lnTo>
                  <a:lnTo>
                    <a:pt x="253" y="900"/>
                  </a:lnTo>
                  <a:lnTo>
                    <a:pt x="250" y="903"/>
                  </a:lnTo>
                  <a:lnTo>
                    <a:pt x="250" y="903"/>
                  </a:lnTo>
                  <a:lnTo>
                    <a:pt x="250" y="903"/>
                  </a:lnTo>
                  <a:lnTo>
                    <a:pt x="250" y="903"/>
                  </a:lnTo>
                  <a:lnTo>
                    <a:pt x="248" y="903"/>
                  </a:lnTo>
                  <a:lnTo>
                    <a:pt x="248" y="905"/>
                  </a:lnTo>
                  <a:lnTo>
                    <a:pt x="248" y="903"/>
                  </a:lnTo>
                  <a:lnTo>
                    <a:pt x="248" y="905"/>
                  </a:lnTo>
                  <a:lnTo>
                    <a:pt x="248" y="905"/>
                  </a:lnTo>
                  <a:lnTo>
                    <a:pt x="246" y="903"/>
                  </a:lnTo>
                  <a:lnTo>
                    <a:pt x="246" y="905"/>
                  </a:lnTo>
                  <a:lnTo>
                    <a:pt x="243" y="905"/>
                  </a:lnTo>
                  <a:lnTo>
                    <a:pt x="241" y="905"/>
                  </a:lnTo>
                  <a:lnTo>
                    <a:pt x="241" y="905"/>
                  </a:lnTo>
                  <a:lnTo>
                    <a:pt x="241" y="905"/>
                  </a:lnTo>
                  <a:lnTo>
                    <a:pt x="241" y="905"/>
                  </a:lnTo>
                  <a:lnTo>
                    <a:pt x="239" y="905"/>
                  </a:lnTo>
                  <a:lnTo>
                    <a:pt x="239" y="905"/>
                  </a:lnTo>
                  <a:lnTo>
                    <a:pt x="239" y="905"/>
                  </a:lnTo>
                  <a:lnTo>
                    <a:pt x="239" y="905"/>
                  </a:lnTo>
                  <a:lnTo>
                    <a:pt x="236" y="905"/>
                  </a:lnTo>
                  <a:lnTo>
                    <a:pt x="236" y="907"/>
                  </a:lnTo>
                  <a:lnTo>
                    <a:pt x="236" y="907"/>
                  </a:lnTo>
                  <a:lnTo>
                    <a:pt x="234" y="910"/>
                  </a:lnTo>
                  <a:lnTo>
                    <a:pt x="234" y="910"/>
                  </a:lnTo>
                  <a:lnTo>
                    <a:pt x="231" y="907"/>
                  </a:lnTo>
                  <a:lnTo>
                    <a:pt x="231" y="907"/>
                  </a:lnTo>
                  <a:lnTo>
                    <a:pt x="231" y="910"/>
                  </a:lnTo>
                  <a:lnTo>
                    <a:pt x="231" y="910"/>
                  </a:lnTo>
                  <a:lnTo>
                    <a:pt x="231" y="910"/>
                  </a:lnTo>
                  <a:lnTo>
                    <a:pt x="229" y="910"/>
                  </a:lnTo>
                  <a:lnTo>
                    <a:pt x="229" y="912"/>
                  </a:lnTo>
                  <a:lnTo>
                    <a:pt x="227" y="912"/>
                  </a:lnTo>
                  <a:lnTo>
                    <a:pt x="227" y="912"/>
                  </a:lnTo>
                  <a:lnTo>
                    <a:pt x="227" y="914"/>
                  </a:lnTo>
                  <a:lnTo>
                    <a:pt x="227" y="914"/>
                  </a:lnTo>
                  <a:lnTo>
                    <a:pt x="227" y="914"/>
                  </a:lnTo>
                  <a:lnTo>
                    <a:pt x="224" y="917"/>
                  </a:lnTo>
                  <a:lnTo>
                    <a:pt x="224" y="917"/>
                  </a:lnTo>
                  <a:lnTo>
                    <a:pt x="222" y="917"/>
                  </a:lnTo>
                  <a:lnTo>
                    <a:pt x="222" y="919"/>
                  </a:lnTo>
                  <a:lnTo>
                    <a:pt x="222" y="919"/>
                  </a:lnTo>
                  <a:lnTo>
                    <a:pt x="222" y="919"/>
                  </a:lnTo>
                  <a:lnTo>
                    <a:pt x="220" y="919"/>
                  </a:lnTo>
                  <a:lnTo>
                    <a:pt x="220" y="919"/>
                  </a:lnTo>
                  <a:lnTo>
                    <a:pt x="220" y="919"/>
                  </a:lnTo>
                  <a:lnTo>
                    <a:pt x="220" y="917"/>
                  </a:lnTo>
                  <a:lnTo>
                    <a:pt x="217" y="917"/>
                  </a:lnTo>
                  <a:lnTo>
                    <a:pt x="217" y="917"/>
                  </a:lnTo>
                  <a:lnTo>
                    <a:pt x="215" y="914"/>
                  </a:lnTo>
                  <a:lnTo>
                    <a:pt x="215" y="914"/>
                  </a:lnTo>
                  <a:lnTo>
                    <a:pt x="213" y="914"/>
                  </a:lnTo>
                  <a:lnTo>
                    <a:pt x="213" y="912"/>
                  </a:lnTo>
                  <a:lnTo>
                    <a:pt x="210" y="910"/>
                  </a:lnTo>
                  <a:lnTo>
                    <a:pt x="208" y="910"/>
                  </a:lnTo>
                  <a:lnTo>
                    <a:pt x="210" y="907"/>
                  </a:lnTo>
                  <a:lnTo>
                    <a:pt x="208" y="905"/>
                  </a:lnTo>
                  <a:lnTo>
                    <a:pt x="208" y="905"/>
                  </a:lnTo>
                  <a:lnTo>
                    <a:pt x="208" y="905"/>
                  </a:lnTo>
                  <a:lnTo>
                    <a:pt x="208" y="905"/>
                  </a:lnTo>
                  <a:lnTo>
                    <a:pt x="208" y="905"/>
                  </a:lnTo>
                  <a:lnTo>
                    <a:pt x="208" y="905"/>
                  </a:lnTo>
                  <a:lnTo>
                    <a:pt x="208" y="903"/>
                  </a:lnTo>
                  <a:lnTo>
                    <a:pt x="208" y="903"/>
                  </a:lnTo>
                  <a:lnTo>
                    <a:pt x="206" y="900"/>
                  </a:lnTo>
                  <a:lnTo>
                    <a:pt x="206" y="900"/>
                  </a:lnTo>
                  <a:lnTo>
                    <a:pt x="203" y="900"/>
                  </a:lnTo>
                  <a:lnTo>
                    <a:pt x="203" y="900"/>
                  </a:lnTo>
                  <a:lnTo>
                    <a:pt x="203" y="895"/>
                  </a:lnTo>
                  <a:lnTo>
                    <a:pt x="201" y="895"/>
                  </a:lnTo>
                  <a:lnTo>
                    <a:pt x="201" y="895"/>
                  </a:lnTo>
                  <a:lnTo>
                    <a:pt x="201" y="895"/>
                  </a:lnTo>
                  <a:lnTo>
                    <a:pt x="198" y="893"/>
                  </a:lnTo>
                  <a:lnTo>
                    <a:pt x="198" y="893"/>
                  </a:lnTo>
                  <a:lnTo>
                    <a:pt x="198" y="891"/>
                  </a:lnTo>
                  <a:lnTo>
                    <a:pt x="198" y="891"/>
                  </a:lnTo>
                  <a:lnTo>
                    <a:pt x="198" y="891"/>
                  </a:lnTo>
                  <a:lnTo>
                    <a:pt x="196" y="891"/>
                  </a:lnTo>
                  <a:lnTo>
                    <a:pt x="196" y="891"/>
                  </a:lnTo>
                  <a:lnTo>
                    <a:pt x="196" y="891"/>
                  </a:lnTo>
                  <a:lnTo>
                    <a:pt x="196" y="888"/>
                  </a:lnTo>
                  <a:lnTo>
                    <a:pt x="194" y="888"/>
                  </a:lnTo>
                  <a:lnTo>
                    <a:pt x="194" y="888"/>
                  </a:lnTo>
                  <a:lnTo>
                    <a:pt x="191" y="886"/>
                  </a:lnTo>
                  <a:lnTo>
                    <a:pt x="191" y="886"/>
                  </a:lnTo>
                  <a:lnTo>
                    <a:pt x="191" y="886"/>
                  </a:lnTo>
                  <a:lnTo>
                    <a:pt x="191" y="886"/>
                  </a:lnTo>
                  <a:lnTo>
                    <a:pt x="191" y="886"/>
                  </a:lnTo>
                  <a:lnTo>
                    <a:pt x="191" y="884"/>
                  </a:lnTo>
                  <a:lnTo>
                    <a:pt x="191" y="884"/>
                  </a:lnTo>
                  <a:lnTo>
                    <a:pt x="191" y="884"/>
                  </a:lnTo>
                  <a:lnTo>
                    <a:pt x="191" y="881"/>
                  </a:lnTo>
                  <a:lnTo>
                    <a:pt x="189" y="879"/>
                  </a:lnTo>
                  <a:lnTo>
                    <a:pt x="191" y="879"/>
                  </a:lnTo>
                  <a:lnTo>
                    <a:pt x="189" y="879"/>
                  </a:lnTo>
                  <a:lnTo>
                    <a:pt x="189" y="879"/>
                  </a:lnTo>
                  <a:lnTo>
                    <a:pt x="187" y="879"/>
                  </a:lnTo>
                  <a:lnTo>
                    <a:pt x="189" y="877"/>
                  </a:lnTo>
                  <a:lnTo>
                    <a:pt x="189" y="877"/>
                  </a:lnTo>
                  <a:lnTo>
                    <a:pt x="187" y="877"/>
                  </a:lnTo>
                  <a:lnTo>
                    <a:pt x="187" y="877"/>
                  </a:lnTo>
                  <a:lnTo>
                    <a:pt x="187" y="874"/>
                  </a:lnTo>
                  <a:lnTo>
                    <a:pt x="187" y="877"/>
                  </a:lnTo>
                  <a:lnTo>
                    <a:pt x="184" y="874"/>
                  </a:lnTo>
                  <a:lnTo>
                    <a:pt x="184" y="877"/>
                  </a:lnTo>
                  <a:lnTo>
                    <a:pt x="182" y="874"/>
                  </a:lnTo>
                  <a:lnTo>
                    <a:pt x="182" y="874"/>
                  </a:lnTo>
                  <a:lnTo>
                    <a:pt x="182" y="874"/>
                  </a:lnTo>
                  <a:lnTo>
                    <a:pt x="182" y="872"/>
                  </a:lnTo>
                  <a:lnTo>
                    <a:pt x="182" y="872"/>
                  </a:lnTo>
                  <a:lnTo>
                    <a:pt x="182" y="872"/>
                  </a:lnTo>
                  <a:lnTo>
                    <a:pt x="182" y="872"/>
                  </a:lnTo>
                  <a:lnTo>
                    <a:pt x="184" y="872"/>
                  </a:lnTo>
                  <a:lnTo>
                    <a:pt x="184" y="869"/>
                  </a:lnTo>
                  <a:lnTo>
                    <a:pt x="180" y="869"/>
                  </a:lnTo>
                  <a:lnTo>
                    <a:pt x="180" y="867"/>
                  </a:lnTo>
                  <a:lnTo>
                    <a:pt x="180" y="867"/>
                  </a:lnTo>
                  <a:lnTo>
                    <a:pt x="177" y="867"/>
                  </a:lnTo>
                  <a:lnTo>
                    <a:pt x="180" y="867"/>
                  </a:lnTo>
                  <a:lnTo>
                    <a:pt x="182" y="867"/>
                  </a:lnTo>
                  <a:lnTo>
                    <a:pt x="182" y="865"/>
                  </a:lnTo>
                  <a:lnTo>
                    <a:pt x="182" y="865"/>
                  </a:lnTo>
                  <a:lnTo>
                    <a:pt x="180" y="862"/>
                  </a:lnTo>
                  <a:lnTo>
                    <a:pt x="177" y="862"/>
                  </a:lnTo>
                  <a:lnTo>
                    <a:pt x="177" y="860"/>
                  </a:lnTo>
                  <a:lnTo>
                    <a:pt x="175" y="860"/>
                  </a:lnTo>
                  <a:lnTo>
                    <a:pt x="175" y="860"/>
                  </a:lnTo>
                  <a:lnTo>
                    <a:pt x="175" y="862"/>
                  </a:lnTo>
                  <a:lnTo>
                    <a:pt x="175" y="862"/>
                  </a:lnTo>
                  <a:lnTo>
                    <a:pt x="177" y="862"/>
                  </a:lnTo>
                  <a:lnTo>
                    <a:pt x="177" y="865"/>
                  </a:lnTo>
                  <a:lnTo>
                    <a:pt x="175" y="865"/>
                  </a:lnTo>
                  <a:lnTo>
                    <a:pt x="172" y="865"/>
                  </a:lnTo>
                  <a:lnTo>
                    <a:pt x="172" y="862"/>
                  </a:lnTo>
                  <a:lnTo>
                    <a:pt x="172" y="862"/>
                  </a:lnTo>
                  <a:lnTo>
                    <a:pt x="172" y="860"/>
                  </a:lnTo>
                  <a:lnTo>
                    <a:pt x="172" y="858"/>
                  </a:lnTo>
                  <a:lnTo>
                    <a:pt x="170" y="855"/>
                  </a:lnTo>
                  <a:lnTo>
                    <a:pt x="172" y="855"/>
                  </a:lnTo>
                  <a:lnTo>
                    <a:pt x="170" y="853"/>
                  </a:lnTo>
                  <a:lnTo>
                    <a:pt x="170" y="853"/>
                  </a:lnTo>
                  <a:lnTo>
                    <a:pt x="168" y="853"/>
                  </a:lnTo>
                  <a:lnTo>
                    <a:pt x="168" y="853"/>
                  </a:lnTo>
                  <a:lnTo>
                    <a:pt x="165" y="853"/>
                  </a:lnTo>
                  <a:lnTo>
                    <a:pt x="165" y="853"/>
                  </a:lnTo>
                  <a:lnTo>
                    <a:pt x="168" y="851"/>
                  </a:lnTo>
                  <a:lnTo>
                    <a:pt x="168" y="851"/>
                  </a:lnTo>
                  <a:lnTo>
                    <a:pt x="168" y="848"/>
                  </a:lnTo>
                  <a:lnTo>
                    <a:pt x="168" y="848"/>
                  </a:lnTo>
                  <a:lnTo>
                    <a:pt x="165" y="848"/>
                  </a:lnTo>
                  <a:lnTo>
                    <a:pt x="163" y="848"/>
                  </a:lnTo>
                  <a:lnTo>
                    <a:pt x="163" y="848"/>
                  </a:lnTo>
                  <a:lnTo>
                    <a:pt x="161" y="848"/>
                  </a:lnTo>
                  <a:lnTo>
                    <a:pt x="161" y="848"/>
                  </a:lnTo>
                  <a:lnTo>
                    <a:pt x="161" y="843"/>
                  </a:lnTo>
                  <a:lnTo>
                    <a:pt x="158" y="843"/>
                  </a:lnTo>
                  <a:lnTo>
                    <a:pt x="158" y="839"/>
                  </a:lnTo>
                  <a:lnTo>
                    <a:pt x="158" y="836"/>
                  </a:lnTo>
                  <a:lnTo>
                    <a:pt x="156" y="836"/>
                  </a:lnTo>
                  <a:lnTo>
                    <a:pt x="154" y="836"/>
                  </a:lnTo>
                  <a:lnTo>
                    <a:pt x="151" y="836"/>
                  </a:lnTo>
                  <a:lnTo>
                    <a:pt x="149" y="839"/>
                  </a:lnTo>
                  <a:lnTo>
                    <a:pt x="146" y="836"/>
                  </a:lnTo>
                  <a:lnTo>
                    <a:pt x="149" y="834"/>
                  </a:lnTo>
                  <a:lnTo>
                    <a:pt x="149" y="834"/>
                  </a:lnTo>
                  <a:lnTo>
                    <a:pt x="156" y="829"/>
                  </a:lnTo>
                  <a:lnTo>
                    <a:pt x="156" y="829"/>
                  </a:lnTo>
                  <a:lnTo>
                    <a:pt x="161" y="827"/>
                  </a:lnTo>
                  <a:lnTo>
                    <a:pt x="161" y="822"/>
                  </a:lnTo>
                  <a:lnTo>
                    <a:pt x="161" y="822"/>
                  </a:lnTo>
                  <a:lnTo>
                    <a:pt x="158" y="817"/>
                  </a:lnTo>
                  <a:lnTo>
                    <a:pt x="154" y="815"/>
                  </a:lnTo>
                  <a:lnTo>
                    <a:pt x="154" y="813"/>
                  </a:lnTo>
                  <a:lnTo>
                    <a:pt x="146" y="813"/>
                  </a:lnTo>
                  <a:lnTo>
                    <a:pt x="144" y="815"/>
                  </a:lnTo>
                  <a:lnTo>
                    <a:pt x="142" y="820"/>
                  </a:lnTo>
                  <a:lnTo>
                    <a:pt x="139" y="820"/>
                  </a:lnTo>
                  <a:lnTo>
                    <a:pt x="139" y="820"/>
                  </a:lnTo>
                  <a:lnTo>
                    <a:pt x="139" y="820"/>
                  </a:lnTo>
                  <a:lnTo>
                    <a:pt x="137" y="813"/>
                  </a:lnTo>
                  <a:lnTo>
                    <a:pt x="135" y="810"/>
                  </a:lnTo>
                  <a:lnTo>
                    <a:pt x="128" y="808"/>
                  </a:lnTo>
                  <a:lnTo>
                    <a:pt x="128" y="806"/>
                  </a:lnTo>
                  <a:lnTo>
                    <a:pt x="128" y="803"/>
                  </a:lnTo>
                  <a:lnTo>
                    <a:pt x="128" y="801"/>
                  </a:lnTo>
                  <a:lnTo>
                    <a:pt x="128" y="801"/>
                  </a:lnTo>
                  <a:lnTo>
                    <a:pt x="130" y="799"/>
                  </a:lnTo>
                  <a:lnTo>
                    <a:pt x="132" y="799"/>
                  </a:lnTo>
                  <a:lnTo>
                    <a:pt x="135" y="799"/>
                  </a:lnTo>
                  <a:lnTo>
                    <a:pt x="137" y="799"/>
                  </a:lnTo>
                  <a:lnTo>
                    <a:pt x="137" y="799"/>
                  </a:lnTo>
                  <a:lnTo>
                    <a:pt x="139" y="799"/>
                  </a:lnTo>
                  <a:lnTo>
                    <a:pt x="142" y="794"/>
                  </a:lnTo>
                  <a:lnTo>
                    <a:pt x="144" y="792"/>
                  </a:lnTo>
                  <a:lnTo>
                    <a:pt x="146" y="787"/>
                  </a:lnTo>
                  <a:lnTo>
                    <a:pt x="149" y="787"/>
                  </a:lnTo>
                  <a:lnTo>
                    <a:pt x="151" y="782"/>
                  </a:lnTo>
                  <a:lnTo>
                    <a:pt x="154" y="782"/>
                  </a:lnTo>
                  <a:lnTo>
                    <a:pt x="154" y="780"/>
                  </a:lnTo>
                  <a:lnTo>
                    <a:pt x="154" y="777"/>
                  </a:lnTo>
                  <a:lnTo>
                    <a:pt x="154" y="775"/>
                  </a:lnTo>
                  <a:lnTo>
                    <a:pt x="154" y="773"/>
                  </a:lnTo>
                  <a:lnTo>
                    <a:pt x="156" y="768"/>
                  </a:lnTo>
                  <a:lnTo>
                    <a:pt x="158" y="766"/>
                  </a:lnTo>
                  <a:lnTo>
                    <a:pt x="156" y="763"/>
                  </a:lnTo>
                  <a:lnTo>
                    <a:pt x="156" y="758"/>
                  </a:lnTo>
                  <a:lnTo>
                    <a:pt x="156" y="758"/>
                  </a:lnTo>
                  <a:lnTo>
                    <a:pt x="154" y="758"/>
                  </a:lnTo>
                  <a:lnTo>
                    <a:pt x="154" y="756"/>
                  </a:lnTo>
                  <a:lnTo>
                    <a:pt x="156" y="751"/>
                  </a:lnTo>
                  <a:lnTo>
                    <a:pt x="158" y="747"/>
                  </a:lnTo>
                  <a:lnTo>
                    <a:pt x="158" y="742"/>
                  </a:lnTo>
                  <a:lnTo>
                    <a:pt x="158" y="740"/>
                  </a:lnTo>
                  <a:lnTo>
                    <a:pt x="158" y="740"/>
                  </a:lnTo>
                  <a:lnTo>
                    <a:pt x="158" y="737"/>
                  </a:lnTo>
                  <a:lnTo>
                    <a:pt x="161" y="730"/>
                  </a:lnTo>
                  <a:lnTo>
                    <a:pt x="163" y="728"/>
                  </a:lnTo>
                  <a:lnTo>
                    <a:pt x="163" y="728"/>
                  </a:lnTo>
                  <a:lnTo>
                    <a:pt x="163" y="725"/>
                  </a:lnTo>
                  <a:lnTo>
                    <a:pt x="163" y="721"/>
                  </a:lnTo>
                  <a:lnTo>
                    <a:pt x="163" y="721"/>
                  </a:lnTo>
                  <a:lnTo>
                    <a:pt x="163" y="718"/>
                  </a:lnTo>
                  <a:lnTo>
                    <a:pt x="168" y="714"/>
                  </a:lnTo>
                  <a:lnTo>
                    <a:pt x="168" y="714"/>
                  </a:lnTo>
                  <a:lnTo>
                    <a:pt x="168" y="711"/>
                  </a:lnTo>
                  <a:lnTo>
                    <a:pt x="165" y="706"/>
                  </a:lnTo>
                  <a:lnTo>
                    <a:pt x="168" y="704"/>
                  </a:lnTo>
                  <a:lnTo>
                    <a:pt x="168" y="702"/>
                  </a:lnTo>
                  <a:lnTo>
                    <a:pt x="168" y="697"/>
                  </a:lnTo>
                  <a:lnTo>
                    <a:pt x="170" y="692"/>
                  </a:lnTo>
                  <a:lnTo>
                    <a:pt x="170" y="692"/>
                  </a:lnTo>
                  <a:lnTo>
                    <a:pt x="172" y="685"/>
                  </a:lnTo>
                  <a:lnTo>
                    <a:pt x="172" y="683"/>
                  </a:lnTo>
                  <a:lnTo>
                    <a:pt x="172" y="680"/>
                  </a:lnTo>
                  <a:lnTo>
                    <a:pt x="172" y="678"/>
                  </a:lnTo>
                  <a:lnTo>
                    <a:pt x="170" y="676"/>
                  </a:lnTo>
                  <a:lnTo>
                    <a:pt x="168" y="671"/>
                  </a:lnTo>
                  <a:lnTo>
                    <a:pt x="168" y="664"/>
                  </a:lnTo>
                  <a:lnTo>
                    <a:pt x="165" y="662"/>
                  </a:lnTo>
                  <a:lnTo>
                    <a:pt x="168" y="657"/>
                  </a:lnTo>
                  <a:lnTo>
                    <a:pt x="168" y="655"/>
                  </a:lnTo>
                  <a:lnTo>
                    <a:pt x="168" y="655"/>
                  </a:lnTo>
                  <a:lnTo>
                    <a:pt x="165" y="650"/>
                  </a:lnTo>
                  <a:lnTo>
                    <a:pt x="165" y="647"/>
                  </a:lnTo>
                  <a:lnTo>
                    <a:pt x="168" y="640"/>
                  </a:lnTo>
                  <a:lnTo>
                    <a:pt x="168" y="631"/>
                  </a:lnTo>
                  <a:lnTo>
                    <a:pt x="165" y="631"/>
                  </a:lnTo>
                  <a:lnTo>
                    <a:pt x="165" y="626"/>
                  </a:lnTo>
                  <a:lnTo>
                    <a:pt x="163" y="619"/>
                  </a:lnTo>
                  <a:lnTo>
                    <a:pt x="161" y="617"/>
                  </a:lnTo>
                  <a:lnTo>
                    <a:pt x="158" y="614"/>
                  </a:lnTo>
                  <a:lnTo>
                    <a:pt x="158" y="610"/>
                  </a:lnTo>
                  <a:lnTo>
                    <a:pt x="161" y="605"/>
                  </a:lnTo>
                  <a:lnTo>
                    <a:pt x="161" y="600"/>
                  </a:lnTo>
                  <a:lnTo>
                    <a:pt x="161" y="600"/>
                  </a:lnTo>
                  <a:lnTo>
                    <a:pt x="161" y="595"/>
                  </a:lnTo>
                  <a:lnTo>
                    <a:pt x="161" y="591"/>
                  </a:lnTo>
                  <a:lnTo>
                    <a:pt x="158" y="586"/>
                  </a:lnTo>
                  <a:lnTo>
                    <a:pt x="151" y="579"/>
                  </a:lnTo>
                  <a:lnTo>
                    <a:pt x="149" y="579"/>
                  </a:lnTo>
                  <a:lnTo>
                    <a:pt x="149" y="579"/>
                  </a:lnTo>
                  <a:lnTo>
                    <a:pt x="144" y="579"/>
                  </a:lnTo>
                  <a:lnTo>
                    <a:pt x="137" y="572"/>
                  </a:lnTo>
                  <a:lnTo>
                    <a:pt x="135" y="572"/>
                  </a:lnTo>
                  <a:lnTo>
                    <a:pt x="128" y="567"/>
                  </a:lnTo>
                  <a:lnTo>
                    <a:pt x="125" y="567"/>
                  </a:lnTo>
                  <a:lnTo>
                    <a:pt x="120" y="569"/>
                  </a:lnTo>
                  <a:lnTo>
                    <a:pt x="116" y="569"/>
                  </a:lnTo>
                  <a:lnTo>
                    <a:pt x="116" y="567"/>
                  </a:lnTo>
                  <a:lnTo>
                    <a:pt x="111" y="562"/>
                  </a:lnTo>
                  <a:lnTo>
                    <a:pt x="111" y="558"/>
                  </a:lnTo>
                  <a:lnTo>
                    <a:pt x="111" y="558"/>
                  </a:lnTo>
                  <a:lnTo>
                    <a:pt x="111" y="555"/>
                  </a:lnTo>
                  <a:lnTo>
                    <a:pt x="111" y="553"/>
                  </a:lnTo>
                  <a:lnTo>
                    <a:pt x="109" y="553"/>
                  </a:lnTo>
                  <a:lnTo>
                    <a:pt x="104" y="551"/>
                  </a:lnTo>
                  <a:lnTo>
                    <a:pt x="102" y="551"/>
                  </a:lnTo>
                  <a:lnTo>
                    <a:pt x="99" y="551"/>
                  </a:lnTo>
                  <a:lnTo>
                    <a:pt x="94" y="548"/>
                  </a:lnTo>
                  <a:lnTo>
                    <a:pt x="94" y="548"/>
                  </a:lnTo>
                  <a:lnTo>
                    <a:pt x="92" y="548"/>
                  </a:lnTo>
                  <a:lnTo>
                    <a:pt x="90" y="553"/>
                  </a:lnTo>
                  <a:lnTo>
                    <a:pt x="85" y="553"/>
                  </a:lnTo>
                  <a:lnTo>
                    <a:pt x="80" y="553"/>
                  </a:lnTo>
                  <a:lnTo>
                    <a:pt x="73" y="553"/>
                  </a:lnTo>
                  <a:lnTo>
                    <a:pt x="71" y="551"/>
                  </a:lnTo>
                  <a:lnTo>
                    <a:pt x="68" y="551"/>
                  </a:lnTo>
                  <a:lnTo>
                    <a:pt x="66" y="548"/>
                  </a:lnTo>
                  <a:lnTo>
                    <a:pt x="66" y="548"/>
                  </a:lnTo>
                  <a:lnTo>
                    <a:pt x="64" y="548"/>
                  </a:lnTo>
                  <a:lnTo>
                    <a:pt x="61" y="546"/>
                  </a:lnTo>
                  <a:lnTo>
                    <a:pt x="57" y="543"/>
                  </a:lnTo>
                  <a:lnTo>
                    <a:pt x="54" y="543"/>
                  </a:lnTo>
                  <a:lnTo>
                    <a:pt x="50" y="541"/>
                  </a:lnTo>
                  <a:lnTo>
                    <a:pt x="47" y="541"/>
                  </a:lnTo>
                  <a:lnTo>
                    <a:pt x="35" y="541"/>
                  </a:lnTo>
                  <a:lnTo>
                    <a:pt x="33" y="543"/>
                  </a:lnTo>
                  <a:lnTo>
                    <a:pt x="28" y="543"/>
                  </a:lnTo>
                  <a:lnTo>
                    <a:pt x="26" y="543"/>
                  </a:lnTo>
                  <a:lnTo>
                    <a:pt x="24" y="548"/>
                  </a:lnTo>
                  <a:lnTo>
                    <a:pt x="24" y="551"/>
                  </a:lnTo>
                  <a:lnTo>
                    <a:pt x="24" y="553"/>
                  </a:lnTo>
                  <a:lnTo>
                    <a:pt x="24" y="555"/>
                  </a:lnTo>
                  <a:lnTo>
                    <a:pt x="21" y="560"/>
                  </a:lnTo>
                  <a:lnTo>
                    <a:pt x="19" y="562"/>
                  </a:lnTo>
                  <a:lnTo>
                    <a:pt x="17" y="562"/>
                  </a:lnTo>
                  <a:lnTo>
                    <a:pt x="14" y="562"/>
                  </a:lnTo>
                  <a:lnTo>
                    <a:pt x="14" y="560"/>
                  </a:lnTo>
                  <a:lnTo>
                    <a:pt x="12" y="560"/>
                  </a:lnTo>
                  <a:lnTo>
                    <a:pt x="9" y="558"/>
                  </a:lnTo>
                  <a:lnTo>
                    <a:pt x="7" y="560"/>
                  </a:lnTo>
                  <a:lnTo>
                    <a:pt x="7" y="560"/>
                  </a:lnTo>
                  <a:lnTo>
                    <a:pt x="5" y="562"/>
                  </a:lnTo>
                  <a:lnTo>
                    <a:pt x="5" y="565"/>
                  </a:lnTo>
                  <a:lnTo>
                    <a:pt x="2" y="562"/>
                  </a:lnTo>
                  <a:lnTo>
                    <a:pt x="0" y="565"/>
                  </a:lnTo>
                  <a:lnTo>
                    <a:pt x="0" y="562"/>
                  </a:lnTo>
                  <a:close/>
                  <a:moveTo>
                    <a:pt x="371" y="17"/>
                  </a:moveTo>
                  <a:lnTo>
                    <a:pt x="371" y="14"/>
                  </a:lnTo>
                  <a:lnTo>
                    <a:pt x="371" y="17"/>
                  </a:lnTo>
                  <a:close/>
                  <a:moveTo>
                    <a:pt x="437" y="50"/>
                  </a:moveTo>
                  <a:lnTo>
                    <a:pt x="437" y="50"/>
                  </a:lnTo>
                  <a:lnTo>
                    <a:pt x="437" y="47"/>
                  </a:lnTo>
                  <a:lnTo>
                    <a:pt x="435" y="50"/>
                  </a:lnTo>
                  <a:lnTo>
                    <a:pt x="435" y="47"/>
                  </a:lnTo>
                  <a:lnTo>
                    <a:pt x="435" y="50"/>
                  </a:lnTo>
                  <a:lnTo>
                    <a:pt x="437" y="47"/>
                  </a:lnTo>
                  <a:lnTo>
                    <a:pt x="437" y="50"/>
                  </a:lnTo>
                  <a:lnTo>
                    <a:pt x="437" y="50"/>
                  </a:lnTo>
                  <a:close/>
                  <a:moveTo>
                    <a:pt x="468" y="40"/>
                  </a:moveTo>
                  <a:lnTo>
                    <a:pt x="468" y="40"/>
                  </a:lnTo>
                  <a:lnTo>
                    <a:pt x="468" y="38"/>
                  </a:lnTo>
                  <a:lnTo>
                    <a:pt x="470" y="38"/>
                  </a:lnTo>
                  <a:lnTo>
                    <a:pt x="470" y="38"/>
                  </a:lnTo>
                  <a:lnTo>
                    <a:pt x="470" y="38"/>
                  </a:lnTo>
                  <a:lnTo>
                    <a:pt x="468" y="40"/>
                  </a:lnTo>
                  <a:lnTo>
                    <a:pt x="470" y="40"/>
                  </a:lnTo>
                  <a:lnTo>
                    <a:pt x="470" y="45"/>
                  </a:lnTo>
                  <a:lnTo>
                    <a:pt x="470" y="47"/>
                  </a:lnTo>
                  <a:lnTo>
                    <a:pt x="470" y="45"/>
                  </a:lnTo>
                  <a:lnTo>
                    <a:pt x="470" y="43"/>
                  </a:lnTo>
                  <a:lnTo>
                    <a:pt x="470" y="40"/>
                  </a:lnTo>
                  <a:lnTo>
                    <a:pt x="468" y="40"/>
                  </a:lnTo>
                  <a:close/>
                  <a:moveTo>
                    <a:pt x="470" y="40"/>
                  </a:moveTo>
                  <a:lnTo>
                    <a:pt x="468" y="40"/>
                  </a:lnTo>
                  <a:lnTo>
                    <a:pt x="468" y="40"/>
                  </a:lnTo>
                  <a:lnTo>
                    <a:pt x="470" y="40"/>
                  </a:lnTo>
                  <a:close/>
                  <a:moveTo>
                    <a:pt x="392" y="31"/>
                  </a:moveTo>
                  <a:lnTo>
                    <a:pt x="394" y="31"/>
                  </a:lnTo>
                  <a:lnTo>
                    <a:pt x="392" y="29"/>
                  </a:lnTo>
                  <a:lnTo>
                    <a:pt x="392" y="31"/>
                  </a:lnTo>
                  <a:close/>
                  <a:moveTo>
                    <a:pt x="394" y="31"/>
                  </a:moveTo>
                  <a:lnTo>
                    <a:pt x="392" y="31"/>
                  </a:lnTo>
                  <a:lnTo>
                    <a:pt x="392" y="33"/>
                  </a:lnTo>
                  <a:lnTo>
                    <a:pt x="392" y="33"/>
                  </a:lnTo>
                  <a:lnTo>
                    <a:pt x="392" y="36"/>
                  </a:lnTo>
                  <a:lnTo>
                    <a:pt x="392" y="36"/>
                  </a:lnTo>
                  <a:lnTo>
                    <a:pt x="392" y="33"/>
                  </a:lnTo>
                  <a:lnTo>
                    <a:pt x="394" y="31"/>
                  </a:lnTo>
                  <a:lnTo>
                    <a:pt x="394" y="31"/>
                  </a:lnTo>
                  <a:lnTo>
                    <a:pt x="394" y="31"/>
                  </a:lnTo>
                  <a:close/>
                  <a:moveTo>
                    <a:pt x="508" y="83"/>
                  </a:moveTo>
                  <a:lnTo>
                    <a:pt x="508" y="83"/>
                  </a:lnTo>
                  <a:lnTo>
                    <a:pt x="508" y="85"/>
                  </a:lnTo>
                  <a:lnTo>
                    <a:pt x="508" y="83"/>
                  </a:lnTo>
                  <a:lnTo>
                    <a:pt x="510" y="85"/>
                  </a:lnTo>
                  <a:lnTo>
                    <a:pt x="508" y="85"/>
                  </a:lnTo>
                  <a:lnTo>
                    <a:pt x="506" y="85"/>
                  </a:lnTo>
                  <a:lnTo>
                    <a:pt x="508" y="85"/>
                  </a:lnTo>
                  <a:lnTo>
                    <a:pt x="508" y="85"/>
                  </a:lnTo>
                  <a:lnTo>
                    <a:pt x="508" y="83"/>
                  </a:lnTo>
                  <a:close/>
                  <a:moveTo>
                    <a:pt x="506" y="73"/>
                  </a:moveTo>
                  <a:lnTo>
                    <a:pt x="506" y="73"/>
                  </a:lnTo>
                  <a:lnTo>
                    <a:pt x="506" y="71"/>
                  </a:lnTo>
                  <a:lnTo>
                    <a:pt x="506" y="73"/>
                  </a:lnTo>
                  <a:close/>
                  <a:moveTo>
                    <a:pt x="371" y="29"/>
                  </a:moveTo>
                  <a:lnTo>
                    <a:pt x="369" y="31"/>
                  </a:lnTo>
                  <a:lnTo>
                    <a:pt x="369" y="31"/>
                  </a:lnTo>
                  <a:lnTo>
                    <a:pt x="369" y="33"/>
                  </a:lnTo>
                  <a:lnTo>
                    <a:pt x="371" y="33"/>
                  </a:lnTo>
                  <a:lnTo>
                    <a:pt x="371" y="36"/>
                  </a:lnTo>
                  <a:lnTo>
                    <a:pt x="373" y="36"/>
                  </a:lnTo>
                  <a:lnTo>
                    <a:pt x="373" y="36"/>
                  </a:lnTo>
                  <a:lnTo>
                    <a:pt x="373" y="38"/>
                  </a:lnTo>
                  <a:lnTo>
                    <a:pt x="373" y="38"/>
                  </a:lnTo>
                  <a:lnTo>
                    <a:pt x="373" y="40"/>
                  </a:lnTo>
                  <a:lnTo>
                    <a:pt x="373" y="38"/>
                  </a:lnTo>
                  <a:lnTo>
                    <a:pt x="376" y="38"/>
                  </a:lnTo>
                  <a:lnTo>
                    <a:pt x="373" y="36"/>
                  </a:lnTo>
                  <a:lnTo>
                    <a:pt x="373" y="36"/>
                  </a:lnTo>
                  <a:lnTo>
                    <a:pt x="371" y="36"/>
                  </a:lnTo>
                  <a:lnTo>
                    <a:pt x="371" y="33"/>
                  </a:lnTo>
                  <a:lnTo>
                    <a:pt x="371" y="33"/>
                  </a:lnTo>
                  <a:lnTo>
                    <a:pt x="369" y="31"/>
                  </a:lnTo>
                  <a:lnTo>
                    <a:pt x="369" y="31"/>
                  </a:lnTo>
                  <a:lnTo>
                    <a:pt x="371" y="29"/>
                  </a:lnTo>
                  <a:lnTo>
                    <a:pt x="371" y="29"/>
                  </a:lnTo>
                  <a:close/>
                  <a:moveTo>
                    <a:pt x="543" y="142"/>
                  </a:moveTo>
                  <a:lnTo>
                    <a:pt x="543" y="142"/>
                  </a:lnTo>
                  <a:lnTo>
                    <a:pt x="543" y="142"/>
                  </a:lnTo>
                  <a:lnTo>
                    <a:pt x="546" y="142"/>
                  </a:lnTo>
                  <a:lnTo>
                    <a:pt x="546" y="142"/>
                  </a:lnTo>
                  <a:lnTo>
                    <a:pt x="546" y="142"/>
                  </a:lnTo>
                  <a:lnTo>
                    <a:pt x="543" y="142"/>
                  </a:lnTo>
                  <a:close/>
                  <a:moveTo>
                    <a:pt x="489" y="40"/>
                  </a:moveTo>
                  <a:lnTo>
                    <a:pt x="489" y="38"/>
                  </a:lnTo>
                  <a:lnTo>
                    <a:pt x="489" y="38"/>
                  </a:lnTo>
                  <a:lnTo>
                    <a:pt x="487" y="38"/>
                  </a:lnTo>
                  <a:lnTo>
                    <a:pt x="487" y="38"/>
                  </a:lnTo>
                  <a:lnTo>
                    <a:pt x="487" y="38"/>
                  </a:lnTo>
                  <a:lnTo>
                    <a:pt x="489" y="38"/>
                  </a:lnTo>
                  <a:lnTo>
                    <a:pt x="487" y="40"/>
                  </a:lnTo>
                  <a:lnTo>
                    <a:pt x="484" y="40"/>
                  </a:lnTo>
                  <a:lnTo>
                    <a:pt x="484" y="40"/>
                  </a:lnTo>
                  <a:lnTo>
                    <a:pt x="484" y="38"/>
                  </a:lnTo>
                  <a:lnTo>
                    <a:pt x="484" y="40"/>
                  </a:lnTo>
                  <a:lnTo>
                    <a:pt x="487" y="40"/>
                  </a:lnTo>
                  <a:lnTo>
                    <a:pt x="489" y="40"/>
                  </a:lnTo>
                  <a:lnTo>
                    <a:pt x="489" y="40"/>
                  </a:lnTo>
                  <a:lnTo>
                    <a:pt x="489" y="40"/>
                  </a:lnTo>
                  <a:lnTo>
                    <a:pt x="484" y="43"/>
                  </a:lnTo>
                  <a:lnTo>
                    <a:pt x="484" y="45"/>
                  </a:lnTo>
                  <a:lnTo>
                    <a:pt x="484" y="45"/>
                  </a:lnTo>
                  <a:lnTo>
                    <a:pt x="482" y="45"/>
                  </a:lnTo>
                  <a:lnTo>
                    <a:pt x="482" y="43"/>
                  </a:lnTo>
                  <a:lnTo>
                    <a:pt x="482" y="45"/>
                  </a:lnTo>
                  <a:lnTo>
                    <a:pt x="480" y="47"/>
                  </a:lnTo>
                  <a:lnTo>
                    <a:pt x="480" y="47"/>
                  </a:lnTo>
                  <a:lnTo>
                    <a:pt x="480" y="47"/>
                  </a:lnTo>
                  <a:lnTo>
                    <a:pt x="480" y="47"/>
                  </a:lnTo>
                  <a:lnTo>
                    <a:pt x="477" y="47"/>
                  </a:lnTo>
                  <a:lnTo>
                    <a:pt x="475" y="45"/>
                  </a:lnTo>
                  <a:lnTo>
                    <a:pt x="472" y="40"/>
                  </a:lnTo>
                  <a:lnTo>
                    <a:pt x="472" y="43"/>
                  </a:lnTo>
                  <a:lnTo>
                    <a:pt x="472" y="40"/>
                  </a:lnTo>
                  <a:lnTo>
                    <a:pt x="475" y="40"/>
                  </a:lnTo>
                  <a:lnTo>
                    <a:pt x="472" y="40"/>
                  </a:lnTo>
                  <a:lnTo>
                    <a:pt x="472" y="38"/>
                  </a:lnTo>
                  <a:lnTo>
                    <a:pt x="472" y="38"/>
                  </a:lnTo>
                  <a:lnTo>
                    <a:pt x="475" y="36"/>
                  </a:lnTo>
                  <a:lnTo>
                    <a:pt x="475" y="38"/>
                  </a:lnTo>
                  <a:lnTo>
                    <a:pt x="477" y="38"/>
                  </a:lnTo>
                  <a:lnTo>
                    <a:pt x="480" y="38"/>
                  </a:lnTo>
                  <a:lnTo>
                    <a:pt x="480" y="38"/>
                  </a:lnTo>
                  <a:lnTo>
                    <a:pt x="480" y="38"/>
                  </a:lnTo>
                  <a:lnTo>
                    <a:pt x="482" y="40"/>
                  </a:lnTo>
                  <a:lnTo>
                    <a:pt x="482" y="38"/>
                  </a:lnTo>
                  <a:lnTo>
                    <a:pt x="480" y="38"/>
                  </a:lnTo>
                  <a:lnTo>
                    <a:pt x="480" y="36"/>
                  </a:lnTo>
                  <a:lnTo>
                    <a:pt x="480" y="36"/>
                  </a:lnTo>
                  <a:lnTo>
                    <a:pt x="480" y="36"/>
                  </a:lnTo>
                  <a:lnTo>
                    <a:pt x="480" y="36"/>
                  </a:lnTo>
                  <a:lnTo>
                    <a:pt x="480" y="36"/>
                  </a:lnTo>
                  <a:lnTo>
                    <a:pt x="477" y="36"/>
                  </a:lnTo>
                  <a:lnTo>
                    <a:pt x="477" y="36"/>
                  </a:lnTo>
                  <a:lnTo>
                    <a:pt x="480" y="31"/>
                  </a:lnTo>
                  <a:lnTo>
                    <a:pt x="480" y="31"/>
                  </a:lnTo>
                  <a:lnTo>
                    <a:pt x="482" y="31"/>
                  </a:lnTo>
                  <a:lnTo>
                    <a:pt x="482" y="31"/>
                  </a:lnTo>
                  <a:lnTo>
                    <a:pt x="484" y="31"/>
                  </a:lnTo>
                  <a:lnTo>
                    <a:pt x="484" y="33"/>
                  </a:lnTo>
                  <a:lnTo>
                    <a:pt x="484" y="36"/>
                  </a:lnTo>
                  <a:lnTo>
                    <a:pt x="487" y="36"/>
                  </a:lnTo>
                  <a:lnTo>
                    <a:pt x="484" y="33"/>
                  </a:lnTo>
                  <a:lnTo>
                    <a:pt x="484" y="31"/>
                  </a:lnTo>
                  <a:lnTo>
                    <a:pt x="487" y="31"/>
                  </a:lnTo>
                  <a:lnTo>
                    <a:pt x="489" y="31"/>
                  </a:lnTo>
                  <a:lnTo>
                    <a:pt x="494" y="33"/>
                  </a:lnTo>
                  <a:lnTo>
                    <a:pt x="494" y="36"/>
                  </a:lnTo>
                  <a:lnTo>
                    <a:pt x="494" y="38"/>
                  </a:lnTo>
                  <a:lnTo>
                    <a:pt x="494" y="38"/>
                  </a:lnTo>
                  <a:lnTo>
                    <a:pt x="496" y="38"/>
                  </a:lnTo>
                  <a:lnTo>
                    <a:pt x="494" y="40"/>
                  </a:lnTo>
                  <a:lnTo>
                    <a:pt x="491" y="40"/>
                  </a:lnTo>
                  <a:lnTo>
                    <a:pt x="491" y="38"/>
                  </a:lnTo>
                  <a:lnTo>
                    <a:pt x="491" y="38"/>
                  </a:lnTo>
                  <a:lnTo>
                    <a:pt x="491" y="40"/>
                  </a:lnTo>
                  <a:lnTo>
                    <a:pt x="489" y="40"/>
                  </a:lnTo>
                  <a:close/>
                  <a:moveTo>
                    <a:pt x="503" y="69"/>
                  </a:moveTo>
                  <a:lnTo>
                    <a:pt x="503" y="69"/>
                  </a:lnTo>
                  <a:lnTo>
                    <a:pt x="503" y="69"/>
                  </a:lnTo>
                  <a:lnTo>
                    <a:pt x="503" y="69"/>
                  </a:lnTo>
                  <a:close/>
                  <a:moveTo>
                    <a:pt x="366" y="29"/>
                  </a:moveTo>
                  <a:lnTo>
                    <a:pt x="366" y="29"/>
                  </a:lnTo>
                  <a:lnTo>
                    <a:pt x="366" y="29"/>
                  </a:lnTo>
                  <a:lnTo>
                    <a:pt x="366" y="29"/>
                  </a:lnTo>
                  <a:lnTo>
                    <a:pt x="366" y="29"/>
                  </a:lnTo>
                  <a:close/>
                  <a:moveTo>
                    <a:pt x="524" y="97"/>
                  </a:moveTo>
                  <a:lnTo>
                    <a:pt x="524" y="97"/>
                  </a:lnTo>
                  <a:lnTo>
                    <a:pt x="524" y="97"/>
                  </a:lnTo>
                  <a:lnTo>
                    <a:pt x="524" y="95"/>
                  </a:lnTo>
                  <a:lnTo>
                    <a:pt x="524" y="97"/>
                  </a:lnTo>
                  <a:lnTo>
                    <a:pt x="524" y="97"/>
                  </a:lnTo>
                  <a:lnTo>
                    <a:pt x="524" y="97"/>
                  </a:lnTo>
                  <a:lnTo>
                    <a:pt x="524" y="97"/>
                  </a:lnTo>
                  <a:close/>
                  <a:moveTo>
                    <a:pt x="394" y="33"/>
                  </a:moveTo>
                  <a:lnTo>
                    <a:pt x="394" y="36"/>
                  </a:lnTo>
                  <a:lnTo>
                    <a:pt x="394" y="36"/>
                  </a:lnTo>
                  <a:lnTo>
                    <a:pt x="394" y="36"/>
                  </a:lnTo>
                  <a:lnTo>
                    <a:pt x="394" y="33"/>
                  </a:lnTo>
                  <a:close/>
                  <a:moveTo>
                    <a:pt x="404" y="31"/>
                  </a:moveTo>
                  <a:lnTo>
                    <a:pt x="404" y="29"/>
                  </a:lnTo>
                  <a:lnTo>
                    <a:pt x="404" y="29"/>
                  </a:lnTo>
                  <a:lnTo>
                    <a:pt x="404" y="29"/>
                  </a:lnTo>
                  <a:lnTo>
                    <a:pt x="404" y="29"/>
                  </a:lnTo>
                  <a:lnTo>
                    <a:pt x="404" y="31"/>
                  </a:lnTo>
                  <a:lnTo>
                    <a:pt x="404" y="31"/>
                  </a:lnTo>
                  <a:close/>
                  <a:moveTo>
                    <a:pt x="496" y="69"/>
                  </a:moveTo>
                  <a:lnTo>
                    <a:pt x="498" y="69"/>
                  </a:lnTo>
                  <a:lnTo>
                    <a:pt x="496" y="66"/>
                  </a:lnTo>
                  <a:lnTo>
                    <a:pt x="498" y="64"/>
                  </a:lnTo>
                  <a:lnTo>
                    <a:pt x="501" y="64"/>
                  </a:lnTo>
                  <a:lnTo>
                    <a:pt x="501" y="59"/>
                  </a:lnTo>
                  <a:lnTo>
                    <a:pt x="501" y="59"/>
                  </a:lnTo>
                  <a:lnTo>
                    <a:pt x="503" y="57"/>
                  </a:lnTo>
                  <a:lnTo>
                    <a:pt x="506" y="57"/>
                  </a:lnTo>
                  <a:lnTo>
                    <a:pt x="503" y="57"/>
                  </a:lnTo>
                  <a:lnTo>
                    <a:pt x="503" y="55"/>
                  </a:lnTo>
                  <a:lnTo>
                    <a:pt x="506" y="55"/>
                  </a:lnTo>
                  <a:lnTo>
                    <a:pt x="508" y="57"/>
                  </a:lnTo>
                  <a:lnTo>
                    <a:pt x="508" y="62"/>
                  </a:lnTo>
                  <a:lnTo>
                    <a:pt x="508" y="64"/>
                  </a:lnTo>
                  <a:lnTo>
                    <a:pt x="506" y="64"/>
                  </a:lnTo>
                  <a:lnTo>
                    <a:pt x="503" y="64"/>
                  </a:lnTo>
                  <a:lnTo>
                    <a:pt x="503" y="64"/>
                  </a:lnTo>
                  <a:lnTo>
                    <a:pt x="503" y="64"/>
                  </a:lnTo>
                  <a:lnTo>
                    <a:pt x="503" y="64"/>
                  </a:lnTo>
                  <a:lnTo>
                    <a:pt x="503" y="66"/>
                  </a:lnTo>
                  <a:lnTo>
                    <a:pt x="503" y="66"/>
                  </a:lnTo>
                  <a:lnTo>
                    <a:pt x="501" y="69"/>
                  </a:lnTo>
                  <a:lnTo>
                    <a:pt x="501" y="69"/>
                  </a:lnTo>
                  <a:lnTo>
                    <a:pt x="498" y="69"/>
                  </a:lnTo>
                  <a:lnTo>
                    <a:pt x="498" y="69"/>
                  </a:lnTo>
                  <a:lnTo>
                    <a:pt x="498" y="71"/>
                  </a:lnTo>
                  <a:lnTo>
                    <a:pt x="498" y="69"/>
                  </a:lnTo>
                  <a:lnTo>
                    <a:pt x="496" y="69"/>
                  </a:lnTo>
                  <a:close/>
                  <a:moveTo>
                    <a:pt x="600" y="180"/>
                  </a:moveTo>
                  <a:lnTo>
                    <a:pt x="600" y="177"/>
                  </a:lnTo>
                  <a:lnTo>
                    <a:pt x="600" y="177"/>
                  </a:lnTo>
                  <a:lnTo>
                    <a:pt x="602" y="177"/>
                  </a:lnTo>
                  <a:lnTo>
                    <a:pt x="602" y="177"/>
                  </a:lnTo>
                  <a:lnTo>
                    <a:pt x="600" y="177"/>
                  </a:lnTo>
                  <a:lnTo>
                    <a:pt x="600" y="180"/>
                  </a:lnTo>
                  <a:close/>
                  <a:moveTo>
                    <a:pt x="472" y="47"/>
                  </a:moveTo>
                  <a:lnTo>
                    <a:pt x="475" y="47"/>
                  </a:lnTo>
                  <a:lnTo>
                    <a:pt x="475" y="47"/>
                  </a:lnTo>
                  <a:lnTo>
                    <a:pt x="475" y="47"/>
                  </a:lnTo>
                  <a:lnTo>
                    <a:pt x="475" y="47"/>
                  </a:lnTo>
                  <a:lnTo>
                    <a:pt x="472" y="47"/>
                  </a:lnTo>
                  <a:close/>
                  <a:moveTo>
                    <a:pt x="413" y="45"/>
                  </a:moveTo>
                  <a:lnTo>
                    <a:pt x="413" y="45"/>
                  </a:lnTo>
                  <a:lnTo>
                    <a:pt x="413" y="43"/>
                  </a:lnTo>
                  <a:lnTo>
                    <a:pt x="413" y="45"/>
                  </a:lnTo>
                  <a:lnTo>
                    <a:pt x="413" y="45"/>
                  </a:lnTo>
                  <a:close/>
                  <a:moveTo>
                    <a:pt x="522" y="99"/>
                  </a:moveTo>
                  <a:lnTo>
                    <a:pt x="522" y="99"/>
                  </a:lnTo>
                  <a:lnTo>
                    <a:pt x="522" y="99"/>
                  </a:lnTo>
                  <a:lnTo>
                    <a:pt x="522" y="102"/>
                  </a:lnTo>
                  <a:lnTo>
                    <a:pt x="522" y="99"/>
                  </a:lnTo>
                  <a:close/>
                  <a:moveTo>
                    <a:pt x="543" y="130"/>
                  </a:moveTo>
                  <a:lnTo>
                    <a:pt x="546" y="128"/>
                  </a:lnTo>
                  <a:lnTo>
                    <a:pt x="546" y="128"/>
                  </a:lnTo>
                  <a:lnTo>
                    <a:pt x="546" y="130"/>
                  </a:lnTo>
                  <a:lnTo>
                    <a:pt x="543" y="130"/>
                  </a:lnTo>
                  <a:close/>
                  <a:moveTo>
                    <a:pt x="508" y="83"/>
                  </a:moveTo>
                  <a:lnTo>
                    <a:pt x="508" y="83"/>
                  </a:lnTo>
                  <a:lnTo>
                    <a:pt x="510" y="81"/>
                  </a:lnTo>
                  <a:lnTo>
                    <a:pt x="510" y="83"/>
                  </a:lnTo>
                  <a:lnTo>
                    <a:pt x="510" y="83"/>
                  </a:lnTo>
                  <a:lnTo>
                    <a:pt x="508" y="83"/>
                  </a:lnTo>
                  <a:close/>
                  <a:moveTo>
                    <a:pt x="423" y="47"/>
                  </a:moveTo>
                  <a:lnTo>
                    <a:pt x="423" y="47"/>
                  </a:lnTo>
                  <a:lnTo>
                    <a:pt x="425" y="47"/>
                  </a:lnTo>
                  <a:lnTo>
                    <a:pt x="425" y="47"/>
                  </a:lnTo>
                  <a:lnTo>
                    <a:pt x="423" y="50"/>
                  </a:lnTo>
                  <a:lnTo>
                    <a:pt x="423" y="47"/>
                  </a:lnTo>
                  <a:close/>
                  <a:moveTo>
                    <a:pt x="541" y="135"/>
                  </a:moveTo>
                  <a:lnTo>
                    <a:pt x="546" y="132"/>
                  </a:lnTo>
                  <a:lnTo>
                    <a:pt x="546" y="135"/>
                  </a:lnTo>
                  <a:lnTo>
                    <a:pt x="543" y="135"/>
                  </a:lnTo>
                  <a:lnTo>
                    <a:pt x="541" y="135"/>
                  </a:lnTo>
                  <a:close/>
                  <a:moveTo>
                    <a:pt x="541" y="140"/>
                  </a:moveTo>
                  <a:lnTo>
                    <a:pt x="541" y="140"/>
                  </a:lnTo>
                  <a:lnTo>
                    <a:pt x="541" y="140"/>
                  </a:lnTo>
                  <a:lnTo>
                    <a:pt x="541" y="140"/>
                  </a:lnTo>
                  <a:lnTo>
                    <a:pt x="541" y="137"/>
                  </a:lnTo>
                  <a:lnTo>
                    <a:pt x="543" y="140"/>
                  </a:lnTo>
                  <a:lnTo>
                    <a:pt x="543" y="140"/>
                  </a:lnTo>
                  <a:lnTo>
                    <a:pt x="543" y="140"/>
                  </a:lnTo>
                  <a:lnTo>
                    <a:pt x="543" y="142"/>
                  </a:lnTo>
                  <a:lnTo>
                    <a:pt x="543" y="142"/>
                  </a:lnTo>
                  <a:lnTo>
                    <a:pt x="541" y="142"/>
                  </a:lnTo>
                  <a:lnTo>
                    <a:pt x="543" y="142"/>
                  </a:lnTo>
                  <a:lnTo>
                    <a:pt x="541" y="140"/>
                  </a:lnTo>
                  <a:close/>
                  <a:moveTo>
                    <a:pt x="463" y="50"/>
                  </a:moveTo>
                  <a:lnTo>
                    <a:pt x="465" y="47"/>
                  </a:lnTo>
                  <a:lnTo>
                    <a:pt x="465" y="45"/>
                  </a:lnTo>
                  <a:lnTo>
                    <a:pt x="465" y="43"/>
                  </a:lnTo>
                  <a:lnTo>
                    <a:pt x="468" y="43"/>
                  </a:lnTo>
                  <a:lnTo>
                    <a:pt x="468" y="45"/>
                  </a:lnTo>
                  <a:lnTo>
                    <a:pt x="468" y="45"/>
                  </a:lnTo>
                  <a:lnTo>
                    <a:pt x="465" y="45"/>
                  </a:lnTo>
                  <a:lnTo>
                    <a:pt x="465" y="47"/>
                  </a:lnTo>
                  <a:lnTo>
                    <a:pt x="463" y="50"/>
                  </a:lnTo>
                  <a:lnTo>
                    <a:pt x="463" y="50"/>
                  </a:lnTo>
                  <a:lnTo>
                    <a:pt x="463" y="50"/>
                  </a:lnTo>
                  <a:close/>
                  <a:moveTo>
                    <a:pt x="373" y="21"/>
                  </a:moveTo>
                  <a:lnTo>
                    <a:pt x="376" y="19"/>
                  </a:lnTo>
                  <a:lnTo>
                    <a:pt x="376" y="19"/>
                  </a:lnTo>
                  <a:lnTo>
                    <a:pt x="376" y="19"/>
                  </a:lnTo>
                  <a:lnTo>
                    <a:pt x="376" y="21"/>
                  </a:lnTo>
                  <a:lnTo>
                    <a:pt x="376" y="21"/>
                  </a:lnTo>
                  <a:lnTo>
                    <a:pt x="376" y="24"/>
                  </a:lnTo>
                  <a:lnTo>
                    <a:pt x="373" y="21"/>
                  </a:lnTo>
                  <a:lnTo>
                    <a:pt x="373" y="21"/>
                  </a:lnTo>
                  <a:close/>
                  <a:moveTo>
                    <a:pt x="371" y="12"/>
                  </a:moveTo>
                  <a:lnTo>
                    <a:pt x="371" y="10"/>
                  </a:lnTo>
                  <a:lnTo>
                    <a:pt x="373" y="10"/>
                  </a:lnTo>
                  <a:lnTo>
                    <a:pt x="376" y="10"/>
                  </a:lnTo>
                  <a:lnTo>
                    <a:pt x="376" y="12"/>
                  </a:lnTo>
                  <a:lnTo>
                    <a:pt x="373" y="12"/>
                  </a:lnTo>
                  <a:lnTo>
                    <a:pt x="376" y="12"/>
                  </a:lnTo>
                  <a:lnTo>
                    <a:pt x="373" y="14"/>
                  </a:lnTo>
                  <a:lnTo>
                    <a:pt x="373" y="14"/>
                  </a:lnTo>
                  <a:lnTo>
                    <a:pt x="373" y="14"/>
                  </a:lnTo>
                  <a:lnTo>
                    <a:pt x="371" y="14"/>
                  </a:lnTo>
                  <a:lnTo>
                    <a:pt x="371" y="12"/>
                  </a:lnTo>
                  <a:close/>
                  <a:moveTo>
                    <a:pt x="524" y="104"/>
                  </a:moveTo>
                  <a:lnTo>
                    <a:pt x="524" y="104"/>
                  </a:lnTo>
                  <a:lnTo>
                    <a:pt x="527" y="104"/>
                  </a:lnTo>
                  <a:lnTo>
                    <a:pt x="524" y="104"/>
                  </a:lnTo>
                  <a:lnTo>
                    <a:pt x="524" y="104"/>
                  </a:lnTo>
                  <a:close/>
                  <a:moveTo>
                    <a:pt x="522" y="106"/>
                  </a:moveTo>
                  <a:lnTo>
                    <a:pt x="522" y="106"/>
                  </a:lnTo>
                  <a:lnTo>
                    <a:pt x="524" y="109"/>
                  </a:lnTo>
                  <a:lnTo>
                    <a:pt x="524" y="109"/>
                  </a:lnTo>
                  <a:lnTo>
                    <a:pt x="527" y="106"/>
                  </a:lnTo>
                  <a:lnTo>
                    <a:pt x="524" y="106"/>
                  </a:lnTo>
                  <a:lnTo>
                    <a:pt x="524" y="109"/>
                  </a:lnTo>
                  <a:lnTo>
                    <a:pt x="522" y="106"/>
                  </a:lnTo>
                  <a:lnTo>
                    <a:pt x="522" y="106"/>
                  </a:lnTo>
                  <a:close/>
                  <a:moveTo>
                    <a:pt x="506" y="71"/>
                  </a:moveTo>
                  <a:lnTo>
                    <a:pt x="506" y="66"/>
                  </a:lnTo>
                  <a:lnTo>
                    <a:pt x="508" y="66"/>
                  </a:lnTo>
                  <a:lnTo>
                    <a:pt x="508" y="64"/>
                  </a:lnTo>
                  <a:lnTo>
                    <a:pt x="508" y="64"/>
                  </a:lnTo>
                  <a:lnTo>
                    <a:pt x="510" y="66"/>
                  </a:lnTo>
                  <a:lnTo>
                    <a:pt x="510" y="66"/>
                  </a:lnTo>
                  <a:lnTo>
                    <a:pt x="510" y="69"/>
                  </a:lnTo>
                  <a:lnTo>
                    <a:pt x="506" y="71"/>
                  </a:lnTo>
                  <a:lnTo>
                    <a:pt x="506" y="71"/>
                  </a:lnTo>
                  <a:close/>
                  <a:moveTo>
                    <a:pt x="480" y="38"/>
                  </a:moveTo>
                  <a:lnTo>
                    <a:pt x="477" y="40"/>
                  </a:lnTo>
                  <a:lnTo>
                    <a:pt x="480" y="40"/>
                  </a:lnTo>
                  <a:lnTo>
                    <a:pt x="480" y="38"/>
                  </a:lnTo>
                  <a:close/>
                  <a:moveTo>
                    <a:pt x="477" y="40"/>
                  </a:moveTo>
                  <a:lnTo>
                    <a:pt x="475" y="40"/>
                  </a:lnTo>
                  <a:lnTo>
                    <a:pt x="475" y="40"/>
                  </a:lnTo>
                  <a:lnTo>
                    <a:pt x="477" y="40"/>
                  </a:lnTo>
                  <a:lnTo>
                    <a:pt x="480" y="45"/>
                  </a:lnTo>
                  <a:lnTo>
                    <a:pt x="480" y="45"/>
                  </a:lnTo>
                  <a:lnTo>
                    <a:pt x="480" y="45"/>
                  </a:lnTo>
                  <a:lnTo>
                    <a:pt x="477" y="40"/>
                  </a:lnTo>
                  <a:close/>
                  <a:moveTo>
                    <a:pt x="527" y="106"/>
                  </a:moveTo>
                  <a:lnTo>
                    <a:pt x="527" y="104"/>
                  </a:lnTo>
                  <a:lnTo>
                    <a:pt x="527" y="102"/>
                  </a:lnTo>
                  <a:lnTo>
                    <a:pt x="527" y="102"/>
                  </a:lnTo>
                  <a:lnTo>
                    <a:pt x="529" y="102"/>
                  </a:lnTo>
                  <a:lnTo>
                    <a:pt x="529" y="99"/>
                  </a:lnTo>
                  <a:lnTo>
                    <a:pt x="529" y="99"/>
                  </a:lnTo>
                  <a:lnTo>
                    <a:pt x="532" y="99"/>
                  </a:lnTo>
                  <a:lnTo>
                    <a:pt x="529" y="102"/>
                  </a:lnTo>
                  <a:lnTo>
                    <a:pt x="532" y="104"/>
                  </a:lnTo>
                  <a:lnTo>
                    <a:pt x="529" y="104"/>
                  </a:lnTo>
                  <a:lnTo>
                    <a:pt x="532" y="104"/>
                  </a:lnTo>
                  <a:lnTo>
                    <a:pt x="529" y="106"/>
                  </a:lnTo>
                  <a:lnTo>
                    <a:pt x="529" y="106"/>
                  </a:lnTo>
                  <a:lnTo>
                    <a:pt x="527" y="106"/>
                  </a:lnTo>
                  <a:lnTo>
                    <a:pt x="527" y="106"/>
                  </a:lnTo>
                  <a:close/>
                  <a:moveTo>
                    <a:pt x="409" y="26"/>
                  </a:moveTo>
                  <a:lnTo>
                    <a:pt x="406" y="26"/>
                  </a:lnTo>
                  <a:lnTo>
                    <a:pt x="406" y="24"/>
                  </a:lnTo>
                  <a:lnTo>
                    <a:pt x="404" y="24"/>
                  </a:lnTo>
                  <a:lnTo>
                    <a:pt x="402" y="26"/>
                  </a:lnTo>
                  <a:lnTo>
                    <a:pt x="402" y="26"/>
                  </a:lnTo>
                  <a:lnTo>
                    <a:pt x="399" y="26"/>
                  </a:lnTo>
                  <a:lnTo>
                    <a:pt x="402" y="24"/>
                  </a:lnTo>
                  <a:lnTo>
                    <a:pt x="404" y="21"/>
                  </a:lnTo>
                  <a:lnTo>
                    <a:pt x="404" y="21"/>
                  </a:lnTo>
                  <a:lnTo>
                    <a:pt x="404" y="21"/>
                  </a:lnTo>
                  <a:lnTo>
                    <a:pt x="404" y="21"/>
                  </a:lnTo>
                  <a:lnTo>
                    <a:pt x="404" y="19"/>
                  </a:lnTo>
                  <a:lnTo>
                    <a:pt x="404" y="19"/>
                  </a:lnTo>
                  <a:lnTo>
                    <a:pt x="406" y="19"/>
                  </a:lnTo>
                  <a:lnTo>
                    <a:pt x="406" y="21"/>
                  </a:lnTo>
                  <a:lnTo>
                    <a:pt x="409" y="21"/>
                  </a:lnTo>
                  <a:lnTo>
                    <a:pt x="409" y="24"/>
                  </a:lnTo>
                  <a:lnTo>
                    <a:pt x="409" y="24"/>
                  </a:lnTo>
                  <a:lnTo>
                    <a:pt x="409" y="24"/>
                  </a:lnTo>
                  <a:lnTo>
                    <a:pt x="409" y="26"/>
                  </a:lnTo>
                  <a:close/>
                  <a:moveTo>
                    <a:pt x="392" y="29"/>
                  </a:moveTo>
                  <a:lnTo>
                    <a:pt x="387" y="29"/>
                  </a:lnTo>
                  <a:lnTo>
                    <a:pt x="387" y="26"/>
                  </a:lnTo>
                  <a:lnTo>
                    <a:pt x="387" y="26"/>
                  </a:lnTo>
                  <a:lnTo>
                    <a:pt x="387" y="26"/>
                  </a:lnTo>
                  <a:lnTo>
                    <a:pt x="387" y="24"/>
                  </a:lnTo>
                  <a:lnTo>
                    <a:pt x="387" y="24"/>
                  </a:lnTo>
                  <a:lnTo>
                    <a:pt x="387" y="21"/>
                  </a:lnTo>
                  <a:lnTo>
                    <a:pt x="387" y="21"/>
                  </a:lnTo>
                  <a:lnTo>
                    <a:pt x="387" y="24"/>
                  </a:lnTo>
                  <a:lnTo>
                    <a:pt x="390" y="24"/>
                  </a:lnTo>
                  <a:lnTo>
                    <a:pt x="390" y="26"/>
                  </a:lnTo>
                  <a:lnTo>
                    <a:pt x="390" y="24"/>
                  </a:lnTo>
                  <a:lnTo>
                    <a:pt x="387" y="21"/>
                  </a:lnTo>
                  <a:lnTo>
                    <a:pt x="387" y="21"/>
                  </a:lnTo>
                  <a:lnTo>
                    <a:pt x="390" y="19"/>
                  </a:lnTo>
                  <a:lnTo>
                    <a:pt x="392" y="21"/>
                  </a:lnTo>
                  <a:lnTo>
                    <a:pt x="392" y="24"/>
                  </a:lnTo>
                  <a:lnTo>
                    <a:pt x="392" y="26"/>
                  </a:lnTo>
                  <a:lnTo>
                    <a:pt x="392" y="26"/>
                  </a:lnTo>
                  <a:lnTo>
                    <a:pt x="392" y="29"/>
                  </a:lnTo>
                  <a:close/>
                  <a:moveTo>
                    <a:pt x="503" y="64"/>
                  </a:moveTo>
                  <a:lnTo>
                    <a:pt x="503" y="62"/>
                  </a:lnTo>
                  <a:lnTo>
                    <a:pt x="506" y="59"/>
                  </a:lnTo>
                  <a:lnTo>
                    <a:pt x="506" y="57"/>
                  </a:lnTo>
                  <a:lnTo>
                    <a:pt x="501" y="64"/>
                  </a:lnTo>
                  <a:lnTo>
                    <a:pt x="498" y="64"/>
                  </a:lnTo>
                  <a:lnTo>
                    <a:pt x="503" y="64"/>
                  </a:lnTo>
                  <a:close/>
                  <a:moveTo>
                    <a:pt x="487" y="38"/>
                  </a:moveTo>
                  <a:lnTo>
                    <a:pt x="489" y="36"/>
                  </a:lnTo>
                  <a:lnTo>
                    <a:pt x="489" y="36"/>
                  </a:lnTo>
                  <a:lnTo>
                    <a:pt x="487" y="36"/>
                  </a:lnTo>
                  <a:lnTo>
                    <a:pt x="487" y="38"/>
                  </a:lnTo>
                  <a:close/>
                  <a:moveTo>
                    <a:pt x="487" y="36"/>
                  </a:moveTo>
                  <a:lnTo>
                    <a:pt x="487" y="36"/>
                  </a:lnTo>
                  <a:lnTo>
                    <a:pt x="487" y="36"/>
                  </a:lnTo>
                  <a:lnTo>
                    <a:pt x="487" y="36"/>
                  </a:lnTo>
                  <a:close/>
                  <a:moveTo>
                    <a:pt x="487" y="36"/>
                  </a:moveTo>
                  <a:lnTo>
                    <a:pt x="487" y="36"/>
                  </a:lnTo>
                  <a:lnTo>
                    <a:pt x="487" y="36"/>
                  </a:lnTo>
                  <a:lnTo>
                    <a:pt x="487" y="36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 cap="flat">
              <a:solidFill>
                <a:schemeClr val="bg2">
                  <a:lumMod val="7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>
                <a:solidFill>
                  <a:srgbClr val="000000"/>
                </a:solidFill>
              </a:endParaRPr>
            </a:p>
          </p:txBody>
        </p:sp>
        <p:sp>
          <p:nvSpPr>
            <p:cNvPr id="95" name="Freeform 26"/>
            <p:cNvSpPr>
              <a:spLocks/>
            </p:cNvSpPr>
            <p:nvPr/>
          </p:nvSpPr>
          <p:spPr bwMode="gray">
            <a:xfrm>
              <a:off x="3796202" y="3531820"/>
              <a:ext cx="406447" cy="260864"/>
            </a:xfrm>
            <a:custGeom>
              <a:avLst/>
              <a:gdLst/>
              <a:ahLst/>
              <a:cxnLst>
                <a:cxn ang="0">
                  <a:pos x="17" y="102"/>
                </a:cxn>
                <a:cxn ang="0">
                  <a:pos x="14" y="83"/>
                </a:cxn>
                <a:cxn ang="0">
                  <a:pos x="26" y="54"/>
                </a:cxn>
                <a:cxn ang="0">
                  <a:pos x="24" y="45"/>
                </a:cxn>
                <a:cxn ang="0">
                  <a:pos x="40" y="50"/>
                </a:cxn>
                <a:cxn ang="0">
                  <a:pos x="64" y="59"/>
                </a:cxn>
                <a:cxn ang="0">
                  <a:pos x="90" y="54"/>
                </a:cxn>
                <a:cxn ang="0">
                  <a:pos x="106" y="50"/>
                </a:cxn>
                <a:cxn ang="0">
                  <a:pos x="128" y="36"/>
                </a:cxn>
                <a:cxn ang="0">
                  <a:pos x="149" y="19"/>
                </a:cxn>
                <a:cxn ang="0">
                  <a:pos x="180" y="7"/>
                </a:cxn>
                <a:cxn ang="0">
                  <a:pos x="201" y="17"/>
                </a:cxn>
                <a:cxn ang="0">
                  <a:pos x="177" y="38"/>
                </a:cxn>
                <a:cxn ang="0">
                  <a:pos x="163" y="69"/>
                </a:cxn>
                <a:cxn ang="0">
                  <a:pos x="189" y="95"/>
                </a:cxn>
                <a:cxn ang="0">
                  <a:pos x="227" y="95"/>
                </a:cxn>
                <a:cxn ang="0">
                  <a:pos x="260" y="125"/>
                </a:cxn>
                <a:cxn ang="0">
                  <a:pos x="286" y="95"/>
                </a:cxn>
                <a:cxn ang="0">
                  <a:pos x="293" y="69"/>
                </a:cxn>
                <a:cxn ang="0">
                  <a:pos x="307" y="36"/>
                </a:cxn>
                <a:cxn ang="0">
                  <a:pos x="336" y="52"/>
                </a:cxn>
                <a:cxn ang="0">
                  <a:pos x="369" y="59"/>
                </a:cxn>
                <a:cxn ang="0">
                  <a:pos x="406" y="59"/>
                </a:cxn>
                <a:cxn ang="0">
                  <a:pos x="423" y="59"/>
                </a:cxn>
                <a:cxn ang="0">
                  <a:pos x="458" y="69"/>
                </a:cxn>
                <a:cxn ang="0">
                  <a:pos x="484" y="85"/>
                </a:cxn>
                <a:cxn ang="0">
                  <a:pos x="494" y="114"/>
                </a:cxn>
                <a:cxn ang="0">
                  <a:pos x="496" y="130"/>
                </a:cxn>
                <a:cxn ang="0">
                  <a:pos x="501" y="144"/>
                </a:cxn>
                <a:cxn ang="0">
                  <a:pos x="503" y="189"/>
                </a:cxn>
                <a:cxn ang="0">
                  <a:pos x="482" y="199"/>
                </a:cxn>
                <a:cxn ang="0">
                  <a:pos x="456" y="177"/>
                </a:cxn>
                <a:cxn ang="0">
                  <a:pos x="430" y="184"/>
                </a:cxn>
                <a:cxn ang="0">
                  <a:pos x="409" y="203"/>
                </a:cxn>
                <a:cxn ang="0">
                  <a:pos x="395" y="220"/>
                </a:cxn>
                <a:cxn ang="0">
                  <a:pos x="371" y="225"/>
                </a:cxn>
                <a:cxn ang="0">
                  <a:pos x="343" y="229"/>
                </a:cxn>
                <a:cxn ang="0">
                  <a:pos x="312" y="234"/>
                </a:cxn>
                <a:cxn ang="0">
                  <a:pos x="288" y="248"/>
                </a:cxn>
                <a:cxn ang="0">
                  <a:pos x="267" y="269"/>
                </a:cxn>
                <a:cxn ang="0">
                  <a:pos x="255" y="284"/>
                </a:cxn>
                <a:cxn ang="0">
                  <a:pos x="218" y="293"/>
                </a:cxn>
                <a:cxn ang="0">
                  <a:pos x="203" y="265"/>
                </a:cxn>
                <a:cxn ang="0">
                  <a:pos x="189" y="255"/>
                </a:cxn>
                <a:cxn ang="0">
                  <a:pos x="184" y="246"/>
                </a:cxn>
                <a:cxn ang="0">
                  <a:pos x="203" y="232"/>
                </a:cxn>
                <a:cxn ang="0">
                  <a:pos x="201" y="206"/>
                </a:cxn>
                <a:cxn ang="0">
                  <a:pos x="222" y="187"/>
                </a:cxn>
                <a:cxn ang="0">
                  <a:pos x="203" y="170"/>
                </a:cxn>
                <a:cxn ang="0">
                  <a:pos x="170" y="175"/>
                </a:cxn>
                <a:cxn ang="0">
                  <a:pos x="151" y="191"/>
                </a:cxn>
                <a:cxn ang="0">
                  <a:pos x="128" y="208"/>
                </a:cxn>
                <a:cxn ang="0">
                  <a:pos x="111" y="217"/>
                </a:cxn>
                <a:cxn ang="0">
                  <a:pos x="95" y="227"/>
                </a:cxn>
                <a:cxn ang="0">
                  <a:pos x="71" y="234"/>
                </a:cxn>
                <a:cxn ang="0">
                  <a:pos x="57" y="222"/>
                </a:cxn>
                <a:cxn ang="0">
                  <a:pos x="38" y="222"/>
                </a:cxn>
                <a:cxn ang="0">
                  <a:pos x="14" y="217"/>
                </a:cxn>
                <a:cxn ang="0">
                  <a:pos x="14" y="199"/>
                </a:cxn>
                <a:cxn ang="0">
                  <a:pos x="24" y="180"/>
                </a:cxn>
                <a:cxn ang="0">
                  <a:pos x="19" y="156"/>
                </a:cxn>
                <a:cxn ang="0">
                  <a:pos x="12" y="137"/>
                </a:cxn>
                <a:cxn ang="0">
                  <a:pos x="3" y="121"/>
                </a:cxn>
              </a:cxnLst>
              <a:rect l="0" t="0" r="r" b="b"/>
              <a:pathLst>
                <a:path w="503" h="298">
                  <a:moveTo>
                    <a:pt x="0" y="116"/>
                  </a:moveTo>
                  <a:lnTo>
                    <a:pt x="0" y="114"/>
                  </a:lnTo>
                  <a:lnTo>
                    <a:pt x="5" y="114"/>
                  </a:lnTo>
                  <a:lnTo>
                    <a:pt x="5" y="114"/>
                  </a:lnTo>
                  <a:lnTo>
                    <a:pt x="5" y="114"/>
                  </a:lnTo>
                  <a:lnTo>
                    <a:pt x="7" y="114"/>
                  </a:lnTo>
                  <a:lnTo>
                    <a:pt x="7" y="111"/>
                  </a:lnTo>
                  <a:lnTo>
                    <a:pt x="10" y="111"/>
                  </a:lnTo>
                  <a:lnTo>
                    <a:pt x="10" y="111"/>
                  </a:lnTo>
                  <a:lnTo>
                    <a:pt x="12" y="109"/>
                  </a:lnTo>
                  <a:lnTo>
                    <a:pt x="12" y="109"/>
                  </a:lnTo>
                  <a:lnTo>
                    <a:pt x="12" y="109"/>
                  </a:lnTo>
                  <a:lnTo>
                    <a:pt x="12" y="106"/>
                  </a:lnTo>
                  <a:lnTo>
                    <a:pt x="12" y="106"/>
                  </a:lnTo>
                  <a:lnTo>
                    <a:pt x="12" y="104"/>
                  </a:lnTo>
                  <a:lnTo>
                    <a:pt x="14" y="104"/>
                  </a:lnTo>
                  <a:lnTo>
                    <a:pt x="14" y="102"/>
                  </a:lnTo>
                  <a:lnTo>
                    <a:pt x="17" y="102"/>
                  </a:lnTo>
                  <a:lnTo>
                    <a:pt x="17" y="102"/>
                  </a:lnTo>
                  <a:lnTo>
                    <a:pt x="14" y="99"/>
                  </a:lnTo>
                  <a:lnTo>
                    <a:pt x="17" y="99"/>
                  </a:lnTo>
                  <a:lnTo>
                    <a:pt x="19" y="102"/>
                  </a:lnTo>
                  <a:lnTo>
                    <a:pt x="19" y="99"/>
                  </a:lnTo>
                  <a:lnTo>
                    <a:pt x="17" y="99"/>
                  </a:lnTo>
                  <a:lnTo>
                    <a:pt x="17" y="97"/>
                  </a:lnTo>
                  <a:lnTo>
                    <a:pt x="14" y="97"/>
                  </a:lnTo>
                  <a:lnTo>
                    <a:pt x="14" y="95"/>
                  </a:lnTo>
                  <a:lnTo>
                    <a:pt x="14" y="95"/>
                  </a:lnTo>
                  <a:lnTo>
                    <a:pt x="14" y="95"/>
                  </a:lnTo>
                  <a:lnTo>
                    <a:pt x="14" y="92"/>
                  </a:lnTo>
                  <a:lnTo>
                    <a:pt x="12" y="92"/>
                  </a:lnTo>
                  <a:lnTo>
                    <a:pt x="12" y="88"/>
                  </a:lnTo>
                  <a:lnTo>
                    <a:pt x="12" y="88"/>
                  </a:lnTo>
                  <a:lnTo>
                    <a:pt x="12" y="85"/>
                  </a:lnTo>
                  <a:lnTo>
                    <a:pt x="14" y="85"/>
                  </a:lnTo>
                  <a:lnTo>
                    <a:pt x="12" y="85"/>
                  </a:lnTo>
                  <a:lnTo>
                    <a:pt x="14" y="85"/>
                  </a:lnTo>
                  <a:lnTo>
                    <a:pt x="14" y="83"/>
                  </a:lnTo>
                  <a:lnTo>
                    <a:pt x="14" y="83"/>
                  </a:lnTo>
                  <a:lnTo>
                    <a:pt x="14" y="80"/>
                  </a:lnTo>
                  <a:lnTo>
                    <a:pt x="14" y="78"/>
                  </a:lnTo>
                  <a:lnTo>
                    <a:pt x="14" y="78"/>
                  </a:lnTo>
                  <a:lnTo>
                    <a:pt x="14" y="78"/>
                  </a:lnTo>
                  <a:lnTo>
                    <a:pt x="17" y="76"/>
                  </a:lnTo>
                  <a:lnTo>
                    <a:pt x="17" y="73"/>
                  </a:lnTo>
                  <a:lnTo>
                    <a:pt x="14" y="73"/>
                  </a:lnTo>
                  <a:lnTo>
                    <a:pt x="17" y="71"/>
                  </a:lnTo>
                  <a:lnTo>
                    <a:pt x="17" y="71"/>
                  </a:lnTo>
                  <a:lnTo>
                    <a:pt x="19" y="69"/>
                  </a:lnTo>
                  <a:lnTo>
                    <a:pt x="19" y="69"/>
                  </a:lnTo>
                  <a:lnTo>
                    <a:pt x="19" y="66"/>
                  </a:lnTo>
                  <a:lnTo>
                    <a:pt x="19" y="66"/>
                  </a:lnTo>
                  <a:lnTo>
                    <a:pt x="19" y="64"/>
                  </a:lnTo>
                  <a:lnTo>
                    <a:pt x="21" y="62"/>
                  </a:lnTo>
                  <a:lnTo>
                    <a:pt x="24" y="59"/>
                  </a:lnTo>
                  <a:lnTo>
                    <a:pt x="24" y="57"/>
                  </a:lnTo>
                  <a:lnTo>
                    <a:pt x="26" y="54"/>
                  </a:lnTo>
                  <a:lnTo>
                    <a:pt x="26" y="54"/>
                  </a:lnTo>
                  <a:lnTo>
                    <a:pt x="26" y="54"/>
                  </a:lnTo>
                  <a:lnTo>
                    <a:pt x="31" y="50"/>
                  </a:lnTo>
                  <a:lnTo>
                    <a:pt x="31" y="50"/>
                  </a:lnTo>
                  <a:lnTo>
                    <a:pt x="31" y="47"/>
                  </a:lnTo>
                  <a:lnTo>
                    <a:pt x="29" y="50"/>
                  </a:lnTo>
                  <a:lnTo>
                    <a:pt x="29" y="50"/>
                  </a:lnTo>
                  <a:lnTo>
                    <a:pt x="24" y="50"/>
                  </a:lnTo>
                  <a:lnTo>
                    <a:pt x="24" y="50"/>
                  </a:lnTo>
                  <a:lnTo>
                    <a:pt x="24" y="47"/>
                  </a:lnTo>
                  <a:lnTo>
                    <a:pt x="21" y="47"/>
                  </a:lnTo>
                  <a:lnTo>
                    <a:pt x="21" y="47"/>
                  </a:lnTo>
                  <a:lnTo>
                    <a:pt x="21" y="47"/>
                  </a:lnTo>
                  <a:lnTo>
                    <a:pt x="21" y="47"/>
                  </a:lnTo>
                  <a:lnTo>
                    <a:pt x="21" y="47"/>
                  </a:lnTo>
                  <a:lnTo>
                    <a:pt x="21" y="45"/>
                  </a:lnTo>
                  <a:lnTo>
                    <a:pt x="24" y="45"/>
                  </a:lnTo>
                  <a:lnTo>
                    <a:pt x="24" y="45"/>
                  </a:lnTo>
                  <a:lnTo>
                    <a:pt x="24" y="45"/>
                  </a:lnTo>
                  <a:lnTo>
                    <a:pt x="26" y="43"/>
                  </a:lnTo>
                  <a:lnTo>
                    <a:pt x="29" y="43"/>
                  </a:lnTo>
                  <a:lnTo>
                    <a:pt x="29" y="43"/>
                  </a:lnTo>
                  <a:lnTo>
                    <a:pt x="29" y="40"/>
                  </a:lnTo>
                  <a:lnTo>
                    <a:pt x="29" y="40"/>
                  </a:lnTo>
                  <a:lnTo>
                    <a:pt x="31" y="43"/>
                  </a:lnTo>
                  <a:lnTo>
                    <a:pt x="31" y="43"/>
                  </a:lnTo>
                  <a:lnTo>
                    <a:pt x="33" y="43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8" y="40"/>
                  </a:lnTo>
                  <a:lnTo>
                    <a:pt x="38" y="40"/>
                  </a:lnTo>
                  <a:lnTo>
                    <a:pt x="38" y="43"/>
                  </a:lnTo>
                  <a:lnTo>
                    <a:pt x="36" y="45"/>
                  </a:lnTo>
                  <a:lnTo>
                    <a:pt x="36" y="47"/>
                  </a:lnTo>
                  <a:lnTo>
                    <a:pt x="36" y="50"/>
                  </a:lnTo>
                  <a:lnTo>
                    <a:pt x="38" y="47"/>
                  </a:lnTo>
                  <a:lnTo>
                    <a:pt x="40" y="47"/>
                  </a:lnTo>
                  <a:lnTo>
                    <a:pt x="40" y="50"/>
                  </a:lnTo>
                  <a:lnTo>
                    <a:pt x="43" y="50"/>
                  </a:lnTo>
                  <a:lnTo>
                    <a:pt x="45" y="50"/>
                  </a:lnTo>
                  <a:lnTo>
                    <a:pt x="47" y="50"/>
                  </a:lnTo>
                  <a:lnTo>
                    <a:pt x="47" y="50"/>
                  </a:lnTo>
                  <a:lnTo>
                    <a:pt x="47" y="52"/>
                  </a:lnTo>
                  <a:lnTo>
                    <a:pt x="50" y="54"/>
                  </a:lnTo>
                  <a:lnTo>
                    <a:pt x="50" y="54"/>
                  </a:lnTo>
                  <a:lnTo>
                    <a:pt x="50" y="57"/>
                  </a:lnTo>
                  <a:lnTo>
                    <a:pt x="50" y="57"/>
                  </a:lnTo>
                  <a:lnTo>
                    <a:pt x="52" y="57"/>
                  </a:lnTo>
                  <a:lnTo>
                    <a:pt x="52" y="57"/>
                  </a:lnTo>
                  <a:lnTo>
                    <a:pt x="55" y="57"/>
                  </a:lnTo>
                  <a:lnTo>
                    <a:pt x="55" y="57"/>
                  </a:lnTo>
                  <a:lnTo>
                    <a:pt x="55" y="57"/>
                  </a:lnTo>
                  <a:lnTo>
                    <a:pt x="57" y="59"/>
                  </a:lnTo>
                  <a:lnTo>
                    <a:pt x="57" y="59"/>
                  </a:lnTo>
                  <a:lnTo>
                    <a:pt x="59" y="59"/>
                  </a:lnTo>
                  <a:lnTo>
                    <a:pt x="59" y="64"/>
                  </a:lnTo>
                  <a:lnTo>
                    <a:pt x="64" y="59"/>
                  </a:lnTo>
                  <a:lnTo>
                    <a:pt x="66" y="59"/>
                  </a:lnTo>
                  <a:lnTo>
                    <a:pt x="66" y="59"/>
                  </a:lnTo>
                  <a:lnTo>
                    <a:pt x="69" y="59"/>
                  </a:lnTo>
                  <a:lnTo>
                    <a:pt x="71" y="59"/>
                  </a:lnTo>
                  <a:lnTo>
                    <a:pt x="73" y="62"/>
                  </a:lnTo>
                  <a:lnTo>
                    <a:pt x="76" y="62"/>
                  </a:lnTo>
                  <a:lnTo>
                    <a:pt x="78" y="62"/>
                  </a:lnTo>
                  <a:lnTo>
                    <a:pt x="80" y="64"/>
                  </a:lnTo>
                  <a:lnTo>
                    <a:pt x="83" y="64"/>
                  </a:lnTo>
                  <a:lnTo>
                    <a:pt x="83" y="64"/>
                  </a:lnTo>
                  <a:lnTo>
                    <a:pt x="85" y="64"/>
                  </a:lnTo>
                  <a:lnTo>
                    <a:pt x="85" y="62"/>
                  </a:lnTo>
                  <a:lnTo>
                    <a:pt x="88" y="59"/>
                  </a:lnTo>
                  <a:lnTo>
                    <a:pt x="88" y="57"/>
                  </a:lnTo>
                  <a:lnTo>
                    <a:pt x="88" y="57"/>
                  </a:lnTo>
                  <a:lnTo>
                    <a:pt x="90" y="57"/>
                  </a:lnTo>
                  <a:lnTo>
                    <a:pt x="90" y="57"/>
                  </a:lnTo>
                  <a:lnTo>
                    <a:pt x="90" y="57"/>
                  </a:lnTo>
                  <a:lnTo>
                    <a:pt x="90" y="54"/>
                  </a:lnTo>
                  <a:lnTo>
                    <a:pt x="92" y="54"/>
                  </a:lnTo>
                  <a:lnTo>
                    <a:pt x="92" y="57"/>
                  </a:lnTo>
                  <a:lnTo>
                    <a:pt x="92" y="57"/>
                  </a:lnTo>
                  <a:lnTo>
                    <a:pt x="92" y="59"/>
                  </a:lnTo>
                  <a:lnTo>
                    <a:pt x="92" y="59"/>
                  </a:lnTo>
                  <a:lnTo>
                    <a:pt x="95" y="59"/>
                  </a:lnTo>
                  <a:lnTo>
                    <a:pt x="95" y="57"/>
                  </a:lnTo>
                  <a:lnTo>
                    <a:pt x="95" y="57"/>
                  </a:lnTo>
                  <a:lnTo>
                    <a:pt x="95" y="54"/>
                  </a:lnTo>
                  <a:lnTo>
                    <a:pt x="97" y="54"/>
                  </a:lnTo>
                  <a:lnTo>
                    <a:pt x="95" y="52"/>
                  </a:lnTo>
                  <a:lnTo>
                    <a:pt x="99" y="52"/>
                  </a:lnTo>
                  <a:lnTo>
                    <a:pt x="102" y="52"/>
                  </a:lnTo>
                  <a:lnTo>
                    <a:pt x="102" y="50"/>
                  </a:lnTo>
                  <a:lnTo>
                    <a:pt x="102" y="50"/>
                  </a:lnTo>
                  <a:lnTo>
                    <a:pt x="102" y="50"/>
                  </a:lnTo>
                  <a:lnTo>
                    <a:pt x="104" y="52"/>
                  </a:lnTo>
                  <a:lnTo>
                    <a:pt x="106" y="52"/>
                  </a:lnTo>
                  <a:lnTo>
                    <a:pt x="106" y="50"/>
                  </a:lnTo>
                  <a:lnTo>
                    <a:pt x="109" y="50"/>
                  </a:lnTo>
                  <a:lnTo>
                    <a:pt x="111" y="50"/>
                  </a:lnTo>
                  <a:lnTo>
                    <a:pt x="111" y="47"/>
                  </a:lnTo>
                  <a:lnTo>
                    <a:pt x="111" y="47"/>
                  </a:lnTo>
                  <a:lnTo>
                    <a:pt x="111" y="45"/>
                  </a:lnTo>
                  <a:lnTo>
                    <a:pt x="114" y="45"/>
                  </a:lnTo>
                  <a:lnTo>
                    <a:pt x="116" y="45"/>
                  </a:lnTo>
                  <a:lnTo>
                    <a:pt x="116" y="45"/>
                  </a:lnTo>
                  <a:lnTo>
                    <a:pt x="116" y="43"/>
                  </a:lnTo>
                  <a:lnTo>
                    <a:pt x="118" y="40"/>
                  </a:lnTo>
                  <a:lnTo>
                    <a:pt x="116" y="40"/>
                  </a:lnTo>
                  <a:lnTo>
                    <a:pt x="118" y="38"/>
                  </a:lnTo>
                  <a:lnTo>
                    <a:pt x="121" y="38"/>
                  </a:lnTo>
                  <a:lnTo>
                    <a:pt x="121" y="38"/>
                  </a:lnTo>
                  <a:lnTo>
                    <a:pt x="121" y="38"/>
                  </a:lnTo>
                  <a:lnTo>
                    <a:pt x="121" y="36"/>
                  </a:lnTo>
                  <a:lnTo>
                    <a:pt x="123" y="36"/>
                  </a:lnTo>
                  <a:lnTo>
                    <a:pt x="125" y="36"/>
                  </a:lnTo>
                  <a:lnTo>
                    <a:pt x="128" y="36"/>
                  </a:lnTo>
                  <a:lnTo>
                    <a:pt x="128" y="36"/>
                  </a:lnTo>
                  <a:lnTo>
                    <a:pt x="128" y="33"/>
                  </a:lnTo>
                  <a:lnTo>
                    <a:pt x="128" y="31"/>
                  </a:lnTo>
                  <a:lnTo>
                    <a:pt x="128" y="31"/>
                  </a:lnTo>
                  <a:lnTo>
                    <a:pt x="125" y="28"/>
                  </a:lnTo>
                  <a:lnTo>
                    <a:pt x="128" y="28"/>
                  </a:lnTo>
                  <a:lnTo>
                    <a:pt x="125" y="26"/>
                  </a:lnTo>
                  <a:lnTo>
                    <a:pt x="128" y="26"/>
                  </a:lnTo>
                  <a:lnTo>
                    <a:pt x="128" y="26"/>
                  </a:lnTo>
                  <a:lnTo>
                    <a:pt x="128" y="24"/>
                  </a:lnTo>
                  <a:lnTo>
                    <a:pt x="130" y="21"/>
                  </a:lnTo>
                  <a:lnTo>
                    <a:pt x="132" y="19"/>
                  </a:lnTo>
                  <a:lnTo>
                    <a:pt x="135" y="19"/>
                  </a:lnTo>
                  <a:lnTo>
                    <a:pt x="135" y="21"/>
                  </a:lnTo>
                  <a:lnTo>
                    <a:pt x="137" y="21"/>
                  </a:lnTo>
                  <a:lnTo>
                    <a:pt x="142" y="21"/>
                  </a:lnTo>
                  <a:lnTo>
                    <a:pt x="142" y="19"/>
                  </a:lnTo>
                  <a:lnTo>
                    <a:pt x="147" y="19"/>
                  </a:lnTo>
                  <a:lnTo>
                    <a:pt x="149" y="19"/>
                  </a:lnTo>
                  <a:lnTo>
                    <a:pt x="149" y="19"/>
                  </a:lnTo>
                  <a:lnTo>
                    <a:pt x="151" y="17"/>
                  </a:lnTo>
                  <a:lnTo>
                    <a:pt x="154" y="19"/>
                  </a:lnTo>
                  <a:lnTo>
                    <a:pt x="156" y="19"/>
                  </a:lnTo>
                  <a:lnTo>
                    <a:pt x="156" y="17"/>
                  </a:lnTo>
                  <a:lnTo>
                    <a:pt x="158" y="17"/>
                  </a:lnTo>
                  <a:lnTo>
                    <a:pt x="161" y="17"/>
                  </a:lnTo>
                  <a:lnTo>
                    <a:pt x="161" y="17"/>
                  </a:lnTo>
                  <a:lnTo>
                    <a:pt x="161" y="17"/>
                  </a:lnTo>
                  <a:lnTo>
                    <a:pt x="163" y="17"/>
                  </a:lnTo>
                  <a:lnTo>
                    <a:pt x="166" y="17"/>
                  </a:lnTo>
                  <a:lnTo>
                    <a:pt x="166" y="12"/>
                  </a:lnTo>
                  <a:lnTo>
                    <a:pt x="168" y="12"/>
                  </a:lnTo>
                  <a:lnTo>
                    <a:pt x="170" y="12"/>
                  </a:lnTo>
                  <a:lnTo>
                    <a:pt x="173" y="12"/>
                  </a:lnTo>
                  <a:lnTo>
                    <a:pt x="175" y="12"/>
                  </a:lnTo>
                  <a:lnTo>
                    <a:pt x="175" y="7"/>
                  </a:lnTo>
                  <a:lnTo>
                    <a:pt x="177" y="7"/>
                  </a:lnTo>
                  <a:lnTo>
                    <a:pt x="180" y="7"/>
                  </a:lnTo>
                  <a:lnTo>
                    <a:pt x="182" y="5"/>
                  </a:lnTo>
                  <a:lnTo>
                    <a:pt x="184" y="5"/>
                  </a:lnTo>
                  <a:lnTo>
                    <a:pt x="187" y="3"/>
                  </a:lnTo>
                  <a:lnTo>
                    <a:pt x="187" y="5"/>
                  </a:lnTo>
                  <a:lnTo>
                    <a:pt x="189" y="5"/>
                  </a:lnTo>
                  <a:lnTo>
                    <a:pt x="189" y="3"/>
                  </a:lnTo>
                  <a:lnTo>
                    <a:pt x="192" y="0"/>
                  </a:lnTo>
                  <a:lnTo>
                    <a:pt x="192" y="0"/>
                  </a:lnTo>
                  <a:lnTo>
                    <a:pt x="194" y="0"/>
                  </a:lnTo>
                  <a:lnTo>
                    <a:pt x="194" y="0"/>
                  </a:lnTo>
                  <a:lnTo>
                    <a:pt x="196" y="3"/>
                  </a:lnTo>
                  <a:lnTo>
                    <a:pt x="199" y="3"/>
                  </a:lnTo>
                  <a:lnTo>
                    <a:pt x="199" y="3"/>
                  </a:lnTo>
                  <a:lnTo>
                    <a:pt x="203" y="3"/>
                  </a:lnTo>
                  <a:lnTo>
                    <a:pt x="201" y="3"/>
                  </a:lnTo>
                  <a:lnTo>
                    <a:pt x="203" y="7"/>
                  </a:lnTo>
                  <a:lnTo>
                    <a:pt x="203" y="10"/>
                  </a:lnTo>
                  <a:lnTo>
                    <a:pt x="203" y="12"/>
                  </a:lnTo>
                  <a:lnTo>
                    <a:pt x="201" y="17"/>
                  </a:lnTo>
                  <a:lnTo>
                    <a:pt x="203" y="17"/>
                  </a:lnTo>
                  <a:lnTo>
                    <a:pt x="203" y="17"/>
                  </a:lnTo>
                  <a:lnTo>
                    <a:pt x="203" y="19"/>
                  </a:lnTo>
                  <a:lnTo>
                    <a:pt x="203" y="19"/>
                  </a:lnTo>
                  <a:lnTo>
                    <a:pt x="199" y="21"/>
                  </a:lnTo>
                  <a:lnTo>
                    <a:pt x="199" y="21"/>
                  </a:lnTo>
                  <a:lnTo>
                    <a:pt x="199" y="24"/>
                  </a:lnTo>
                  <a:lnTo>
                    <a:pt x="196" y="24"/>
                  </a:lnTo>
                  <a:lnTo>
                    <a:pt x="194" y="26"/>
                  </a:lnTo>
                  <a:lnTo>
                    <a:pt x="194" y="26"/>
                  </a:lnTo>
                  <a:lnTo>
                    <a:pt x="192" y="26"/>
                  </a:lnTo>
                  <a:lnTo>
                    <a:pt x="189" y="28"/>
                  </a:lnTo>
                  <a:lnTo>
                    <a:pt x="189" y="33"/>
                  </a:lnTo>
                  <a:lnTo>
                    <a:pt x="187" y="33"/>
                  </a:lnTo>
                  <a:lnTo>
                    <a:pt x="184" y="33"/>
                  </a:lnTo>
                  <a:lnTo>
                    <a:pt x="184" y="33"/>
                  </a:lnTo>
                  <a:lnTo>
                    <a:pt x="182" y="36"/>
                  </a:lnTo>
                  <a:lnTo>
                    <a:pt x="182" y="38"/>
                  </a:lnTo>
                  <a:lnTo>
                    <a:pt x="177" y="38"/>
                  </a:lnTo>
                  <a:lnTo>
                    <a:pt x="177" y="38"/>
                  </a:lnTo>
                  <a:lnTo>
                    <a:pt x="177" y="40"/>
                  </a:lnTo>
                  <a:lnTo>
                    <a:pt x="177" y="45"/>
                  </a:lnTo>
                  <a:lnTo>
                    <a:pt x="175" y="47"/>
                  </a:lnTo>
                  <a:lnTo>
                    <a:pt x="175" y="47"/>
                  </a:lnTo>
                  <a:lnTo>
                    <a:pt x="175" y="47"/>
                  </a:lnTo>
                  <a:lnTo>
                    <a:pt x="175" y="50"/>
                  </a:lnTo>
                  <a:lnTo>
                    <a:pt x="175" y="50"/>
                  </a:lnTo>
                  <a:lnTo>
                    <a:pt x="175" y="52"/>
                  </a:lnTo>
                  <a:lnTo>
                    <a:pt x="175" y="54"/>
                  </a:lnTo>
                  <a:lnTo>
                    <a:pt x="175" y="57"/>
                  </a:lnTo>
                  <a:lnTo>
                    <a:pt x="175" y="64"/>
                  </a:lnTo>
                  <a:lnTo>
                    <a:pt x="170" y="66"/>
                  </a:lnTo>
                  <a:lnTo>
                    <a:pt x="168" y="66"/>
                  </a:lnTo>
                  <a:lnTo>
                    <a:pt x="168" y="66"/>
                  </a:lnTo>
                  <a:lnTo>
                    <a:pt x="166" y="66"/>
                  </a:lnTo>
                  <a:lnTo>
                    <a:pt x="166" y="66"/>
                  </a:lnTo>
                  <a:lnTo>
                    <a:pt x="163" y="69"/>
                  </a:lnTo>
                  <a:lnTo>
                    <a:pt x="163" y="69"/>
                  </a:lnTo>
                  <a:lnTo>
                    <a:pt x="163" y="71"/>
                  </a:lnTo>
                  <a:lnTo>
                    <a:pt x="163" y="73"/>
                  </a:lnTo>
                  <a:lnTo>
                    <a:pt x="163" y="76"/>
                  </a:lnTo>
                  <a:lnTo>
                    <a:pt x="163" y="76"/>
                  </a:lnTo>
                  <a:lnTo>
                    <a:pt x="163" y="78"/>
                  </a:lnTo>
                  <a:lnTo>
                    <a:pt x="163" y="80"/>
                  </a:lnTo>
                  <a:lnTo>
                    <a:pt x="166" y="83"/>
                  </a:lnTo>
                  <a:lnTo>
                    <a:pt x="163" y="85"/>
                  </a:lnTo>
                  <a:lnTo>
                    <a:pt x="166" y="85"/>
                  </a:lnTo>
                  <a:lnTo>
                    <a:pt x="163" y="90"/>
                  </a:lnTo>
                  <a:lnTo>
                    <a:pt x="173" y="88"/>
                  </a:lnTo>
                  <a:lnTo>
                    <a:pt x="175" y="88"/>
                  </a:lnTo>
                  <a:lnTo>
                    <a:pt x="180" y="88"/>
                  </a:lnTo>
                  <a:lnTo>
                    <a:pt x="184" y="88"/>
                  </a:lnTo>
                  <a:lnTo>
                    <a:pt x="187" y="88"/>
                  </a:lnTo>
                  <a:lnTo>
                    <a:pt x="187" y="90"/>
                  </a:lnTo>
                  <a:lnTo>
                    <a:pt x="189" y="92"/>
                  </a:lnTo>
                  <a:lnTo>
                    <a:pt x="189" y="92"/>
                  </a:lnTo>
                  <a:lnTo>
                    <a:pt x="189" y="95"/>
                  </a:lnTo>
                  <a:lnTo>
                    <a:pt x="189" y="97"/>
                  </a:lnTo>
                  <a:lnTo>
                    <a:pt x="192" y="99"/>
                  </a:lnTo>
                  <a:lnTo>
                    <a:pt x="192" y="99"/>
                  </a:lnTo>
                  <a:lnTo>
                    <a:pt x="192" y="102"/>
                  </a:lnTo>
                  <a:lnTo>
                    <a:pt x="192" y="102"/>
                  </a:lnTo>
                  <a:lnTo>
                    <a:pt x="194" y="104"/>
                  </a:lnTo>
                  <a:lnTo>
                    <a:pt x="199" y="104"/>
                  </a:lnTo>
                  <a:lnTo>
                    <a:pt x="206" y="102"/>
                  </a:lnTo>
                  <a:lnTo>
                    <a:pt x="208" y="97"/>
                  </a:lnTo>
                  <a:lnTo>
                    <a:pt x="208" y="97"/>
                  </a:lnTo>
                  <a:lnTo>
                    <a:pt x="215" y="95"/>
                  </a:lnTo>
                  <a:lnTo>
                    <a:pt x="215" y="95"/>
                  </a:lnTo>
                  <a:lnTo>
                    <a:pt x="220" y="95"/>
                  </a:lnTo>
                  <a:lnTo>
                    <a:pt x="220" y="92"/>
                  </a:lnTo>
                  <a:lnTo>
                    <a:pt x="225" y="90"/>
                  </a:lnTo>
                  <a:lnTo>
                    <a:pt x="225" y="90"/>
                  </a:lnTo>
                  <a:lnTo>
                    <a:pt x="227" y="92"/>
                  </a:lnTo>
                  <a:lnTo>
                    <a:pt x="227" y="95"/>
                  </a:lnTo>
                  <a:lnTo>
                    <a:pt x="227" y="95"/>
                  </a:lnTo>
                  <a:lnTo>
                    <a:pt x="229" y="97"/>
                  </a:lnTo>
                  <a:lnTo>
                    <a:pt x="229" y="99"/>
                  </a:lnTo>
                  <a:lnTo>
                    <a:pt x="229" y="99"/>
                  </a:lnTo>
                  <a:lnTo>
                    <a:pt x="229" y="99"/>
                  </a:lnTo>
                  <a:lnTo>
                    <a:pt x="229" y="99"/>
                  </a:lnTo>
                  <a:lnTo>
                    <a:pt x="232" y="97"/>
                  </a:lnTo>
                  <a:lnTo>
                    <a:pt x="234" y="95"/>
                  </a:lnTo>
                  <a:lnTo>
                    <a:pt x="236" y="95"/>
                  </a:lnTo>
                  <a:lnTo>
                    <a:pt x="241" y="95"/>
                  </a:lnTo>
                  <a:lnTo>
                    <a:pt x="243" y="92"/>
                  </a:lnTo>
                  <a:lnTo>
                    <a:pt x="253" y="99"/>
                  </a:lnTo>
                  <a:lnTo>
                    <a:pt x="253" y="106"/>
                  </a:lnTo>
                  <a:lnTo>
                    <a:pt x="258" y="106"/>
                  </a:lnTo>
                  <a:lnTo>
                    <a:pt x="258" y="111"/>
                  </a:lnTo>
                  <a:lnTo>
                    <a:pt x="255" y="114"/>
                  </a:lnTo>
                  <a:lnTo>
                    <a:pt x="255" y="116"/>
                  </a:lnTo>
                  <a:lnTo>
                    <a:pt x="253" y="118"/>
                  </a:lnTo>
                  <a:lnTo>
                    <a:pt x="258" y="123"/>
                  </a:lnTo>
                  <a:lnTo>
                    <a:pt x="260" y="125"/>
                  </a:lnTo>
                  <a:lnTo>
                    <a:pt x="260" y="125"/>
                  </a:lnTo>
                  <a:lnTo>
                    <a:pt x="262" y="118"/>
                  </a:lnTo>
                  <a:lnTo>
                    <a:pt x="267" y="118"/>
                  </a:lnTo>
                  <a:lnTo>
                    <a:pt x="269" y="118"/>
                  </a:lnTo>
                  <a:lnTo>
                    <a:pt x="272" y="118"/>
                  </a:lnTo>
                  <a:lnTo>
                    <a:pt x="274" y="118"/>
                  </a:lnTo>
                  <a:lnTo>
                    <a:pt x="279" y="111"/>
                  </a:lnTo>
                  <a:lnTo>
                    <a:pt x="279" y="111"/>
                  </a:lnTo>
                  <a:lnTo>
                    <a:pt x="279" y="109"/>
                  </a:lnTo>
                  <a:lnTo>
                    <a:pt x="279" y="109"/>
                  </a:lnTo>
                  <a:lnTo>
                    <a:pt x="279" y="106"/>
                  </a:lnTo>
                  <a:lnTo>
                    <a:pt x="281" y="106"/>
                  </a:lnTo>
                  <a:lnTo>
                    <a:pt x="284" y="104"/>
                  </a:lnTo>
                  <a:lnTo>
                    <a:pt x="286" y="104"/>
                  </a:lnTo>
                  <a:lnTo>
                    <a:pt x="286" y="104"/>
                  </a:lnTo>
                  <a:lnTo>
                    <a:pt x="288" y="99"/>
                  </a:lnTo>
                  <a:lnTo>
                    <a:pt x="286" y="95"/>
                  </a:lnTo>
                  <a:lnTo>
                    <a:pt x="286" y="95"/>
                  </a:lnTo>
                  <a:lnTo>
                    <a:pt x="286" y="95"/>
                  </a:lnTo>
                  <a:lnTo>
                    <a:pt x="284" y="95"/>
                  </a:lnTo>
                  <a:lnTo>
                    <a:pt x="284" y="92"/>
                  </a:lnTo>
                  <a:lnTo>
                    <a:pt x="284" y="92"/>
                  </a:lnTo>
                  <a:lnTo>
                    <a:pt x="281" y="92"/>
                  </a:lnTo>
                  <a:lnTo>
                    <a:pt x="279" y="90"/>
                  </a:lnTo>
                  <a:lnTo>
                    <a:pt x="281" y="88"/>
                  </a:lnTo>
                  <a:lnTo>
                    <a:pt x="281" y="83"/>
                  </a:lnTo>
                  <a:lnTo>
                    <a:pt x="286" y="76"/>
                  </a:lnTo>
                  <a:lnTo>
                    <a:pt x="284" y="76"/>
                  </a:lnTo>
                  <a:lnTo>
                    <a:pt x="286" y="73"/>
                  </a:lnTo>
                  <a:lnTo>
                    <a:pt x="286" y="76"/>
                  </a:lnTo>
                  <a:lnTo>
                    <a:pt x="291" y="76"/>
                  </a:lnTo>
                  <a:lnTo>
                    <a:pt x="293" y="78"/>
                  </a:lnTo>
                  <a:lnTo>
                    <a:pt x="293" y="78"/>
                  </a:lnTo>
                  <a:lnTo>
                    <a:pt x="295" y="78"/>
                  </a:lnTo>
                  <a:lnTo>
                    <a:pt x="295" y="78"/>
                  </a:lnTo>
                  <a:lnTo>
                    <a:pt x="295" y="76"/>
                  </a:lnTo>
                  <a:lnTo>
                    <a:pt x="295" y="69"/>
                  </a:lnTo>
                  <a:lnTo>
                    <a:pt x="293" y="69"/>
                  </a:lnTo>
                  <a:lnTo>
                    <a:pt x="293" y="69"/>
                  </a:lnTo>
                  <a:lnTo>
                    <a:pt x="291" y="69"/>
                  </a:lnTo>
                  <a:lnTo>
                    <a:pt x="291" y="66"/>
                  </a:lnTo>
                  <a:lnTo>
                    <a:pt x="288" y="64"/>
                  </a:lnTo>
                  <a:lnTo>
                    <a:pt x="288" y="64"/>
                  </a:lnTo>
                  <a:lnTo>
                    <a:pt x="286" y="62"/>
                  </a:lnTo>
                  <a:lnTo>
                    <a:pt x="284" y="62"/>
                  </a:lnTo>
                  <a:lnTo>
                    <a:pt x="284" y="59"/>
                  </a:lnTo>
                  <a:lnTo>
                    <a:pt x="284" y="57"/>
                  </a:lnTo>
                  <a:lnTo>
                    <a:pt x="284" y="54"/>
                  </a:lnTo>
                  <a:lnTo>
                    <a:pt x="284" y="54"/>
                  </a:lnTo>
                  <a:lnTo>
                    <a:pt x="286" y="50"/>
                  </a:lnTo>
                  <a:lnTo>
                    <a:pt x="286" y="47"/>
                  </a:lnTo>
                  <a:lnTo>
                    <a:pt x="288" y="43"/>
                  </a:lnTo>
                  <a:lnTo>
                    <a:pt x="293" y="45"/>
                  </a:lnTo>
                  <a:lnTo>
                    <a:pt x="295" y="45"/>
                  </a:lnTo>
                  <a:lnTo>
                    <a:pt x="300" y="36"/>
                  </a:lnTo>
                  <a:lnTo>
                    <a:pt x="305" y="38"/>
                  </a:lnTo>
                  <a:lnTo>
                    <a:pt x="307" y="36"/>
                  </a:lnTo>
                  <a:lnTo>
                    <a:pt x="312" y="33"/>
                  </a:lnTo>
                  <a:lnTo>
                    <a:pt x="314" y="36"/>
                  </a:lnTo>
                  <a:lnTo>
                    <a:pt x="314" y="38"/>
                  </a:lnTo>
                  <a:lnTo>
                    <a:pt x="314" y="38"/>
                  </a:lnTo>
                  <a:lnTo>
                    <a:pt x="314" y="43"/>
                  </a:lnTo>
                  <a:lnTo>
                    <a:pt x="314" y="45"/>
                  </a:lnTo>
                  <a:lnTo>
                    <a:pt x="314" y="45"/>
                  </a:lnTo>
                  <a:lnTo>
                    <a:pt x="314" y="47"/>
                  </a:lnTo>
                  <a:lnTo>
                    <a:pt x="314" y="47"/>
                  </a:lnTo>
                  <a:lnTo>
                    <a:pt x="314" y="47"/>
                  </a:lnTo>
                  <a:lnTo>
                    <a:pt x="317" y="50"/>
                  </a:lnTo>
                  <a:lnTo>
                    <a:pt x="319" y="50"/>
                  </a:lnTo>
                  <a:lnTo>
                    <a:pt x="319" y="54"/>
                  </a:lnTo>
                  <a:lnTo>
                    <a:pt x="324" y="54"/>
                  </a:lnTo>
                  <a:lnTo>
                    <a:pt x="324" y="54"/>
                  </a:lnTo>
                  <a:lnTo>
                    <a:pt x="329" y="54"/>
                  </a:lnTo>
                  <a:lnTo>
                    <a:pt x="333" y="52"/>
                  </a:lnTo>
                  <a:lnTo>
                    <a:pt x="333" y="52"/>
                  </a:lnTo>
                  <a:lnTo>
                    <a:pt x="336" y="52"/>
                  </a:lnTo>
                  <a:lnTo>
                    <a:pt x="336" y="52"/>
                  </a:lnTo>
                  <a:lnTo>
                    <a:pt x="338" y="52"/>
                  </a:lnTo>
                  <a:lnTo>
                    <a:pt x="338" y="52"/>
                  </a:lnTo>
                  <a:lnTo>
                    <a:pt x="340" y="50"/>
                  </a:lnTo>
                  <a:lnTo>
                    <a:pt x="340" y="50"/>
                  </a:lnTo>
                  <a:lnTo>
                    <a:pt x="343" y="50"/>
                  </a:lnTo>
                  <a:lnTo>
                    <a:pt x="343" y="50"/>
                  </a:lnTo>
                  <a:lnTo>
                    <a:pt x="343" y="50"/>
                  </a:lnTo>
                  <a:lnTo>
                    <a:pt x="343" y="50"/>
                  </a:lnTo>
                  <a:lnTo>
                    <a:pt x="345" y="54"/>
                  </a:lnTo>
                  <a:lnTo>
                    <a:pt x="345" y="54"/>
                  </a:lnTo>
                  <a:lnTo>
                    <a:pt x="350" y="57"/>
                  </a:lnTo>
                  <a:lnTo>
                    <a:pt x="350" y="57"/>
                  </a:lnTo>
                  <a:lnTo>
                    <a:pt x="350" y="59"/>
                  </a:lnTo>
                  <a:lnTo>
                    <a:pt x="350" y="59"/>
                  </a:lnTo>
                  <a:lnTo>
                    <a:pt x="355" y="59"/>
                  </a:lnTo>
                  <a:lnTo>
                    <a:pt x="355" y="59"/>
                  </a:lnTo>
                  <a:lnTo>
                    <a:pt x="359" y="62"/>
                  </a:lnTo>
                  <a:lnTo>
                    <a:pt x="369" y="59"/>
                  </a:lnTo>
                  <a:lnTo>
                    <a:pt x="378" y="59"/>
                  </a:lnTo>
                  <a:lnTo>
                    <a:pt x="381" y="59"/>
                  </a:lnTo>
                  <a:lnTo>
                    <a:pt x="385" y="59"/>
                  </a:lnTo>
                  <a:lnTo>
                    <a:pt x="388" y="59"/>
                  </a:lnTo>
                  <a:lnTo>
                    <a:pt x="388" y="59"/>
                  </a:lnTo>
                  <a:lnTo>
                    <a:pt x="388" y="57"/>
                  </a:lnTo>
                  <a:lnTo>
                    <a:pt x="390" y="54"/>
                  </a:lnTo>
                  <a:lnTo>
                    <a:pt x="392" y="57"/>
                  </a:lnTo>
                  <a:lnTo>
                    <a:pt x="395" y="57"/>
                  </a:lnTo>
                  <a:lnTo>
                    <a:pt x="395" y="54"/>
                  </a:lnTo>
                  <a:lnTo>
                    <a:pt x="395" y="54"/>
                  </a:lnTo>
                  <a:lnTo>
                    <a:pt x="397" y="57"/>
                  </a:lnTo>
                  <a:lnTo>
                    <a:pt x="399" y="57"/>
                  </a:lnTo>
                  <a:lnTo>
                    <a:pt x="399" y="57"/>
                  </a:lnTo>
                  <a:lnTo>
                    <a:pt x="402" y="57"/>
                  </a:lnTo>
                  <a:lnTo>
                    <a:pt x="404" y="59"/>
                  </a:lnTo>
                  <a:lnTo>
                    <a:pt x="404" y="59"/>
                  </a:lnTo>
                  <a:lnTo>
                    <a:pt x="404" y="59"/>
                  </a:lnTo>
                  <a:lnTo>
                    <a:pt x="406" y="59"/>
                  </a:lnTo>
                  <a:lnTo>
                    <a:pt x="406" y="62"/>
                  </a:lnTo>
                  <a:lnTo>
                    <a:pt x="406" y="62"/>
                  </a:lnTo>
                  <a:lnTo>
                    <a:pt x="409" y="59"/>
                  </a:lnTo>
                  <a:lnTo>
                    <a:pt x="409" y="59"/>
                  </a:lnTo>
                  <a:lnTo>
                    <a:pt x="409" y="59"/>
                  </a:lnTo>
                  <a:lnTo>
                    <a:pt x="411" y="59"/>
                  </a:lnTo>
                  <a:lnTo>
                    <a:pt x="411" y="59"/>
                  </a:lnTo>
                  <a:lnTo>
                    <a:pt x="411" y="59"/>
                  </a:lnTo>
                  <a:lnTo>
                    <a:pt x="414" y="59"/>
                  </a:lnTo>
                  <a:lnTo>
                    <a:pt x="414" y="59"/>
                  </a:lnTo>
                  <a:lnTo>
                    <a:pt x="416" y="59"/>
                  </a:lnTo>
                  <a:lnTo>
                    <a:pt x="416" y="59"/>
                  </a:lnTo>
                  <a:lnTo>
                    <a:pt x="416" y="59"/>
                  </a:lnTo>
                  <a:lnTo>
                    <a:pt x="416" y="59"/>
                  </a:lnTo>
                  <a:lnTo>
                    <a:pt x="418" y="59"/>
                  </a:lnTo>
                  <a:lnTo>
                    <a:pt x="418" y="59"/>
                  </a:lnTo>
                  <a:lnTo>
                    <a:pt x="418" y="59"/>
                  </a:lnTo>
                  <a:lnTo>
                    <a:pt x="421" y="59"/>
                  </a:lnTo>
                  <a:lnTo>
                    <a:pt x="423" y="59"/>
                  </a:lnTo>
                  <a:lnTo>
                    <a:pt x="423" y="59"/>
                  </a:lnTo>
                  <a:lnTo>
                    <a:pt x="423" y="59"/>
                  </a:lnTo>
                  <a:lnTo>
                    <a:pt x="425" y="62"/>
                  </a:lnTo>
                  <a:lnTo>
                    <a:pt x="428" y="62"/>
                  </a:lnTo>
                  <a:lnTo>
                    <a:pt x="430" y="64"/>
                  </a:lnTo>
                  <a:lnTo>
                    <a:pt x="432" y="64"/>
                  </a:lnTo>
                  <a:lnTo>
                    <a:pt x="435" y="66"/>
                  </a:lnTo>
                  <a:lnTo>
                    <a:pt x="435" y="69"/>
                  </a:lnTo>
                  <a:lnTo>
                    <a:pt x="442" y="69"/>
                  </a:lnTo>
                  <a:lnTo>
                    <a:pt x="444" y="66"/>
                  </a:lnTo>
                  <a:lnTo>
                    <a:pt x="449" y="66"/>
                  </a:lnTo>
                  <a:lnTo>
                    <a:pt x="449" y="64"/>
                  </a:lnTo>
                  <a:lnTo>
                    <a:pt x="451" y="64"/>
                  </a:lnTo>
                  <a:lnTo>
                    <a:pt x="451" y="66"/>
                  </a:lnTo>
                  <a:lnTo>
                    <a:pt x="451" y="69"/>
                  </a:lnTo>
                  <a:lnTo>
                    <a:pt x="454" y="69"/>
                  </a:lnTo>
                  <a:lnTo>
                    <a:pt x="456" y="69"/>
                  </a:lnTo>
                  <a:lnTo>
                    <a:pt x="458" y="69"/>
                  </a:lnTo>
                  <a:lnTo>
                    <a:pt x="458" y="69"/>
                  </a:lnTo>
                  <a:lnTo>
                    <a:pt x="461" y="66"/>
                  </a:lnTo>
                  <a:lnTo>
                    <a:pt x="463" y="66"/>
                  </a:lnTo>
                  <a:lnTo>
                    <a:pt x="463" y="64"/>
                  </a:lnTo>
                  <a:lnTo>
                    <a:pt x="463" y="64"/>
                  </a:lnTo>
                  <a:lnTo>
                    <a:pt x="466" y="62"/>
                  </a:lnTo>
                  <a:lnTo>
                    <a:pt x="466" y="62"/>
                  </a:lnTo>
                  <a:lnTo>
                    <a:pt x="470" y="66"/>
                  </a:lnTo>
                  <a:lnTo>
                    <a:pt x="470" y="66"/>
                  </a:lnTo>
                  <a:lnTo>
                    <a:pt x="473" y="64"/>
                  </a:lnTo>
                  <a:lnTo>
                    <a:pt x="475" y="64"/>
                  </a:lnTo>
                  <a:lnTo>
                    <a:pt x="475" y="64"/>
                  </a:lnTo>
                  <a:lnTo>
                    <a:pt x="477" y="64"/>
                  </a:lnTo>
                  <a:lnTo>
                    <a:pt x="480" y="62"/>
                  </a:lnTo>
                  <a:lnTo>
                    <a:pt x="480" y="62"/>
                  </a:lnTo>
                  <a:lnTo>
                    <a:pt x="482" y="59"/>
                  </a:lnTo>
                  <a:lnTo>
                    <a:pt x="482" y="62"/>
                  </a:lnTo>
                  <a:lnTo>
                    <a:pt x="482" y="76"/>
                  </a:lnTo>
                  <a:lnTo>
                    <a:pt x="482" y="80"/>
                  </a:lnTo>
                  <a:lnTo>
                    <a:pt x="484" y="85"/>
                  </a:lnTo>
                  <a:lnTo>
                    <a:pt x="484" y="85"/>
                  </a:lnTo>
                  <a:lnTo>
                    <a:pt x="487" y="88"/>
                  </a:lnTo>
                  <a:lnTo>
                    <a:pt x="487" y="88"/>
                  </a:lnTo>
                  <a:lnTo>
                    <a:pt x="487" y="90"/>
                  </a:lnTo>
                  <a:lnTo>
                    <a:pt x="487" y="92"/>
                  </a:lnTo>
                  <a:lnTo>
                    <a:pt x="487" y="92"/>
                  </a:lnTo>
                  <a:lnTo>
                    <a:pt x="487" y="92"/>
                  </a:lnTo>
                  <a:lnTo>
                    <a:pt x="487" y="95"/>
                  </a:lnTo>
                  <a:lnTo>
                    <a:pt x="487" y="95"/>
                  </a:lnTo>
                  <a:lnTo>
                    <a:pt x="487" y="97"/>
                  </a:lnTo>
                  <a:lnTo>
                    <a:pt x="487" y="97"/>
                  </a:lnTo>
                  <a:lnTo>
                    <a:pt x="487" y="97"/>
                  </a:lnTo>
                  <a:lnTo>
                    <a:pt x="489" y="97"/>
                  </a:lnTo>
                  <a:lnTo>
                    <a:pt x="489" y="99"/>
                  </a:lnTo>
                  <a:lnTo>
                    <a:pt x="489" y="104"/>
                  </a:lnTo>
                  <a:lnTo>
                    <a:pt x="489" y="109"/>
                  </a:lnTo>
                  <a:lnTo>
                    <a:pt x="489" y="111"/>
                  </a:lnTo>
                  <a:lnTo>
                    <a:pt x="492" y="114"/>
                  </a:lnTo>
                  <a:lnTo>
                    <a:pt x="494" y="114"/>
                  </a:lnTo>
                  <a:lnTo>
                    <a:pt x="496" y="114"/>
                  </a:lnTo>
                  <a:lnTo>
                    <a:pt x="496" y="116"/>
                  </a:lnTo>
                  <a:lnTo>
                    <a:pt x="494" y="118"/>
                  </a:lnTo>
                  <a:lnTo>
                    <a:pt x="494" y="118"/>
                  </a:lnTo>
                  <a:lnTo>
                    <a:pt x="496" y="121"/>
                  </a:lnTo>
                  <a:lnTo>
                    <a:pt x="496" y="123"/>
                  </a:lnTo>
                  <a:lnTo>
                    <a:pt x="496" y="123"/>
                  </a:lnTo>
                  <a:lnTo>
                    <a:pt x="494" y="125"/>
                  </a:lnTo>
                  <a:lnTo>
                    <a:pt x="496" y="125"/>
                  </a:lnTo>
                  <a:lnTo>
                    <a:pt x="496" y="125"/>
                  </a:lnTo>
                  <a:lnTo>
                    <a:pt x="496" y="125"/>
                  </a:lnTo>
                  <a:lnTo>
                    <a:pt x="496" y="125"/>
                  </a:lnTo>
                  <a:lnTo>
                    <a:pt x="496" y="125"/>
                  </a:lnTo>
                  <a:lnTo>
                    <a:pt x="496" y="125"/>
                  </a:lnTo>
                  <a:lnTo>
                    <a:pt x="496" y="128"/>
                  </a:lnTo>
                  <a:lnTo>
                    <a:pt x="496" y="128"/>
                  </a:lnTo>
                  <a:lnTo>
                    <a:pt x="496" y="128"/>
                  </a:lnTo>
                  <a:lnTo>
                    <a:pt x="496" y="130"/>
                  </a:lnTo>
                  <a:lnTo>
                    <a:pt x="496" y="130"/>
                  </a:lnTo>
                  <a:lnTo>
                    <a:pt x="496" y="128"/>
                  </a:lnTo>
                  <a:lnTo>
                    <a:pt x="494" y="128"/>
                  </a:lnTo>
                  <a:lnTo>
                    <a:pt x="494" y="128"/>
                  </a:lnTo>
                  <a:lnTo>
                    <a:pt x="496" y="130"/>
                  </a:lnTo>
                  <a:lnTo>
                    <a:pt x="496" y="130"/>
                  </a:lnTo>
                  <a:lnTo>
                    <a:pt x="496" y="130"/>
                  </a:lnTo>
                  <a:lnTo>
                    <a:pt x="499" y="128"/>
                  </a:lnTo>
                  <a:lnTo>
                    <a:pt x="499" y="125"/>
                  </a:lnTo>
                  <a:lnTo>
                    <a:pt x="499" y="123"/>
                  </a:lnTo>
                  <a:lnTo>
                    <a:pt x="499" y="123"/>
                  </a:lnTo>
                  <a:lnTo>
                    <a:pt x="499" y="128"/>
                  </a:lnTo>
                  <a:lnTo>
                    <a:pt x="499" y="132"/>
                  </a:lnTo>
                  <a:lnTo>
                    <a:pt x="499" y="132"/>
                  </a:lnTo>
                  <a:lnTo>
                    <a:pt x="499" y="135"/>
                  </a:lnTo>
                  <a:lnTo>
                    <a:pt x="499" y="137"/>
                  </a:lnTo>
                  <a:lnTo>
                    <a:pt x="499" y="137"/>
                  </a:lnTo>
                  <a:lnTo>
                    <a:pt x="499" y="140"/>
                  </a:lnTo>
                  <a:lnTo>
                    <a:pt x="501" y="142"/>
                  </a:lnTo>
                  <a:lnTo>
                    <a:pt x="501" y="144"/>
                  </a:lnTo>
                  <a:lnTo>
                    <a:pt x="501" y="147"/>
                  </a:lnTo>
                  <a:lnTo>
                    <a:pt x="503" y="147"/>
                  </a:lnTo>
                  <a:lnTo>
                    <a:pt x="503" y="147"/>
                  </a:lnTo>
                  <a:lnTo>
                    <a:pt x="503" y="154"/>
                  </a:lnTo>
                  <a:lnTo>
                    <a:pt x="503" y="156"/>
                  </a:lnTo>
                  <a:lnTo>
                    <a:pt x="501" y="158"/>
                  </a:lnTo>
                  <a:lnTo>
                    <a:pt x="503" y="161"/>
                  </a:lnTo>
                  <a:lnTo>
                    <a:pt x="503" y="165"/>
                  </a:lnTo>
                  <a:lnTo>
                    <a:pt x="503" y="165"/>
                  </a:lnTo>
                  <a:lnTo>
                    <a:pt x="503" y="168"/>
                  </a:lnTo>
                  <a:lnTo>
                    <a:pt x="503" y="168"/>
                  </a:lnTo>
                  <a:lnTo>
                    <a:pt x="503" y="170"/>
                  </a:lnTo>
                  <a:lnTo>
                    <a:pt x="503" y="175"/>
                  </a:lnTo>
                  <a:lnTo>
                    <a:pt x="503" y="175"/>
                  </a:lnTo>
                  <a:lnTo>
                    <a:pt x="503" y="177"/>
                  </a:lnTo>
                  <a:lnTo>
                    <a:pt x="501" y="180"/>
                  </a:lnTo>
                  <a:lnTo>
                    <a:pt x="501" y="187"/>
                  </a:lnTo>
                  <a:lnTo>
                    <a:pt x="501" y="189"/>
                  </a:lnTo>
                  <a:lnTo>
                    <a:pt x="503" y="189"/>
                  </a:lnTo>
                  <a:lnTo>
                    <a:pt x="501" y="191"/>
                  </a:lnTo>
                  <a:lnTo>
                    <a:pt x="501" y="191"/>
                  </a:lnTo>
                  <a:lnTo>
                    <a:pt x="501" y="194"/>
                  </a:lnTo>
                  <a:lnTo>
                    <a:pt x="501" y="196"/>
                  </a:lnTo>
                  <a:lnTo>
                    <a:pt x="499" y="199"/>
                  </a:lnTo>
                  <a:lnTo>
                    <a:pt x="499" y="199"/>
                  </a:lnTo>
                  <a:lnTo>
                    <a:pt x="499" y="199"/>
                  </a:lnTo>
                  <a:lnTo>
                    <a:pt x="496" y="199"/>
                  </a:lnTo>
                  <a:lnTo>
                    <a:pt x="494" y="199"/>
                  </a:lnTo>
                  <a:lnTo>
                    <a:pt x="492" y="196"/>
                  </a:lnTo>
                  <a:lnTo>
                    <a:pt x="492" y="199"/>
                  </a:lnTo>
                  <a:lnTo>
                    <a:pt x="489" y="199"/>
                  </a:lnTo>
                  <a:lnTo>
                    <a:pt x="489" y="199"/>
                  </a:lnTo>
                  <a:lnTo>
                    <a:pt x="489" y="199"/>
                  </a:lnTo>
                  <a:lnTo>
                    <a:pt x="489" y="199"/>
                  </a:lnTo>
                  <a:lnTo>
                    <a:pt x="487" y="196"/>
                  </a:lnTo>
                  <a:lnTo>
                    <a:pt x="487" y="196"/>
                  </a:lnTo>
                  <a:lnTo>
                    <a:pt x="484" y="199"/>
                  </a:lnTo>
                  <a:lnTo>
                    <a:pt x="482" y="199"/>
                  </a:lnTo>
                  <a:lnTo>
                    <a:pt x="482" y="196"/>
                  </a:lnTo>
                  <a:lnTo>
                    <a:pt x="480" y="194"/>
                  </a:lnTo>
                  <a:lnTo>
                    <a:pt x="480" y="194"/>
                  </a:lnTo>
                  <a:lnTo>
                    <a:pt x="480" y="191"/>
                  </a:lnTo>
                  <a:lnTo>
                    <a:pt x="480" y="189"/>
                  </a:lnTo>
                  <a:lnTo>
                    <a:pt x="480" y="187"/>
                  </a:lnTo>
                  <a:lnTo>
                    <a:pt x="477" y="187"/>
                  </a:lnTo>
                  <a:lnTo>
                    <a:pt x="473" y="184"/>
                  </a:lnTo>
                  <a:lnTo>
                    <a:pt x="473" y="182"/>
                  </a:lnTo>
                  <a:lnTo>
                    <a:pt x="470" y="180"/>
                  </a:lnTo>
                  <a:lnTo>
                    <a:pt x="468" y="180"/>
                  </a:lnTo>
                  <a:lnTo>
                    <a:pt x="468" y="180"/>
                  </a:lnTo>
                  <a:lnTo>
                    <a:pt x="468" y="180"/>
                  </a:lnTo>
                  <a:lnTo>
                    <a:pt x="466" y="182"/>
                  </a:lnTo>
                  <a:lnTo>
                    <a:pt x="463" y="180"/>
                  </a:lnTo>
                  <a:lnTo>
                    <a:pt x="461" y="180"/>
                  </a:lnTo>
                  <a:lnTo>
                    <a:pt x="458" y="180"/>
                  </a:lnTo>
                  <a:lnTo>
                    <a:pt x="458" y="180"/>
                  </a:lnTo>
                  <a:lnTo>
                    <a:pt x="456" y="177"/>
                  </a:lnTo>
                  <a:lnTo>
                    <a:pt x="454" y="180"/>
                  </a:lnTo>
                  <a:lnTo>
                    <a:pt x="454" y="180"/>
                  </a:lnTo>
                  <a:lnTo>
                    <a:pt x="451" y="177"/>
                  </a:lnTo>
                  <a:lnTo>
                    <a:pt x="449" y="177"/>
                  </a:lnTo>
                  <a:lnTo>
                    <a:pt x="447" y="177"/>
                  </a:lnTo>
                  <a:lnTo>
                    <a:pt x="442" y="177"/>
                  </a:lnTo>
                  <a:lnTo>
                    <a:pt x="440" y="182"/>
                  </a:lnTo>
                  <a:lnTo>
                    <a:pt x="437" y="182"/>
                  </a:lnTo>
                  <a:lnTo>
                    <a:pt x="437" y="182"/>
                  </a:lnTo>
                  <a:lnTo>
                    <a:pt x="437" y="182"/>
                  </a:lnTo>
                  <a:lnTo>
                    <a:pt x="435" y="182"/>
                  </a:lnTo>
                  <a:lnTo>
                    <a:pt x="435" y="182"/>
                  </a:lnTo>
                  <a:lnTo>
                    <a:pt x="435" y="182"/>
                  </a:lnTo>
                  <a:lnTo>
                    <a:pt x="435" y="182"/>
                  </a:lnTo>
                  <a:lnTo>
                    <a:pt x="432" y="182"/>
                  </a:lnTo>
                  <a:lnTo>
                    <a:pt x="432" y="184"/>
                  </a:lnTo>
                  <a:lnTo>
                    <a:pt x="432" y="184"/>
                  </a:lnTo>
                  <a:lnTo>
                    <a:pt x="432" y="184"/>
                  </a:lnTo>
                  <a:lnTo>
                    <a:pt x="430" y="184"/>
                  </a:lnTo>
                  <a:lnTo>
                    <a:pt x="430" y="187"/>
                  </a:lnTo>
                  <a:lnTo>
                    <a:pt x="425" y="187"/>
                  </a:lnTo>
                  <a:lnTo>
                    <a:pt x="425" y="189"/>
                  </a:lnTo>
                  <a:lnTo>
                    <a:pt x="425" y="189"/>
                  </a:lnTo>
                  <a:lnTo>
                    <a:pt x="423" y="189"/>
                  </a:lnTo>
                  <a:lnTo>
                    <a:pt x="423" y="187"/>
                  </a:lnTo>
                  <a:lnTo>
                    <a:pt x="421" y="187"/>
                  </a:lnTo>
                  <a:lnTo>
                    <a:pt x="416" y="187"/>
                  </a:lnTo>
                  <a:lnTo>
                    <a:pt x="414" y="187"/>
                  </a:lnTo>
                  <a:lnTo>
                    <a:pt x="414" y="191"/>
                  </a:lnTo>
                  <a:lnTo>
                    <a:pt x="414" y="194"/>
                  </a:lnTo>
                  <a:lnTo>
                    <a:pt x="414" y="194"/>
                  </a:lnTo>
                  <a:lnTo>
                    <a:pt x="414" y="196"/>
                  </a:lnTo>
                  <a:lnTo>
                    <a:pt x="414" y="196"/>
                  </a:lnTo>
                  <a:lnTo>
                    <a:pt x="411" y="196"/>
                  </a:lnTo>
                  <a:lnTo>
                    <a:pt x="411" y="201"/>
                  </a:lnTo>
                  <a:lnTo>
                    <a:pt x="411" y="203"/>
                  </a:lnTo>
                  <a:lnTo>
                    <a:pt x="409" y="203"/>
                  </a:lnTo>
                  <a:lnTo>
                    <a:pt x="409" y="203"/>
                  </a:lnTo>
                  <a:lnTo>
                    <a:pt x="411" y="206"/>
                  </a:lnTo>
                  <a:lnTo>
                    <a:pt x="414" y="203"/>
                  </a:lnTo>
                  <a:lnTo>
                    <a:pt x="411" y="206"/>
                  </a:lnTo>
                  <a:lnTo>
                    <a:pt x="411" y="206"/>
                  </a:lnTo>
                  <a:lnTo>
                    <a:pt x="411" y="206"/>
                  </a:lnTo>
                  <a:lnTo>
                    <a:pt x="409" y="208"/>
                  </a:lnTo>
                  <a:lnTo>
                    <a:pt x="414" y="213"/>
                  </a:lnTo>
                  <a:lnTo>
                    <a:pt x="411" y="213"/>
                  </a:lnTo>
                  <a:lnTo>
                    <a:pt x="409" y="213"/>
                  </a:lnTo>
                  <a:lnTo>
                    <a:pt x="406" y="213"/>
                  </a:lnTo>
                  <a:lnTo>
                    <a:pt x="404" y="213"/>
                  </a:lnTo>
                  <a:lnTo>
                    <a:pt x="404" y="213"/>
                  </a:lnTo>
                  <a:lnTo>
                    <a:pt x="402" y="213"/>
                  </a:lnTo>
                  <a:lnTo>
                    <a:pt x="399" y="213"/>
                  </a:lnTo>
                  <a:lnTo>
                    <a:pt x="399" y="213"/>
                  </a:lnTo>
                  <a:lnTo>
                    <a:pt x="399" y="215"/>
                  </a:lnTo>
                  <a:lnTo>
                    <a:pt x="397" y="215"/>
                  </a:lnTo>
                  <a:lnTo>
                    <a:pt x="397" y="217"/>
                  </a:lnTo>
                  <a:lnTo>
                    <a:pt x="395" y="220"/>
                  </a:lnTo>
                  <a:lnTo>
                    <a:pt x="395" y="220"/>
                  </a:lnTo>
                  <a:lnTo>
                    <a:pt x="392" y="220"/>
                  </a:lnTo>
                  <a:lnTo>
                    <a:pt x="390" y="220"/>
                  </a:lnTo>
                  <a:lnTo>
                    <a:pt x="390" y="220"/>
                  </a:lnTo>
                  <a:lnTo>
                    <a:pt x="390" y="217"/>
                  </a:lnTo>
                  <a:lnTo>
                    <a:pt x="388" y="220"/>
                  </a:lnTo>
                  <a:lnTo>
                    <a:pt x="388" y="220"/>
                  </a:lnTo>
                  <a:lnTo>
                    <a:pt x="388" y="220"/>
                  </a:lnTo>
                  <a:lnTo>
                    <a:pt x="385" y="220"/>
                  </a:lnTo>
                  <a:lnTo>
                    <a:pt x="383" y="220"/>
                  </a:lnTo>
                  <a:lnTo>
                    <a:pt x="383" y="222"/>
                  </a:lnTo>
                  <a:lnTo>
                    <a:pt x="383" y="222"/>
                  </a:lnTo>
                  <a:lnTo>
                    <a:pt x="381" y="222"/>
                  </a:lnTo>
                  <a:lnTo>
                    <a:pt x="378" y="225"/>
                  </a:lnTo>
                  <a:lnTo>
                    <a:pt x="378" y="225"/>
                  </a:lnTo>
                  <a:lnTo>
                    <a:pt x="376" y="225"/>
                  </a:lnTo>
                  <a:lnTo>
                    <a:pt x="373" y="225"/>
                  </a:lnTo>
                  <a:lnTo>
                    <a:pt x="373" y="225"/>
                  </a:lnTo>
                  <a:lnTo>
                    <a:pt x="371" y="225"/>
                  </a:lnTo>
                  <a:lnTo>
                    <a:pt x="369" y="225"/>
                  </a:lnTo>
                  <a:lnTo>
                    <a:pt x="366" y="225"/>
                  </a:lnTo>
                  <a:lnTo>
                    <a:pt x="366" y="227"/>
                  </a:lnTo>
                  <a:lnTo>
                    <a:pt x="366" y="227"/>
                  </a:lnTo>
                  <a:lnTo>
                    <a:pt x="366" y="229"/>
                  </a:lnTo>
                  <a:lnTo>
                    <a:pt x="364" y="232"/>
                  </a:lnTo>
                  <a:lnTo>
                    <a:pt x="359" y="229"/>
                  </a:lnTo>
                  <a:lnTo>
                    <a:pt x="359" y="232"/>
                  </a:lnTo>
                  <a:lnTo>
                    <a:pt x="357" y="232"/>
                  </a:lnTo>
                  <a:lnTo>
                    <a:pt x="355" y="232"/>
                  </a:lnTo>
                  <a:lnTo>
                    <a:pt x="352" y="232"/>
                  </a:lnTo>
                  <a:lnTo>
                    <a:pt x="352" y="232"/>
                  </a:lnTo>
                  <a:lnTo>
                    <a:pt x="352" y="234"/>
                  </a:lnTo>
                  <a:lnTo>
                    <a:pt x="350" y="234"/>
                  </a:lnTo>
                  <a:lnTo>
                    <a:pt x="347" y="234"/>
                  </a:lnTo>
                  <a:lnTo>
                    <a:pt x="345" y="232"/>
                  </a:lnTo>
                  <a:lnTo>
                    <a:pt x="345" y="232"/>
                  </a:lnTo>
                  <a:lnTo>
                    <a:pt x="345" y="232"/>
                  </a:lnTo>
                  <a:lnTo>
                    <a:pt x="343" y="229"/>
                  </a:lnTo>
                  <a:lnTo>
                    <a:pt x="338" y="229"/>
                  </a:lnTo>
                  <a:lnTo>
                    <a:pt x="336" y="229"/>
                  </a:lnTo>
                  <a:lnTo>
                    <a:pt x="336" y="229"/>
                  </a:lnTo>
                  <a:lnTo>
                    <a:pt x="333" y="229"/>
                  </a:lnTo>
                  <a:lnTo>
                    <a:pt x="329" y="229"/>
                  </a:lnTo>
                  <a:lnTo>
                    <a:pt x="326" y="232"/>
                  </a:lnTo>
                  <a:lnTo>
                    <a:pt x="324" y="229"/>
                  </a:lnTo>
                  <a:lnTo>
                    <a:pt x="324" y="227"/>
                  </a:lnTo>
                  <a:lnTo>
                    <a:pt x="319" y="232"/>
                  </a:lnTo>
                  <a:lnTo>
                    <a:pt x="319" y="232"/>
                  </a:lnTo>
                  <a:lnTo>
                    <a:pt x="319" y="232"/>
                  </a:lnTo>
                  <a:lnTo>
                    <a:pt x="321" y="234"/>
                  </a:lnTo>
                  <a:lnTo>
                    <a:pt x="321" y="234"/>
                  </a:lnTo>
                  <a:lnTo>
                    <a:pt x="319" y="236"/>
                  </a:lnTo>
                  <a:lnTo>
                    <a:pt x="317" y="236"/>
                  </a:lnTo>
                  <a:lnTo>
                    <a:pt x="317" y="236"/>
                  </a:lnTo>
                  <a:lnTo>
                    <a:pt x="314" y="234"/>
                  </a:lnTo>
                  <a:lnTo>
                    <a:pt x="314" y="234"/>
                  </a:lnTo>
                  <a:lnTo>
                    <a:pt x="312" y="234"/>
                  </a:lnTo>
                  <a:lnTo>
                    <a:pt x="305" y="234"/>
                  </a:lnTo>
                  <a:lnTo>
                    <a:pt x="305" y="232"/>
                  </a:lnTo>
                  <a:lnTo>
                    <a:pt x="303" y="234"/>
                  </a:lnTo>
                  <a:lnTo>
                    <a:pt x="300" y="234"/>
                  </a:lnTo>
                  <a:lnTo>
                    <a:pt x="298" y="234"/>
                  </a:lnTo>
                  <a:lnTo>
                    <a:pt x="298" y="234"/>
                  </a:lnTo>
                  <a:lnTo>
                    <a:pt x="295" y="234"/>
                  </a:lnTo>
                  <a:lnTo>
                    <a:pt x="295" y="236"/>
                  </a:lnTo>
                  <a:lnTo>
                    <a:pt x="295" y="241"/>
                  </a:lnTo>
                  <a:lnTo>
                    <a:pt x="295" y="241"/>
                  </a:lnTo>
                  <a:lnTo>
                    <a:pt x="295" y="243"/>
                  </a:lnTo>
                  <a:lnTo>
                    <a:pt x="295" y="243"/>
                  </a:lnTo>
                  <a:lnTo>
                    <a:pt x="295" y="243"/>
                  </a:lnTo>
                  <a:lnTo>
                    <a:pt x="295" y="246"/>
                  </a:lnTo>
                  <a:lnTo>
                    <a:pt x="295" y="248"/>
                  </a:lnTo>
                  <a:lnTo>
                    <a:pt x="293" y="248"/>
                  </a:lnTo>
                  <a:lnTo>
                    <a:pt x="291" y="248"/>
                  </a:lnTo>
                  <a:lnTo>
                    <a:pt x="288" y="248"/>
                  </a:lnTo>
                  <a:lnTo>
                    <a:pt x="288" y="248"/>
                  </a:lnTo>
                  <a:lnTo>
                    <a:pt x="281" y="246"/>
                  </a:lnTo>
                  <a:lnTo>
                    <a:pt x="281" y="243"/>
                  </a:lnTo>
                  <a:lnTo>
                    <a:pt x="279" y="246"/>
                  </a:lnTo>
                  <a:lnTo>
                    <a:pt x="279" y="246"/>
                  </a:lnTo>
                  <a:lnTo>
                    <a:pt x="277" y="248"/>
                  </a:lnTo>
                  <a:lnTo>
                    <a:pt x="279" y="251"/>
                  </a:lnTo>
                  <a:lnTo>
                    <a:pt x="277" y="251"/>
                  </a:lnTo>
                  <a:lnTo>
                    <a:pt x="279" y="253"/>
                  </a:lnTo>
                  <a:lnTo>
                    <a:pt x="277" y="253"/>
                  </a:lnTo>
                  <a:lnTo>
                    <a:pt x="277" y="253"/>
                  </a:lnTo>
                  <a:lnTo>
                    <a:pt x="272" y="251"/>
                  </a:lnTo>
                  <a:lnTo>
                    <a:pt x="272" y="253"/>
                  </a:lnTo>
                  <a:lnTo>
                    <a:pt x="272" y="255"/>
                  </a:lnTo>
                  <a:lnTo>
                    <a:pt x="272" y="258"/>
                  </a:lnTo>
                  <a:lnTo>
                    <a:pt x="272" y="260"/>
                  </a:lnTo>
                  <a:lnTo>
                    <a:pt x="272" y="265"/>
                  </a:lnTo>
                  <a:lnTo>
                    <a:pt x="269" y="267"/>
                  </a:lnTo>
                  <a:lnTo>
                    <a:pt x="267" y="267"/>
                  </a:lnTo>
                  <a:lnTo>
                    <a:pt x="267" y="269"/>
                  </a:lnTo>
                  <a:lnTo>
                    <a:pt x="269" y="269"/>
                  </a:lnTo>
                  <a:lnTo>
                    <a:pt x="269" y="269"/>
                  </a:lnTo>
                  <a:lnTo>
                    <a:pt x="269" y="269"/>
                  </a:lnTo>
                  <a:lnTo>
                    <a:pt x="272" y="272"/>
                  </a:lnTo>
                  <a:lnTo>
                    <a:pt x="272" y="274"/>
                  </a:lnTo>
                  <a:lnTo>
                    <a:pt x="269" y="274"/>
                  </a:lnTo>
                  <a:lnTo>
                    <a:pt x="267" y="274"/>
                  </a:lnTo>
                  <a:lnTo>
                    <a:pt x="262" y="277"/>
                  </a:lnTo>
                  <a:lnTo>
                    <a:pt x="262" y="277"/>
                  </a:lnTo>
                  <a:lnTo>
                    <a:pt x="262" y="279"/>
                  </a:lnTo>
                  <a:lnTo>
                    <a:pt x="260" y="279"/>
                  </a:lnTo>
                  <a:lnTo>
                    <a:pt x="260" y="279"/>
                  </a:lnTo>
                  <a:lnTo>
                    <a:pt x="260" y="279"/>
                  </a:lnTo>
                  <a:lnTo>
                    <a:pt x="260" y="279"/>
                  </a:lnTo>
                  <a:lnTo>
                    <a:pt x="260" y="279"/>
                  </a:lnTo>
                  <a:lnTo>
                    <a:pt x="260" y="281"/>
                  </a:lnTo>
                  <a:lnTo>
                    <a:pt x="258" y="281"/>
                  </a:lnTo>
                  <a:lnTo>
                    <a:pt x="255" y="281"/>
                  </a:lnTo>
                  <a:lnTo>
                    <a:pt x="255" y="284"/>
                  </a:lnTo>
                  <a:lnTo>
                    <a:pt x="253" y="284"/>
                  </a:lnTo>
                  <a:lnTo>
                    <a:pt x="253" y="284"/>
                  </a:lnTo>
                  <a:lnTo>
                    <a:pt x="251" y="284"/>
                  </a:lnTo>
                  <a:lnTo>
                    <a:pt x="248" y="284"/>
                  </a:lnTo>
                  <a:lnTo>
                    <a:pt x="248" y="286"/>
                  </a:lnTo>
                  <a:lnTo>
                    <a:pt x="241" y="288"/>
                  </a:lnTo>
                  <a:lnTo>
                    <a:pt x="239" y="288"/>
                  </a:lnTo>
                  <a:lnTo>
                    <a:pt x="236" y="288"/>
                  </a:lnTo>
                  <a:lnTo>
                    <a:pt x="236" y="291"/>
                  </a:lnTo>
                  <a:lnTo>
                    <a:pt x="234" y="293"/>
                  </a:lnTo>
                  <a:lnTo>
                    <a:pt x="232" y="295"/>
                  </a:lnTo>
                  <a:lnTo>
                    <a:pt x="232" y="295"/>
                  </a:lnTo>
                  <a:lnTo>
                    <a:pt x="229" y="298"/>
                  </a:lnTo>
                  <a:lnTo>
                    <a:pt x="229" y="298"/>
                  </a:lnTo>
                  <a:lnTo>
                    <a:pt x="227" y="298"/>
                  </a:lnTo>
                  <a:lnTo>
                    <a:pt x="225" y="298"/>
                  </a:lnTo>
                  <a:lnTo>
                    <a:pt x="222" y="295"/>
                  </a:lnTo>
                  <a:lnTo>
                    <a:pt x="220" y="293"/>
                  </a:lnTo>
                  <a:lnTo>
                    <a:pt x="218" y="293"/>
                  </a:lnTo>
                  <a:lnTo>
                    <a:pt x="213" y="293"/>
                  </a:lnTo>
                  <a:lnTo>
                    <a:pt x="213" y="288"/>
                  </a:lnTo>
                  <a:lnTo>
                    <a:pt x="208" y="286"/>
                  </a:lnTo>
                  <a:lnTo>
                    <a:pt x="208" y="284"/>
                  </a:lnTo>
                  <a:lnTo>
                    <a:pt x="208" y="284"/>
                  </a:lnTo>
                  <a:lnTo>
                    <a:pt x="208" y="281"/>
                  </a:lnTo>
                  <a:lnTo>
                    <a:pt x="206" y="281"/>
                  </a:lnTo>
                  <a:lnTo>
                    <a:pt x="203" y="281"/>
                  </a:lnTo>
                  <a:lnTo>
                    <a:pt x="203" y="279"/>
                  </a:lnTo>
                  <a:lnTo>
                    <a:pt x="203" y="279"/>
                  </a:lnTo>
                  <a:lnTo>
                    <a:pt x="206" y="279"/>
                  </a:lnTo>
                  <a:lnTo>
                    <a:pt x="203" y="277"/>
                  </a:lnTo>
                  <a:lnTo>
                    <a:pt x="206" y="274"/>
                  </a:lnTo>
                  <a:lnTo>
                    <a:pt x="206" y="274"/>
                  </a:lnTo>
                  <a:lnTo>
                    <a:pt x="206" y="274"/>
                  </a:lnTo>
                  <a:lnTo>
                    <a:pt x="206" y="272"/>
                  </a:lnTo>
                  <a:lnTo>
                    <a:pt x="206" y="269"/>
                  </a:lnTo>
                  <a:lnTo>
                    <a:pt x="203" y="267"/>
                  </a:lnTo>
                  <a:lnTo>
                    <a:pt x="203" y="265"/>
                  </a:lnTo>
                  <a:lnTo>
                    <a:pt x="206" y="262"/>
                  </a:lnTo>
                  <a:lnTo>
                    <a:pt x="206" y="260"/>
                  </a:lnTo>
                  <a:lnTo>
                    <a:pt x="206" y="260"/>
                  </a:lnTo>
                  <a:lnTo>
                    <a:pt x="203" y="258"/>
                  </a:lnTo>
                  <a:lnTo>
                    <a:pt x="203" y="258"/>
                  </a:lnTo>
                  <a:lnTo>
                    <a:pt x="201" y="258"/>
                  </a:lnTo>
                  <a:lnTo>
                    <a:pt x="201" y="258"/>
                  </a:lnTo>
                  <a:lnTo>
                    <a:pt x="201" y="258"/>
                  </a:lnTo>
                  <a:lnTo>
                    <a:pt x="199" y="255"/>
                  </a:lnTo>
                  <a:lnTo>
                    <a:pt x="199" y="253"/>
                  </a:lnTo>
                  <a:lnTo>
                    <a:pt x="199" y="253"/>
                  </a:lnTo>
                  <a:lnTo>
                    <a:pt x="196" y="253"/>
                  </a:lnTo>
                  <a:lnTo>
                    <a:pt x="196" y="255"/>
                  </a:lnTo>
                  <a:lnTo>
                    <a:pt x="194" y="255"/>
                  </a:lnTo>
                  <a:lnTo>
                    <a:pt x="194" y="253"/>
                  </a:lnTo>
                  <a:lnTo>
                    <a:pt x="194" y="255"/>
                  </a:lnTo>
                  <a:lnTo>
                    <a:pt x="194" y="253"/>
                  </a:lnTo>
                  <a:lnTo>
                    <a:pt x="189" y="253"/>
                  </a:lnTo>
                  <a:lnTo>
                    <a:pt x="189" y="255"/>
                  </a:lnTo>
                  <a:lnTo>
                    <a:pt x="187" y="253"/>
                  </a:lnTo>
                  <a:lnTo>
                    <a:pt x="184" y="253"/>
                  </a:lnTo>
                  <a:lnTo>
                    <a:pt x="184" y="253"/>
                  </a:lnTo>
                  <a:lnTo>
                    <a:pt x="180" y="255"/>
                  </a:lnTo>
                  <a:lnTo>
                    <a:pt x="180" y="255"/>
                  </a:lnTo>
                  <a:lnTo>
                    <a:pt x="180" y="255"/>
                  </a:lnTo>
                  <a:lnTo>
                    <a:pt x="180" y="253"/>
                  </a:lnTo>
                  <a:lnTo>
                    <a:pt x="180" y="251"/>
                  </a:lnTo>
                  <a:lnTo>
                    <a:pt x="180" y="251"/>
                  </a:lnTo>
                  <a:lnTo>
                    <a:pt x="184" y="251"/>
                  </a:lnTo>
                  <a:lnTo>
                    <a:pt x="184" y="251"/>
                  </a:lnTo>
                  <a:lnTo>
                    <a:pt x="184" y="251"/>
                  </a:lnTo>
                  <a:lnTo>
                    <a:pt x="184" y="248"/>
                  </a:lnTo>
                  <a:lnTo>
                    <a:pt x="184" y="248"/>
                  </a:lnTo>
                  <a:lnTo>
                    <a:pt x="184" y="248"/>
                  </a:lnTo>
                  <a:lnTo>
                    <a:pt x="184" y="248"/>
                  </a:lnTo>
                  <a:lnTo>
                    <a:pt x="184" y="248"/>
                  </a:lnTo>
                  <a:lnTo>
                    <a:pt x="184" y="246"/>
                  </a:lnTo>
                  <a:lnTo>
                    <a:pt x="184" y="246"/>
                  </a:lnTo>
                  <a:lnTo>
                    <a:pt x="184" y="246"/>
                  </a:lnTo>
                  <a:lnTo>
                    <a:pt x="187" y="246"/>
                  </a:lnTo>
                  <a:lnTo>
                    <a:pt x="194" y="241"/>
                  </a:lnTo>
                  <a:lnTo>
                    <a:pt x="194" y="241"/>
                  </a:lnTo>
                  <a:lnTo>
                    <a:pt x="192" y="239"/>
                  </a:lnTo>
                  <a:lnTo>
                    <a:pt x="194" y="239"/>
                  </a:lnTo>
                  <a:lnTo>
                    <a:pt x="196" y="239"/>
                  </a:lnTo>
                  <a:lnTo>
                    <a:pt x="196" y="234"/>
                  </a:lnTo>
                  <a:lnTo>
                    <a:pt x="194" y="234"/>
                  </a:lnTo>
                  <a:lnTo>
                    <a:pt x="194" y="234"/>
                  </a:lnTo>
                  <a:lnTo>
                    <a:pt x="194" y="234"/>
                  </a:lnTo>
                  <a:lnTo>
                    <a:pt x="196" y="232"/>
                  </a:lnTo>
                  <a:lnTo>
                    <a:pt x="196" y="234"/>
                  </a:lnTo>
                  <a:lnTo>
                    <a:pt x="199" y="232"/>
                  </a:lnTo>
                  <a:lnTo>
                    <a:pt x="199" y="232"/>
                  </a:lnTo>
                  <a:lnTo>
                    <a:pt x="201" y="232"/>
                  </a:lnTo>
                  <a:lnTo>
                    <a:pt x="201" y="232"/>
                  </a:lnTo>
                  <a:lnTo>
                    <a:pt x="203" y="232"/>
                  </a:lnTo>
                  <a:lnTo>
                    <a:pt x="203" y="232"/>
                  </a:lnTo>
                  <a:lnTo>
                    <a:pt x="203" y="232"/>
                  </a:lnTo>
                  <a:lnTo>
                    <a:pt x="203" y="232"/>
                  </a:lnTo>
                  <a:lnTo>
                    <a:pt x="206" y="229"/>
                  </a:lnTo>
                  <a:lnTo>
                    <a:pt x="203" y="229"/>
                  </a:lnTo>
                  <a:lnTo>
                    <a:pt x="203" y="229"/>
                  </a:lnTo>
                  <a:lnTo>
                    <a:pt x="206" y="225"/>
                  </a:lnTo>
                  <a:lnTo>
                    <a:pt x="206" y="222"/>
                  </a:lnTo>
                  <a:lnTo>
                    <a:pt x="206" y="220"/>
                  </a:lnTo>
                  <a:lnTo>
                    <a:pt x="203" y="220"/>
                  </a:lnTo>
                  <a:lnTo>
                    <a:pt x="203" y="217"/>
                  </a:lnTo>
                  <a:lnTo>
                    <a:pt x="201" y="215"/>
                  </a:lnTo>
                  <a:lnTo>
                    <a:pt x="201" y="215"/>
                  </a:lnTo>
                  <a:lnTo>
                    <a:pt x="201" y="215"/>
                  </a:lnTo>
                  <a:lnTo>
                    <a:pt x="199" y="213"/>
                  </a:lnTo>
                  <a:lnTo>
                    <a:pt x="199" y="210"/>
                  </a:lnTo>
                  <a:lnTo>
                    <a:pt x="199" y="210"/>
                  </a:lnTo>
                  <a:lnTo>
                    <a:pt x="199" y="210"/>
                  </a:lnTo>
                  <a:lnTo>
                    <a:pt x="201" y="208"/>
                  </a:lnTo>
                  <a:lnTo>
                    <a:pt x="201" y="206"/>
                  </a:lnTo>
                  <a:lnTo>
                    <a:pt x="203" y="203"/>
                  </a:lnTo>
                  <a:lnTo>
                    <a:pt x="203" y="201"/>
                  </a:lnTo>
                  <a:lnTo>
                    <a:pt x="206" y="201"/>
                  </a:lnTo>
                  <a:lnTo>
                    <a:pt x="208" y="196"/>
                  </a:lnTo>
                  <a:lnTo>
                    <a:pt x="210" y="196"/>
                  </a:lnTo>
                  <a:lnTo>
                    <a:pt x="213" y="196"/>
                  </a:lnTo>
                  <a:lnTo>
                    <a:pt x="215" y="196"/>
                  </a:lnTo>
                  <a:lnTo>
                    <a:pt x="218" y="194"/>
                  </a:lnTo>
                  <a:lnTo>
                    <a:pt x="220" y="194"/>
                  </a:lnTo>
                  <a:lnTo>
                    <a:pt x="220" y="191"/>
                  </a:lnTo>
                  <a:lnTo>
                    <a:pt x="222" y="191"/>
                  </a:lnTo>
                  <a:lnTo>
                    <a:pt x="225" y="191"/>
                  </a:lnTo>
                  <a:lnTo>
                    <a:pt x="225" y="191"/>
                  </a:lnTo>
                  <a:lnTo>
                    <a:pt x="225" y="189"/>
                  </a:lnTo>
                  <a:lnTo>
                    <a:pt x="225" y="189"/>
                  </a:lnTo>
                  <a:lnTo>
                    <a:pt x="225" y="189"/>
                  </a:lnTo>
                  <a:lnTo>
                    <a:pt x="225" y="187"/>
                  </a:lnTo>
                  <a:lnTo>
                    <a:pt x="222" y="187"/>
                  </a:lnTo>
                  <a:lnTo>
                    <a:pt x="222" y="187"/>
                  </a:lnTo>
                  <a:lnTo>
                    <a:pt x="222" y="184"/>
                  </a:lnTo>
                  <a:lnTo>
                    <a:pt x="222" y="184"/>
                  </a:lnTo>
                  <a:lnTo>
                    <a:pt x="222" y="182"/>
                  </a:lnTo>
                  <a:lnTo>
                    <a:pt x="220" y="182"/>
                  </a:lnTo>
                  <a:lnTo>
                    <a:pt x="222" y="180"/>
                  </a:lnTo>
                  <a:lnTo>
                    <a:pt x="220" y="177"/>
                  </a:lnTo>
                  <a:lnTo>
                    <a:pt x="218" y="177"/>
                  </a:lnTo>
                  <a:lnTo>
                    <a:pt x="218" y="177"/>
                  </a:lnTo>
                  <a:lnTo>
                    <a:pt x="218" y="177"/>
                  </a:lnTo>
                  <a:lnTo>
                    <a:pt x="215" y="177"/>
                  </a:lnTo>
                  <a:lnTo>
                    <a:pt x="215" y="175"/>
                  </a:lnTo>
                  <a:lnTo>
                    <a:pt x="215" y="175"/>
                  </a:lnTo>
                  <a:lnTo>
                    <a:pt x="213" y="175"/>
                  </a:lnTo>
                  <a:lnTo>
                    <a:pt x="210" y="175"/>
                  </a:lnTo>
                  <a:lnTo>
                    <a:pt x="208" y="173"/>
                  </a:lnTo>
                  <a:lnTo>
                    <a:pt x="208" y="173"/>
                  </a:lnTo>
                  <a:lnTo>
                    <a:pt x="206" y="173"/>
                  </a:lnTo>
                  <a:lnTo>
                    <a:pt x="206" y="170"/>
                  </a:lnTo>
                  <a:lnTo>
                    <a:pt x="203" y="170"/>
                  </a:lnTo>
                  <a:lnTo>
                    <a:pt x="203" y="170"/>
                  </a:lnTo>
                  <a:lnTo>
                    <a:pt x="203" y="170"/>
                  </a:lnTo>
                  <a:lnTo>
                    <a:pt x="201" y="168"/>
                  </a:lnTo>
                  <a:lnTo>
                    <a:pt x="199" y="165"/>
                  </a:lnTo>
                  <a:lnTo>
                    <a:pt x="196" y="165"/>
                  </a:lnTo>
                  <a:lnTo>
                    <a:pt x="194" y="163"/>
                  </a:lnTo>
                  <a:lnTo>
                    <a:pt x="192" y="163"/>
                  </a:lnTo>
                  <a:lnTo>
                    <a:pt x="192" y="163"/>
                  </a:lnTo>
                  <a:lnTo>
                    <a:pt x="189" y="163"/>
                  </a:lnTo>
                  <a:lnTo>
                    <a:pt x="187" y="165"/>
                  </a:lnTo>
                  <a:lnTo>
                    <a:pt x="184" y="165"/>
                  </a:lnTo>
                  <a:lnTo>
                    <a:pt x="184" y="165"/>
                  </a:lnTo>
                  <a:lnTo>
                    <a:pt x="182" y="165"/>
                  </a:lnTo>
                  <a:lnTo>
                    <a:pt x="180" y="168"/>
                  </a:lnTo>
                  <a:lnTo>
                    <a:pt x="180" y="170"/>
                  </a:lnTo>
                  <a:lnTo>
                    <a:pt x="180" y="170"/>
                  </a:lnTo>
                  <a:lnTo>
                    <a:pt x="175" y="175"/>
                  </a:lnTo>
                  <a:lnTo>
                    <a:pt x="173" y="175"/>
                  </a:lnTo>
                  <a:lnTo>
                    <a:pt x="170" y="175"/>
                  </a:lnTo>
                  <a:lnTo>
                    <a:pt x="170" y="175"/>
                  </a:lnTo>
                  <a:lnTo>
                    <a:pt x="168" y="175"/>
                  </a:lnTo>
                  <a:lnTo>
                    <a:pt x="168" y="175"/>
                  </a:lnTo>
                  <a:lnTo>
                    <a:pt x="166" y="175"/>
                  </a:lnTo>
                  <a:lnTo>
                    <a:pt x="161" y="175"/>
                  </a:lnTo>
                  <a:lnTo>
                    <a:pt x="161" y="175"/>
                  </a:lnTo>
                  <a:lnTo>
                    <a:pt x="161" y="177"/>
                  </a:lnTo>
                  <a:lnTo>
                    <a:pt x="161" y="180"/>
                  </a:lnTo>
                  <a:lnTo>
                    <a:pt x="161" y="180"/>
                  </a:lnTo>
                  <a:lnTo>
                    <a:pt x="161" y="182"/>
                  </a:lnTo>
                  <a:lnTo>
                    <a:pt x="158" y="182"/>
                  </a:lnTo>
                  <a:lnTo>
                    <a:pt x="158" y="184"/>
                  </a:lnTo>
                  <a:lnTo>
                    <a:pt x="158" y="184"/>
                  </a:lnTo>
                  <a:lnTo>
                    <a:pt x="158" y="184"/>
                  </a:lnTo>
                  <a:lnTo>
                    <a:pt x="156" y="187"/>
                  </a:lnTo>
                  <a:lnTo>
                    <a:pt x="156" y="189"/>
                  </a:lnTo>
                  <a:lnTo>
                    <a:pt x="156" y="189"/>
                  </a:lnTo>
                  <a:lnTo>
                    <a:pt x="154" y="191"/>
                  </a:lnTo>
                  <a:lnTo>
                    <a:pt x="151" y="191"/>
                  </a:lnTo>
                  <a:lnTo>
                    <a:pt x="149" y="194"/>
                  </a:lnTo>
                  <a:lnTo>
                    <a:pt x="147" y="194"/>
                  </a:lnTo>
                  <a:lnTo>
                    <a:pt x="147" y="196"/>
                  </a:lnTo>
                  <a:lnTo>
                    <a:pt x="147" y="196"/>
                  </a:lnTo>
                  <a:lnTo>
                    <a:pt x="144" y="196"/>
                  </a:lnTo>
                  <a:lnTo>
                    <a:pt x="142" y="196"/>
                  </a:lnTo>
                  <a:lnTo>
                    <a:pt x="142" y="196"/>
                  </a:lnTo>
                  <a:lnTo>
                    <a:pt x="140" y="196"/>
                  </a:lnTo>
                  <a:lnTo>
                    <a:pt x="137" y="196"/>
                  </a:lnTo>
                  <a:lnTo>
                    <a:pt x="137" y="199"/>
                  </a:lnTo>
                  <a:lnTo>
                    <a:pt x="135" y="201"/>
                  </a:lnTo>
                  <a:lnTo>
                    <a:pt x="135" y="201"/>
                  </a:lnTo>
                  <a:lnTo>
                    <a:pt x="135" y="203"/>
                  </a:lnTo>
                  <a:lnTo>
                    <a:pt x="132" y="203"/>
                  </a:lnTo>
                  <a:lnTo>
                    <a:pt x="132" y="203"/>
                  </a:lnTo>
                  <a:lnTo>
                    <a:pt x="130" y="206"/>
                  </a:lnTo>
                  <a:lnTo>
                    <a:pt x="130" y="206"/>
                  </a:lnTo>
                  <a:lnTo>
                    <a:pt x="130" y="208"/>
                  </a:lnTo>
                  <a:lnTo>
                    <a:pt x="128" y="208"/>
                  </a:lnTo>
                  <a:lnTo>
                    <a:pt x="128" y="210"/>
                  </a:lnTo>
                  <a:lnTo>
                    <a:pt x="128" y="210"/>
                  </a:lnTo>
                  <a:lnTo>
                    <a:pt x="130" y="210"/>
                  </a:lnTo>
                  <a:lnTo>
                    <a:pt x="130" y="213"/>
                  </a:lnTo>
                  <a:lnTo>
                    <a:pt x="130" y="213"/>
                  </a:lnTo>
                  <a:lnTo>
                    <a:pt x="128" y="215"/>
                  </a:lnTo>
                  <a:lnTo>
                    <a:pt x="128" y="215"/>
                  </a:lnTo>
                  <a:lnTo>
                    <a:pt x="128" y="213"/>
                  </a:lnTo>
                  <a:lnTo>
                    <a:pt x="128" y="213"/>
                  </a:lnTo>
                  <a:lnTo>
                    <a:pt x="125" y="213"/>
                  </a:lnTo>
                  <a:lnTo>
                    <a:pt x="125" y="210"/>
                  </a:lnTo>
                  <a:lnTo>
                    <a:pt x="125" y="210"/>
                  </a:lnTo>
                  <a:lnTo>
                    <a:pt x="123" y="210"/>
                  </a:lnTo>
                  <a:lnTo>
                    <a:pt x="123" y="210"/>
                  </a:lnTo>
                  <a:lnTo>
                    <a:pt x="121" y="213"/>
                  </a:lnTo>
                  <a:lnTo>
                    <a:pt x="116" y="213"/>
                  </a:lnTo>
                  <a:lnTo>
                    <a:pt x="116" y="213"/>
                  </a:lnTo>
                  <a:lnTo>
                    <a:pt x="114" y="213"/>
                  </a:lnTo>
                  <a:lnTo>
                    <a:pt x="111" y="217"/>
                  </a:lnTo>
                  <a:lnTo>
                    <a:pt x="111" y="217"/>
                  </a:lnTo>
                  <a:lnTo>
                    <a:pt x="109" y="220"/>
                  </a:lnTo>
                  <a:lnTo>
                    <a:pt x="111" y="220"/>
                  </a:lnTo>
                  <a:lnTo>
                    <a:pt x="111" y="220"/>
                  </a:lnTo>
                  <a:lnTo>
                    <a:pt x="111" y="220"/>
                  </a:lnTo>
                  <a:lnTo>
                    <a:pt x="109" y="220"/>
                  </a:lnTo>
                  <a:lnTo>
                    <a:pt x="106" y="220"/>
                  </a:lnTo>
                  <a:lnTo>
                    <a:pt x="106" y="222"/>
                  </a:lnTo>
                  <a:lnTo>
                    <a:pt x="104" y="225"/>
                  </a:lnTo>
                  <a:lnTo>
                    <a:pt x="104" y="227"/>
                  </a:lnTo>
                  <a:lnTo>
                    <a:pt x="102" y="227"/>
                  </a:lnTo>
                  <a:lnTo>
                    <a:pt x="102" y="229"/>
                  </a:lnTo>
                  <a:lnTo>
                    <a:pt x="102" y="229"/>
                  </a:lnTo>
                  <a:lnTo>
                    <a:pt x="99" y="229"/>
                  </a:lnTo>
                  <a:lnTo>
                    <a:pt x="97" y="229"/>
                  </a:lnTo>
                  <a:lnTo>
                    <a:pt x="97" y="229"/>
                  </a:lnTo>
                  <a:lnTo>
                    <a:pt x="97" y="229"/>
                  </a:lnTo>
                  <a:lnTo>
                    <a:pt x="97" y="227"/>
                  </a:lnTo>
                  <a:lnTo>
                    <a:pt x="95" y="227"/>
                  </a:lnTo>
                  <a:lnTo>
                    <a:pt x="92" y="225"/>
                  </a:lnTo>
                  <a:lnTo>
                    <a:pt x="88" y="229"/>
                  </a:lnTo>
                  <a:lnTo>
                    <a:pt x="88" y="229"/>
                  </a:lnTo>
                  <a:lnTo>
                    <a:pt x="88" y="232"/>
                  </a:lnTo>
                  <a:lnTo>
                    <a:pt x="88" y="232"/>
                  </a:lnTo>
                  <a:lnTo>
                    <a:pt x="88" y="234"/>
                  </a:lnTo>
                  <a:lnTo>
                    <a:pt x="88" y="234"/>
                  </a:lnTo>
                  <a:lnTo>
                    <a:pt x="88" y="236"/>
                  </a:lnTo>
                  <a:lnTo>
                    <a:pt x="83" y="234"/>
                  </a:lnTo>
                  <a:lnTo>
                    <a:pt x="83" y="234"/>
                  </a:lnTo>
                  <a:lnTo>
                    <a:pt x="83" y="234"/>
                  </a:lnTo>
                  <a:lnTo>
                    <a:pt x="80" y="232"/>
                  </a:lnTo>
                  <a:lnTo>
                    <a:pt x="80" y="232"/>
                  </a:lnTo>
                  <a:lnTo>
                    <a:pt x="78" y="229"/>
                  </a:lnTo>
                  <a:lnTo>
                    <a:pt x="78" y="229"/>
                  </a:lnTo>
                  <a:lnTo>
                    <a:pt x="76" y="229"/>
                  </a:lnTo>
                  <a:lnTo>
                    <a:pt x="76" y="232"/>
                  </a:lnTo>
                  <a:lnTo>
                    <a:pt x="73" y="232"/>
                  </a:lnTo>
                  <a:lnTo>
                    <a:pt x="71" y="234"/>
                  </a:lnTo>
                  <a:lnTo>
                    <a:pt x="69" y="234"/>
                  </a:lnTo>
                  <a:lnTo>
                    <a:pt x="69" y="234"/>
                  </a:lnTo>
                  <a:lnTo>
                    <a:pt x="66" y="234"/>
                  </a:lnTo>
                  <a:lnTo>
                    <a:pt x="66" y="236"/>
                  </a:lnTo>
                  <a:lnTo>
                    <a:pt x="64" y="236"/>
                  </a:lnTo>
                  <a:lnTo>
                    <a:pt x="64" y="236"/>
                  </a:lnTo>
                  <a:lnTo>
                    <a:pt x="62" y="236"/>
                  </a:lnTo>
                  <a:lnTo>
                    <a:pt x="62" y="236"/>
                  </a:lnTo>
                  <a:lnTo>
                    <a:pt x="59" y="234"/>
                  </a:lnTo>
                  <a:lnTo>
                    <a:pt x="59" y="232"/>
                  </a:lnTo>
                  <a:lnTo>
                    <a:pt x="59" y="229"/>
                  </a:lnTo>
                  <a:lnTo>
                    <a:pt x="59" y="229"/>
                  </a:lnTo>
                  <a:lnTo>
                    <a:pt x="59" y="227"/>
                  </a:lnTo>
                  <a:lnTo>
                    <a:pt x="57" y="227"/>
                  </a:lnTo>
                  <a:lnTo>
                    <a:pt x="59" y="225"/>
                  </a:lnTo>
                  <a:lnTo>
                    <a:pt x="57" y="225"/>
                  </a:lnTo>
                  <a:lnTo>
                    <a:pt x="57" y="222"/>
                  </a:lnTo>
                  <a:lnTo>
                    <a:pt x="57" y="222"/>
                  </a:lnTo>
                  <a:lnTo>
                    <a:pt x="57" y="222"/>
                  </a:lnTo>
                  <a:lnTo>
                    <a:pt x="57" y="220"/>
                  </a:lnTo>
                  <a:lnTo>
                    <a:pt x="57" y="220"/>
                  </a:lnTo>
                  <a:lnTo>
                    <a:pt x="57" y="217"/>
                  </a:lnTo>
                  <a:lnTo>
                    <a:pt x="55" y="220"/>
                  </a:lnTo>
                  <a:lnTo>
                    <a:pt x="55" y="217"/>
                  </a:lnTo>
                  <a:lnTo>
                    <a:pt x="55" y="220"/>
                  </a:lnTo>
                  <a:lnTo>
                    <a:pt x="52" y="215"/>
                  </a:lnTo>
                  <a:lnTo>
                    <a:pt x="50" y="217"/>
                  </a:lnTo>
                  <a:lnTo>
                    <a:pt x="50" y="217"/>
                  </a:lnTo>
                  <a:lnTo>
                    <a:pt x="50" y="220"/>
                  </a:lnTo>
                  <a:lnTo>
                    <a:pt x="50" y="220"/>
                  </a:lnTo>
                  <a:lnTo>
                    <a:pt x="45" y="220"/>
                  </a:lnTo>
                  <a:lnTo>
                    <a:pt x="47" y="222"/>
                  </a:lnTo>
                  <a:lnTo>
                    <a:pt x="45" y="222"/>
                  </a:lnTo>
                  <a:lnTo>
                    <a:pt x="45" y="222"/>
                  </a:lnTo>
                  <a:lnTo>
                    <a:pt x="43" y="222"/>
                  </a:lnTo>
                  <a:lnTo>
                    <a:pt x="43" y="222"/>
                  </a:lnTo>
                  <a:lnTo>
                    <a:pt x="40" y="222"/>
                  </a:lnTo>
                  <a:lnTo>
                    <a:pt x="38" y="222"/>
                  </a:lnTo>
                  <a:lnTo>
                    <a:pt x="36" y="222"/>
                  </a:lnTo>
                  <a:lnTo>
                    <a:pt x="36" y="225"/>
                  </a:lnTo>
                  <a:lnTo>
                    <a:pt x="36" y="225"/>
                  </a:lnTo>
                  <a:lnTo>
                    <a:pt x="31" y="225"/>
                  </a:lnTo>
                  <a:lnTo>
                    <a:pt x="31" y="227"/>
                  </a:lnTo>
                  <a:lnTo>
                    <a:pt x="29" y="225"/>
                  </a:lnTo>
                  <a:lnTo>
                    <a:pt x="26" y="227"/>
                  </a:lnTo>
                  <a:lnTo>
                    <a:pt x="24" y="225"/>
                  </a:lnTo>
                  <a:lnTo>
                    <a:pt x="24" y="227"/>
                  </a:lnTo>
                  <a:lnTo>
                    <a:pt x="24" y="225"/>
                  </a:lnTo>
                  <a:lnTo>
                    <a:pt x="24" y="227"/>
                  </a:lnTo>
                  <a:lnTo>
                    <a:pt x="21" y="227"/>
                  </a:lnTo>
                  <a:lnTo>
                    <a:pt x="21" y="225"/>
                  </a:lnTo>
                  <a:lnTo>
                    <a:pt x="19" y="225"/>
                  </a:lnTo>
                  <a:lnTo>
                    <a:pt x="19" y="222"/>
                  </a:lnTo>
                  <a:lnTo>
                    <a:pt x="19" y="220"/>
                  </a:lnTo>
                  <a:lnTo>
                    <a:pt x="19" y="220"/>
                  </a:lnTo>
                  <a:lnTo>
                    <a:pt x="19" y="217"/>
                  </a:lnTo>
                  <a:lnTo>
                    <a:pt x="14" y="217"/>
                  </a:lnTo>
                  <a:lnTo>
                    <a:pt x="14" y="215"/>
                  </a:lnTo>
                  <a:lnTo>
                    <a:pt x="14" y="215"/>
                  </a:lnTo>
                  <a:lnTo>
                    <a:pt x="14" y="215"/>
                  </a:lnTo>
                  <a:lnTo>
                    <a:pt x="12" y="213"/>
                  </a:lnTo>
                  <a:lnTo>
                    <a:pt x="12" y="213"/>
                  </a:lnTo>
                  <a:lnTo>
                    <a:pt x="10" y="210"/>
                  </a:lnTo>
                  <a:lnTo>
                    <a:pt x="10" y="210"/>
                  </a:lnTo>
                  <a:lnTo>
                    <a:pt x="7" y="208"/>
                  </a:lnTo>
                  <a:lnTo>
                    <a:pt x="5" y="208"/>
                  </a:lnTo>
                  <a:lnTo>
                    <a:pt x="5" y="208"/>
                  </a:lnTo>
                  <a:lnTo>
                    <a:pt x="7" y="206"/>
                  </a:lnTo>
                  <a:lnTo>
                    <a:pt x="7" y="203"/>
                  </a:lnTo>
                  <a:lnTo>
                    <a:pt x="7" y="203"/>
                  </a:lnTo>
                  <a:lnTo>
                    <a:pt x="10" y="203"/>
                  </a:lnTo>
                  <a:lnTo>
                    <a:pt x="12" y="203"/>
                  </a:lnTo>
                  <a:lnTo>
                    <a:pt x="14" y="201"/>
                  </a:lnTo>
                  <a:lnTo>
                    <a:pt x="14" y="201"/>
                  </a:lnTo>
                  <a:lnTo>
                    <a:pt x="14" y="201"/>
                  </a:lnTo>
                  <a:lnTo>
                    <a:pt x="14" y="199"/>
                  </a:lnTo>
                  <a:lnTo>
                    <a:pt x="14" y="199"/>
                  </a:lnTo>
                  <a:lnTo>
                    <a:pt x="14" y="196"/>
                  </a:lnTo>
                  <a:lnTo>
                    <a:pt x="14" y="196"/>
                  </a:lnTo>
                  <a:lnTo>
                    <a:pt x="14" y="196"/>
                  </a:lnTo>
                  <a:lnTo>
                    <a:pt x="14" y="194"/>
                  </a:lnTo>
                  <a:lnTo>
                    <a:pt x="14" y="194"/>
                  </a:lnTo>
                  <a:lnTo>
                    <a:pt x="17" y="191"/>
                  </a:lnTo>
                  <a:lnTo>
                    <a:pt x="17" y="189"/>
                  </a:lnTo>
                  <a:lnTo>
                    <a:pt x="14" y="189"/>
                  </a:lnTo>
                  <a:lnTo>
                    <a:pt x="14" y="187"/>
                  </a:lnTo>
                  <a:lnTo>
                    <a:pt x="21" y="187"/>
                  </a:lnTo>
                  <a:lnTo>
                    <a:pt x="21" y="187"/>
                  </a:lnTo>
                  <a:lnTo>
                    <a:pt x="21" y="184"/>
                  </a:lnTo>
                  <a:lnTo>
                    <a:pt x="21" y="184"/>
                  </a:lnTo>
                  <a:lnTo>
                    <a:pt x="24" y="184"/>
                  </a:lnTo>
                  <a:lnTo>
                    <a:pt x="24" y="182"/>
                  </a:lnTo>
                  <a:lnTo>
                    <a:pt x="21" y="182"/>
                  </a:lnTo>
                  <a:lnTo>
                    <a:pt x="21" y="180"/>
                  </a:lnTo>
                  <a:lnTo>
                    <a:pt x="24" y="180"/>
                  </a:lnTo>
                  <a:lnTo>
                    <a:pt x="24" y="177"/>
                  </a:lnTo>
                  <a:lnTo>
                    <a:pt x="26" y="175"/>
                  </a:lnTo>
                  <a:lnTo>
                    <a:pt x="29" y="173"/>
                  </a:lnTo>
                  <a:lnTo>
                    <a:pt x="29" y="170"/>
                  </a:lnTo>
                  <a:lnTo>
                    <a:pt x="29" y="170"/>
                  </a:lnTo>
                  <a:lnTo>
                    <a:pt x="29" y="168"/>
                  </a:lnTo>
                  <a:lnTo>
                    <a:pt x="29" y="168"/>
                  </a:lnTo>
                  <a:lnTo>
                    <a:pt x="29" y="165"/>
                  </a:lnTo>
                  <a:lnTo>
                    <a:pt x="29" y="163"/>
                  </a:lnTo>
                  <a:lnTo>
                    <a:pt x="29" y="161"/>
                  </a:lnTo>
                  <a:lnTo>
                    <a:pt x="29" y="161"/>
                  </a:lnTo>
                  <a:lnTo>
                    <a:pt x="26" y="161"/>
                  </a:lnTo>
                  <a:lnTo>
                    <a:pt x="29" y="158"/>
                  </a:lnTo>
                  <a:lnTo>
                    <a:pt x="26" y="158"/>
                  </a:lnTo>
                  <a:lnTo>
                    <a:pt x="24" y="161"/>
                  </a:lnTo>
                  <a:lnTo>
                    <a:pt x="21" y="158"/>
                  </a:lnTo>
                  <a:lnTo>
                    <a:pt x="21" y="158"/>
                  </a:lnTo>
                  <a:lnTo>
                    <a:pt x="19" y="158"/>
                  </a:lnTo>
                  <a:lnTo>
                    <a:pt x="19" y="156"/>
                  </a:lnTo>
                  <a:lnTo>
                    <a:pt x="19" y="156"/>
                  </a:lnTo>
                  <a:lnTo>
                    <a:pt x="19" y="154"/>
                  </a:lnTo>
                  <a:lnTo>
                    <a:pt x="19" y="151"/>
                  </a:lnTo>
                  <a:lnTo>
                    <a:pt x="17" y="151"/>
                  </a:lnTo>
                  <a:lnTo>
                    <a:pt x="14" y="151"/>
                  </a:lnTo>
                  <a:lnTo>
                    <a:pt x="12" y="151"/>
                  </a:lnTo>
                  <a:lnTo>
                    <a:pt x="10" y="151"/>
                  </a:lnTo>
                  <a:lnTo>
                    <a:pt x="10" y="151"/>
                  </a:lnTo>
                  <a:lnTo>
                    <a:pt x="12" y="149"/>
                  </a:lnTo>
                  <a:lnTo>
                    <a:pt x="10" y="149"/>
                  </a:lnTo>
                  <a:lnTo>
                    <a:pt x="12" y="149"/>
                  </a:lnTo>
                  <a:lnTo>
                    <a:pt x="12" y="144"/>
                  </a:lnTo>
                  <a:lnTo>
                    <a:pt x="12" y="144"/>
                  </a:lnTo>
                  <a:lnTo>
                    <a:pt x="12" y="142"/>
                  </a:lnTo>
                  <a:lnTo>
                    <a:pt x="14" y="140"/>
                  </a:lnTo>
                  <a:lnTo>
                    <a:pt x="14" y="140"/>
                  </a:lnTo>
                  <a:lnTo>
                    <a:pt x="12" y="137"/>
                  </a:lnTo>
                  <a:lnTo>
                    <a:pt x="12" y="137"/>
                  </a:lnTo>
                  <a:lnTo>
                    <a:pt x="12" y="137"/>
                  </a:lnTo>
                  <a:lnTo>
                    <a:pt x="12" y="135"/>
                  </a:lnTo>
                  <a:lnTo>
                    <a:pt x="12" y="132"/>
                  </a:lnTo>
                  <a:lnTo>
                    <a:pt x="10" y="132"/>
                  </a:lnTo>
                  <a:lnTo>
                    <a:pt x="10" y="130"/>
                  </a:lnTo>
                  <a:lnTo>
                    <a:pt x="7" y="130"/>
                  </a:lnTo>
                  <a:lnTo>
                    <a:pt x="5" y="130"/>
                  </a:lnTo>
                  <a:lnTo>
                    <a:pt x="5" y="130"/>
                  </a:lnTo>
                  <a:lnTo>
                    <a:pt x="3" y="128"/>
                  </a:lnTo>
                  <a:lnTo>
                    <a:pt x="0" y="128"/>
                  </a:lnTo>
                  <a:lnTo>
                    <a:pt x="0" y="128"/>
                  </a:lnTo>
                  <a:lnTo>
                    <a:pt x="0" y="125"/>
                  </a:lnTo>
                  <a:lnTo>
                    <a:pt x="3" y="125"/>
                  </a:lnTo>
                  <a:lnTo>
                    <a:pt x="3" y="123"/>
                  </a:lnTo>
                  <a:lnTo>
                    <a:pt x="3" y="123"/>
                  </a:lnTo>
                  <a:lnTo>
                    <a:pt x="3" y="123"/>
                  </a:lnTo>
                  <a:lnTo>
                    <a:pt x="3" y="123"/>
                  </a:lnTo>
                  <a:lnTo>
                    <a:pt x="0" y="123"/>
                  </a:lnTo>
                  <a:lnTo>
                    <a:pt x="0" y="121"/>
                  </a:lnTo>
                  <a:lnTo>
                    <a:pt x="3" y="121"/>
                  </a:lnTo>
                  <a:lnTo>
                    <a:pt x="0" y="118"/>
                  </a:lnTo>
                  <a:lnTo>
                    <a:pt x="0" y="116"/>
                  </a:lnTo>
                  <a:lnTo>
                    <a:pt x="0" y="116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 cap="flat">
              <a:solidFill>
                <a:schemeClr val="bg2">
                  <a:lumMod val="7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>
                <a:solidFill>
                  <a:srgbClr val="000000"/>
                </a:solidFill>
              </a:endParaRPr>
            </a:p>
          </p:txBody>
        </p:sp>
        <p:sp>
          <p:nvSpPr>
            <p:cNvPr id="96" name="Freeform 27"/>
            <p:cNvSpPr>
              <a:spLocks/>
            </p:cNvSpPr>
            <p:nvPr/>
          </p:nvSpPr>
          <p:spPr bwMode="gray">
            <a:xfrm>
              <a:off x="3531164" y="3674507"/>
              <a:ext cx="669869" cy="252110"/>
            </a:xfrm>
            <a:custGeom>
              <a:avLst/>
              <a:gdLst/>
              <a:ahLst/>
              <a:cxnLst>
                <a:cxn ang="0">
                  <a:pos x="33" y="163"/>
                </a:cxn>
                <a:cxn ang="0">
                  <a:pos x="59" y="142"/>
                </a:cxn>
                <a:cxn ang="0">
                  <a:pos x="82" y="121"/>
                </a:cxn>
                <a:cxn ang="0">
                  <a:pos x="101" y="73"/>
                </a:cxn>
                <a:cxn ang="0">
                  <a:pos x="108" y="14"/>
                </a:cxn>
                <a:cxn ang="0">
                  <a:pos x="210" y="5"/>
                </a:cxn>
                <a:cxn ang="0">
                  <a:pos x="257" y="36"/>
                </a:cxn>
                <a:cxn ang="0">
                  <a:pos x="276" y="59"/>
                </a:cxn>
                <a:cxn ang="0">
                  <a:pos x="305" y="71"/>
                </a:cxn>
                <a:cxn ang="0">
                  <a:pos x="321" y="52"/>
                </a:cxn>
                <a:cxn ang="0">
                  <a:pos x="347" y="54"/>
                </a:cxn>
                <a:cxn ang="0">
                  <a:pos x="373" y="57"/>
                </a:cxn>
                <a:cxn ang="0">
                  <a:pos x="392" y="73"/>
                </a:cxn>
                <a:cxn ang="0">
                  <a:pos x="423" y="64"/>
                </a:cxn>
                <a:cxn ang="0">
                  <a:pos x="451" y="47"/>
                </a:cxn>
                <a:cxn ang="0">
                  <a:pos x="470" y="33"/>
                </a:cxn>
                <a:cxn ang="0">
                  <a:pos x="498" y="12"/>
                </a:cxn>
                <a:cxn ang="0">
                  <a:pos x="538" y="12"/>
                </a:cxn>
                <a:cxn ang="0">
                  <a:pos x="546" y="31"/>
                </a:cxn>
                <a:cxn ang="0">
                  <a:pos x="531" y="69"/>
                </a:cxn>
                <a:cxn ang="0">
                  <a:pos x="512" y="85"/>
                </a:cxn>
                <a:cxn ang="0">
                  <a:pos x="527" y="92"/>
                </a:cxn>
                <a:cxn ang="0">
                  <a:pos x="536" y="123"/>
                </a:cxn>
                <a:cxn ang="0">
                  <a:pos x="588" y="118"/>
                </a:cxn>
                <a:cxn ang="0">
                  <a:pos x="605" y="90"/>
                </a:cxn>
                <a:cxn ang="0">
                  <a:pos x="628" y="71"/>
                </a:cxn>
                <a:cxn ang="0">
                  <a:pos x="673" y="69"/>
                </a:cxn>
                <a:cxn ang="0">
                  <a:pos x="711" y="59"/>
                </a:cxn>
                <a:cxn ang="0">
                  <a:pos x="739" y="43"/>
                </a:cxn>
                <a:cxn ang="0">
                  <a:pos x="760" y="21"/>
                </a:cxn>
                <a:cxn ang="0">
                  <a:pos x="796" y="17"/>
                </a:cxn>
                <a:cxn ang="0">
                  <a:pos x="827" y="36"/>
                </a:cxn>
                <a:cxn ang="0">
                  <a:pos x="827" y="76"/>
                </a:cxn>
                <a:cxn ang="0">
                  <a:pos x="812" y="140"/>
                </a:cxn>
                <a:cxn ang="0">
                  <a:pos x="801" y="175"/>
                </a:cxn>
                <a:cxn ang="0">
                  <a:pos x="779" y="213"/>
                </a:cxn>
                <a:cxn ang="0">
                  <a:pos x="742" y="203"/>
                </a:cxn>
                <a:cxn ang="0">
                  <a:pos x="716" y="215"/>
                </a:cxn>
                <a:cxn ang="0">
                  <a:pos x="690" y="208"/>
                </a:cxn>
                <a:cxn ang="0">
                  <a:pos x="661" y="232"/>
                </a:cxn>
                <a:cxn ang="0">
                  <a:pos x="647" y="248"/>
                </a:cxn>
                <a:cxn ang="0">
                  <a:pos x="626" y="255"/>
                </a:cxn>
                <a:cxn ang="0">
                  <a:pos x="602" y="272"/>
                </a:cxn>
                <a:cxn ang="0">
                  <a:pos x="564" y="262"/>
                </a:cxn>
                <a:cxn ang="0">
                  <a:pos x="534" y="260"/>
                </a:cxn>
                <a:cxn ang="0">
                  <a:pos x="510" y="236"/>
                </a:cxn>
                <a:cxn ang="0">
                  <a:pos x="468" y="225"/>
                </a:cxn>
                <a:cxn ang="0">
                  <a:pos x="446" y="213"/>
                </a:cxn>
                <a:cxn ang="0">
                  <a:pos x="423" y="246"/>
                </a:cxn>
                <a:cxn ang="0">
                  <a:pos x="385" y="239"/>
                </a:cxn>
                <a:cxn ang="0">
                  <a:pos x="364" y="213"/>
                </a:cxn>
                <a:cxn ang="0">
                  <a:pos x="316" y="199"/>
                </a:cxn>
                <a:cxn ang="0">
                  <a:pos x="269" y="187"/>
                </a:cxn>
                <a:cxn ang="0">
                  <a:pos x="243" y="168"/>
                </a:cxn>
                <a:cxn ang="0">
                  <a:pos x="210" y="199"/>
                </a:cxn>
                <a:cxn ang="0">
                  <a:pos x="156" y="241"/>
                </a:cxn>
                <a:cxn ang="0">
                  <a:pos x="118" y="272"/>
                </a:cxn>
                <a:cxn ang="0">
                  <a:pos x="75" y="279"/>
                </a:cxn>
                <a:cxn ang="0">
                  <a:pos x="85" y="251"/>
                </a:cxn>
                <a:cxn ang="0">
                  <a:pos x="66" y="227"/>
                </a:cxn>
                <a:cxn ang="0">
                  <a:pos x="38" y="199"/>
                </a:cxn>
                <a:cxn ang="0">
                  <a:pos x="14" y="189"/>
                </a:cxn>
              </a:cxnLst>
              <a:rect l="0" t="0" r="r" b="b"/>
              <a:pathLst>
                <a:path w="829" h="288">
                  <a:moveTo>
                    <a:pt x="0" y="187"/>
                  </a:moveTo>
                  <a:lnTo>
                    <a:pt x="2" y="187"/>
                  </a:lnTo>
                  <a:lnTo>
                    <a:pt x="5" y="187"/>
                  </a:lnTo>
                  <a:lnTo>
                    <a:pt x="7" y="184"/>
                  </a:lnTo>
                  <a:lnTo>
                    <a:pt x="9" y="182"/>
                  </a:lnTo>
                  <a:lnTo>
                    <a:pt x="12" y="182"/>
                  </a:lnTo>
                  <a:lnTo>
                    <a:pt x="14" y="180"/>
                  </a:lnTo>
                  <a:lnTo>
                    <a:pt x="16" y="180"/>
                  </a:lnTo>
                  <a:lnTo>
                    <a:pt x="16" y="180"/>
                  </a:lnTo>
                  <a:lnTo>
                    <a:pt x="19" y="177"/>
                  </a:lnTo>
                  <a:lnTo>
                    <a:pt x="19" y="175"/>
                  </a:lnTo>
                  <a:lnTo>
                    <a:pt x="19" y="173"/>
                  </a:lnTo>
                  <a:lnTo>
                    <a:pt x="19" y="173"/>
                  </a:lnTo>
                  <a:lnTo>
                    <a:pt x="19" y="173"/>
                  </a:lnTo>
                  <a:lnTo>
                    <a:pt x="21" y="173"/>
                  </a:lnTo>
                  <a:lnTo>
                    <a:pt x="23" y="173"/>
                  </a:lnTo>
                  <a:lnTo>
                    <a:pt x="23" y="170"/>
                  </a:lnTo>
                  <a:lnTo>
                    <a:pt x="23" y="170"/>
                  </a:lnTo>
                  <a:lnTo>
                    <a:pt x="26" y="168"/>
                  </a:lnTo>
                  <a:lnTo>
                    <a:pt x="26" y="165"/>
                  </a:lnTo>
                  <a:lnTo>
                    <a:pt x="28" y="165"/>
                  </a:lnTo>
                  <a:lnTo>
                    <a:pt x="28" y="165"/>
                  </a:lnTo>
                  <a:lnTo>
                    <a:pt x="28" y="165"/>
                  </a:lnTo>
                  <a:lnTo>
                    <a:pt x="31" y="165"/>
                  </a:lnTo>
                  <a:lnTo>
                    <a:pt x="33" y="163"/>
                  </a:lnTo>
                  <a:lnTo>
                    <a:pt x="33" y="163"/>
                  </a:lnTo>
                  <a:lnTo>
                    <a:pt x="33" y="163"/>
                  </a:lnTo>
                  <a:lnTo>
                    <a:pt x="35" y="161"/>
                  </a:lnTo>
                  <a:lnTo>
                    <a:pt x="35" y="158"/>
                  </a:lnTo>
                  <a:lnTo>
                    <a:pt x="38" y="158"/>
                  </a:lnTo>
                  <a:lnTo>
                    <a:pt x="38" y="154"/>
                  </a:lnTo>
                  <a:lnTo>
                    <a:pt x="40" y="151"/>
                  </a:lnTo>
                  <a:lnTo>
                    <a:pt x="45" y="151"/>
                  </a:lnTo>
                  <a:lnTo>
                    <a:pt x="45" y="149"/>
                  </a:lnTo>
                  <a:lnTo>
                    <a:pt x="45" y="149"/>
                  </a:lnTo>
                  <a:lnTo>
                    <a:pt x="47" y="147"/>
                  </a:lnTo>
                  <a:lnTo>
                    <a:pt x="49" y="149"/>
                  </a:lnTo>
                  <a:lnTo>
                    <a:pt x="49" y="149"/>
                  </a:lnTo>
                  <a:lnTo>
                    <a:pt x="49" y="151"/>
                  </a:lnTo>
                  <a:lnTo>
                    <a:pt x="52" y="151"/>
                  </a:lnTo>
                  <a:lnTo>
                    <a:pt x="54" y="154"/>
                  </a:lnTo>
                  <a:lnTo>
                    <a:pt x="57" y="151"/>
                  </a:lnTo>
                  <a:lnTo>
                    <a:pt x="57" y="151"/>
                  </a:lnTo>
                  <a:lnTo>
                    <a:pt x="57" y="149"/>
                  </a:lnTo>
                  <a:lnTo>
                    <a:pt x="57" y="147"/>
                  </a:lnTo>
                  <a:lnTo>
                    <a:pt x="57" y="147"/>
                  </a:lnTo>
                  <a:lnTo>
                    <a:pt x="59" y="147"/>
                  </a:lnTo>
                  <a:lnTo>
                    <a:pt x="59" y="144"/>
                  </a:lnTo>
                  <a:lnTo>
                    <a:pt x="57" y="144"/>
                  </a:lnTo>
                  <a:lnTo>
                    <a:pt x="59" y="142"/>
                  </a:lnTo>
                  <a:lnTo>
                    <a:pt x="61" y="142"/>
                  </a:lnTo>
                  <a:lnTo>
                    <a:pt x="61" y="142"/>
                  </a:lnTo>
                  <a:lnTo>
                    <a:pt x="64" y="144"/>
                  </a:lnTo>
                  <a:lnTo>
                    <a:pt x="64" y="144"/>
                  </a:lnTo>
                  <a:lnTo>
                    <a:pt x="66" y="144"/>
                  </a:lnTo>
                  <a:lnTo>
                    <a:pt x="68" y="142"/>
                  </a:lnTo>
                  <a:lnTo>
                    <a:pt x="66" y="140"/>
                  </a:lnTo>
                  <a:lnTo>
                    <a:pt x="68" y="140"/>
                  </a:lnTo>
                  <a:lnTo>
                    <a:pt x="68" y="137"/>
                  </a:lnTo>
                  <a:lnTo>
                    <a:pt x="71" y="137"/>
                  </a:lnTo>
                  <a:lnTo>
                    <a:pt x="71" y="135"/>
                  </a:lnTo>
                  <a:lnTo>
                    <a:pt x="73" y="135"/>
                  </a:lnTo>
                  <a:lnTo>
                    <a:pt x="73" y="135"/>
                  </a:lnTo>
                  <a:lnTo>
                    <a:pt x="73" y="132"/>
                  </a:lnTo>
                  <a:lnTo>
                    <a:pt x="73" y="132"/>
                  </a:lnTo>
                  <a:lnTo>
                    <a:pt x="73" y="130"/>
                  </a:lnTo>
                  <a:lnTo>
                    <a:pt x="73" y="128"/>
                  </a:lnTo>
                  <a:lnTo>
                    <a:pt x="75" y="128"/>
                  </a:lnTo>
                  <a:lnTo>
                    <a:pt x="78" y="125"/>
                  </a:lnTo>
                  <a:lnTo>
                    <a:pt x="78" y="125"/>
                  </a:lnTo>
                  <a:lnTo>
                    <a:pt x="80" y="125"/>
                  </a:lnTo>
                  <a:lnTo>
                    <a:pt x="82" y="125"/>
                  </a:lnTo>
                  <a:lnTo>
                    <a:pt x="82" y="123"/>
                  </a:lnTo>
                  <a:lnTo>
                    <a:pt x="82" y="123"/>
                  </a:lnTo>
                  <a:lnTo>
                    <a:pt x="82" y="121"/>
                  </a:lnTo>
                  <a:lnTo>
                    <a:pt x="85" y="121"/>
                  </a:lnTo>
                  <a:lnTo>
                    <a:pt x="85" y="121"/>
                  </a:lnTo>
                  <a:lnTo>
                    <a:pt x="87" y="118"/>
                  </a:lnTo>
                  <a:lnTo>
                    <a:pt x="87" y="116"/>
                  </a:lnTo>
                  <a:lnTo>
                    <a:pt x="87" y="116"/>
                  </a:lnTo>
                  <a:lnTo>
                    <a:pt x="90" y="116"/>
                  </a:lnTo>
                  <a:lnTo>
                    <a:pt x="90" y="116"/>
                  </a:lnTo>
                  <a:lnTo>
                    <a:pt x="90" y="114"/>
                  </a:lnTo>
                  <a:lnTo>
                    <a:pt x="92" y="114"/>
                  </a:lnTo>
                  <a:lnTo>
                    <a:pt x="94" y="116"/>
                  </a:lnTo>
                  <a:lnTo>
                    <a:pt x="94" y="114"/>
                  </a:lnTo>
                  <a:lnTo>
                    <a:pt x="97" y="114"/>
                  </a:lnTo>
                  <a:lnTo>
                    <a:pt x="97" y="111"/>
                  </a:lnTo>
                  <a:lnTo>
                    <a:pt x="94" y="111"/>
                  </a:lnTo>
                  <a:lnTo>
                    <a:pt x="94" y="109"/>
                  </a:lnTo>
                  <a:lnTo>
                    <a:pt x="94" y="106"/>
                  </a:lnTo>
                  <a:lnTo>
                    <a:pt x="97" y="102"/>
                  </a:lnTo>
                  <a:lnTo>
                    <a:pt x="99" y="99"/>
                  </a:lnTo>
                  <a:lnTo>
                    <a:pt x="101" y="90"/>
                  </a:lnTo>
                  <a:lnTo>
                    <a:pt x="101" y="90"/>
                  </a:lnTo>
                  <a:lnTo>
                    <a:pt x="101" y="88"/>
                  </a:lnTo>
                  <a:lnTo>
                    <a:pt x="104" y="78"/>
                  </a:lnTo>
                  <a:lnTo>
                    <a:pt x="104" y="76"/>
                  </a:lnTo>
                  <a:lnTo>
                    <a:pt x="101" y="73"/>
                  </a:lnTo>
                  <a:lnTo>
                    <a:pt x="101" y="73"/>
                  </a:lnTo>
                  <a:lnTo>
                    <a:pt x="101" y="71"/>
                  </a:lnTo>
                  <a:lnTo>
                    <a:pt x="99" y="71"/>
                  </a:lnTo>
                  <a:lnTo>
                    <a:pt x="99" y="71"/>
                  </a:lnTo>
                  <a:lnTo>
                    <a:pt x="92" y="69"/>
                  </a:lnTo>
                  <a:lnTo>
                    <a:pt x="90" y="66"/>
                  </a:lnTo>
                  <a:lnTo>
                    <a:pt x="85" y="64"/>
                  </a:lnTo>
                  <a:lnTo>
                    <a:pt x="85" y="59"/>
                  </a:lnTo>
                  <a:lnTo>
                    <a:pt x="87" y="54"/>
                  </a:lnTo>
                  <a:lnTo>
                    <a:pt x="90" y="50"/>
                  </a:lnTo>
                  <a:lnTo>
                    <a:pt x="90" y="47"/>
                  </a:lnTo>
                  <a:lnTo>
                    <a:pt x="90" y="45"/>
                  </a:lnTo>
                  <a:lnTo>
                    <a:pt x="90" y="43"/>
                  </a:lnTo>
                  <a:lnTo>
                    <a:pt x="90" y="43"/>
                  </a:lnTo>
                  <a:lnTo>
                    <a:pt x="90" y="43"/>
                  </a:lnTo>
                  <a:lnTo>
                    <a:pt x="90" y="40"/>
                  </a:lnTo>
                  <a:lnTo>
                    <a:pt x="85" y="36"/>
                  </a:lnTo>
                  <a:lnTo>
                    <a:pt x="82" y="36"/>
                  </a:lnTo>
                  <a:lnTo>
                    <a:pt x="80" y="28"/>
                  </a:lnTo>
                  <a:lnTo>
                    <a:pt x="80" y="26"/>
                  </a:lnTo>
                  <a:lnTo>
                    <a:pt x="82" y="24"/>
                  </a:lnTo>
                  <a:lnTo>
                    <a:pt x="85" y="24"/>
                  </a:lnTo>
                  <a:lnTo>
                    <a:pt x="87" y="24"/>
                  </a:lnTo>
                  <a:lnTo>
                    <a:pt x="90" y="21"/>
                  </a:lnTo>
                  <a:lnTo>
                    <a:pt x="101" y="17"/>
                  </a:lnTo>
                  <a:lnTo>
                    <a:pt x="108" y="14"/>
                  </a:lnTo>
                  <a:lnTo>
                    <a:pt x="118" y="14"/>
                  </a:lnTo>
                  <a:lnTo>
                    <a:pt x="125" y="14"/>
                  </a:lnTo>
                  <a:lnTo>
                    <a:pt x="130" y="14"/>
                  </a:lnTo>
                  <a:lnTo>
                    <a:pt x="134" y="14"/>
                  </a:lnTo>
                  <a:lnTo>
                    <a:pt x="137" y="14"/>
                  </a:lnTo>
                  <a:lnTo>
                    <a:pt x="137" y="17"/>
                  </a:lnTo>
                  <a:lnTo>
                    <a:pt x="139" y="21"/>
                  </a:lnTo>
                  <a:lnTo>
                    <a:pt x="153" y="19"/>
                  </a:lnTo>
                  <a:lnTo>
                    <a:pt x="163" y="17"/>
                  </a:lnTo>
                  <a:lnTo>
                    <a:pt x="168" y="17"/>
                  </a:lnTo>
                  <a:lnTo>
                    <a:pt x="170" y="14"/>
                  </a:lnTo>
                  <a:lnTo>
                    <a:pt x="175" y="17"/>
                  </a:lnTo>
                  <a:lnTo>
                    <a:pt x="177" y="14"/>
                  </a:lnTo>
                  <a:lnTo>
                    <a:pt x="182" y="7"/>
                  </a:lnTo>
                  <a:lnTo>
                    <a:pt x="184" y="7"/>
                  </a:lnTo>
                  <a:lnTo>
                    <a:pt x="184" y="10"/>
                  </a:lnTo>
                  <a:lnTo>
                    <a:pt x="189" y="7"/>
                  </a:lnTo>
                  <a:lnTo>
                    <a:pt x="191" y="7"/>
                  </a:lnTo>
                  <a:lnTo>
                    <a:pt x="194" y="7"/>
                  </a:lnTo>
                  <a:lnTo>
                    <a:pt x="194" y="7"/>
                  </a:lnTo>
                  <a:lnTo>
                    <a:pt x="196" y="7"/>
                  </a:lnTo>
                  <a:lnTo>
                    <a:pt x="198" y="7"/>
                  </a:lnTo>
                  <a:lnTo>
                    <a:pt x="203" y="7"/>
                  </a:lnTo>
                  <a:lnTo>
                    <a:pt x="208" y="5"/>
                  </a:lnTo>
                  <a:lnTo>
                    <a:pt x="210" y="5"/>
                  </a:lnTo>
                  <a:lnTo>
                    <a:pt x="212" y="5"/>
                  </a:lnTo>
                  <a:lnTo>
                    <a:pt x="215" y="5"/>
                  </a:lnTo>
                  <a:lnTo>
                    <a:pt x="217" y="7"/>
                  </a:lnTo>
                  <a:lnTo>
                    <a:pt x="220" y="7"/>
                  </a:lnTo>
                  <a:lnTo>
                    <a:pt x="222" y="7"/>
                  </a:lnTo>
                  <a:lnTo>
                    <a:pt x="222" y="10"/>
                  </a:lnTo>
                  <a:lnTo>
                    <a:pt x="222" y="10"/>
                  </a:lnTo>
                  <a:lnTo>
                    <a:pt x="224" y="12"/>
                  </a:lnTo>
                  <a:lnTo>
                    <a:pt x="227" y="14"/>
                  </a:lnTo>
                  <a:lnTo>
                    <a:pt x="229" y="14"/>
                  </a:lnTo>
                  <a:lnTo>
                    <a:pt x="231" y="19"/>
                  </a:lnTo>
                  <a:lnTo>
                    <a:pt x="234" y="19"/>
                  </a:lnTo>
                  <a:lnTo>
                    <a:pt x="236" y="19"/>
                  </a:lnTo>
                  <a:lnTo>
                    <a:pt x="236" y="21"/>
                  </a:lnTo>
                  <a:lnTo>
                    <a:pt x="238" y="24"/>
                  </a:lnTo>
                  <a:lnTo>
                    <a:pt x="241" y="24"/>
                  </a:lnTo>
                  <a:lnTo>
                    <a:pt x="241" y="24"/>
                  </a:lnTo>
                  <a:lnTo>
                    <a:pt x="245" y="26"/>
                  </a:lnTo>
                  <a:lnTo>
                    <a:pt x="248" y="26"/>
                  </a:lnTo>
                  <a:lnTo>
                    <a:pt x="248" y="26"/>
                  </a:lnTo>
                  <a:lnTo>
                    <a:pt x="250" y="28"/>
                  </a:lnTo>
                  <a:lnTo>
                    <a:pt x="253" y="31"/>
                  </a:lnTo>
                  <a:lnTo>
                    <a:pt x="257" y="33"/>
                  </a:lnTo>
                  <a:lnTo>
                    <a:pt x="257" y="36"/>
                  </a:lnTo>
                  <a:lnTo>
                    <a:pt x="257" y="36"/>
                  </a:lnTo>
                  <a:lnTo>
                    <a:pt x="260" y="40"/>
                  </a:lnTo>
                  <a:lnTo>
                    <a:pt x="260" y="43"/>
                  </a:lnTo>
                  <a:lnTo>
                    <a:pt x="262" y="43"/>
                  </a:lnTo>
                  <a:lnTo>
                    <a:pt x="262" y="43"/>
                  </a:lnTo>
                  <a:lnTo>
                    <a:pt x="264" y="43"/>
                  </a:lnTo>
                  <a:lnTo>
                    <a:pt x="262" y="43"/>
                  </a:lnTo>
                  <a:lnTo>
                    <a:pt x="260" y="45"/>
                  </a:lnTo>
                  <a:lnTo>
                    <a:pt x="260" y="47"/>
                  </a:lnTo>
                  <a:lnTo>
                    <a:pt x="260" y="50"/>
                  </a:lnTo>
                  <a:lnTo>
                    <a:pt x="260" y="50"/>
                  </a:lnTo>
                  <a:lnTo>
                    <a:pt x="260" y="52"/>
                  </a:lnTo>
                  <a:lnTo>
                    <a:pt x="262" y="52"/>
                  </a:lnTo>
                  <a:lnTo>
                    <a:pt x="264" y="50"/>
                  </a:lnTo>
                  <a:lnTo>
                    <a:pt x="264" y="52"/>
                  </a:lnTo>
                  <a:lnTo>
                    <a:pt x="264" y="52"/>
                  </a:lnTo>
                  <a:lnTo>
                    <a:pt x="267" y="52"/>
                  </a:lnTo>
                  <a:lnTo>
                    <a:pt x="267" y="54"/>
                  </a:lnTo>
                  <a:lnTo>
                    <a:pt x="267" y="57"/>
                  </a:lnTo>
                  <a:lnTo>
                    <a:pt x="267" y="57"/>
                  </a:lnTo>
                  <a:lnTo>
                    <a:pt x="267" y="57"/>
                  </a:lnTo>
                  <a:lnTo>
                    <a:pt x="269" y="57"/>
                  </a:lnTo>
                  <a:lnTo>
                    <a:pt x="269" y="57"/>
                  </a:lnTo>
                  <a:lnTo>
                    <a:pt x="271" y="54"/>
                  </a:lnTo>
                  <a:lnTo>
                    <a:pt x="274" y="57"/>
                  </a:lnTo>
                  <a:lnTo>
                    <a:pt x="276" y="59"/>
                  </a:lnTo>
                  <a:lnTo>
                    <a:pt x="281" y="59"/>
                  </a:lnTo>
                  <a:lnTo>
                    <a:pt x="281" y="59"/>
                  </a:lnTo>
                  <a:lnTo>
                    <a:pt x="283" y="62"/>
                  </a:lnTo>
                  <a:lnTo>
                    <a:pt x="286" y="64"/>
                  </a:lnTo>
                  <a:lnTo>
                    <a:pt x="286" y="66"/>
                  </a:lnTo>
                  <a:lnTo>
                    <a:pt x="286" y="66"/>
                  </a:lnTo>
                  <a:lnTo>
                    <a:pt x="286" y="71"/>
                  </a:lnTo>
                  <a:lnTo>
                    <a:pt x="286" y="71"/>
                  </a:lnTo>
                  <a:lnTo>
                    <a:pt x="288" y="73"/>
                  </a:lnTo>
                  <a:lnTo>
                    <a:pt x="286" y="76"/>
                  </a:lnTo>
                  <a:lnTo>
                    <a:pt x="286" y="76"/>
                  </a:lnTo>
                  <a:lnTo>
                    <a:pt x="290" y="73"/>
                  </a:lnTo>
                  <a:lnTo>
                    <a:pt x="293" y="71"/>
                  </a:lnTo>
                  <a:lnTo>
                    <a:pt x="295" y="71"/>
                  </a:lnTo>
                  <a:lnTo>
                    <a:pt x="295" y="71"/>
                  </a:lnTo>
                  <a:lnTo>
                    <a:pt x="297" y="71"/>
                  </a:lnTo>
                  <a:lnTo>
                    <a:pt x="297" y="73"/>
                  </a:lnTo>
                  <a:lnTo>
                    <a:pt x="297" y="76"/>
                  </a:lnTo>
                  <a:lnTo>
                    <a:pt x="300" y="76"/>
                  </a:lnTo>
                  <a:lnTo>
                    <a:pt x="302" y="76"/>
                  </a:lnTo>
                  <a:lnTo>
                    <a:pt x="302" y="76"/>
                  </a:lnTo>
                  <a:lnTo>
                    <a:pt x="302" y="76"/>
                  </a:lnTo>
                  <a:lnTo>
                    <a:pt x="302" y="73"/>
                  </a:lnTo>
                  <a:lnTo>
                    <a:pt x="302" y="73"/>
                  </a:lnTo>
                  <a:lnTo>
                    <a:pt x="305" y="71"/>
                  </a:lnTo>
                  <a:lnTo>
                    <a:pt x="305" y="71"/>
                  </a:lnTo>
                  <a:lnTo>
                    <a:pt x="305" y="69"/>
                  </a:lnTo>
                  <a:lnTo>
                    <a:pt x="305" y="66"/>
                  </a:lnTo>
                  <a:lnTo>
                    <a:pt x="305" y="66"/>
                  </a:lnTo>
                  <a:lnTo>
                    <a:pt x="305" y="64"/>
                  </a:lnTo>
                  <a:lnTo>
                    <a:pt x="305" y="64"/>
                  </a:lnTo>
                  <a:lnTo>
                    <a:pt x="307" y="64"/>
                  </a:lnTo>
                  <a:lnTo>
                    <a:pt x="307" y="62"/>
                  </a:lnTo>
                  <a:lnTo>
                    <a:pt x="309" y="64"/>
                  </a:lnTo>
                  <a:lnTo>
                    <a:pt x="309" y="64"/>
                  </a:lnTo>
                  <a:lnTo>
                    <a:pt x="309" y="62"/>
                  </a:lnTo>
                  <a:lnTo>
                    <a:pt x="312" y="62"/>
                  </a:lnTo>
                  <a:lnTo>
                    <a:pt x="312" y="62"/>
                  </a:lnTo>
                  <a:lnTo>
                    <a:pt x="314" y="62"/>
                  </a:lnTo>
                  <a:lnTo>
                    <a:pt x="314" y="59"/>
                  </a:lnTo>
                  <a:lnTo>
                    <a:pt x="314" y="57"/>
                  </a:lnTo>
                  <a:lnTo>
                    <a:pt x="316" y="59"/>
                  </a:lnTo>
                  <a:lnTo>
                    <a:pt x="319" y="59"/>
                  </a:lnTo>
                  <a:lnTo>
                    <a:pt x="319" y="59"/>
                  </a:lnTo>
                  <a:lnTo>
                    <a:pt x="321" y="59"/>
                  </a:lnTo>
                  <a:lnTo>
                    <a:pt x="321" y="57"/>
                  </a:lnTo>
                  <a:lnTo>
                    <a:pt x="321" y="54"/>
                  </a:lnTo>
                  <a:lnTo>
                    <a:pt x="321" y="52"/>
                  </a:lnTo>
                  <a:lnTo>
                    <a:pt x="321" y="52"/>
                  </a:lnTo>
                  <a:lnTo>
                    <a:pt x="321" y="52"/>
                  </a:lnTo>
                  <a:lnTo>
                    <a:pt x="321" y="52"/>
                  </a:lnTo>
                  <a:lnTo>
                    <a:pt x="323" y="52"/>
                  </a:lnTo>
                  <a:lnTo>
                    <a:pt x="326" y="52"/>
                  </a:lnTo>
                  <a:lnTo>
                    <a:pt x="326" y="52"/>
                  </a:lnTo>
                  <a:lnTo>
                    <a:pt x="326" y="50"/>
                  </a:lnTo>
                  <a:lnTo>
                    <a:pt x="328" y="52"/>
                  </a:lnTo>
                  <a:lnTo>
                    <a:pt x="328" y="50"/>
                  </a:lnTo>
                  <a:lnTo>
                    <a:pt x="331" y="50"/>
                  </a:lnTo>
                  <a:lnTo>
                    <a:pt x="331" y="50"/>
                  </a:lnTo>
                  <a:lnTo>
                    <a:pt x="331" y="50"/>
                  </a:lnTo>
                  <a:lnTo>
                    <a:pt x="333" y="47"/>
                  </a:lnTo>
                  <a:lnTo>
                    <a:pt x="331" y="47"/>
                  </a:lnTo>
                  <a:lnTo>
                    <a:pt x="333" y="47"/>
                  </a:lnTo>
                  <a:lnTo>
                    <a:pt x="333" y="47"/>
                  </a:lnTo>
                  <a:lnTo>
                    <a:pt x="333" y="45"/>
                  </a:lnTo>
                  <a:lnTo>
                    <a:pt x="335" y="45"/>
                  </a:lnTo>
                  <a:lnTo>
                    <a:pt x="338" y="47"/>
                  </a:lnTo>
                  <a:lnTo>
                    <a:pt x="338" y="47"/>
                  </a:lnTo>
                  <a:lnTo>
                    <a:pt x="340" y="50"/>
                  </a:lnTo>
                  <a:lnTo>
                    <a:pt x="340" y="50"/>
                  </a:lnTo>
                  <a:lnTo>
                    <a:pt x="342" y="52"/>
                  </a:lnTo>
                  <a:lnTo>
                    <a:pt x="342" y="52"/>
                  </a:lnTo>
                  <a:lnTo>
                    <a:pt x="342" y="52"/>
                  </a:lnTo>
                  <a:lnTo>
                    <a:pt x="342" y="54"/>
                  </a:lnTo>
                  <a:lnTo>
                    <a:pt x="347" y="54"/>
                  </a:lnTo>
                  <a:lnTo>
                    <a:pt x="347" y="57"/>
                  </a:lnTo>
                  <a:lnTo>
                    <a:pt x="347" y="57"/>
                  </a:lnTo>
                  <a:lnTo>
                    <a:pt x="347" y="59"/>
                  </a:lnTo>
                  <a:lnTo>
                    <a:pt x="347" y="62"/>
                  </a:lnTo>
                  <a:lnTo>
                    <a:pt x="349" y="62"/>
                  </a:lnTo>
                  <a:lnTo>
                    <a:pt x="349" y="64"/>
                  </a:lnTo>
                  <a:lnTo>
                    <a:pt x="352" y="64"/>
                  </a:lnTo>
                  <a:lnTo>
                    <a:pt x="352" y="62"/>
                  </a:lnTo>
                  <a:lnTo>
                    <a:pt x="352" y="64"/>
                  </a:lnTo>
                  <a:lnTo>
                    <a:pt x="352" y="62"/>
                  </a:lnTo>
                  <a:lnTo>
                    <a:pt x="354" y="64"/>
                  </a:lnTo>
                  <a:lnTo>
                    <a:pt x="357" y="62"/>
                  </a:lnTo>
                  <a:lnTo>
                    <a:pt x="359" y="64"/>
                  </a:lnTo>
                  <a:lnTo>
                    <a:pt x="359" y="62"/>
                  </a:lnTo>
                  <a:lnTo>
                    <a:pt x="364" y="62"/>
                  </a:lnTo>
                  <a:lnTo>
                    <a:pt x="364" y="62"/>
                  </a:lnTo>
                  <a:lnTo>
                    <a:pt x="364" y="59"/>
                  </a:lnTo>
                  <a:lnTo>
                    <a:pt x="366" y="59"/>
                  </a:lnTo>
                  <a:lnTo>
                    <a:pt x="368" y="59"/>
                  </a:lnTo>
                  <a:lnTo>
                    <a:pt x="371" y="59"/>
                  </a:lnTo>
                  <a:lnTo>
                    <a:pt x="371" y="59"/>
                  </a:lnTo>
                  <a:lnTo>
                    <a:pt x="373" y="59"/>
                  </a:lnTo>
                  <a:lnTo>
                    <a:pt x="373" y="59"/>
                  </a:lnTo>
                  <a:lnTo>
                    <a:pt x="375" y="59"/>
                  </a:lnTo>
                  <a:lnTo>
                    <a:pt x="373" y="57"/>
                  </a:lnTo>
                  <a:lnTo>
                    <a:pt x="378" y="57"/>
                  </a:lnTo>
                  <a:lnTo>
                    <a:pt x="378" y="57"/>
                  </a:lnTo>
                  <a:lnTo>
                    <a:pt x="378" y="54"/>
                  </a:lnTo>
                  <a:lnTo>
                    <a:pt x="378" y="54"/>
                  </a:lnTo>
                  <a:lnTo>
                    <a:pt x="380" y="52"/>
                  </a:lnTo>
                  <a:lnTo>
                    <a:pt x="383" y="57"/>
                  </a:lnTo>
                  <a:lnTo>
                    <a:pt x="383" y="54"/>
                  </a:lnTo>
                  <a:lnTo>
                    <a:pt x="383" y="57"/>
                  </a:lnTo>
                  <a:lnTo>
                    <a:pt x="385" y="54"/>
                  </a:lnTo>
                  <a:lnTo>
                    <a:pt x="385" y="57"/>
                  </a:lnTo>
                  <a:lnTo>
                    <a:pt x="385" y="57"/>
                  </a:lnTo>
                  <a:lnTo>
                    <a:pt x="385" y="59"/>
                  </a:lnTo>
                  <a:lnTo>
                    <a:pt x="385" y="59"/>
                  </a:lnTo>
                  <a:lnTo>
                    <a:pt x="385" y="59"/>
                  </a:lnTo>
                  <a:lnTo>
                    <a:pt x="385" y="62"/>
                  </a:lnTo>
                  <a:lnTo>
                    <a:pt x="387" y="62"/>
                  </a:lnTo>
                  <a:lnTo>
                    <a:pt x="385" y="64"/>
                  </a:lnTo>
                  <a:lnTo>
                    <a:pt x="387" y="64"/>
                  </a:lnTo>
                  <a:lnTo>
                    <a:pt x="387" y="66"/>
                  </a:lnTo>
                  <a:lnTo>
                    <a:pt x="387" y="66"/>
                  </a:lnTo>
                  <a:lnTo>
                    <a:pt x="387" y="69"/>
                  </a:lnTo>
                  <a:lnTo>
                    <a:pt x="387" y="71"/>
                  </a:lnTo>
                  <a:lnTo>
                    <a:pt x="390" y="73"/>
                  </a:lnTo>
                  <a:lnTo>
                    <a:pt x="390" y="73"/>
                  </a:lnTo>
                  <a:lnTo>
                    <a:pt x="392" y="73"/>
                  </a:lnTo>
                  <a:lnTo>
                    <a:pt x="392" y="73"/>
                  </a:lnTo>
                  <a:lnTo>
                    <a:pt x="394" y="73"/>
                  </a:lnTo>
                  <a:lnTo>
                    <a:pt x="394" y="71"/>
                  </a:lnTo>
                  <a:lnTo>
                    <a:pt x="397" y="71"/>
                  </a:lnTo>
                  <a:lnTo>
                    <a:pt x="397" y="71"/>
                  </a:lnTo>
                  <a:lnTo>
                    <a:pt x="399" y="71"/>
                  </a:lnTo>
                  <a:lnTo>
                    <a:pt x="401" y="69"/>
                  </a:lnTo>
                  <a:lnTo>
                    <a:pt x="404" y="69"/>
                  </a:lnTo>
                  <a:lnTo>
                    <a:pt x="404" y="66"/>
                  </a:lnTo>
                  <a:lnTo>
                    <a:pt x="406" y="66"/>
                  </a:lnTo>
                  <a:lnTo>
                    <a:pt x="406" y="66"/>
                  </a:lnTo>
                  <a:lnTo>
                    <a:pt x="408" y="69"/>
                  </a:lnTo>
                  <a:lnTo>
                    <a:pt x="408" y="69"/>
                  </a:lnTo>
                  <a:lnTo>
                    <a:pt x="411" y="71"/>
                  </a:lnTo>
                  <a:lnTo>
                    <a:pt x="411" y="71"/>
                  </a:lnTo>
                  <a:lnTo>
                    <a:pt x="411" y="71"/>
                  </a:lnTo>
                  <a:lnTo>
                    <a:pt x="416" y="73"/>
                  </a:lnTo>
                  <a:lnTo>
                    <a:pt x="416" y="71"/>
                  </a:lnTo>
                  <a:lnTo>
                    <a:pt x="416" y="71"/>
                  </a:lnTo>
                  <a:lnTo>
                    <a:pt x="416" y="69"/>
                  </a:lnTo>
                  <a:lnTo>
                    <a:pt x="416" y="69"/>
                  </a:lnTo>
                  <a:lnTo>
                    <a:pt x="416" y="66"/>
                  </a:lnTo>
                  <a:lnTo>
                    <a:pt x="416" y="66"/>
                  </a:lnTo>
                  <a:lnTo>
                    <a:pt x="420" y="62"/>
                  </a:lnTo>
                  <a:lnTo>
                    <a:pt x="423" y="64"/>
                  </a:lnTo>
                  <a:lnTo>
                    <a:pt x="425" y="64"/>
                  </a:lnTo>
                  <a:lnTo>
                    <a:pt x="425" y="66"/>
                  </a:lnTo>
                  <a:lnTo>
                    <a:pt x="425" y="66"/>
                  </a:lnTo>
                  <a:lnTo>
                    <a:pt x="425" y="66"/>
                  </a:lnTo>
                  <a:lnTo>
                    <a:pt x="427" y="66"/>
                  </a:lnTo>
                  <a:lnTo>
                    <a:pt x="430" y="66"/>
                  </a:lnTo>
                  <a:lnTo>
                    <a:pt x="430" y="66"/>
                  </a:lnTo>
                  <a:lnTo>
                    <a:pt x="430" y="64"/>
                  </a:lnTo>
                  <a:lnTo>
                    <a:pt x="432" y="64"/>
                  </a:lnTo>
                  <a:lnTo>
                    <a:pt x="432" y="62"/>
                  </a:lnTo>
                  <a:lnTo>
                    <a:pt x="434" y="59"/>
                  </a:lnTo>
                  <a:lnTo>
                    <a:pt x="434" y="57"/>
                  </a:lnTo>
                  <a:lnTo>
                    <a:pt x="437" y="57"/>
                  </a:lnTo>
                  <a:lnTo>
                    <a:pt x="439" y="57"/>
                  </a:lnTo>
                  <a:lnTo>
                    <a:pt x="439" y="57"/>
                  </a:lnTo>
                  <a:lnTo>
                    <a:pt x="439" y="57"/>
                  </a:lnTo>
                  <a:lnTo>
                    <a:pt x="437" y="57"/>
                  </a:lnTo>
                  <a:lnTo>
                    <a:pt x="439" y="54"/>
                  </a:lnTo>
                  <a:lnTo>
                    <a:pt x="439" y="54"/>
                  </a:lnTo>
                  <a:lnTo>
                    <a:pt x="442" y="50"/>
                  </a:lnTo>
                  <a:lnTo>
                    <a:pt x="444" y="50"/>
                  </a:lnTo>
                  <a:lnTo>
                    <a:pt x="444" y="50"/>
                  </a:lnTo>
                  <a:lnTo>
                    <a:pt x="449" y="50"/>
                  </a:lnTo>
                  <a:lnTo>
                    <a:pt x="451" y="47"/>
                  </a:lnTo>
                  <a:lnTo>
                    <a:pt x="451" y="47"/>
                  </a:lnTo>
                  <a:lnTo>
                    <a:pt x="453" y="47"/>
                  </a:lnTo>
                  <a:lnTo>
                    <a:pt x="453" y="47"/>
                  </a:lnTo>
                  <a:lnTo>
                    <a:pt x="453" y="50"/>
                  </a:lnTo>
                  <a:lnTo>
                    <a:pt x="456" y="50"/>
                  </a:lnTo>
                  <a:lnTo>
                    <a:pt x="456" y="50"/>
                  </a:lnTo>
                  <a:lnTo>
                    <a:pt x="456" y="52"/>
                  </a:lnTo>
                  <a:lnTo>
                    <a:pt x="456" y="52"/>
                  </a:lnTo>
                  <a:lnTo>
                    <a:pt x="458" y="50"/>
                  </a:lnTo>
                  <a:lnTo>
                    <a:pt x="458" y="50"/>
                  </a:lnTo>
                  <a:lnTo>
                    <a:pt x="458" y="47"/>
                  </a:lnTo>
                  <a:lnTo>
                    <a:pt x="456" y="47"/>
                  </a:lnTo>
                  <a:lnTo>
                    <a:pt x="456" y="47"/>
                  </a:lnTo>
                  <a:lnTo>
                    <a:pt x="456" y="45"/>
                  </a:lnTo>
                  <a:lnTo>
                    <a:pt x="458" y="45"/>
                  </a:lnTo>
                  <a:lnTo>
                    <a:pt x="458" y="43"/>
                  </a:lnTo>
                  <a:lnTo>
                    <a:pt x="458" y="43"/>
                  </a:lnTo>
                  <a:lnTo>
                    <a:pt x="460" y="40"/>
                  </a:lnTo>
                  <a:lnTo>
                    <a:pt x="460" y="40"/>
                  </a:lnTo>
                  <a:lnTo>
                    <a:pt x="463" y="40"/>
                  </a:lnTo>
                  <a:lnTo>
                    <a:pt x="463" y="38"/>
                  </a:lnTo>
                  <a:lnTo>
                    <a:pt x="463" y="38"/>
                  </a:lnTo>
                  <a:lnTo>
                    <a:pt x="465" y="36"/>
                  </a:lnTo>
                  <a:lnTo>
                    <a:pt x="465" y="33"/>
                  </a:lnTo>
                  <a:lnTo>
                    <a:pt x="468" y="33"/>
                  </a:lnTo>
                  <a:lnTo>
                    <a:pt x="470" y="33"/>
                  </a:lnTo>
                  <a:lnTo>
                    <a:pt x="470" y="33"/>
                  </a:lnTo>
                  <a:lnTo>
                    <a:pt x="472" y="33"/>
                  </a:lnTo>
                  <a:lnTo>
                    <a:pt x="475" y="33"/>
                  </a:lnTo>
                  <a:lnTo>
                    <a:pt x="475" y="33"/>
                  </a:lnTo>
                  <a:lnTo>
                    <a:pt x="475" y="31"/>
                  </a:lnTo>
                  <a:lnTo>
                    <a:pt x="477" y="31"/>
                  </a:lnTo>
                  <a:lnTo>
                    <a:pt x="479" y="28"/>
                  </a:lnTo>
                  <a:lnTo>
                    <a:pt x="482" y="28"/>
                  </a:lnTo>
                  <a:lnTo>
                    <a:pt x="484" y="26"/>
                  </a:lnTo>
                  <a:lnTo>
                    <a:pt x="484" y="26"/>
                  </a:lnTo>
                  <a:lnTo>
                    <a:pt x="484" y="24"/>
                  </a:lnTo>
                  <a:lnTo>
                    <a:pt x="486" y="21"/>
                  </a:lnTo>
                  <a:lnTo>
                    <a:pt x="486" y="21"/>
                  </a:lnTo>
                  <a:lnTo>
                    <a:pt x="486" y="21"/>
                  </a:lnTo>
                  <a:lnTo>
                    <a:pt x="486" y="19"/>
                  </a:lnTo>
                  <a:lnTo>
                    <a:pt x="489" y="19"/>
                  </a:lnTo>
                  <a:lnTo>
                    <a:pt x="489" y="17"/>
                  </a:lnTo>
                  <a:lnTo>
                    <a:pt x="489" y="17"/>
                  </a:lnTo>
                  <a:lnTo>
                    <a:pt x="489" y="14"/>
                  </a:lnTo>
                  <a:lnTo>
                    <a:pt x="489" y="12"/>
                  </a:lnTo>
                  <a:lnTo>
                    <a:pt x="489" y="12"/>
                  </a:lnTo>
                  <a:lnTo>
                    <a:pt x="494" y="12"/>
                  </a:lnTo>
                  <a:lnTo>
                    <a:pt x="496" y="12"/>
                  </a:lnTo>
                  <a:lnTo>
                    <a:pt x="496" y="12"/>
                  </a:lnTo>
                  <a:lnTo>
                    <a:pt x="498" y="12"/>
                  </a:lnTo>
                  <a:lnTo>
                    <a:pt x="498" y="12"/>
                  </a:lnTo>
                  <a:lnTo>
                    <a:pt x="501" y="12"/>
                  </a:lnTo>
                  <a:lnTo>
                    <a:pt x="503" y="12"/>
                  </a:lnTo>
                  <a:lnTo>
                    <a:pt x="508" y="7"/>
                  </a:lnTo>
                  <a:lnTo>
                    <a:pt x="508" y="7"/>
                  </a:lnTo>
                  <a:lnTo>
                    <a:pt x="508" y="5"/>
                  </a:lnTo>
                  <a:lnTo>
                    <a:pt x="510" y="2"/>
                  </a:lnTo>
                  <a:lnTo>
                    <a:pt x="512" y="2"/>
                  </a:lnTo>
                  <a:lnTo>
                    <a:pt x="512" y="2"/>
                  </a:lnTo>
                  <a:lnTo>
                    <a:pt x="515" y="2"/>
                  </a:lnTo>
                  <a:lnTo>
                    <a:pt x="517" y="0"/>
                  </a:lnTo>
                  <a:lnTo>
                    <a:pt x="520" y="0"/>
                  </a:lnTo>
                  <a:lnTo>
                    <a:pt x="520" y="0"/>
                  </a:lnTo>
                  <a:lnTo>
                    <a:pt x="522" y="0"/>
                  </a:lnTo>
                  <a:lnTo>
                    <a:pt x="524" y="2"/>
                  </a:lnTo>
                  <a:lnTo>
                    <a:pt x="527" y="2"/>
                  </a:lnTo>
                  <a:lnTo>
                    <a:pt x="529" y="5"/>
                  </a:lnTo>
                  <a:lnTo>
                    <a:pt x="531" y="7"/>
                  </a:lnTo>
                  <a:lnTo>
                    <a:pt x="531" y="7"/>
                  </a:lnTo>
                  <a:lnTo>
                    <a:pt x="531" y="7"/>
                  </a:lnTo>
                  <a:lnTo>
                    <a:pt x="534" y="7"/>
                  </a:lnTo>
                  <a:lnTo>
                    <a:pt x="534" y="10"/>
                  </a:lnTo>
                  <a:lnTo>
                    <a:pt x="536" y="10"/>
                  </a:lnTo>
                  <a:lnTo>
                    <a:pt x="536" y="10"/>
                  </a:lnTo>
                  <a:lnTo>
                    <a:pt x="538" y="12"/>
                  </a:lnTo>
                  <a:lnTo>
                    <a:pt x="541" y="12"/>
                  </a:lnTo>
                  <a:lnTo>
                    <a:pt x="543" y="12"/>
                  </a:lnTo>
                  <a:lnTo>
                    <a:pt x="543" y="12"/>
                  </a:lnTo>
                  <a:lnTo>
                    <a:pt x="543" y="14"/>
                  </a:lnTo>
                  <a:lnTo>
                    <a:pt x="546" y="14"/>
                  </a:lnTo>
                  <a:lnTo>
                    <a:pt x="546" y="14"/>
                  </a:lnTo>
                  <a:lnTo>
                    <a:pt x="546" y="14"/>
                  </a:lnTo>
                  <a:lnTo>
                    <a:pt x="548" y="14"/>
                  </a:lnTo>
                  <a:lnTo>
                    <a:pt x="550" y="17"/>
                  </a:lnTo>
                  <a:lnTo>
                    <a:pt x="548" y="19"/>
                  </a:lnTo>
                  <a:lnTo>
                    <a:pt x="550" y="19"/>
                  </a:lnTo>
                  <a:lnTo>
                    <a:pt x="550" y="21"/>
                  </a:lnTo>
                  <a:lnTo>
                    <a:pt x="550" y="21"/>
                  </a:lnTo>
                  <a:lnTo>
                    <a:pt x="550" y="24"/>
                  </a:lnTo>
                  <a:lnTo>
                    <a:pt x="550" y="24"/>
                  </a:lnTo>
                  <a:lnTo>
                    <a:pt x="553" y="24"/>
                  </a:lnTo>
                  <a:lnTo>
                    <a:pt x="553" y="26"/>
                  </a:lnTo>
                  <a:lnTo>
                    <a:pt x="553" y="26"/>
                  </a:lnTo>
                  <a:lnTo>
                    <a:pt x="553" y="26"/>
                  </a:lnTo>
                  <a:lnTo>
                    <a:pt x="553" y="28"/>
                  </a:lnTo>
                  <a:lnTo>
                    <a:pt x="553" y="28"/>
                  </a:lnTo>
                  <a:lnTo>
                    <a:pt x="550" y="28"/>
                  </a:lnTo>
                  <a:lnTo>
                    <a:pt x="548" y="28"/>
                  </a:lnTo>
                  <a:lnTo>
                    <a:pt x="548" y="31"/>
                  </a:lnTo>
                  <a:lnTo>
                    <a:pt x="546" y="31"/>
                  </a:lnTo>
                  <a:lnTo>
                    <a:pt x="543" y="33"/>
                  </a:lnTo>
                  <a:lnTo>
                    <a:pt x="541" y="33"/>
                  </a:lnTo>
                  <a:lnTo>
                    <a:pt x="538" y="33"/>
                  </a:lnTo>
                  <a:lnTo>
                    <a:pt x="536" y="33"/>
                  </a:lnTo>
                  <a:lnTo>
                    <a:pt x="534" y="38"/>
                  </a:lnTo>
                  <a:lnTo>
                    <a:pt x="531" y="38"/>
                  </a:lnTo>
                  <a:lnTo>
                    <a:pt x="531" y="40"/>
                  </a:lnTo>
                  <a:lnTo>
                    <a:pt x="529" y="43"/>
                  </a:lnTo>
                  <a:lnTo>
                    <a:pt x="529" y="45"/>
                  </a:lnTo>
                  <a:lnTo>
                    <a:pt x="527" y="47"/>
                  </a:lnTo>
                  <a:lnTo>
                    <a:pt x="527" y="47"/>
                  </a:lnTo>
                  <a:lnTo>
                    <a:pt x="527" y="47"/>
                  </a:lnTo>
                  <a:lnTo>
                    <a:pt x="527" y="50"/>
                  </a:lnTo>
                  <a:lnTo>
                    <a:pt x="529" y="52"/>
                  </a:lnTo>
                  <a:lnTo>
                    <a:pt x="529" y="52"/>
                  </a:lnTo>
                  <a:lnTo>
                    <a:pt x="529" y="52"/>
                  </a:lnTo>
                  <a:lnTo>
                    <a:pt x="531" y="54"/>
                  </a:lnTo>
                  <a:lnTo>
                    <a:pt x="531" y="57"/>
                  </a:lnTo>
                  <a:lnTo>
                    <a:pt x="534" y="57"/>
                  </a:lnTo>
                  <a:lnTo>
                    <a:pt x="534" y="59"/>
                  </a:lnTo>
                  <a:lnTo>
                    <a:pt x="534" y="62"/>
                  </a:lnTo>
                  <a:lnTo>
                    <a:pt x="531" y="66"/>
                  </a:lnTo>
                  <a:lnTo>
                    <a:pt x="531" y="66"/>
                  </a:lnTo>
                  <a:lnTo>
                    <a:pt x="534" y="66"/>
                  </a:lnTo>
                  <a:lnTo>
                    <a:pt x="531" y="69"/>
                  </a:lnTo>
                  <a:lnTo>
                    <a:pt x="531" y="69"/>
                  </a:lnTo>
                  <a:lnTo>
                    <a:pt x="531" y="69"/>
                  </a:lnTo>
                  <a:lnTo>
                    <a:pt x="531" y="69"/>
                  </a:lnTo>
                  <a:lnTo>
                    <a:pt x="529" y="69"/>
                  </a:lnTo>
                  <a:lnTo>
                    <a:pt x="529" y="69"/>
                  </a:lnTo>
                  <a:lnTo>
                    <a:pt x="527" y="69"/>
                  </a:lnTo>
                  <a:lnTo>
                    <a:pt x="527" y="69"/>
                  </a:lnTo>
                  <a:lnTo>
                    <a:pt x="524" y="71"/>
                  </a:lnTo>
                  <a:lnTo>
                    <a:pt x="524" y="69"/>
                  </a:lnTo>
                  <a:lnTo>
                    <a:pt x="522" y="71"/>
                  </a:lnTo>
                  <a:lnTo>
                    <a:pt x="522" y="71"/>
                  </a:lnTo>
                  <a:lnTo>
                    <a:pt x="522" y="71"/>
                  </a:lnTo>
                  <a:lnTo>
                    <a:pt x="524" y="71"/>
                  </a:lnTo>
                  <a:lnTo>
                    <a:pt x="524" y="76"/>
                  </a:lnTo>
                  <a:lnTo>
                    <a:pt x="522" y="76"/>
                  </a:lnTo>
                  <a:lnTo>
                    <a:pt x="520" y="76"/>
                  </a:lnTo>
                  <a:lnTo>
                    <a:pt x="522" y="78"/>
                  </a:lnTo>
                  <a:lnTo>
                    <a:pt x="522" y="78"/>
                  </a:lnTo>
                  <a:lnTo>
                    <a:pt x="515" y="83"/>
                  </a:lnTo>
                  <a:lnTo>
                    <a:pt x="512" y="83"/>
                  </a:lnTo>
                  <a:lnTo>
                    <a:pt x="512" y="83"/>
                  </a:lnTo>
                  <a:lnTo>
                    <a:pt x="512" y="83"/>
                  </a:lnTo>
                  <a:lnTo>
                    <a:pt x="512" y="85"/>
                  </a:lnTo>
                  <a:lnTo>
                    <a:pt x="512" y="85"/>
                  </a:lnTo>
                  <a:lnTo>
                    <a:pt x="512" y="85"/>
                  </a:lnTo>
                  <a:lnTo>
                    <a:pt x="512" y="85"/>
                  </a:lnTo>
                  <a:lnTo>
                    <a:pt x="512" y="85"/>
                  </a:lnTo>
                  <a:lnTo>
                    <a:pt x="512" y="88"/>
                  </a:lnTo>
                  <a:lnTo>
                    <a:pt x="512" y="88"/>
                  </a:lnTo>
                  <a:lnTo>
                    <a:pt x="512" y="88"/>
                  </a:lnTo>
                  <a:lnTo>
                    <a:pt x="508" y="88"/>
                  </a:lnTo>
                  <a:lnTo>
                    <a:pt x="508" y="88"/>
                  </a:lnTo>
                  <a:lnTo>
                    <a:pt x="508" y="90"/>
                  </a:lnTo>
                  <a:lnTo>
                    <a:pt x="508" y="92"/>
                  </a:lnTo>
                  <a:lnTo>
                    <a:pt x="508" y="92"/>
                  </a:lnTo>
                  <a:lnTo>
                    <a:pt x="508" y="92"/>
                  </a:lnTo>
                  <a:lnTo>
                    <a:pt x="512" y="90"/>
                  </a:lnTo>
                  <a:lnTo>
                    <a:pt x="512" y="90"/>
                  </a:lnTo>
                  <a:lnTo>
                    <a:pt x="515" y="90"/>
                  </a:lnTo>
                  <a:lnTo>
                    <a:pt x="517" y="92"/>
                  </a:lnTo>
                  <a:lnTo>
                    <a:pt x="517" y="90"/>
                  </a:lnTo>
                  <a:lnTo>
                    <a:pt x="522" y="90"/>
                  </a:lnTo>
                  <a:lnTo>
                    <a:pt x="522" y="92"/>
                  </a:lnTo>
                  <a:lnTo>
                    <a:pt x="522" y="90"/>
                  </a:lnTo>
                  <a:lnTo>
                    <a:pt x="522" y="92"/>
                  </a:lnTo>
                  <a:lnTo>
                    <a:pt x="524" y="92"/>
                  </a:lnTo>
                  <a:lnTo>
                    <a:pt x="524" y="90"/>
                  </a:lnTo>
                  <a:lnTo>
                    <a:pt x="527" y="90"/>
                  </a:lnTo>
                  <a:lnTo>
                    <a:pt x="527" y="90"/>
                  </a:lnTo>
                  <a:lnTo>
                    <a:pt x="527" y="92"/>
                  </a:lnTo>
                  <a:lnTo>
                    <a:pt x="529" y="95"/>
                  </a:lnTo>
                  <a:lnTo>
                    <a:pt x="529" y="95"/>
                  </a:lnTo>
                  <a:lnTo>
                    <a:pt x="529" y="95"/>
                  </a:lnTo>
                  <a:lnTo>
                    <a:pt x="531" y="95"/>
                  </a:lnTo>
                  <a:lnTo>
                    <a:pt x="531" y="95"/>
                  </a:lnTo>
                  <a:lnTo>
                    <a:pt x="534" y="97"/>
                  </a:lnTo>
                  <a:lnTo>
                    <a:pt x="534" y="97"/>
                  </a:lnTo>
                  <a:lnTo>
                    <a:pt x="534" y="99"/>
                  </a:lnTo>
                  <a:lnTo>
                    <a:pt x="531" y="102"/>
                  </a:lnTo>
                  <a:lnTo>
                    <a:pt x="531" y="104"/>
                  </a:lnTo>
                  <a:lnTo>
                    <a:pt x="534" y="106"/>
                  </a:lnTo>
                  <a:lnTo>
                    <a:pt x="534" y="109"/>
                  </a:lnTo>
                  <a:lnTo>
                    <a:pt x="534" y="111"/>
                  </a:lnTo>
                  <a:lnTo>
                    <a:pt x="534" y="111"/>
                  </a:lnTo>
                  <a:lnTo>
                    <a:pt x="534" y="111"/>
                  </a:lnTo>
                  <a:lnTo>
                    <a:pt x="531" y="114"/>
                  </a:lnTo>
                  <a:lnTo>
                    <a:pt x="534" y="116"/>
                  </a:lnTo>
                  <a:lnTo>
                    <a:pt x="531" y="116"/>
                  </a:lnTo>
                  <a:lnTo>
                    <a:pt x="531" y="116"/>
                  </a:lnTo>
                  <a:lnTo>
                    <a:pt x="531" y="118"/>
                  </a:lnTo>
                  <a:lnTo>
                    <a:pt x="534" y="118"/>
                  </a:lnTo>
                  <a:lnTo>
                    <a:pt x="536" y="118"/>
                  </a:lnTo>
                  <a:lnTo>
                    <a:pt x="536" y="121"/>
                  </a:lnTo>
                  <a:lnTo>
                    <a:pt x="536" y="121"/>
                  </a:lnTo>
                  <a:lnTo>
                    <a:pt x="536" y="123"/>
                  </a:lnTo>
                  <a:lnTo>
                    <a:pt x="541" y="125"/>
                  </a:lnTo>
                  <a:lnTo>
                    <a:pt x="541" y="130"/>
                  </a:lnTo>
                  <a:lnTo>
                    <a:pt x="546" y="130"/>
                  </a:lnTo>
                  <a:lnTo>
                    <a:pt x="548" y="130"/>
                  </a:lnTo>
                  <a:lnTo>
                    <a:pt x="550" y="132"/>
                  </a:lnTo>
                  <a:lnTo>
                    <a:pt x="553" y="135"/>
                  </a:lnTo>
                  <a:lnTo>
                    <a:pt x="555" y="135"/>
                  </a:lnTo>
                  <a:lnTo>
                    <a:pt x="557" y="135"/>
                  </a:lnTo>
                  <a:lnTo>
                    <a:pt x="557" y="135"/>
                  </a:lnTo>
                  <a:lnTo>
                    <a:pt x="560" y="132"/>
                  </a:lnTo>
                  <a:lnTo>
                    <a:pt x="560" y="132"/>
                  </a:lnTo>
                  <a:lnTo>
                    <a:pt x="562" y="130"/>
                  </a:lnTo>
                  <a:lnTo>
                    <a:pt x="564" y="128"/>
                  </a:lnTo>
                  <a:lnTo>
                    <a:pt x="564" y="125"/>
                  </a:lnTo>
                  <a:lnTo>
                    <a:pt x="567" y="125"/>
                  </a:lnTo>
                  <a:lnTo>
                    <a:pt x="569" y="125"/>
                  </a:lnTo>
                  <a:lnTo>
                    <a:pt x="576" y="123"/>
                  </a:lnTo>
                  <a:lnTo>
                    <a:pt x="576" y="121"/>
                  </a:lnTo>
                  <a:lnTo>
                    <a:pt x="579" y="121"/>
                  </a:lnTo>
                  <a:lnTo>
                    <a:pt x="581" y="121"/>
                  </a:lnTo>
                  <a:lnTo>
                    <a:pt x="581" y="121"/>
                  </a:lnTo>
                  <a:lnTo>
                    <a:pt x="583" y="121"/>
                  </a:lnTo>
                  <a:lnTo>
                    <a:pt x="583" y="118"/>
                  </a:lnTo>
                  <a:lnTo>
                    <a:pt x="586" y="118"/>
                  </a:lnTo>
                  <a:lnTo>
                    <a:pt x="588" y="118"/>
                  </a:lnTo>
                  <a:lnTo>
                    <a:pt x="588" y="116"/>
                  </a:lnTo>
                  <a:lnTo>
                    <a:pt x="588" y="116"/>
                  </a:lnTo>
                  <a:lnTo>
                    <a:pt x="588" y="116"/>
                  </a:lnTo>
                  <a:lnTo>
                    <a:pt x="588" y="116"/>
                  </a:lnTo>
                  <a:lnTo>
                    <a:pt x="588" y="116"/>
                  </a:lnTo>
                  <a:lnTo>
                    <a:pt x="590" y="116"/>
                  </a:lnTo>
                  <a:lnTo>
                    <a:pt x="590" y="114"/>
                  </a:lnTo>
                  <a:lnTo>
                    <a:pt x="590" y="114"/>
                  </a:lnTo>
                  <a:lnTo>
                    <a:pt x="595" y="111"/>
                  </a:lnTo>
                  <a:lnTo>
                    <a:pt x="597" y="111"/>
                  </a:lnTo>
                  <a:lnTo>
                    <a:pt x="600" y="111"/>
                  </a:lnTo>
                  <a:lnTo>
                    <a:pt x="600" y="109"/>
                  </a:lnTo>
                  <a:lnTo>
                    <a:pt x="597" y="106"/>
                  </a:lnTo>
                  <a:lnTo>
                    <a:pt x="597" y="106"/>
                  </a:lnTo>
                  <a:lnTo>
                    <a:pt x="597" y="106"/>
                  </a:lnTo>
                  <a:lnTo>
                    <a:pt x="595" y="106"/>
                  </a:lnTo>
                  <a:lnTo>
                    <a:pt x="595" y="104"/>
                  </a:lnTo>
                  <a:lnTo>
                    <a:pt x="597" y="104"/>
                  </a:lnTo>
                  <a:lnTo>
                    <a:pt x="600" y="102"/>
                  </a:lnTo>
                  <a:lnTo>
                    <a:pt x="600" y="97"/>
                  </a:lnTo>
                  <a:lnTo>
                    <a:pt x="600" y="95"/>
                  </a:lnTo>
                  <a:lnTo>
                    <a:pt x="600" y="92"/>
                  </a:lnTo>
                  <a:lnTo>
                    <a:pt x="600" y="90"/>
                  </a:lnTo>
                  <a:lnTo>
                    <a:pt x="600" y="88"/>
                  </a:lnTo>
                  <a:lnTo>
                    <a:pt x="605" y="90"/>
                  </a:lnTo>
                  <a:lnTo>
                    <a:pt x="605" y="90"/>
                  </a:lnTo>
                  <a:lnTo>
                    <a:pt x="607" y="90"/>
                  </a:lnTo>
                  <a:lnTo>
                    <a:pt x="605" y="88"/>
                  </a:lnTo>
                  <a:lnTo>
                    <a:pt x="607" y="88"/>
                  </a:lnTo>
                  <a:lnTo>
                    <a:pt x="605" y="85"/>
                  </a:lnTo>
                  <a:lnTo>
                    <a:pt x="607" y="83"/>
                  </a:lnTo>
                  <a:lnTo>
                    <a:pt x="607" y="83"/>
                  </a:lnTo>
                  <a:lnTo>
                    <a:pt x="609" y="80"/>
                  </a:lnTo>
                  <a:lnTo>
                    <a:pt x="609" y="83"/>
                  </a:lnTo>
                  <a:lnTo>
                    <a:pt x="616" y="85"/>
                  </a:lnTo>
                  <a:lnTo>
                    <a:pt x="616" y="85"/>
                  </a:lnTo>
                  <a:lnTo>
                    <a:pt x="619" y="85"/>
                  </a:lnTo>
                  <a:lnTo>
                    <a:pt x="621" y="85"/>
                  </a:lnTo>
                  <a:lnTo>
                    <a:pt x="623" y="85"/>
                  </a:lnTo>
                  <a:lnTo>
                    <a:pt x="623" y="83"/>
                  </a:lnTo>
                  <a:lnTo>
                    <a:pt x="623" y="80"/>
                  </a:lnTo>
                  <a:lnTo>
                    <a:pt x="623" y="80"/>
                  </a:lnTo>
                  <a:lnTo>
                    <a:pt x="623" y="80"/>
                  </a:lnTo>
                  <a:lnTo>
                    <a:pt x="623" y="78"/>
                  </a:lnTo>
                  <a:lnTo>
                    <a:pt x="623" y="78"/>
                  </a:lnTo>
                  <a:lnTo>
                    <a:pt x="623" y="73"/>
                  </a:lnTo>
                  <a:lnTo>
                    <a:pt x="623" y="71"/>
                  </a:lnTo>
                  <a:lnTo>
                    <a:pt x="626" y="71"/>
                  </a:lnTo>
                  <a:lnTo>
                    <a:pt x="626" y="71"/>
                  </a:lnTo>
                  <a:lnTo>
                    <a:pt x="628" y="71"/>
                  </a:lnTo>
                  <a:lnTo>
                    <a:pt x="631" y="71"/>
                  </a:lnTo>
                  <a:lnTo>
                    <a:pt x="633" y="69"/>
                  </a:lnTo>
                  <a:lnTo>
                    <a:pt x="633" y="71"/>
                  </a:lnTo>
                  <a:lnTo>
                    <a:pt x="640" y="71"/>
                  </a:lnTo>
                  <a:lnTo>
                    <a:pt x="642" y="71"/>
                  </a:lnTo>
                  <a:lnTo>
                    <a:pt x="642" y="71"/>
                  </a:lnTo>
                  <a:lnTo>
                    <a:pt x="645" y="73"/>
                  </a:lnTo>
                  <a:lnTo>
                    <a:pt x="645" y="73"/>
                  </a:lnTo>
                  <a:lnTo>
                    <a:pt x="647" y="73"/>
                  </a:lnTo>
                  <a:lnTo>
                    <a:pt x="649" y="71"/>
                  </a:lnTo>
                  <a:lnTo>
                    <a:pt x="649" y="71"/>
                  </a:lnTo>
                  <a:lnTo>
                    <a:pt x="647" y="69"/>
                  </a:lnTo>
                  <a:lnTo>
                    <a:pt x="647" y="69"/>
                  </a:lnTo>
                  <a:lnTo>
                    <a:pt x="647" y="69"/>
                  </a:lnTo>
                  <a:lnTo>
                    <a:pt x="652" y="64"/>
                  </a:lnTo>
                  <a:lnTo>
                    <a:pt x="652" y="66"/>
                  </a:lnTo>
                  <a:lnTo>
                    <a:pt x="654" y="69"/>
                  </a:lnTo>
                  <a:lnTo>
                    <a:pt x="657" y="66"/>
                  </a:lnTo>
                  <a:lnTo>
                    <a:pt x="661" y="66"/>
                  </a:lnTo>
                  <a:lnTo>
                    <a:pt x="664" y="66"/>
                  </a:lnTo>
                  <a:lnTo>
                    <a:pt x="664" y="66"/>
                  </a:lnTo>
                  <a:lnTo>
                    <a:pt x="666" y="66"/>
                  </a:lnTo>
                  <a:lnTo>
                    <a:pt x="671" y="66"/>
                  </a:lnTo>
                  <a:lnTo>
                    <a:pt x="673" y="69"/>
                  </a:lnTo>
                  <a:lnTo>
                    <a:pt x="673" y="69"/>
                  </a:lnTo>
                  <a:lnTo>
                    <a:pt x="673" y="69"/>
                  </a:lnTo>
                  <a:lnTo>
                    <a:pt x="675" y="71"/>
                  </a:lnTo>
                  <a:lnTo>
                    <a:pt x="678" y="71"/>
                  </a:lnTo>
                  <a:lnTo>
                    <a:pt x="680" y="71"/>
                  </a:lnTo>
                  <a:lnTo>
                    <a:pt x="680" y="69"/>
                  </a:lnTo>
                  <a:lnTo>
                    <a:pt x="680" y="69"/>
                  </a:lnTo>
                  <a:lnTo>
                    <a:pt x="683" y="69"/>
                  </a:lnTo>
                  <a:lnTo>
                    <a:pt x="685" y="69"/>
                  </a:lnTo>
                  <a:lnTo>
                    <a:pt x="687" y="69"/>
                  </a:lnTo>
                  <a:lnTo>
                    <a:pt x="687" y="66"/>
                  </a:lnTo>
                  <a:lnTo>
                    <a:pt x="692" y="69"/>
                  </a:lnTo>
                  <a:lnTo>
                    <a:pt x="694" y="66"/>
                  </a:lnTo>
                  <a:lnTo>
                    <a:pt x="694" y="64"/>
                  </a:lnTo>
                  <a:lnTo>
                    <a:pt x="694" y="64"/>
                  </a:lnTo>
                  <a:lnTo>
                    <a:pt x="694" y="62"/>
                  </a:lnTo>
                  <a:lnTo>
                    <a:pt x="697" y="62"/>
                  </a:lnTo>
                  <a:lnTo>
                    <a:pt x="699" y="62"/>
                  </a:lnTo>
                  <a:lnTo>
                    <a:pt x="701" y="62"/>
                  </a:lnTo>
                  <a:lnTo>
                    <a:pt x="701" y="62"/>
                  </a:lnTo>
                  <a:lnTo>
                    <a:pt x="704" y="62"/>
                  </a:lnTo>
                  <a:lnTo>
                    <a:pt x="706" y="62"/>
                  </a:lnTo>
                  <a:lnTo>
                    <a:pt x="706" y="62"/>
                  </a:lnTo>
                  <a:lnTo>
                    <a:pt x="709" y="59"/>
                  </a:lnTo>
                  <a:lnTo>
                    <a:pt x="711" y="59"/>
                  </a:lnTo>
                  <a:lnTo>
                    <a:pt x="711" y="59"/>
                  </a:lnTo>
                  <a:lnTo>
                    <a:pt x="711" y="57"/>
                  </a:lnTo>
                  <a:lnTo>
                    <a:pt x="713" y="57"/>
                  </a:lnTo>
                  <a:lnTo>
                    <a:pt x="716" y="57"/>
                  </a:lnTo>
                  <a:lnTo>
                    <a:pt x="716" y="57"/>
                  </a:lnTo>
                  <a:lnTo>
                    <a:pt x="716" y="57"/>
                  </a:lnTo>
                  <a:lnTo>
                    <a:pt x="718" y="54"/>
                  </a:lnTo>
                  <a:lnTo>
                    <a:pt x="718" y="57"/>
                  </a:lnTo>
                  <a:lnTo>
                    <a:pt x="718" y="57"/>
                  </a:lnTo>
                  <a:lnTo>
                    <a:pt x="720" y="57"/>
                  </a:lnTo>
                  <a:lnTo>
                    <a:pt x="723" y="57"/>
                  </a:lnTo>
                  <a:lnTo>
                    <a:pt x="723" y="57"/>
                  </a:lnTo>
                  <a:lnTo>
                    <a:pt x="725" y="54"/>
                  </a:lnTo>
                  <a:lnTo>
                    <a:pt x="725" y="52"/>
                  </a:lnTo>
                  <a:lnTo>
                    <a:pt x="727" y="52"/>
                  </a:lnTo>
                  <a:lnTo>
                    <a:pt x="727" y="50"/>
                  </a:lnTo>
                  <a:lnTo>
                    <a:pt x="727" y="50"/>
                  </a:lnTo>
                  <a:lnTo>
                    <a:pt x="730" y="50"/>
                  </a:lnTo>
                  <a:lnTo>
                    <a:pt x="732" y="50"/>
                  </a:lnTo>
                  <a:lnTo>
                    <a:pt x="732" y="50"/>
                  </a:lnTo>
                  <a:lnTo>
                    <a:pt x="734" y="50"/>
                  </a:lnTo>
                  <a:lnTo>
                    <a:pt x="737" y="50"/>
                  </a:lnTo>
                  <a:lnTo>
                    <a:pt x="739" y="50"/>
                  </a:lnTo>
                  <a:lnTo>
                    <a:pt x="742" y="50"/>
                  </a:lnTo>
                  <a:lnTo>
                    <a:pt x="737" y="45"/>
                  </a:lnTo>
                  <a:lnTo>
                    <a:pt x="739" y="43"/>
                  </a:lnTo>
                  <a:lnTo>
                    <a:pt x="739" y="43"/>
                  </a:lnTo>
                  <a:lnTo>
                    <a:pt x="739" y="43"/>
                  </a:lnTo>
                  <a:lnTo>
                    <a:pt x="742" y="40"/>
                  </a:lnTo>
                  <a:lnTo>
                    <a:pt x="739" y="43"/>
                  </a:lnTo>
                  <a:lnTo>
                    <a:pt x="737" y="40"/>
                  </a:lnTo>
                  <a:lnTo>
                    <a:pt x="737" y="40"/>
                  </a:lnTo>
                  <a:lnTo>
                    <a:pt x="739" y="40"/>
                  </a:lnTo>
                  <a:lnTo>
                    <a:pt x="739" y="38"/>
                  </a:lnTo>
                  <a:lnTo>
                    <a:pt x="739" y="33"/>
                  </a:lnTo>
                  <a:lnTo>
                    <a:pt x="742" y="33"/>
                  </a:lnTo>
                  <a:lnTo>
                    <a:pt x="742" y="33"/>
                  </a:lnTo>
                  <a:lnTo>
                    <a:pt x="742" y="31"/>
                  </a:lnTo>
                  <a:lnTo>
                    <a:pt x="742" y="31"/>
                  </a:lnTo>
                  <a:lnTo>
                    <a:pt x="742" y="28"/>
                  </a:lnTo>
                  <a:lnTo>
                    <a:pt x="742" y="24"/>
                  </a:lnTo>
                  <a:lnTo>
                    <a:pt x="744" y="24"/>
                  </a:lnTo>
                  <a:lnTo>
                    <a:pt x="749" y="24"/>
                  </a:lnTo>
                  <a:lnTo>
                    <a:pt x="751" y="24"/>
                  </a:lnTo>
                  <a:lnTo>
                    <a:pt x="751" y="26"/>
                  </a:lnTo>
                  <a:lnTo>
                    <a:pt x="753" y="26"/>
                  </a:lnTo>
                  <a:lnTo>
                    <a:pt x="753" y="26"/>
                  </a:lnTo>
                  <a:lnTo>
                    <a:pt x="753" y="24"/>
                  </a:lnTo>
                  <a:lnTo>
                    <a:pt x="758" y="24"/>
                  </a:lnTo>
                  <a:lnTo>
                    <a:pt x="758" y="21"/>
                  </a:lnTo>
                  <a:lnTo>
                    <a:pt x="760" y="21"/>
                  </a:lnTo>
                  <a:lnTo>
                    <a:pt x="760" y="21"/>
                  </a:lnTo>
                  <a:lnTo>
                    <a:pt x="760" y="21"/>
                  </a:lnTo>
                  <a:lnTo>
                    <a:pt x="760" y="19"/>
                  </a:lnTo>
                  <a:lnTo>
                    <a:pt x="763" y="19"/>
                  </a:lnTo>
                  <a:lnTo>
                    <a:pt x="763" y="19"/>
                  </a:lnTo>
                  <a:lnTo>
                    <a:pt x="763" y="19"/>
                  </a:lnTo>
                  <a:lnTo>
                    <a:pt x="763" y="19"/>
                  </a:lnTo>
                  <a:lnTo>
                    <a:pt x="765" y="19"/>
                  </a:lnTo>
                  <a:lnTo>
                    <a:pt x="765" y="19"/>
                  </a:lnTo>
                  <a:lnTo>
                    <a:pt x="765" y="19"/>
                  </a:lnTo>
                  <a:lnTo>
                    <a:pt x="768" y="19"/>
                  </a:lnTo>
                  <a:lnTo>
                    <a:pt x="770" y="14"/>
                  </a:lnTo>
                  <a:lnTo>
                    <a:pt x="775" y="14"/>
                  </a:lnTo>
                  <a:lnTo>
                    <a:pt x="777" y="14"/>
                  </a:lnTo>
                  <a:lnTo>
                    <a:pt x="779" y="14"/>
                  </a:lnTo>
                  <a:lnTo>
                    <a:pt x="782" y="17"/>
                  </a:lnTo>
                  <a:lnTo>
                    <a:pt x="782" y="17"/>
                  </a:lnTo>
                  <a:lnTo>
                    <a:pt x="784" y="14"/>
                  </a:lnTo>
                  <a:lnTo>
                    <a:pt x="786" y="17"/>
                  </a:lnTo>
                  <a:lnTo>
                    <a:pt x="786" y="17"/>
                  </a:lnTo>
                  <a:lnTo>
                    <a:pt x="789" y="17"/>
                  </a:lnTo>
                  <a:lnTo>
                    <a:pt x="791" y="17"/>
                  </a:lnTo>
                  <a:lnTo>
                    <a:pt x="794" y="19"/>
                  </a:lnTo>
                  <a:lnTo>
                    <a:pt x="796" y="17"/>
                  </a:lnTo>
                  <a:lnTo>
                    <a:pt x="796" y="17"/>
                  </a:lnTo>
                  <a:lnTo>
                    <a:pt x="796" y="17"/>
                  </a:lnTo>
                  <a:lnTo>
                    <a:pt x="798" y="17"/>
                  </a:lnTo>
                  <a:lnTo>
                    <a:pt x="801" y="19"/>
                  </a:lnTo>
                  <a:lnTo>
                    <a:pt x="801" y="21"/>
                  </a:lnTo>
                  <a:lnTo>
                    <a:pt x="805" y="24"/>
                  </a:lnTo>
                  <a:lnTo>
                    <a:pt x="808" y="24"/>
                  </a:lnTo>
                  <a:lnTo>
                    <a:pt x="808" y="26"/>
                  </a:lnTo>
                  <a:lnTo>
                    <a:pt x="808" y="28"/>
                  </a:lnTo>
                  <a:lnTo>
                    <a:pt x="808" y="31"/>
                  </a:lnTo>
                  <a:lnTo>
                    <a:pt x="808" y="31"/>
                  </a:lnTo>
                  <a:lnTo>
                    <a:pt x="810" y="33"/>
                  </a:lnTo>
                  <a:lnTo>
                    <a:pt x="810" y="36"/>
                  </a:lnTo>
                  <a:lnTo>
                    <a:pt x="812" y="36"/>
                  </a:lnTo>
                  <a:lnTo>
                    <a:pt x="815" y="33"/>
                  </a:lnTo>
                  <a:lnTo>
                    <a:pt x="815" y="33"/>
                  </a:lnTo>
                  <a:lnTo>
                    <a:pt x="817" y="36"/>
                  </a:lnTo>
                  <a:lnTo>
                    <a:pt x="817" y="36"/>
                  </a:lnTo>
                  <a:lnTo>
                    <a:pt x="817" y="36"/>
                  </a:lnTo>
                  <a:lnTo>
                    <a:pt x="817" y="36"/>
                  </a:lnTo>
                  <a:lnTo>
                    <a:pt x="820" y="36"/>
                  </a:lnTo>
                  <a:lnTo>
                    <a:pt x="820" y="33"/>
                  </a:lnTo>
                  <a:lnTo>
                    <a:pt x="822" y="36"/>
                  </a:lnTo>
                  <a:lnTo>
                    <a:pt x="824" y="36"/>
                  </a:lnTo>
                  <a:lnTo>
                    <a:pt x="827" y="36"/>
                  </a:lnTo>
                  <a:lnTo>
                    <a:pt x="827" y="36"/>
                  </a:lnTo>
                  <a:lnTo>
                    <a:pt x="827" y="38"/>
                  </a:lnTo>
                  <a:lnTo>
                    <a:pt x="827" y="38"/>
                  </a:lnTo>
                  <a:lnTo>
                    <a:pt x="827" y="38"/>
                  </a:lnTo>
                  <a:lnTo>
                    <a:pt x="827" y="38"/>
                  </a:lnTo>
                  <a:lnTo>
                    <a:pt x="827" y="40"/>
                  </a:lnTo>
                  <a:lnTo>
                    <a:pt x="829" y="40"/>
                  </a:lnTo>
                  <a:lnTo>
                    <a:pt x="829" y="43"/>
                  </a:lnTo>
                  <a:lnTo>
                    <a:pt x="829" y="45"/>
                  </a:lnTo>
                  <a:lnTo>
                    <a:pt x="829" y="47"/>
                  </a:lnTo>
                  <a:lnTo>
                    <a:pt x="829" y="50"/>
                  </a:lnTo>
                  <a:lnTo>
                    <a:pt x="827" y="54"/>
                  </a:lnTo>
                  <a:lnTo>
                    <a:pt x="827" y="54"/>
                  </a:lnTo>
                  <a:lnTo>
                    <a:pt x="824" y="54"/>
                  </a:lnTo>
                  <a:lnTo>
                    <a:pt x="827" y="57"/>
                  </a:lnTo>
                  <a:lnTo>
                    <a:pt x="827" y="57"/>
                  </a:lnTo>
                  <a:lnTo>
                    <a:pt x="827" y="57"/>
                  </a:lnTo>
                  <a:lnTo>
                    <a:pt x="827" y="59"/>
                  </a:lnTo>
                  <a:lnTo>
                    <a:pt x="829" y="62"/>
                  </a:lnTo>
                  <a:lnTo>
                    <a:pt x="827" y="69"/>
                  </a:lnTo>
                  <a:lnTo>
                    <a:pt x="827" y="71"/>
                  </a:lnTo>
                  <a:lnTo>
                    <a:pt x="824" y="71"/>
                  </a:lnTo>
                  <a:lnTo>
                    <a:pt x="824" y="71"/>
                  </a:lnTo>
                  <a:lnTo>
                    <a:pt x="827" y="73"/>
                  </a:lnTo>
                  <a:lnTo>
                    <a:pt x="827" y="73"/>
                  </a:lnTo>
                  <a:lnTo>
                    <a:pt x="827" y="76"/>
                  </a:lnTo>
                  <a:lnTo>
                    <a:pt x="827" y="76"/>
                  </a:lnTo>
                  <a:lnTo>
                    <a:pt x="827" y="78"/>
                  </a:lnTo>
                  <a:lnTo>
                    <a:pt x="829" y="80"/>
                  </a:lnTo>
                  <a:lnTo>
                    <a:pt x="829" y="83"/>
                  </a:lnTo>
                  <a:lnTo>
                    <a:pt x="829" y="85"/>
                  </a:lnTo>
                  <a:lnTo>
                    <a:pt x="827" y="90"/>
                  </a:lnTo>
                  <a:lnTo>
                    <a:pt x="827" y="95"/>
                  </a:lnTo>
                  <a:lnTo>
                    <a:pt x="827" y="97"/>
                  </a:lnTo>
                  <a:lnTo>
                    <a:pt x="824" y="99"/>
                  </a:lnTo>
                  <a:lnTo>
                    <a:pt x="824" y="99"/>
                  </a:lnTo>
                  <a:lnTo>
                    <a:pt x="824" y="102"/>
                  </a:lnTo>
                  <a:lnTo>
                    <a:pt x="820" y="106"/>
                  </a:lnTo>
                  <a:lnTo>
                    <a:pt x="817" y="116"/>
                  </a:lnTo>
                  <a:lnTo>
                    <a:pt x="817" y="121"/>
                  </a:lnTo>
                  <a:lnTo>
                    <a:pt x="817" y="123"/>
                  </a:lnTo>
                  <a:lnTo>
                    <a:pt x="815" y="125"/>
                  </a:lnTo>
                  <a:lnTo>
                    <a:pt x="817" y="125"/>
                  </a:lnTo>
                  <a:lnTo>
                    <a:pt x="815" y="130"/>
                  </a:lnTo>
                  <a:lnTo>
                    <a:pt x="812" y="132"/>
                  </a:lnTo>
                  <a:lnTo>
                    <a:pt x="812" y="132"/>
                  </a:lnTo>
                  <a:lnTo>
                    <a:pt x="812" y="135"/>
                  </a:lnTo>
                  <a:lnTo>
                    <a:pt x="815" y="135"/>
                  </a:lnTo>
                  <a:lnTo>
                    <a:pt x="812" y="140"/>
                  </a:lnTo>
                  <a:lnTo>
                    <a:pt x="812" y="140"/>
                  </a:lnTo>
                  <a:lnTo>
                    <a:pt x="812" y="140"/>
                  </a:lnTo>
                  <a:lnTo>
                    <a:pt x="815" y="142"/>
                  </a:lnTo>
                  <a:lnTo>
                    <a:pt x="812" y="142"/>
                  </a:lnTo>
                  <a:lnTo>
                    <a:pt x="810" y="142"/>
                  </a:lnTo>
                  <a:lnTo>
                    <a:pt x="810" y="142"/>
                  </a:lnTo>
                  <a:lnTo>
                    <a:pt x="812" y="144"/>
                  </a:lnTo>
                  <a:lnTo>
                    <a:pt x="808" y="151"/>
                  </a:lnTo>
                  <a:lnTo>
                    <a:pt x="808" y="156"/>
                  </a:lnTo>
                  <a:lnTo>
                    <a:pt x="808" y="158"/>
                  </a:lnTo>
                  <a:lnTo>
                    <a:pt x="805" y="158"/>
                  </a:lnTo>
                  <a:lnTo>
                    <a:pt x="805" y="161"/>
                  </a:lnTo>
                  <a:lnTo>
                    <a:pt x="805" y="161"/>
                  </a:lnTo>
                  <a:lnTo>
                    <a:pt x="805" y="163"/>
                  </a:lnTo>
                  <a:lnTo>
                    <a:pt x="805" y="163"/>
                  </a:lnTo>
                  <a:lnTo>
                    <a:pt x="805" y="165"/>
                  </a:lnTo>
                  <a:lnTo>
                    <a:pt x="805" y="168"/>
                  </a:lnTo>
                  <a:lnTo>
                    <a:pt x="805" y="168"/>
                  </a:lnTo>
                  <a:lnTo>
                    <a:pt x="805" y="170"/>
                  </a:lnTo>
                  <a:lnTo>
                    <a:pt x="805" y="170"/>
                  </a:lnTo>
                  <a:lnTo>
                    <a:pt x="803" y="168"/>
                  </a:lnTo>
                  <a:lnTo>
                    <a:pt x="803" y="170"/>
                  </a:lnTo>
                  <a:lnTo>
                    <a:pt x="801" y="170"/>
                  </a:lnTo>
                  <a:lnTo>
                    <a:pt x="801" y="173"/>
                  </a:lnTo>
                  <a:lnTo>
                    <a:pt x="801" y="173"/>
                  </a:lnTo>
                  <a:lnTo>
                    <a:pt x="801" y="175"/>
                  </a:lnTo>
                  <a:lnTo>
                    <a:pt x="801" y="175"/>
                  </a:lnTo>
                  <a:lnTo>
                    <a:pt x="798" y="180"/>
                  </a:lnTo>
                  <a:lnTo>
                    <a:pt x="796" y="180"/>
                  </a:lnTo>
                  <a:lnTo>
                    <a:pt x="798" y="182"/>
                  </a:lnTo>
                  <a:lnTo>
                    <a:pt x="796" y="184"/>
                  </a:lnTo>
                  <a:lnTo>
                    <a:pt x="796" y="187"/>
                  </a:lnTo>
                  <a:lnTo>
                    <a:pt x="796" y="187"/>
                  </a:lnTo>
                  <a:lnTo>
                    <a:pt x="796" y="189"/>
                  </a:lnTo>
                  <a:lnTo>
                    <a:pt x="796" y="189"/>
                  </a:lnTo>
                  <a:lnTo>
                    <a:pt x="794" y="191"/>
                  </a:lnTo>
                  <a:lnTo>
                    <a:pt x="796" y="194"/>
                  </a:lnTo>
                  <a:lnTo>
                    <a:pt x="791" y="196"/>
                  </a:lnTo>
                  <a:lnTo>
                    <a:pt x="791" y="199"/>
                  </a:lnTo>
                  <a:lnTo>
                    <a:pt x="794" y="199"/>
                  </a:lnTo>
                  <a:lnTo>
                    <a:pt x="791" y="199"/>
                  </a:lnTo>
                  <a:lnTo>
                    <a:pt x="791" y="199"/>
                  </a:lnTo>
                  <a:lnTo>
                    <a:pt x="789" y="203"/>
                  </a:lnTo>
                  <a:lnTo>
                    <a:pt x="789" y="206"/>
                  </a:lnTo>
                  <a:lnTo>
                    <a:pt x="789" y="208"/>
                  </a:lnTo>
                  <a:lnTo>
                    <a:pt x="789" y="208"/>
                  </a:lnTo>
                  <a:lnTo>
                    <a:pt x="789" y="210"/>
                  </a:lnTo>
                  <a:lnTo>
                    <a:pt x="786" y="215"/>
                  </a:lnTo>
                  <a:lnTo>
                    <a:pt x="786" y="213"/>
                  </a:lnTo>
                  <a:lnTo>
                    <a:pt x="784" y="213"/>
                  </a:lnTo>
                  <a:lnTo>
                    <a:pt x="779" y="213"/>
                  </a:lnTo>
                  <a:lnTo>
                    <a:pt x="779" y="213"/>
                  </a:lnTo>
                  <a:lnTo>
                    <a:pt x="777" y="213"/>
                  </a:lnTo>
                  <a:lnTo>
                    <a:pt x="775" y="210"/>
                  </a:lnTo>
                  <a:lnTo>
                    <a:pt x="775" y="213"/>
                  </a:lnTo>
                  <a:lnTo>
                    <a:pt x="770" y="210"/>
                  </a:lnTo>
                  <a:lnTo>
                    <a:pt x="770" y="210"/>
                  </a:lnTo>
                  <a:lnTo>
                    <a:pt x="768" y="210"/>
                  </a:lnTo>
                  <a:lnTo>
                    <a:pt x="760" y="208"/>
                  </a:lnTo>
                  <a:lnTo>
                    <a:pt x="756" y="206"/>
                  </a:lnTo>
                  <a:lnTo>
                    <a:pt x="753" y="206"/>
                  </a:lnTo>
                  <a:lnTo>
                    <a:pt x="753" y="206"/>
                  </a:lnTo>
                  <a:lnTo>
                    <a:pt x="753" y="206"/>
                  </a:lnTo>
                  <a:lnTo>
                    <a:pt x="751" y="206"/>
                  </a:lnTo>
                  <a:lnTo>
                    <a:pt x="751" y="206"/>
                  </a:lnTo>
                  <a:lnTo>
                    <a:pt x="749" y="206"/>
                  </a:lnTo>
                  <a:lnTo>
                    <a:pt x="746" y="206"/>
                  </a:lnTo>
                  <a:lnTo>
                    <a:pt x="746" y="203"/>
                  </a:lnTo>
                  <a:lnTo>
                    <a:pt x="746" y="203"/>
                  </a:lnTo>
                  <a:lnTo>
                    <a:pt x="746" y="203"/>
                  </a:lnTo>
                  <a:lnTo>
                    <a:pt x="746" y="203"/>
                  </a:lnTo>
                  <a:lnTo>
                    <a:pt x="746" y="203"/>
                  </a:lnTo>
                  <a:lnTo>
                    <a:pt x="744" y="203"/>
                  </a:lnTo>
                  <a:lnTo>
                    <a:pt x="744" y="203"/>
                  </a:lnTo>
                  <a:lnTo>
                    <a:pt x="744" y="203"/>
                  </a:lnTo>
                  <a:lnTo>
                    <a:pt x="744" y="203"/>
                  </a:lnTo>
                  <a:lnTo>
                    <a:pt x="742" y="203"/>
                  </a:lnTo>
                  <a:lnTo>
                    <a:pt x="742" y="203"/>
                  </a:lnTo>
                  <a:lnTo>
                    <a:pt x="742" y="203"/>
                  </a:lnTo>
                  <a:lnTo>
                    <a:pt x="742" y="203"/>
                  </a:lnTo>
                  <a:lnTo>
                    <a:pt x="739" y="203"/>
                  </a:lnTo>
                  <a:lnTo>
                    <a:pt x="737" y="203"/>
                  </a:lnTo>
                  <a:lnTo>
                    <a:pt x="737" y="203"/>
                  </a:lnTo>
                  <a:lnTo>
                    <a:pt x="737" y="203"/>
                  </a:lnTo>
                  <a:lnTo>
                    <a:pt x="737" y="203"/>
                  </a:lnTo>
                  <a:lnTo>
                    <a:pt x="734" y="203"/>
                  </a:lnTo>
                  <a:lnTo>
                    <a:pt x="734" y="206"/>
                  </a:lnTo>
                  <a:lnTo>
                    <a:pt x="732" y="206"/>
                  </a:lnTo>
                  <a:lnTo>
                    <a:pt x="732" y="206"/>
                  </a:lnTo>
                  <a:lnTo>
                    <a:pt x="732" y="206"/>
                  </a:lnTo>
                  <a:lnTo>
                    <a:pt x="730" y="208"/>
                  </a:lnTo>
                  <a:lnTo>
                    <a:pt x="727" y="208"/>
                  </a:lnTo>
                  <a:lnTo>
                    <a:pt x="725" y="210"/>
                  </a:lnTo>
                  <a:lnTo>
                    <a:pt x="725" y="210"/>
                  </a:lnTo>
                  <a:lnTo>
                    <a:pt x="725" y="210"/>
                  </a:lnTo>
                  <a:lnTo>
                    <a:pt x="723" y="210"/>
                  </a:lnTo>
                  <a:lnTo>
                    <a:pt x="723" y="210"/>
                  </a:lnTo>
                  <a:lnTo>
                    <a:pt x="720" y="213"/>
                  </a:lnTo>
                  <a:lnTo>
                    <a:pt x="718" y="213"/>
                  </a:lnTo>
                  <a:lnTo>
                    <a:pt x="718" y="215"/>
                  </a:lnTo>
                  <a:lnTo>
                    <a:pt x="716" y="213"/>
                  </a:lnTo>
                  <a:lnTo>
                    <a:pt x="716" y="215"/>
                  </a:lnTo>
                  <a:lnTo>
                    <a:pt x="713" y="215"/>
                  </a:lnTo>
                  <a:lnTo>
                    <a:pt x="713" y="215"/>
                  </a:lnTo>
                  <a:lnTo>
                    <a:pt x="711" y="215"/>
                  </a:lnTo>
                  <a:lnTo>
                    <a:pt x="709" y="215"/>
                  </a:lnTo>
                  <a:lnTo>
                    <a:pt x="709" y="213"/>
                  </a:lnTo>
                  <a:lnTo>
                    <a:pt x="706" y="213"/>
                  </a:lnTo>
                  <a:lnTo>
                    <a:pt x="706" y="213"/>
                  </a:lnTo>
                  <a:lnTo>
                    <a:pt x="706" y="213"/>
                  </a:lnTo>
                  <a:lnTo>
                    <a:pt x="706" y="210"/>
                  </a:lnTo>
                  <a:lnTo>
                    <a:pt x="706" y="208"/>
                  </a:lnTo>
                  <a:lnTo>
                    <a:pt x="706" y="208"/>
                  </a:lnTo>
                  <a:lnTo>
                    <a:pt x="706" y="208"/>
                  </a:lnTo>
                  <a:lnTo>
                    <a:pt x="706" y="206"/>
                  </a:lnTo>
                  <a:lnTo>
                    <a:pt x="706" y="206"/>
                  </a:lnTo>
                  <a:lnTo>
                    <a:pt x="704" y="208"/>
                  </a:lnTo>
                  <a:lnTo>
                    <a:pt x="701" y="208"/>
                  </a:lnTo>
                  <a:lnTo>
                    <a:pt x="701" y="208"/>
                  </a:lnTo>
                  <a:lnTo>
                    <a:pt x="699" y="208"/>
                  </a:lnTo>
                  <a:lnTo>
                    <a:pt x="699" y="208"/>
                  </a:lnTo>
                  <a:lnTo>
                    <a:pt x="697" y="208"/>
                  </a:lnTo>
                  <a:lnTo>
                    <a:pt x="692" y="208"/>
                  </a:lnTo>
                  <a:lnTo>
                    <a:pt x="692" y="208"/>
                  </a:lnTo>
                  <a:lnTo>
                    <a:pt x="692" y="208"/>
                  </a:lnTo>
                  <a:lnTo>
                    <a:pt x="690" y="208"/>
                  </a:lnTo>
                  <a:lnTo>
                    <a:pt x="690" y="208"/>
                  </a:lnTo>
                  <a:lnTo>
                    <a:pt x="690" y="208"/>
                  </a:lnTo>
                  <a:lnTo>
                    <a:pt x="690" y="210"/>
                  </a:lnTo>
                  <a:lnTo>
                    <a:pt x="687" y="210"/>
                  </a:lnTo>
                  <a:lnTo>
                    <a:pt x="687" y="210"/>
                  </a:lnTo>
                  <a:lnTo>
                    <a:pt x="685" y="213"/>
                  </a:lnTo>
                  <a:lnTo>
                    <a:pt x="683" y="213"/>
                  </a:lnTo>
                  <a:lnTo>
                    <a:pt x="683" y="213"/>
                  </a:lnTo>
                  <a:lnTo>
                    <a:pt x="683" y="213"/>
                  </a:lnTo>
                  <a:lnTo>
                    <a:pt x="683" y="213"/>
                  </a:lnTo>
                  <a:lnTo>
                    <a:pt x="680" y="213"/>
                  </a:lnTo>
                  <a:lnTo>
                    <a:pt x="678" y="215"/>
                  </a:lnTo>
                  <a:lnTo>
                    <a:pt x="675" y="215"/>
                  </a:lnTo>
                  <a:lnTo>
                    <a:pt x="671" y="215"/>
                  </a:lnTo>
                  <a:lnTo>
                    <a:pt x="668" y="217"/>
                  </a:lnTo>
                  <a:lnTo>
                    <a:pt x="664" y="220"/>
                  </a:lnTo>
                  <a:lnTo>
                    <a:pt x="661" y="222"/>
                  </a:lnTo>
                  <a:lnTo>
                    <a:pt x="664" y="225"/>
                  </a:lnTo>
                  <a:lnTo>
                    <a:pt x="664" y="225"/>
                  </a:lnTo>
                  <a:lnTo>
                    <a:pt x="666" y="227"/>
                  </a:lnTo>
                  <a:lnTo>
                    <a:pt x="664" y="227"/>
                  </a:lnTo>
                  <a:lnTo>
                    <a:pt x="664" y="227"/>
                  </a:lnTo>
                  <a:lnTo>
                    <a:pt x="664" y="229"/>
                  </a:lnTo>
                  <a:lnTo>
                    <a:pt x="661" y="232"/>
                  </a:lnTo>
                  <a:lnTo>
                    <a:pt x="661" y="232"/>
                  </a:lnTo>
                  <a:lnTo>
                    <a:pt x="661" y="232"/>
                  </a:lnTo>
                  <a:lnTo>
                    <a:pt x="659" y="232"/>
                  </a:lnTo>
                  <a:lnTo>
                    <a:pt x="659" y="232"/>
                  </a:lnTo>
                  <a:lnTo>
                    <a:pt x="657" y="232"/>
                  </a:lnTo>
                  <a:lnTo>
                    <a:pt x="657" y="232"/>
                  </a:lnTo>
                  <a:lnTo>
                    <a:pt x="654" y="232"/>
                  </a:lnTo>
                  <a:lnTo>
                    <a:pt x="654" y="232"/>
                  </a:lnTo>
                  <a:lnTo>
                    <a:pt x="654" y="232"/>
                  </a:lnTo>
                  <a:lnTo>
                    <a:pt x="652" y="234"/>
                  </a:lnTo>
                  <a:lnTo>
                    <a:pt x="652" y="236"/>
                  </a:lnTo>
                  <a:lnTo>
                    <a:pt x="652" y="236"/>
                  </a:lnTo>
                  <a:lnTo>
                    <a:pt x="652" y="236"/>
                  </a:lnTo>
                  <a:lnTo>
                    <a:pt x="649" y="239"/>
                  </a:lnTo>
                  <a:lnTo>
                    <a:pt x="647" y="239"/>
                  </a:lnTo>
                  <a:lnTo>
                    <a:pt x="645" y="239"/>
                  </a:lnTo>
                  <a:lnTo>
                    <a:pt x="645" y="241"/>
                  </a:lnTo>
                  <a:lnTo>
                    <a:pt x="645" y="241"/>
                  </a:lnTo>
                  <a:lnTo>
                    <a:pt x="645" y="243"/>
                  </a:lnTo>
                  <a:lnTo>
                    <a:pt x="645" y="243"/>
                  </a:lnTo>
                  <a:lnTo>
                    <a:pt x="647" y="243"/>
                  </a:lnTo>
                  <a:lnTo>
                    <a:pt x="649" y="246"/>
                  </a:lnTo>
                  <a:lnTo>
                    <a:pt x="649" y="246"/>
                  </a:lnTo>
                  <a:lnTo>
                    <a:pt x="649" y="248"/>
                  </a:lnTo>
                  <a:lnTo>
                    <a:pt x="649" y="248"/>
                  </a:lnTo>
                  <a:lnTo>
                    <a:pt x="647" y="251"/>
                  </a:lnTo>
                  <a:lnTo>
                    <a:pt x="647" y="248"/>
                  </a:lnTo>
                  <a:lnTo>
                    <a:pt x="647" y="251"/>
                  </a:lnTo>
                  <a:lnTo>
                    <a:pt x="645" y="251"/>
                  </a:lnTo>
                  <a:lnTo>
                    <a:pt x="645" y="248"/>
                  </a:lnTo>
                  <a:lnTo>
                    <a:pt x="645" y="248"/>
                  </a:lnTo>
                  <a:lnTo>
                    <a:pt x="645" y="248"/>
                  </a:lnTo>
                  <a:lnTo>
                    <a:pt x="642" y="248"/>
                  </a:lnTo>
                  <a:lnTo>
                    <a:pt x="642" y="248"/>
                  </a:lnTo>
                  <a:lnTo>
                    <a:pt x="642" y="251"/>
                  </a:lnTo>
                  <a:lnTo>
                    <a:pt x="640" y="248"/>
                  </a:lnTo>
                  <a:lnTo>
                    <a:pt x="640" y="251"/>
                  </a:lnTo>
                  <a:lnTo>
                    <a:pt x="640" y="248"/>
                  </a:lnTo>
                  <a:lnTo>
                    <a:pt x="640" y="251"/>
                  </a:lnTo>
                  <a:lnTo>
                    <a:pt x="638" y="251"/>
                  </a:lnTo>
                  <a:lnTo>
                    <a:pt x="638" y="253"/>
                  </a:lnTo>
                  <a:lnTo>
                    <a:pt x="635" y="253"/>
                  </a:lnTo>
                  <a:lnTo>
                    <a:pt x="635" y="253"/>
                  </a:lnTo>
                  <a:lnTo>
                    <a:pt x="633" y="253"/>
                  </a:lnTo>
                  <a:lnTo>
                    <a:pt x="633" y="253"/>
                  </a:lnTo>
                  <a:lnTo>
                    <a:pt x="635" y="253"/>
                  </a:lnTo>
                  <a:lnTo>
                    <a:pt x="633" y="255"/>
                  </a:lnTo>
                  <a:lnTo>
                    <a:pt x="633" y="255"/>
                  </a:lnTo>
                  <a:lnTo>
                    <a:pt x="631" y="255"/>
                  </a:lnTo>
                  <a:lnTo>
                    <a:pt x="631" y="255"/>
                  </a:lnTo>
                  <a:lnTo>
                    <a:pt x="628" y="255"/>
                  </a:lnTo>
                  <a:lnTo>
                    <a:pt x="626" y="255"/>
                  </a:lnTo>
                  <a:lnTo>
                    <a:pt x="626" y="255"/>
                  </a:lnTo>
                  <a:lnTo>
                    <a:pt x="626" y="255"/>
                  </a:lnTo>
                  <a:lnTo>
                    <a:pt x="626" y="253"/>
                  </a:lnTo>
                  <a:lnTo>
                    <a:pt x="623" y="253"/>
                  </a:lnTo>
                  <a:lnTo>
                    <a:pt x="623" y="255"/>
                  </a:lnTo>
                  <a:lnTo>
                    <a:pt x="621" y="255"/>
                  </a:lnTo>
                  <a:lnTo>
                    <a:pt x="621" y="255"/>
                  </a:lnTo>
                  <a:lnTo>
                    <a:pt x="621" y="255"/>
                  </a:lnTo>
                  <a:lnTo>
                    <a:pt x="621" y="258"/>
                  </a:lnTo>
                  <a:lnTo>
                    <a:pt x="619" y="258"/>
                  </a:lnTo>
                  <a:lnTo>
                    <a:pt x="619" y="258"/>
                  </a:lnTo>
                  <a:lnTo>
                    <a:pt x="616" y="258"/>
                  </a:lnTo>
                  <a:lnTo>
                    <a:pt x="616" y="260"/>
                  </a:lnTo>
                  <a:lnTo>
                    <a:pt x="616" y="260"/>
                  </a:lnTo>
                  <a:lnTo>
                    <a:pt x="616" y="260"/>
                  </a:lnTo>
                  <a:lnTo>
                    <a:pt x="614" y="262"/>
                  </a:lnTo>
                  <a:lnTo>
                    <a:pt x="607" y="265"/>
                  </a:lnTo>
                  <a:lnTo>
                    <a:pt x="607" y="267"/>
                  </a:lnTo>
                  <a:lnTo>
                    <a:pt x="607" y="267"/>
                  </a:lnTo>
                  <a:lnTo>
                    <a:pt x="607" y="269"/>
                  </a:lnTo>
                  <a:lnTo>
                    <a:pt x="607" y="269"/>
                  </a:lnTo>
                  <a:lnTo>
                    <a:pt x="607" y="269"/>
                  </a:lnTo>
                  <a:lnTo>
                    <a:pt x="605" y="269"/>
                  </a:lnTo>
                  <a:lnTo>
                    <a:pt x="605" y="269"/>
                  </a:lnTo>
                  <a:lnTo>
                    <a:pt x="602" y="272"/>
                  </a:lnTo>
                  <a:lnTo>
                    <a:pt x="602" y="269"/>
                  </a:lnTo>
                  <a:lnTo>
                    <a:pt x="602" y="269"/>
                  </a:lnTo>
                  <a:lnTo>
                    <a:pt x="600" y="269"/>
                  </a:lnTo>
                  <a:lnTo>
                    <a:pt x="600" y="269"/>
                  </a:lnTo>
                  <a:lnTo>
                    <a:pt x="600" y="269"/>
                  </a:lnTo>
                  <a:lnTo>
                    <a:pt x="600" y="269"/>
                  </a:lnTo>
                  <a:lnTo>
                    <a:pt x="600" y="269"/>
                  </a:lnTo>
                  <a:lnTo>
                    <a:pt x="597" y="269"/>
                  </a:lnTo>
                  <a:lnTo>
                    <a:pt x="597" y="267"/>
                  </a:lnTo>
                  <a:lnTo>
                    <a:pt x="597" y="267"/>
                  </a:lnTo>
                  <a:lnTo>
                    <a:pt x="597" y="267"/>
                  </a:lnTo>
                  <a:lnTo>
                    <a:pt x="597" y="267"/>
                  </a:lnTo>
                  <a:lnTo>
                    <a:pt x="595" y="267"/>
                  </a:lnTo>
                  <a:lnTo>
                    <a:pt x="593" y="262"/>
                  </a:lnTo>
                  <a:lnTo>
                    <a:pt x="590" y="262"/>
                  </a:lnTo>
                  <a:lnTo>
                    <a:pt x="583" y="262"/>
                  </a:lnTo>
                  <a:lnTo>
                    <a:pt x="579" y="265"/>
                  </a:lnTo>
                  <a:lnTo>
                    <a:pt x="571" y="265"/>
                  </a:lnTo>
                  <a:lnTo>
                    <a:pt x="571" y="262"/>
                  </a:lnTo>
                  <a:lnTo>
                    <a:pt x="571" y="262"/>
                  </a:lnTo>
                  <a:lnTo>
                    <a:pt x="569" y="262"/>
                  </a:lnTo>
                  <a:lnTo>
                    <a:pt x="567" y="262"/>
                  </a:lnTo>
                  <a:lnTo>
                    <a:pt x="569" y="262"/>
                  </a:lnTo>
                  <a:lnTo>
                    <a:pt x="567" y="262"/>
                  </a:lnTo>
                  <a:lnTo>
                    <a:pt x="564" y="262"/>
                  </a:lnTo>
                  <a:lnTo>
                    <a:pt x="562" y="265"/>
                  </a:lnTo>
                  <a:lnTo>
                    <a:pt x="562" y="269"/>
                  </a:lnTo>
                  <a:lnTo>
                    <a:pt x="562" y="269"/>
                  </a:lnTo>
                  <a:lnTo>
                    <a:pt x="562" y="269"/>
                  </a:lnTo>
                  <a:lnTo>
                    <a:pt x="560" y="272"/>
                  </a:lnTo>
                  <a:lnTo>
                    <a:pt x="560" y="274"/>
                  </a:lnTo>
                  <a:lnTo>
                    <a:pt x="560" y="274"/>
                  </a:lnTo>
                  <a:lnTo>
                    <a:pt x="560" y="274"/>
                  </a:lnTo>
                  <a:lnTo>
                    <a:pt x="560" y="274"/>
                  </a:lnTo>
                  <a:lnTo>
                    <a:pt x="560" y="277"/>
                  </a:lnTo>
                  <a:lnTo>
                    <a:pt x="557" y="277"/>
                  </a:lnTo>
                  <a:lnTo>
                    <a:pt x="555" y="274"/>
                  </a:lnTo>
                  <a:lnTo>
                    <a:pt x="553" y="272"/>
                  </a:lnTo>
                  <a:lnTo>
                    <a:pt x="550" y="267"/>
                  </a:lnTo>
                  <a:lnTo>
                    <a:pt x="546" y="267"/>
                  </a:lnTo>
                  <a:lnTo>
                    <a:pt x="546" y="265"/>
                  </a:lnTo>
                  <a:lnTo>
                    <a:pt x="546" y="267"/>
                  </a:lnTo>
                  <a:lnTo>
                    <a:pt x="543" y="265"/>
                  </a:lnTo>
                  <a:lnTo>
                    <a:pt x="546" y="262"/>
                  </a:lnTo>
                  <a:lnTo>
                    <a:pt x="543" y="260"/>
                  </a:lnTo>
                  <a:lnTo>
                    <a:pt x="541" y="260"/>
                  </a:lnTo>
                  <a:lnTo>
                    <a:pt x="538" y="258"/>
                  </a:lnTo>
                  <a:lnTo>
                    <a:pt x="538" y="258"/>
                  </a:lnTo>
                  <a:lnTo>
                    <a:pt x="536" y="260"/>
                  </a:lnTo>
                  <a:lnTo>
                    <a:pt x="534" y="260"/>
                  </a:lnTo>
                  <a:lnTo>
                    <a:pt x="531" y="262"/>
                  </a:lnTo>
                  <a:lnTo>
                    <a:pt x="531" y="262"/>
                  </a:lnTo>
                  <a:lnTo>
                    <a:pt x="531" y="260"/>
                  </a:lnTo>
                  <a:lnTo>
                    <a:pt x="531" y="260"/>
                  </a:lnTo>
                  <a:lnTo>
                    <a:pt x="531" y="258"/>
                  </a:lnTo>
                  <a:lnTo>
                    <a:pt x="527" y="253"/>
                  </a:lnTo>
                  <a:lnTo>
                    <a:pt x="524" y="255"/>
                  </a:lnTo>
                  <a:lnTo>
                    <a:pt x="522" y="258"/>
                  </a:lnTo>
                  <a:lnTo>
                    <a:pt x="522" y="255"/>
                  </a:lnTo>
                  <a:lnTo>
                    <a:pt x="522" y="255"/>
                  </a:lnTo>
                  <a:lnTo>
                    <a:pt x="522" y="255"/>
                  </a:lnTo>
                  <a:lnTo>
                    <a:pt x="522" y="253"/>
                  </a:lnTo>
                  <a:lnTo>
                    <a:pt x="522" y="253"/>
                  </a:lnTo>
                  <a:lnTo>
                    <a:pt x="522" y="251"/>
                  </a:lnTo>
                  <a:lnTo>
                    <a:pt x="522" y="251"/>
                  </a:lnTo>
                  <a:lnTo>
                    <a:pt x="522" y="251"/>
                  </a:lnTo>
                  <a:lnTo>
                    <a:pt x="520" y="248"/>
                  </a:lnTo>
                  <a:lnTo>
                    <a:pt x="517" y="246"/>
                  </a:lnTo>
                  <a:lnTo>
                    <a:pt x="517" y="246"/>
                  </a:lnTo>
                  <a:lnTo>
                    <a:pt x="515" y="241"/>
                  </a:lnTo>
                  <a:lnTo>
                    <a:pt x="512" y="241"/>
                  </a:lnTo>
                  <a:lnTo>
                    <a:pt x="512" y="239"/>
                  </a:lnTo>
                  <a:lnTo>
                    <a:pt x="512" y="239"/>
                  </a:lnTo>
                  <a:lnTo>
                    <a:pt x="510" y="239"/>
                  </a:lnTo>
                  <a:lnTo>
                    <a:pt x="510" y="236"/>
                  </a:lnTo>
                  <a:lnTo>
                    <a:pt x="501" y="234"/>
                  </a:lnTo>
                  <a:lnTo>
                    <a:pt x="498" y="232"/>
                  </a:lnTo>
                  <a:lnTo>
                    <a:pt x="496" y="229"/>
                  </a:lnTo>
                  <a:lnTo>
                    <a:pt x="496" y="229"/>
                  </a:lnTo>
                  <a:lnTo>
                    <a:pt x="494" y="229"/>
                  </a:lnTo>
                  <a:lnTo>
                    <a:pt x="489" y="227"/>
                  </a:lnTo>
                  <a:lnTo>
                    <a:pt x="489" y="225"/>
                  </a:lnTo>
                  <a:lnTo>
                    <a:pt x="489" y="222"/>
                  </a:lnTo>
                  <a:lnTo>
                    <a:pt x="489" y="222"/>
                  </a:lnTo>
                  <a:lnTo>
                    <a:pt x="486" y="222"/>
                  </a:lnTo>
                  <a:lnTo>
                    <a:pt x="486" y="222"/>
                  </a:lnTo>
                  <a:lnTo>
                    <a:pt x="484" y="222"/>
                  </a:lnTo>
                  <a:lnTo>
                    <a:pt x="484" y="220"/>
                  </a:lnTo>
                  <a:lnTo>
                    <a:pt x="479" y="222"/>
                  </a:lnTo>
                  <a:lnTo>
                    <a:pt x="477" y="222"/>
                  </a:lnTo>
                  <a:lnTo>
                    <a:pt x="477" y="222"/>
                  </a:lnTo>
                  <a:lnTo>
                    <a:pt x="475" y="225"/>
                  </a:lnTo>
                  <a:lnTo>
                    <a:pt x="475" y="227"/>
                  </a:lnTo>
                  <a:lnTo>
                    <a:pt x="475" y="227"/>
                  </a:lnTo>
                  <a:lnTo>
                    <a:pt x="475" y="227"/>
                  </a:lnTo>
                  <a:lnTo>
                    <a:pt x="470" y="227"/>
                  </a:lnTo>
                  <a:lnTo>
                    <a:pt x="468" y="227"/>
                  </a:lnTo>
                  <a:lnTo>
                    <a:pt x="468" y="227"/>
                  </a:lnTo>
                  <a:lnTo>
                    <a:pt x="468" y="225"/>
                  </a:lnTo>
                  <a:lnTo>
                    <a:pt x="468" y="225"/>
                  </a:lnTo>
                  <a:lnTo>
                    <a:pt x="465" y="227"/>
                  </a:lnTo>
                  <a:lnTo>
                    <a:pt x="465" y="225"/>
                  </a:lnTo>
                  <a:lnTo>
                    <a:pt x="463" y="225"/>
                  </a:lnTo>
                  <a:lnTo>
                    <a:pt x="463" y="225"/>
                  </a:lnTo>
                  <a:lnTo>
                    <a:pt x="465" y="225"/>
                  </a:lnTo>
                  <a:lnTo>
                    <a:pt x="465" y="222"/>
                  </a:lnTo>
                  <a:lnTo>
                    <a:pt x="465" y="222"/>
                  </a:lnTo>
                  <a:lnTo>
                    <a:pt x="465" y="220"/>
                  </a:lnTo>
                  <a:lnTo>
                    <a:pt x="463" y="220"/>
                  </a:lnTo>
                  <a:lnTo>
                    <a:pt x="463" y="217"/>
                  </a:lnTo>
                  <a:lnTo>
                    <a:pt x="463" y="217"/>
                  </a:lnTo>
                  <a:lnTo>
                    <a:pt x="460" y="215"/>
                  </a:lnTo>
                  <a:lnTo>
                    <a:pt x="460" y="213"/>
                  </a:lnTo>
                  <a:lnTo>
                    <a:pt x="458" y="213"/>
                  </a:lnTo>
                  <a:lnTo>
                    <a:pt x="458" y="213"/>
                  </a:lnTo>
                  <a:lnTo>
                    <a:pt x="458" y="213"/>
                  </a:lnTo>
                  <a:lnTo>
                    <a:pt x="458" y="210"/>
                  </a:lnTo>
                  <a:lnTo>
                    <a:pt x="458" y="208"/>
                  </a:lnTo>
                  <a:lnTo>
                    <a:pt x="456" y="208"/>
                  </a:lnTo>
                  <a:lnTo>
                    <a:pt x="456" y="208"/>
                  </a:lnTo>
                  <a:lnTo>
                    <a:pt x="453" y="208"/>
                  </a:lnTo>
                  <a:lnTo>
                    <a:pt x="453" y="208"/>
                  </a:lnTo>
                  <a:lnTo>
                    <a:pt x="451" y="210"/>
                  </a:lnTo>
                  <a:lnTo>
                    <a:pt x="449" y="210"/>
                  </a:lnTo>
                  <a:lnTo>
                    <a:pt x="446" y="213"/>
                  </a:lnTo>
                  <a:lnTo>
                    <a:pt x="449" y="213"/>
                  </a:lnTo>
                  <a:lnTo>
                    <a:pt x="449" y="215"/>
                  </a:lnTo>
                  <a:lnTo>
                    <a:pt x="446" y="217"/>
                  </a:lnTo>
                  <a:lnTo>
                    <a:pt x="446" y="217"/>
                  </a:lnTo>
                  <a:lnTo>
                    <a:pt x="446" y="222"/>
                  </a:lnTo>
                  <a:lnTo>
                    <a:pt x="444" y="225"/>
                  </a:lnTo>
                  <a:lnTo>
                    <a:pt x="444" y="225"/>
                  </a:lnTo>
                  <a:lnTo>
                    <a:pt x="442" y="227"/>
                  </a:lnTo>
                  <a:lnTo>
                    <a:pt x="442" y="227"/>
                  </a:lnTo>
                  <a:lnTo>
                    <a:pt x="442" y="229"/>
                  </a:lnTo>
                  <a:lnTo>
                    <a:pt x="439" y="232"/>
                  </a:lnTo>
                  <a:lnTo>
                    <a:pt x="439" y="232"/>
                  </a:lnTo>
                  <a:lnTo>
                    <a:pt x="437" y="232"/>
                  </a:lnTo>
                  <a:lnTo>
                    <a:pt x="437" y="234"/>
                  </a:lnTo>
                  <a:lnTo>
                    <a:pt x="432" y="236"/>
                  </a:lnTo>
                  <a:lnTo>
                    <a:pt x="432" y="239"/>
                  </a:lnTo>
                  <a:lnTo>
                    <a:pt x="432" y="239"/>
                  </a:lnTo>
                  <a:lnTo>
                    <a:pt x="430" y="241"/>
                  </a:lnTo>
                  <a:lnTo>
                    <a:pt x="430" y="241"/>
                  </a:lnTo>
                  <a:lnTo>
                    <a:pt x="430" y="243"/>
                  </a:lnTo>
                  <a:lnTo>
                    <a:pt x="427" y="246"/>
                  </a:lnTo>
                  <a:lnTo>
                    <a:pt x="425" y="246"/>
                  </a:lnTo>
                  <a:lnTo>
                    <a:pt x="425" y="246"/>
                  </a:lnTo>
                  <a:lnTo>
                    <a:pt x="423" y="246"/>
                  </a:lnTo>
                  <a:lnTo>
                    <a:pt x="423" y="246"/>
                  </a:lnTo>
                  <a:lnTo>
                    <a:pt x="420" y="248"/>
                  </a:lnTo>
                  <a:lnTo>
                    <a:pt x="420" y="248"/>
                  </a:lnTo>
                  <a:lnTo>
                    <a:pt x="418" y="248"/>
                  </a:lnTo>
                  <a:lnTo>
                    <a:pt x="416" y="248"/>
                  </a:lnTo>
                  <a:lnTo>
                    <a:pt x="416" y="248"/>
                  </a:lnTo>
                  <a:lnTo>
                    <a:pt x="413" y="248"/>
                  </a:lnTo>
                  <a:lnTo>
                    <a:pt x="413" y="251"/>
                  </a:lnTo>
                  <a:lnTo>
                    <a:pt x="411" y="253"/>
                  </a:lnTo>
                  <a:lnTo>
                    <a:pt x="406" y="255"/>
                  </a:lnTo>
                  <a:lnTo>
                    <a:pt x="406" y="258"/>
                  </a:lnTo>
                  <a:lnTo>
                    <a:pt x="406" y="260"/>
                  </a:lnTo>
                  <a:lnTo>
                    <a:pt x="406" y="260"/>
                  </a:lnTo>
                  <a:lnTo>
                    <a:pt x="401" y="265"/>
                  </a:lnTo>
                  <a:lnTo>
                    <a:pt x="399" y="265"/>
                  </a:lnTo>
                  <a:lnTo>
                    <a:pt x="394" y="269"/>
                  </a:lnTo>
                  <a:lnTo>
                    <a:pt x="394" y="265"/>
                  </a:lnTo>
                  <a:lnTo>
                    <a:pt x="390" y="255"/>
                  </a:lnTo>
                  <a:lnTo>
                    <a:pt x="390" y="253"/>
                  </a:lnTo>
                  <a:lnTo>
                    <a:pt x="387" y="248"/>
                  </a:lnTo>
                  <a:lnTo>
                    <a:pt x="387" y="246"/>
                  </a:lnTo>
                  <a:lnTo>
                    <a:pt x="385" y="246"/>
                  </a:lnTo>
                  <a:lnTo>
                    <a:pt x="385" y="243"/>
                  </a:lnTo>
                  <a:lnTo>
                    <a:pt x="385" y="241"/>
                  </a:lnTo>
                  <a:lnTo>
                    <a:pt x="387" y="239"/>
                  </a:lnTo>
                  <a:lnTo>
                    <a:pt x="385" y="239"/>
                  </a:lnTo>
                  <a:lnTo>
                    <a:pt x="385" y="236"/>
                  </a:lnTo>
                  <a:lnTo>
                    <a:pt x="385" y="234"/>
                  </a:lnTo>
                  <a:lnTo>
                    <a:pt x="387" y="234"/>
                  </a:lnTo>
                  <a:lnTo>
                    <a:pt x="387" y="232"/>
                  </a:lnTo>
                  <a:lnTo>
                    <a:pt x="387" y="232"/>
                  </a:lnTo>
                  <a:lnTo>
                    <a:pt x="387" y="229"/>
                  </a:lnTo>
                  <a:lnTo>
                    <a:pt x="385" y="227"/>
                  </a:lnTo>
                  <a:lnTo>
                    <a:pt x="385" y="225"/>
                  </a:lnTo>
                  <a:lnTo>
                    <a:pt x="383" y="225"/>
                  </a:lnTo>
                  <a:lnTo>
                    <a:pt x="380" y="225"/>
                  </a:lnTo>
                  <a:lnTo>
                    <a:pt x="380" y="225"/>
                  </a:lnTo>
                  <a:lnTo>
                    <a:pt x="375" y="229"/>
                  </a:lnTo>
                  <a:lnTo>
                    <a:pt x="373" y="232"/>
                  </a:lnTo>
                  <a:lnTo>
                    <a:pt x="371" y="232"/>
                  </a:lnTo>
                  <a:lnTo>
                    <a:pt x="368" y="229"/>
                  </a:lnTo>
                  <a:lnTo>
                    <a:pt x="368" y="229"/>
                  </a:lnTo>
                  <a:lnTo>
                    <a:pt x="364" y="227"/>
                  </a:lnTo>
                  <a:lnTo>
                    <a:pt x="361" y="225"/>
                  </a:lnTo>
                  <a:lnTo>
                    <a:pt x="359" y="222"/>
                  </a:lnTo>
                  <a:lnTo>
                    <a:pt x="359" y="220"/>
                  </a:lnTo>
                  <a:lnTo>
                    <a:pt x="359" y="217"/>
                  </a:lnTo>
                  <a:lnTo>
                    <a:pt x="359" y="217"/>
                  </a:lnTo>
                  <a:lnTo>
                    <a:pt x="359" y="217"/>
                  </a:lnTo>
                  <a:lnTo>
                    <a:pt x="361" y="215"/>
                  </a:lnTo>
                  <a:lnTo>
                    <a:pt x="364" y="213"/>
                  </a:lnTo>
                  <a:lnTo>
                    <a:pt x="366" y="213"/>
                  </a:lnTo>
                  <a:lnTo>
                    <a:pt x="366" y="208"/>
                  </a:lnTo>
                  <a:lnTo>
                    <a:pt x="364" y="206"/>
                  </a:lnTo>
                  <a:lnTo>
                    <a:pt x="361" y="203"/>
                  </a:lnTo>
                  <a:lnTo>
                    <a:pt x="357" y="203"/>
                  </a:lnTo>
                  <a:lnTo>
                    <a:pt x="352" y="203"/>
                  </a:lnTo>
                  <a:lnTo>
                    <a:pt x="349" y="210"/>
                  </a:lnTo>
                  <a:lnTo>
                    <a:pt x="347" y="213"/>
                  </a:lnTo>
                  <a:lnTo>
                    <a:pt x="347" y="220"/>
                  </a:lnTo>
                  <a:lnTo>
                    <a:pt x="347" y="225"/>
                  </a:lnTo>
                  <a:lnTo>
                    <a:pt x="345" y="225"/>
                  </a:lnTo>
                  <a:lnTo>
                    <a:pt x="342" y="225"/>
                  </a:lnTo>
                  <a:lnTo>
                    <a:pt x="340" y="222"/>
                  </a:lnTo>
                  <a:lnTo>
                    <a:pt x="338" y="220"/>
                  </a:lnTo>
                  <a:lnTo>
                    <a:pt x="338" y="217"/>
                  </a:lnTo>
                  <a:lnTo>
                    <a:pt x="338" y="215"/>
                  </a:lnTo>
                  <a:lnTo>
                    <a:pt x="338" y="210"/>
                  </a:lnTo>
                  <a:lnTo>
                    <a:pt x="335" y="208"/>
                  </a:lnTo>
                  <a:lnTo>
                    <a:pt x="333" y="206"/>
                  </a:lnTo>
                  <a:lnTo>
                    <a:pt x="331" y="206"/>
                  </a:lnTo>
                  <a:lnTo>
                    <a:pt x="328" y="203"/>
                  </a:lnTo>
                  <a:lnTo>
                    <a:pt x="323" y="199"/>
                  </a:lnTo>
                  <a:lnTo>
                    <a:pt x="323" y="199"/>
                  </a:lnTo>
                  <a:lnTo>
                    <a:pt x="323" y="199"/>
                  </a:lnTo>
                  <a:lnTo>
                    <a:pt x="316" y="199"/>
                  </a:lnTo>
                  <a:lnTo>
                    <a:pt x="314" y="199"/>
                  </a:lnTo>
                  <a:lnTo>
                    <a:pt x="314" y="199"/>
                  </a:lnTo>
                  <a:lnTo>
                    <a:pt x="309" y="199"/>
                  </a:lnTo>
                  <a:lnTo>
                    <a:pt x="305" y="201"/>
                  </a:lnTo>
                  <a:lnTo>
                    <a:pt x="305" y="201"/>
                  </a:lnTo>
                  <a:lnTo>
                    <a:pt x="305" y="201"/>
                  </a:lnTo>
                  <a:lnTo>
                    <a:pt x="302" y="199"/>
                  </a:lnTo>
                  <a:lnTo>
                    <a:pt x="302" y="199"/>
                  </a:lnTo>
                  <a:lnTo>
                    <a:pt x="300" y="196"/>
                  </a:lnTo>
                  <a:lnTo>
                    <a:pt x="295" y="194"/>
                  </a:lnTo>
                  <a:lnTo>
                    <a:pt x="295" y="191"/>
                  </a:lnTo>
                  <a:lnTo>
                    <a:pt x="293" y="191"/>
                  </a:lnTo>
                  <a:lnTo>
                    <a:pt x="290" y="191"/>
                  </a:lnTo>
                  <a:lnTo>
                    <a:pt x="286" y="189"/>
                  </a:lnTo>
                  <a:lnTo>
                    <a:pt x="283" y="189"/>
                  </a:lnTo>
                  <a:lnTo>
                    <a:pt x="279" y="189"/>
                  </a:lnTo>
                  <a:lnTo>
                    <a:pt x="279" y="187"/>
                  </a:lnTo>
                  <a:lnTo>
                    <a:pt x="276" y="187"/>
                  </a:lnTo>
                  <a:lnTo>
                    <a:pt x="276" y="187"/>
                  </a:lnTo>
                  <a:lnTo>
                    <a:pt x="276" y="187"/>
                  </a:lnTo>
                  <a:lnTo>
                    <a:pt x="274" y="189"/>
                  </a:lnTo>
                  <a:lnTo>
                    <a:pt x="269" y="187"/>
                  </a:lnTo>
                  <a:lnTo>
                    <a:pt x="269" y="189"/>
                  </a:lnTo>
                  <a:lnTo>
                    <a:pt x="269" y="189"/>
                  </a:lnTo>
                  <a:lnTo>
                    <a:pt x="269" y="187"/>
                  </a:lnTo>
                  <a:lnTo>
                    <a:pt x="267" y="187"/>
                  </a:lnTo>
                  <a:lnTo>
                    <a:pt x="267" y="184"/>
                  </a:lnTo>
                  <a:lnTo>
                    <a:pt x="267" y="184"/>
                  </a:lnTo>
                  <a:lnTo>
                    <a:pt x="267" y="180"/>
                  </a:lnTo>
                  <a:lnTo>
                    <a:pt x="267" y="180"/>
                  </a:lnTo>
                  <a:lnTo>
                    <a:pt x="267" y="177"/>
                  </a:lnTo>
                  <a:lnTo>
                    <a:pt x="267" y="177"/>
                  </a:lnTo>
                  <a:lnTo>
                    <a:pt x="264" y="175"/>
                  </a:lnTo>
                  <a:lnTo>
                    <a:pt x="264" y="173"/>
                  </a:lnTo>
                  <a:lnTo>
                    <a:pt x="264" y="173"/>
                  </a:lnTo>
                  <a:lnTo>
                    <a:pt x="264" y="170"/>
                  </a:lnTo>
                  <a:lnTo>
                    <a:pt x="262" y="170"/>
                  </a:lnTo>
                  <a:lnTo>
                    <a:pt x="262" y="168"/>
                  </a:lnTo>
                  <a:lnTo>
                    <a:pt x="260" y="168"/>
                  </a:lnTo>
                  <a:lnTo>
                    <a:pt x="257" y="168"/>
                  </a:lnTo>
                  <a:lnTo>
                    <a:pt x="255" y="168"/>
                  </a:lnTo>
                  <a:lnTo>
                    <a:pt x="253" y="168"/>
                  </a:lnTo>
                  <a:lnTo>
                    <a:pt x="253" y="165"/>
                  </a:lnTo>
                  <a:lnTo>
                    <a:pt x="250" y="165"/>
                  </a:lnTo>
                  <a:lnTo>
                    <a:pt x="250" y="165"/>
                  </a:lnTo>
                  <a:lnTo>
                    <a:pt x="250" y="165"/>
                  </a:lnTo>
                  <a:lnTo>
                    <a:pt x="245" y="165"/>
                  </a:lnTo>
                  <a:lnTo>
                    <a:pt x="245" y="165"/>
                  </a:lnTo>
                  <a:lnTo>
                    <a:pt x="245" y="168"/>
                  </a:lnTo>
                  <a:lnTo>
                    <a:pt x="243" y="168"/>
                  </a:lnTo>
                  <a:lnTo>
                    <a:pt x="241" y="168"/>
                  </a:lnTo>
                  <a:lnTo>
                    <a:pt x="241" y="170"/>
                  </a:lnTo>
                  <a:lnTo>
                    <a:pt x="241" y="170"/>
                  </a:lnTo>
                  <a:lnTo>
                    <a:pt x="238" y="173"/>
                  </a:lnTo>
                  <a:lnTo>
                    <a:pt x="231" y="175"/>
                  </a:lnTo>
                  <a:lnTo>
                    <a:pt x="231" y="175"/>
                  </a:lnTo>
                  <a:lnTo>
                    <a:pt x="229" y="177"/>
                  </a:lnTo>
                  <a:lnTo>
                    <a:pt x="227" y="177"/>
                  </a:lnTo>
                  <a:lnTo>
                    <a:pt x="227" y="177"/>
                  </a:lnTo>
                  <a:lnTo>
                    <a:pt x="227" y="180"/>
                  </a:lnTo>
                  <a:lnTo>
                    <a:pt x="222" y="180"/>
                  </a:lnTo>
                  <a:lnTo>
                    <a:pt x="220" y="180"/>
                  </a:lnTo>
                  <a:lnTo>
                    <a:pt x="217" y="182"/>
                  </a:lnTo>
                  <a:lnTo>
                    <a:pt x="215" y="182"/>
                  </a:lnTo>
                  <a:lnTo>
                    <a:pt x="210" y="182"/>
                  </a:lnTo>
                  <a:lnTo>
                    <a:pt x="210" y="184"/>
                  </a:lnTo>
                  <a:lnTo>
                    <a:pt x="212" y="187"/>
                  </a:lnTo>
                  <a:lnTo>
                    <a:pt x="212" y="191"/>
                  </a:lnTo>
                  <a:lnTo>
                    <a:pt x="212" y="194"/>
                  </a:lnTo>
                  <a:lnTo>
                    <a:pt x="212" y="194"/>
                  </a:lnTo>
                  <a:lnTo>
                    <a:pt x="212" y="196"/>
                  </a:lnTo>
                  <a:lnTo>
                    <a:pt x="212" y="199"/>
                  </a:lnTo>
                  <a:lnTo>
                    <a:pt x="212" y="199"/>
                  </a:lnTo>
                  <a:lnTo>
                    <a:pt x="210" y="199"/>
                  </a:lnTo>
                  <a:lnTo>
                    <a:pt x="210" y="199"/>
                  </a:lnTo>
                  <a:lnTo>
                    <a:pt x="203" y="199"/>
                  </a:lnTo>
                  <a:lnTo>
                    <a:pt x="198" y="203"/>
                  </a:lnTo>
                  <a:lnTo>
                    <a:pt x="196" y="203"/>
                  </a:lnTo>
                  <a:lnTo>
                    <a:pt x="194" y="201"/>
                  </a:lnTo>
                  <a:lnTo>
                    <a:pt x="186" y="203"/>
                  </a:lnTo>
                  <a:lnTo>
                    <a:pt x="184" y="203"/>
                  </a:lnTo>
                  <a:lnTo>
                    <a:pt x="184" y="206"/>
                  </a:lnTo>
                  <a:lnTo>
                    <a:pt x="184" y="206"/>
                  </a:lnTo>
                  <a:lnTo>
                    <a:pt x="184" y="208"/>
                  </a:lnTo>
                  <a:lnTo>
                    <a:pt x="184" y="208"/>
                  </a:lnTo>
                  <a:lnTo>
                    <a:pt x="186" y="213"/>
                  </a:lnTo>
                  <a:lnTo>
                    <a:pt x="186" y="217"/>
                  </a:lnTo>
                  <a:lnTo>
                    <a:pt x="184" y="222"/>
                  </a:lnTo>
                  <a:lnTo>
                    <a:pt x="184" y="222"/>
                  </a:lnTo>
                  <a:lnTo>
                    <a:pt x="182" y="225"/>
                  </a:lnTo>
                  <a:lnTo>
                    <a:pt x="182" y="227"/>
                  </a:lnTo>
                  <a:lnTo>
                    <a:pt x="177" y="232"/>
                  </a:lnTo>
                  <a:lnTo>
                    <a:pt x="175" y="234"/>
                  </a:lnTo>
                  <a:lnTo>
                    <a:pt x="172" y="234"/>
                  </a:lnTo>
                  <a:lnTo>
                    <a:pt x="172" y="234"/>
                  </a:lnTo>
                  <a:lnTo>
                    <a:pt x="168" y="234"/>
                  </a:lnTo>
                  <a:lnTo>
                    <a:pt x="163" y="234"/>
                  </a:lnTo>
                  <a:lnTo>
                    <a:pt x="163" y="236"/>
                  </a:lnTo>
                  <a:lnTo>
                    <a:pt x="160" y="236"/>
                  </a:lnTo>
                  <a:lnTo>
                    <a:pt x="156" y="241"/>
                  </a:lnTo>
                  <a:lnTo>
                    <a:pt x="153" y="241"/>
                  </a:lnTo>
                  <a:lnTo>
                    <a:pt x="151" y="241"/>
                  </a:lnTo>
                  <a:lnTo>
                    <a:pt x="149" y="239"/>
                  </a:lnTo>
                  <a:lnTo>
                    <a:pt x="146" y="236"/>
                  </a:lnTo>
                  <a:lnTo>
                    <a:pt x="144" y="234"/>
                  </a:lnTo>
                  <a:lnTo>
                    <a:pt x="144" y="234"/>
                  </a:lnTo>
                  <a:lnTo>
                    <a:pt x="144" y="234"/>
                  </a:lnTo>
                  <a:lnTo>
                    <a:pt x="142" y="234"/>
                  </a:lnTo>
                  <a:lnTo>
                    <a:pt x="139" y="234"/>
                  </a:lnTo>
                  <a:lnTo>
                    <a:pt x="139" y="234"/>
                  </a:lnTo>
                  <a:lnTo>
                    <a:pt x="137" y="236"/>
                  </a:lnTo>
                  <a:lnTo>
                    <a:pt x="134" y="241"/>
                  </a:lnTo>
                  <a:lnTo>
                    <a:pt x="134" y="246"/>
                  </a:lnTo>
                  <a:lnTo>
                    <a:pt x="134" y="251"/>
                  </a:lnTo>
                  <a:lnTo>
                    <a:pt x="134" y="253"/>
                  </a:lnTo>
                  <a:lnTo>
                    <a:pt x="132" y="262"/>
                  </a:lnTo>
                  <a:lnTo>
                    <a:pt x="130" y="262"/>
                  </a:lnTo>
                  <a:lnTo>
                    <a:pt x="130" y="269"/>
                  </a:lnTo>
                  <a:lnTo>
                    <a:pt x="130" y="269"/>
                  </a:lnTo>
                  <a:lnTo>
                    <a:pt x="130" y="272"/>
                  </a:lnTo>
                  <a:lnTo>
                    <a:pt x="125" y="274"/>
                  </a:lnTo>
                  <a:lnTo>
                    <a:pt x="125" y="274"/>
                  </a:lnTo>
                  <a:lnTo>
                    <a:pt x="123" y="274"/>
                  </a:lnTo>
                  <a:lnTo>
                    <a:pt x="120" y="272"/>
                  </a:lnTo>
                  <a:lnTo>
                    <a:pt x="118" y="272"/>
                  </a:lnTo>
                  <a:lnTo>
                    <a:pt x="116" y="274"/>
                  </a:lnTo>
                  <a:lnTo>
                    <a:pt x="113" y="279"/>
                  </a:lnTo>
                  <a:lnTo>
                    <a:pt x="111" y="281"/>
                  </a:lnTo>
                  <a:lnTo>
                    <a:pt x="111" y="281"/>
                  </a:lnTo>
                  <a:lnTo>
                    <a:pt x="108" y="279"/>
                  </a:lnTo>
                  <a:lnTo>
                    <a:pt x="108" y="279"/>
                  </a:lnTo>
                  <a:lnTo>
                    <a:pt x="106" y="279"/>
                  </a:lnTo>
                  <a:lnTo>
                    <a:pt x="104" y="281"/>
                  </a:lnTo>
                  <a:lnTo>
                    <a:pt x="104" y="281"/>
                  </a:lnTo>
                  <a:lnTo>
                    <a:pt x="101" y="286"/>
                  </a:lnTo>
                  <a:lnTo>
                    <a:pt x="101" y="286"/>
                  </a:lnTo>
                  <a:lnTo>
                    <a:pt x="99" y="286"/>
                  </a:lnTo>
                  <a:lnTo>
                    <a:pt x="99" y="288"/>
                  </a:lnTo>
                  <a:lnTo>
                    <a:pt x="99" y="288"/>
                  </a:lnTo>
                  <a:lnTo>
                    <a:pt x="97" y="288"/>
                  </a:lnTo>
                  <a:lnTo>
                    <a:pt x="92" y="288"/>
                  </a:lnTo>
                  <a:lnTo>
                    <a:pt x="90" y="288"/>
                  </a:lnTo>
                  <a:lnTo>
                    <a:pt x="85" y="288"/>
                  </a:lnTo>
                  <a:lnTo>
                    <a:pt x="80" y="286"/>
                  </a:lnTo>
                  <a:lnTo>
                    <a:pt x="80" y="284"/>
                  </a:lnTo>
                  <a:lnTo>
                    <a:pt x="75" y="284"/>
                  </a:lnTo>
                  <a:lnTo>
                    <a:pt x="73" y="286"/>
                  </a:lnTo>
                  <a:lnTo>
                    <a:pt x="73" y="284"/>
                  </a:lnTo>
                  <a:lnTo>
                    <a:pt x="75" y="281"/>
                  </a:lnTo>
                  <a:lnTo>
                    <a:pt x="75" y="279"/>
                  </a:lnTo>
                  <a:lnTo>
                    <a:pt x="75" y="279"/>
                  </a:lnTo>
                  <a:lnTo>
                    <a:pt x="78" y="279"/>
                  </a:lnTo>
                  <a:lnTo>
                    <a:pt x="78" y="279"/>
                  </a:lnTo>
                  <a:lnTo>
                    <a:pt x="78" y="277"/>
                  </a:lnTo>
                  <a:lnTo>
                    <a:pt x="75" y="274"/>
                  </a:lnTo>
                  <a:lnTo>
                    <a:pt x="78" y="272"/>
                  </a:lnTo>
                  <a:lnTo>
                    <a:pt x="78" y="272"/>
                  </a:lnTo>
                  <a:lnTo>
                    <a:pt x="78" y="269"/>
                  </a:lnTo>
                  <a:lnTo>
                    <a:pt x="75" y="267"/>
                  </a:lnTo>
                  <a:lnTo>
                    <a:pt x="75" y="265"/>
                  </a:lnTo>
                  <a:lnTo>
                    <a:pt x="78" y="265"/>
                  </a:lnTo>
                  <a:lnTo>
                    <a:pt x="78" y="265"/>
                  </a:lnTo>
                  <a:lnTo>
                    <a:pt x="80" y="265"/>
                  </a:lnTo>
                  <a:lnTo>
                    <a:pt x="82" y="265"/>
                  </a:lnTo>
                  <a:lnTo>
                    <a:pt x="82" y="265"/>
                  </a:lnTo>
                  <a:lnTo>
                    <a:pt x="82" y="262"/>
                  </a:lnTo>
                  <a:lnTo>
                    <a:pt x="85" y="262"/>
                  </a:lnTo>
                  <a:lnTo>
                    <a:pt x="85" y="262"/>
                  </a:lnTo>
                  <a:lnTo>
                    <a:pt x="85" y="260"/>
                  </a:lnTo>
                  <a:lnTo>
                    <a:pt x="85" y="260"/>
                  </a:lnTo>
                  <a:lnTo>
                    <a:pt x="85" y="258"/>
                  </a:lnTo>
                  <a:lnTo>
                    <a:pt x="82" y="255"/>
                  </a:lnTo>
                  <a:lnTo>
                    <a:pt x="85" y="253"/>
                  </a:lnTo>
                  <a:lnTo>
                    <a:pt x="85" y="253"/>
                  </a:lnTo>
                  <a:lnTo>
                    <a:pt x="85" y="251"/>
                  </a:lnTo>
                  <a:lnTo>
                    <a:pt x="85" y="251"/>
                  </a:lnTo>
                  <a:lnTo>
                    <a:pt x="85" y="248"/>
                  </a:lnTo>
                  <a:lnTo>
                    <a:pt x="87" y="246"/>
                  </a:lnTo>
                  <a:lnTo>
                    <a:pt x="85" y="246"/>
                  </a:lnTo>
                  <a:lnTo>
                    <a:pt x="85" y="243"/>
                  </a:lnTo>
                  <a:lnTo>
                    <a:pt x="82" y="243"/>
                  </a:lnTo>
                  <a:lnTo>
                    <a:pt x="80" y="243"/>
                  </a:lnTo>
                  <a:lnTo>
                    <a:pt x="78" y="243"/>
                  </a:lnTo>
                  <a:lnTo>
                    <a:pt x="75" y="241"/>
                  </a:lnTo>
                  <a:lnTo>
                    <a:pt x="75" y="241"/>
                  </a:lnTo>
                  <a:lnTo>
                    <a:pt x="75" y="241"/>
                  </a:lnTo>
                  <a:lnTo>
                    <a:pt x="75" y="241"/>
                  </a:lnTo>
                  <a:lnTo>
                    <a:pt x="73" y="239"/>
                  </a:lnTo>
                  <a:lnTo>
                    <a:pt x="71" y="241"/>
                  </a:lnTo>
                  <a:lnTo>
                    <a:pt x="71" y="239"/>
                  </a:lnTo>
                  <a:lnTo>
                    <a:pt x="71" y="239"/>
                  </a:lnTo>
                  <a:lnTo>
                    <a:pt x="68" y="236"/>
                  </a:lnTo>
                  <a:lnTo>
                    <a:pt x="66" y="236"/>
                  </a:lnTo>
                  <a:lnTo>
                    <a:pt x="68" y="234"/>
                  </a:lnTo>
                  <a:lnTo>
                    <a:pt x="66" y="234"/>
                  </a:lnTo>
                  <a:lnTo>
                    <a:pt x="66" y="232"/>
                  </a:lnTo>
                  <a:lnTo>
                    <a:pt x="66" y="232"/>
                  </a:lnTo>
                  <a:lnTo>
                    <a:pt x="66" y="229"/>
                  </a:lnTo>
                  <a:lnTo>
                    <a:pt x="66" y="229"/>
                  </a:lnTo>
                  <a:lnTo>
                    <a:pt x="66" y="227"/>
                  </a:lnTo>
                  <a:lnTo>
                    <a:pt x="64" y="225"/>
                  </a:lnTo>
                  <a:lnTo>
                    <a:pt x="64" y="225"/>
                  </a:lnTo>
                  <a:lnTo>
                    <a:pt x="64" y="220"/>
                  </a:lnTo>
                  <a:lnTo>
                    <a:pt x="61" y="220"/>
                  </a:lnTo>
                  <a:lnTo>
                    <a:pt x="61" y="215"/>
                  </a:lnTo>
                  <a:lnTo>
                    <a:pt x="59" y="215"/>
                  </a:lnTo>
                  <a:lnTo>
                    <a:pt x="59" y="213"/>
                  </a:lnTo>
                  <a:lnTo>
                    <a:pt x="57" y="213"/>
                  </a:lnTo>
                  <a:lnTo>
                    <a:pt x="57" y="208"/>
                  </a:lnTo>
                  <a:lnTo>
                    <a:pt x="57" y="208"/>
                  </a:lnTo>
                  <a:lnTo>
                    <a:pt x="57" y="208"/>
                  </a:lnTo>
                  <a:lnTo>
                    <a:pt x="54" y="206"/>
                  </a:lnTo>
                  <a:lnTo>
                    <a:pt x="54" y="206"/>
                  </a:lnTo>
                  <a:lnTo>
                    <a:pt x="52" y="206"/>
                  </a:lnTo>
                  <a:lnTo>
                    <a:pt x="49" y="206"/>
                  </a:lnTo>
                  <a:lnTo>
                    <a:pt x="49" y="203"/>
                  </a:lnTo>
                  <a:lnTo>
                    <a:pt x="47" y="203"/>
                  </a:lnTo>
                  <a:lnTo>
                    <a:pt x="45" y="203"/>
                  </a:lnTo>
                  <a:lnTo>
                    <a:pt x="45" y="203"/>
                  </a:lnTo>
                  <a:lnTo>
                    <a:pt x="42" y="206"/>
                  </a:lnTo>
                  <a:lnTo>
                    <a:pt x="40" y="206"/>
                  </a:lnTo>
                  <a:lnTo>
                    <a:pt x="42" y="201"/>
                  </a:lnTo>
                  <a:lnTo>
                    <a:pt x="40" y="199"/>
                  </a:lnTo>
                  <a:lnTo>
                    <a:pt x="40" y="199"/>
                  </a:lnTo>
                  <a:lnTo>
                    <a:pt x="38" y="199"/>
                  </a:lnTo>
                  <a:lnTo>
                    <a:pt x="35" y="199"/>
                  </a:lnTo>
                  <a:lnTo>
                    <a:pt x="35" y="199"/>
                  </a:lnTo>
                  <a:lnTo>
                    <a:pt x="35" y="199"/>
                  </a:lnTo>
                  <a:lnTo>
                    <a:pt x="35" y="199"/>
                  </a:lnTo>
                  <a:lnTo>
                    <a:pt x="33" y="199"/>
                  </a:lnTo>
                  <a:lnTo>
                    <a:pt x="31" y="196"/>
                  </a:lnTo>
                  <a:lnTo>
                    <a:pt x="31" y="196"/>
                  </a:lnTo>
                  <a:lnTo>
                    <a:pt x="31" y="194"/>
                  </a:lnTo>
                  <a:lnTo>
                    <a:pt x="28" y="194"/>
                  </a:lnTo>
                  <a:lnTo>
                    <a:pt x="28" y="191"/>
                  </a:lnTo>
                  <a:lnTo>
                    <a:pt x="28" y="191"/>
                  </a:lnTo>
                  <a:lnTo>
                    <a:pt x="28" y="189"/>
                  </a:lnTo>
                  <a:lnTo>
                    <a:pt x="28" y="189"/>
                  </a:lnTo>
                  <a:lnTo>
                    <a:pt x="31" y="187"/>
                  </a:lnTo>
                  <a:lnTo>
                    <a:pt x="23" y="189"/>
                  </a:lnTo>
                  <a:lnTo>
                    <a:pt x="23" y="187"/>
                  </a:lnTo>
                  <a:lnTo>
                    <a:pt x="23" y="189"/>
                  </a:lnTo>
                  <a:lnTo>
                    <a:pt x="21" y="187"/>
                  </a:lnTo>
                  <a:lnTo>
                    <a:pt x="21" y="189"/>
                  </a:lnTo>
                  <a:lnTo>
                    <a:pt x="19" y="187"/>
                  </a:lnTo>
                  <a:lnTo>
                    <a:pt x="19" y="189"/>
                  </a:lnTo>
                  <a:lnTo>
                    <a:pt x="16" y="187"/>
                  </a:lnTo>
                  <a:lnTo>
                    <a:pt x="16" y="187"/>
                  </a:lnTo>
                  <a:lnTo>
                    <a:pt x="14" y="189"/>
                  </a:lnTo>
                  <a:lnTo>
                    <a:pt x="14" y="189"/>
                  </a:lnTo>
                  <a:lnTo>
                    <a:pt x="12" y="189"/>
                  </a:lnTo>
                  <a:lnTo>
                    <a:pt x="9" y="191"/>
                  </a:lnTo>
                  <a:lnTo>
                    <a:pt x="9" y="191"/>
                  </a:lnTo>
                  <a:lnTo>
                    <a:pt x="7" y="191"/>
                  </a:lnTo>
                  <a:lnTo>
                    <a:pt x="5" y="189"/>
                  </a:lnTo>
                  <a:lnTo>
                    <a:pt x="2" y="189"/>
                  </a:lnTo>
                  <a:lnTo>
                    <a:pt x="0" y="187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 cap="flat">
              <a:solidFill>
                <a:schemeClr val="bg2">
                  <a:lumMod val="7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>
                <a:solidFill>
                  <a:srgbClr val="000000"/>
                </a:solidFill>
              </a:endParaRPr>
            </a:p>
          </p:txBody>
        </p:sp>
        <p:sp>
          <p:nvSpPr>
            <p:cNvPr id="97" name="Freeform 28"/>
            <p:cNvSpPr>
              <a:spLocks/>
            </p:cNvSpPr>
            <p:nvPr/>
          </p:nvSpPr>
          <p:spPr bwMode="gray">
            <a:xfrm>
              <a:off x="3056033" y="3155406"/>
              <a:ext cx="576136" cy="939283"/>
            </a:xfrm>
            <a:custGeom>
              <a:avLst/>
              <a:gdLst/>
              <a:ahLst/>
              <a:cxnLst>
                <a:cxn ang="0">
                  <a:pos x="16" y="938"/>
                </a:cxn>
                <a:cxn ang="0">
                  <a:pos x="21" y="898"/>
                </a:cxn>
                <a:cxn ang="0">
                  <a:pos x="19" y="867"/>
                </a:cxn>
                <a:cxn ang="0">
                  <a:pos x="7" y="836"/>
                </a:cxn>
                <a:cxn ang="0">
                  <a:pos x="2" y="799"/>
                </a:cxn>
                <a:cxn ang="0">
                  <a:pos x="26" y="770"/>
                </a:cxn>
                <a:cxn ang="0">
                  <a:pos x="37" y="733"/>
                </a:cxn>
                <a:cxn ang="0">
                  <a:pos x="54" y="683"/>
                </a:cxn>
                <a:cxn ang="0">
                  <a:pos x="63" y="655"/>
                </a:cxn>
                <a:cxn ang="0">
                  <a:pos x="82" y="633"/>
                </a:cxn>
                <a:cxn ang="0">
                  <a:pos x="130" y="621"/>
                </a:cxn>
                <a:cxn ang="0">
                  <a:pos x="167" y="600"/>
                </a:cxn>
                <a:cxn ang="0">
                  <a:pos x="217" y="567"/>
                </a:cxn>
                <a:cxn ang="0">
                  <a:pos x="241" y="532"/>
                </a:cxn>
                <a:cxn ang="0">
                  <a:pos x="288" y="518"/>
                </a:cxn>
                <a:cxn ang="0">
                  <a:pos x="328" y="536"/>
                </a:cxn>
                <a:cxn ang="0">
                  <a:pos x="389" y="513"/>
                </a:cxn>
                <a:cxn ang="0">
                  <a:pos x="396" y="461"/>
                </a:cxn>
                <a:cxn ang="0">
                  <a:pos x="370" y="423"/>
                </a:cxn>
                <a:cxn ang="0">
                  <a:pos x="378" y="366"/>
                </a:cxn>
                <a:cxn ang="0">
                  <a:pos x="399" y="305"/>
                </a:cxn>
                <a:cxn ang="0">
                  <a:pos x="394" y="244"/>
                </a:cxn>
                <a:cxn ang="0">
                  <a:pos x="382" y="194"/>
                </a:cxn>
                <a:cxn ang="0">
                  <a:pos x="420" y="137"/>
                </a:cxn>
                <a:cxn ang="0">
                  <a:pos x="444" y="92"/>
                </a:cxn>
                <a:cxn ang="0">
                  <a:pos x="479" y="88"/>
                </a:cxn>
                <a:cxn ang="0">
                  <a:pos x="510" y="59"/>
                </a:cxn>
                <a:cxn ang="0">
                  <a:pos x="524" y="12"/>
                </a:cxn>
                <a:cxn ang="0">
                  <a:pos x="578" y="24"/>
                </a:cxn>
                <a:cxn ang="0">
                  <a:pos x="597" y="50"/>
                </a:cxn>
                <a:cxn ang="0">
                  <a:pos x="593" y="99"/>
                </a:cxn>
                <a:cxn ang="0">
                  <a:pos x="595" y="144"/>
                </a:cxn>
                <a:cxn ang="0">
                  <a:pos x="607" y="168"/>
                </a:cxn>
                <a:cxn ang="0">
                  <a:pos x="611" y="220"/>
                </a:cxn>
                <a:cxn ang="0">
                  <a:pos x="602" y="265"/>
                </a:cxn>
                <a:cxn ang="0">
                  <a:pos x="621" y="305"/>
                </a:cxn>
                <a:cxn ang="0">
                  <a:pos x="642" y="333"/>
                </a:cxn>
                <a:cxn ang="0">
                  <a:pos x="645" y="369"/>
                </a:cxn>
                <a:cxn ang="0">
                  <a:pos x="647" y="433"/>
                </a:cxn>
                <a:cxn ang="0">
                  <a:pos x="663" y="501"/>
                </a:cxn>
                <a:cxn ang="0">
                  <a:pos x="713" y="532"/>
                </a:cxn>
                <a:cxn ang="0">
                  <a:pos x="696" y="579"/>
                </a:cxn>
                <a:cxn ang="0">
                  <a:pos x="673" y="657"/>
                </a:cxn>
                <a:cxn ang="0">
                  <a:pos x="675" y="709"/>
                </a:cxn>
                <a:cxn ang="0">
                  <a:pos x="649" y="735"/>
                </a:cxn>
                <a:cxn ang="0">
                  <a:pos x="621" y="756"/>
                </a:cxn>
                <a:cxn ang="0">
                  <a:pos x="585" y="782"/>
                </a:cxn>
                <a:cxn ang="0">
                  <a:pos x="552" y="818"/>
                </a:cxn>
                <a:cxn ang="0">
                  <a:pos x="512" y="853"/>
                </a:cxn>
                <a:cxn ang="0">
                  <a:pos x="453" y="872"/>
                </a:cxn>
                <a:cxn ang="0">
                  <a:pos x="415" y="891"/>
                </a:cxn>
                <a:cxn ang="0">
                  <a:pos x="382" y="872"/>
                </a:cxn>
                <a:cxn ang="0">
                  <a:pos x="345" y="872"/>
                </a:cxn>
                <a:cxn ang="0">
                  <a:pos x="295" y="872"/>
                </a:cxn>
                <a:cxn ang="0">
                  <a:pos x="293" y="926"/>
                </a:cxn>
                <a:cxn ang="0">
                  <a:pos x="281" y="964"/>
                </a:cxn>
                <a:cxn ang="0">
                  <a:pos x="248" y="1014"/>
                </a:cxn>
                <a:cxn ang="0">
                  <a:pos x="203" y="1028"/>
                </a:cxn>
                <a:cxn ang="0">
                  <a:pos x="165" y="1049"/>
                </a:cxn>
                <a:cxn ang="0">
                  <a:pos x="120" y="1063"/>
                </a:cxn>
                <a:cxn ang="0">
                  <a:pos x="73" y="1032"/>
                </a:cxn>
                <a:cxn ang="0">
                  <a:pos x="54" y="973"/>
                </a:cxn>
              </a:cxnLst>
              <a:rect l="0" t="0" r="r" b="b"/>
              <a:pathLst>
                <a:path w="713" h="1073">
                  <a:moveTo>
                    <a:pt x="4" y="983"/>
                  </a:moveTo>
                  <a:lnTo>
                    <a:pt x="4" y="978"/>
                  </a:lnTo>
                  <a:lnTo>
                    <a:pt x="4" y="976"/>
                  </a:lnTo>
                  <a:lnTo>
                    <a:pt x="4" y="976"/>
                  </a:lnTo>
                  <a:lnTo>
                    <a:pt x="7" y="976"/>
                  </a:lnTo>
                  <a:lnTo>
                    <a:pt x="7" y="976"/>
                  </a:lnTo>
                  <a:lnTo>
                    <a:pt x="9" y="973"/>
                  </a:lnTo>
                  <a:lnTo>
                    <a:pt x="9" y="971"/>
                  </a:lnTo>
                  <a:lnTo>
                    <a:pt x="9" y="971"/>
                  </a:lnTo>
                  <a:lnTo>
                    <a:pt x="11" y="971"/>
                  </a:lnTo>
                  <a:lnTo>
                    <a:pt x="11" y="966"/>
                  </a:lnTo>
                  <a:lnTo>
                    <a:pt x="14" y="964"/>
                  </a:lnTo>
                  <a:lnTo>
                    <a:pt x="14" y="964"/>
                  </a:lnTo>
                  <a:lnTo>
                    <a:pt x="16" y="959"/>
                  </a:lnTo>
                  <a:lnTo>
                    <a:pt x="14" y="957"/>
                  </a:lnTo>
                  <a:lnTo>
                    <a:pt x="14" y="957"/>
                  </a:lnTo>
                  <a:lnTo>
                    <a:pt x="14" y="955"/>
                  </a:lnTo>
                  <a:lnTo>
                    <a:pt x="16" y="952"/>
                  </a:lnTo>
                  <a:lnTo>
                    <a:pt x="16" y="950"/>
                  </a:lnTo>
                  <a:lnTo>
                    <a:pt x="16" y="950"/>
                  </a:lnTo>
                  <a:lnTo>
                    <a:pt x="16" y="947"/>
                  </a:lnTo>
                  <a:lnTo>
                    <a:pt x="19" y="945"/>
                  </a:lnTo>
                  <a:lnTo>
                    <a:pt x="19" y="945"/>
                  </a:lnTo>
                  <a:lnTo>
                    <a:pt x="19" y="943"/>
                  </a:lnTo>
                  <a:lnTo>
                    <a:pt x="19" y="940"/>
                  </a:lnTo>
                  <a:lnTo>
                    <a:pt x="16" y="938"/>
                  </a:lnTo>
                  <a:lnTo>
                    <a:pt x="16" y="938"/>
                  </a:lnTo>
                  <a:lnTo>
                    <a:pt x="16" y="936"/>
                  </a:lnTo>
                  <a:lnTo>
                    <a:pt x="16" y="933"/>
                  </a:lnTo>
                  <a:lnTo>
                    <a:pt x="16" y="933"/>
                  </a:lnTo>
                  <a:lnTo>
                    <a:pt x="16" y="931"/>
                  </a:lnTo>
                  <a:lnTo>
                    <a:pt x="16" y="929"/>
                  </a:lnTo>
                  <a:lnTo>
                    <a:pt x="16" y="929"/>
                  </a:lnTo>
                  <a:lnTo>
                    <a:pt x="19" y="926"/>
                  </a:lnTo>
                  <a:lnTo>
                    <a:pt x="19" y="924"/>
                  </a:lnTo>
                  <a:lnTo>
                    <a:pt x="19" y="924"/>
                  </a:lnTo>
                  <a:lnTo>
                    <a:pt x="21" y="921"/>
                  </a:lnTo>
                  <a:lnTo>
                    <a:pt x="21" y="919"/>
                  </a:lnTo>
                  <a:lnTo>
                    <a:pt x="21" y="919"/>
                  </a:lnTo>
                  <a:lnTo>
                    <a:pt x="21" y="919"/>
                  </a:lnTo>
                  <a:lnTo>
                    <a:pt x="21" y="917"/>
                  </a:lnTo>
                  <a:lnTo>
                    <a:pt x="21" y="917"/>
                  </a:lnTo>
                  <a:lnTo>
                    <a:pt x="21" y="914"/>
                  </a:lnTo>
                  <a:lnTo>
                    <a:pt x="21" y="912"/>
                  </a:lnTo>
                  <a:lnTo>
                    <a:pt x="19" y="912"/>
                  </a:lnTo>
                  <a:lnTo>
                    <a:pt x="21" y="912"/>
                  </a:lnTo>
                  <a:lnTo>
                    <a:pt x="19" y="910"/>
                  </a:lnTo>
                  <a:lnTo>
                    <a:pt x="21" y="907"/>
                  </a:lnTo>
                  <a:lnTo>
                    <a:pt x="19" y="905"/>
                  </a:lnTo>
                  <a:lnTo>
                    <a:pt x="21" y="903"/>
                  </a:lnTo>
                  <a:lnTo>
                    <a:pt x="21" y="900"/>
                  </a:lnTo>
                  <a:lnTo>
                    <a:pt x="21" y="900"/>
                  </a:lnTo>
                  <a:lnTo>
                    <a:pt x="21" y="900"/>
                  </a:lnTo>
                  <a:lnTo>
                    <a:pt x="21" y="898"/>
                  </a:lnTo>
                  <a:lnTo>
                    <a:pt x="19" y="898"/>
                  </a:lnTo>
                  <a:lnTo>
                    <a:pt x="19" y="898"/>
                  </a:lnTo>
                  <a:lnTo>
                    <a:pt x="19" y="895"/>
                  </a:lnTo>
                  <a:lnTo>
                    <a:pt x="19" y="893"/>
                  </a:lnTo>
                  <a:lnTo>
                    <a:pt x="19" y="893"/>
                  </a:lnTo>
                  <a:lnTo>
                    <a:pt x="21" y="891"/>
                  </a:lnTo>
                  <a:lnTo>
                    <a:pt x="19" y="888"/>
                  </a:lnTo>
                  <a:lnTo>
                    <a:pt x="21" y="888"/>
                  </a:lnTo>
                  <a:lnTo>
                    <a:pt x="21" y="888"/>
                  </a:lnTo>
                  <a:lnTo>
                    <a:pt x="23" y="884"/>
                  </a:lnTo>
                  <a:lnTo>
                    <a:pt x="23" y="884"/>
                  </a:lnTo>
                  <a:lnTo>
                    <a:pt x="23" y="884"/>
                  </a:lnTo>
                  <a:lnTo>
                    <a:pt x="26" y="881"/>
                  </a:lnTo>
                  <a:lnTo>
                    <a:pt x="26" y="881"/>
                  </a:lnTo>
                  <a:lnTo>
                    <a:pt x="26" y="879"/>
                  </a:lnTo>
                  <a:lnTo>
                    <a:pt x="26" y="879"/>
                  </a:lnTo>
                  <a:lnTo>
                    <a:pt x="26" y="879"/>
                  </a:lnTo>
                  <a:lnTo>
                    <a:pt x="26" y="879"/>
                  </a:lnTo>
                  <a:lnTo>
                    <a:pt x="26" y="877"/>
                  </a:lnTo>
                  <a:lnTo>
                    <a:pt x="23" y="877"/>
                  </a:lnTo>
                  <a:lnTo>
                    <a:pt x="26" y="877"/>
                  </a:lnTo>
                  <a:lnTo>
                    <a:pt x="23" y="877"/>
                  </a:lnTo>
                  <a:lnTo>
                    <a:pt x="23" y="874"/>
                  </a:lnTo>
                  <a:lnTo>
                    <a:pt x="23" y="874"/>
                  </a:lnTo>
                  <a:lnTo>
                    <a:pt x="21" y="870"/>
                  </a:lnTo>
                  <a:lnTo>
                    <a:pt x="21" y="867"/>
                  </a:lnTo>
                  <a:lnTo>
                    <a:pt x="19" y="867"/>
                  </a:lnTo>
                  <a:lnTo>
                    <a:pt x="19" y="865"/>
                  </a:lnTo>
                  <a:lnTo>
                    <a:pt x="16" y="865"/>
                  </a:lnTo>
                  <a:lnTo>
                    <a:pt x="14" y="865"/>
                  </a:lnTo>
                  <a:lnTo>
                    <a:pt x="14" y="865"/>
                  </a:lnTo>
                  <a:lnTo>
                    <a:pt x="14" y="865"/>
                  </a:lnTo>
                  <a:lnTo>
                    <a:pt x="11" y="865"/>
                  </a:lnTo>
                  <a:lnTo>
                    <a:pt x="14" y="862"/>
                  </a:lnTo>
                  <a:lnTo>
                    <a:pt x="11" y="862"/>
                  </a:lnTo>
                  <a:lnTo>
                    <a:pt x="11" y="860"/>
                  </a:lnTo>
                  <a:lnTo>
                    <a:pt x="11" y="860"/>
                  </a:lnTo>
                  <a:lnTo>
                    <a:pt x="11" y="860"/>
                  </a:lnTo>
                  <a:lnTo>
                    <a:pt x="9" y="858"/>
                  </a:lnTo>
                  <a:lnTo>
                    <a:pt x="9" y="858"/>
                  </a:lnTo>
                  <a:lnTo>
                    <a:pt x="11" y="858"/>
                  </a:lnTo>
                  <a:lnTo>
                    <a:pt x="11" y="855"/>
                  </a:lnTo>
                  <a:lnTo>
                    <a:pt x="11" y="853"/>
                  </a:lnTo>
                  <a:lnTo>
                    <a:pt x="11" y="853"/>
                  </a:lnTo>
                  <a:lnTo>
                    <a:pt x="11" y="848"/>
                  </a:lnTo>
                  <a:lnTo>
                    <a:pt x="11" y="848"/>
                  </a:lnTo>
                  <a:lnTo>
                    <a:pt x="11" y="846"/>
                  </a:lnTo>
                  <a:lnTo>
                    <a:pt x="9" y="844"/>
                  </a:lnTo>
                  <a:lnTo>
                    <a:pt x="11" y="844"/>
                  </a:lnTo>
                  <a:lnTo>
                    <a:pt x="11" y="844"/>
                  </a:lnTo>
                  <a:lnTo>
                    <a:pt x="9" y="841"/>
                  </a:lnTo>
                  <a:lnTo>
                    <a:pt x="9" y="841"/>
                  </a:lnTo>
                  <a:lnTo>
                    <a:pt x="9" y="839"/>
                  </a:lnTo>
                  <a:lnTo>
                    <a:pt x="7" y="836"/>
                  </a:lnTo>
                  <a:lnTo>
                    <a:pt x="7" y="834"/>
                  </a:lnTo>
                  <a:lnTo>
                    <a:pt x="7" y="832"/>
                  </a:lnTo>
                  <a:lnTo>
                    <a:pt x="9" y="832"/>
                  </a:lnTo>
                  <a:lnTo>
                    <a:pt x="9" y="829"/>
                  </a:lnTo>
                  <a:lnTo>
                    <a:pt x="7" y="829"/>
                  </a:lnTo>
                  <a:lnTo>
                    <a:pt x="7" y="829"/>
                  </a:lnTo>
                  <a:lnTo>
                    <a:pt x="7" y="827"/>
                  </a:lnTo>
                  <a:lnTo>
                    <a:pt x="7" y="827"/>
                  </a:lnTo>
                  <a:lnTo>
                    <a:pt x="7" y="827"/>
                  </a:lnTo>
                  <a:lnTo>
                    <a:pt x="7" y="825"/>
                  </a:lnTo>
                  <a:lnTo>
                    <a:pt x="7" y="822"/>
                  </a:lnTo>
                  <a:lnTo>
                    <a:pt x="7" y="820"/>
                  </a:lnTo>
                  <a:lnTo>
                    <a:pt x="2" y="820"/>
                  </a:lnTo>
                  <a:lnTo>
                    <a:pt x="2" y="818"/>
                  </a:lnTo>
                  <a:lnTo>
                    <a:pt x="0" y="815"/>
                  </a:lnTo>
                  <a:lnTo>
                    <a:pt x="0" y="815"/>
                  </a:lnTo>
                  <a:lnTo>
                    <a:pt x="0" y="810"/>
                  </a:lnTo>
                  <a:lnTo>
                    <a:pt x="0" y="810"/>
                  </a:lnTo>
                  <a:lnTo>
                    <a:pt x="0" y="808"/>
                  </a:lnTo>
                  <a:lnTo>
                    <a:pt x="0" y="808"/>
                  </a:lnTo>
                  <a:lnTo>
                    <a:pt x="0" y="806"/>
                  </a:lnTo>
                  <a:lnTo>
                    <a:pt x="0" y="806"/>
                  </a:lnTo>
                  <a:lnTo>
                    <a:pt x="0" y="803"/>
                  </a:lnTo>
                  <a:lnTo>
                    <a:pt x="2" y="803"/>
                  </a:lnTo>
                  <a:lnTo>
                    <a:pt x="2" y="801"/>
                  </a:lnTo>
                  <a:lnTo>
                    <a:pt x="2" y="801"/>
                  </a:lnTo>
                  <a:lnTo>
                    <a:pt x="2" y="799"/>
                  </a:lnTo>
                  <a:lnTo>
                    <a:pt x="4" y="799"/>
                  </a:lnTo>
                  <a:lnTo>
                    <a:pt x="4" y="799"/>
                  </a:lnTo>
                  <a:lnTo>
                    <a:pt x="7" y="799"/>
                  </a:lnTo>
                  <a:lnTo>
                    <a:pt x="7" y="796"/>
                  </a:lnTo>
                  <a:lnTo>
                    <a:pt x="4" y="796"/>
                  </a:lnTo>
                  <a:lnTo>
                    <a:pt x="2" y="796"/>
                  </a:lnTo>
                  <a:lnTo>
                    <a:pt x="4" y="794"/>
                  </a:lnTo>
                  <a:lnTo>
                    <a:pt x="7" y="792"/>
                  </a:lnTo>
                  <a:lnTo>
                    <a:pt x="7" y="792"/>
                  </a:lnTo>
                  <a:lnTo>
                    <a:pt x="7" y="789"/>
                  </a:lnTo>
                  <a:lnTo>
                    <a:pt x="7" y="789"/>
                  </a:lnTo>
                  <a:lnTo>
                    <a:pt x="9" y="787"/>
                  </a:lnTo>
                  <a:lnTo>
                    <a:pt x="11" y="789"/>
                  </a:lnTo>
                  <a:lnTo>
                    <a:pt x="14" y="784"/>
                  </a:lnTo>
                  <a:lnTo>
                    <a:pt x="14" y="784"/>
                  </a:lnTo>
                  <a:lnTo>
                    <a:pt x="16" y="784"/>
                  </a:lnTo>
                  <a:lnTo>
                    <a:pt x="16" y="782"/>
                  </a:lnTo>
                  <a:lnTo>
                    <a:pt x="16" y="782"/>
                  </a:lnTo>
                  <a:lnTo>
                    <a:pt x="19" y="782"/>
                  </a:lnTo>
                  <a:lnTo>
                    <a:pt x="21" y="775"/>
                  </a:lnTo>
                  <a:lnTo>
                    <a:pt x="23" y="775"/>
                  </a:lnTo>
                  <a:lnTo>
                    <a:pt x="21" y="773"/>
                  </a:lnTo>
                  <a:lnTo>
                    <a:pt x="23" y="770"/>
                  </a:lnTo>
                  <a:lnTo>
                    <a:pt x="23" y="770"/>
                  </a:lnTo>
                  <a:lnTo>
                    <a:pt x="23" y="770"/>
                  </a:lnTo>
                  <a:lnTo>
                    <a:pt x="23" y="768"/>
                  </a:lnTo>
                  <a:lnTo>
                    <a:pt x="26" y="770"/>
                  </a:lnTo>
                  <a:lnTo>
                    <a:pt x="28" y="768"/>
                  </a:lnTo>
                  <a:lnTo>
                    <a:pt x="26" y="766"/>
                  </a:lnTo>
                  <a:lnTo>
                    <a:pt x="26" y="766"/>
                  </a:lnTo>
                  <a:lnTo>
                    <a:pt x="28" y="763"/>
                  </a:lnTo>
                  <a:lnTo>
                    <a:pt x="28" y="761"/>
                  </a:lnTo>
                  <a:lnTo>
                    <a:pt x="28" y="761"/>
                  </a:lnTo>
                  <a:lnTo>
                    <a:pt x="30" y="758"/>
                  </a:lnTo>
                  <a:lnTo>
                    <a:pt x="28" y="756"/>
                  </a:lnTo>
                  <a:lnTo>
                    <a:pt x="30" y="756"/>
                  </a:lnTo>
                  <a:lnTo>
                    <a:pt x="33" y="754"/>
                  </a:lnTo>
                  <a:lnTo>
                    <a:pt x="30" y="754"/>
                  </a:lnTo>
                  <a:lnTo>
                    <a:pt x="33" y="751"/>
                  </a:lnTo>
                  <a:lnTo>
                    <a:pt x="30" y="747"/>
                  </a:lnTo>
                  <a:lnTo>
                    <a:pt x="33" y="747"/>
                  </a:lnTo>
                  <a:lnTo>
                    <a:pt x="33" y="744"/>
                  </a:lnTo>
                  <a:lnTo>
                    <a:pt x="33" y="744"/>
                  </a:lnTo>
                  <a:lnTo>
                    <a:pt x="33" y="742"/>
                  </a:lnTo>
                  <a:lnTo>
                    <a:pt x="33" y="742"/>
                  </a:lnTo>
                  <a:lnTo>
                    <a:pt x="35" y="742"/>
                  </a:lnTo>
                  <a:lnTo>
                    <a:pt x="33" y="740"/>
                  </a:lnTo>
                  <a:lnTo>
                    <a:pt x="35" y="740"/>
                  </a:lnTo>
                  <a:lnTo>
                    <a:pt x="35" y="740"/>
                  </a:lnTo>
                  <a:lnTo>
                    <a:pt x="37" y="737"/>
                  </a:lnTo>
                  <a:lnTo>
                    <a:pt x="35" y="737"/>
                  </a:lnTo>
                  <a:lnTo>
                    <a:pt x="37" y="735"/>
                  </a:lnTo>
                  <a:lnTo>
                    <a:pt x="37" y="735"/>
                  </a:lnTo>
                  <a:lnTo>
                    <a:pt x="37" y="733"/>
                  </a:lnTo>
                  <a:lnTo>
                    <a:pt x="40" y="730"/>
                  </a:lnTo>
                  <a:lnTo>
                    <a:pt x="40" y="728"/>
                  </a:lnTo>
                  <a:lnTo>
                    <a:pt x="42" y="725"/>
                  </a:lnTo>
                  <a:lnTo>
                    <a:pt x="42" y="721"/>
                  </a:lnTo>
                  <a:lnTo>
                    <a:pt x="47" y="716"/>
                  </a:lnTo>
                  <a:lnTo>
                    <a:pt x="47" y="714"/>
                  </a:lnTo>
                  <a:lnTo>
                    <a:pt x="47" y="714"/>
                  </a:lnTo>
                  <a:lnTo>
                    <a:pt x="49" y="711"/>
                  </a:lnTo>
                  <a:lnTo>
                    <a:pt x="52" y="711"/>
                  </a:lnTo>
                  <a:lnTo>
                    <a:pt x="52" y="709"/>
                  </a:lnTo>
                  <a:lnTo>
                    <a:pt x="52" y="707"/>
                  </a:lnTo>
                  <a:lnTo>
                    <a:pt x="52" y="704"/>
                  </a:lnTo>
                  <a:lnTo>
                    <a:pt x="52" y="704"/>
                  </a:lnTo>
                  <a:lnTo>
                    <a:pt x="52" y="702"/>
                  </a:lnTo>
                  <a:lnTo>
                    <a:pt x="54" y="697"/>
                  </a:lnTo>
                  <a:lnTo>
                    <a:pt x="54" y="695"/>
                  </a:lnTo>
                  <a:lnTo>
                    <a:pt x="54" y="695"/>
                  </a:lnTo>
                  <a:lnTo>
                    <a:pt x="52" y="692"/>
                  </a:lnTo>
                  <a:lnTo>
                    <a:pt x="54" y="690"/>
                  </a:lnTo>
                  <a:lnTo>
                    <a:pt x="54" y="690"/>
                  </a:lnTo>
                  <a:lnTo>
                    <a:pt x="56" y="690"/>
                  </a:lnTo>
                  <a:lnTo>
                    <a:pt x="56" y="690"/>
                  </a:lnTo>
                  <a:lnTo>
                    <a:pt x="54" y="688"/>
                  </a:lnTo>
                  <a:lnTo>
                    <a:pt x="54" y="685"/>
                  </a:lnTo>
                  <a:lnTo>
                    <a:pt x="56" y="683"/>
                  </a:lnTo>
                  <a:lnTo>
                    <a:pt x="56" y="683"/>
                  </a:lnTo>
                  <a:lnTo>
                    <a:pt x="54" y="683"/>
                  </a:lnTo>
                  <a:lnTo>
                    <a:pt x="56" y="681"/>
                  </a:lnTo>
                  <a:lnTo>
                    <a:pt x="56" y="681"/>
                  </a:lnTo>
                  <a:lnTo>
                    <a:pt x="56" y="678"/>
                  </a:lnTo>
                  <a:lnTo>
                    <a:pt x="56" y="678"/>
                  </a:lnTo>
                  <a:lnTo>
                    <a:pt x="56" y="678"/>
                  </a:lnTo>
                  <a:lnTo>
                    <a:pt x="59" y="678"/>
                  </a:lnTo>
                  <a:lnTo>
                    <a:pt x="59" y="676"/>
                  </a:lnTo>
                  <a:lnTo>
                    <a:pt x="56" y="673"/>
                  </a:lnTo>
                  <a:lnTo>
                    <a:pt x="59" y="673"/>
                  </a:lnTo>
                  <a:lnTo>
                    <a:pt x="59" y="673"/>
                  </a:lnTo>
                  <a:lnTo>
                    <a:pt x="56" y="671"/>
                  </a:lnTo>
                  <a:lnTo>
                    <a:pt x="56" y="671"/>
                  </a:lnTo>
                  <a:lnTo>
                    <a:pt x="56" y="671"/>
                  </a:lnTo>
                  <a:lnTo>
                    <a:pt x="59" y="669"/>
                  </a:lnTo>
                  <a:lnTo>
                    <a:pt x="59" y="669"/>
                  </a:lnTo>
                  <a:lnTo>
                    <a:pt x="61" y="666"/>
                  </a:lnTo>
                  <a:lnTo>
                    <a:pt x="61" y="664"/>
                  </a:lnTo>
                  <a:lnTo>
                    <a:pt x="61" y="662"/>
                  </a:lnTo>
                  <a:lnTo>
                    <a:pt x="61" y="662"/>
                  </a:lnTo>
                  <a:lnTo>
                    <a:pt x="61" y="659"/>
                  </a:lnTo>
                  <a:lnTo>
                    <a:pt x="63" y="662"/>
                  </a:lnTo>
                  <a:lnTo>
                    <a:pt x="63" y="659"/>
                  </a:lnTo>
                  <a:lnTo>
                    <a:pt x="63" y="659"/>
                  </a:lnTo>
                  <a:lnTo>
                    <a:pt x="63" y="657"/>
                  </a:lnTo>
                  <a:lnTo>
                    <a:pt x="63" y="655"/>
                  </a:lnTo>
                  <a:lnTo>
                    <a:pt x="63" y="655"/>
                  </a:lnTo>
                  <a:lnTo>
                    <a:pt x="63" y="655"/>
                  </a:lnTo>
                  <a:lnTo>
                    <a:pt x="63" y="655"/>
                  </a:lnTo>
                  <a:lnTo>
                    <a:pt x="63" y="655"/>
                  </a:lnTo>
                  <a:lnTo>
                    <a:pt x="63" y="652"/>
                  </a:lnTo>
                  <a:lnTo>
                    <a:pt x="63" y="652"/>
                  </a:lnTo>
                  <a:lnTo>
                    <a:pt x="66" y="650"/>
                  </a:lnTo>
                  <a:lnTo>
                    <a:pt x="66" y="650"/>
                  </a:lnTo>
                  <a:lnTo>
                    <a:pt x="66" y="647"/>
                  </a:lnTo>
                  <a:lnTo>
                    <a:pt x="66" y="647"/>
                  </a:lnTo>
                  <a:lnTo>
                    <a:pt x="68" y="647"/>
                  </a:lnTo>
                  <a:lnTo>
                    <a:pt x="66" y="645"/>
                  </a:lnTo>
                  <a:lnTo>
                    <a:pt x="66" y="645"/>
                  </a:lnTo>
                  <a:lnTo>
                    <a:pt x="68" y="645"/>
                  </a:lnTo>
                  <a:lnTo>
                    <a:pt x="70" y="645"/>
                  </a:lnTo>
                  <a:lnTo>
                    <a:pt x="70" y="645"/>
                  </a:lnTo>
                  <a:lnTo>
                    <a:pt x="70" y="645"/>
                  </a:lnTo>
                  <a:lnTo>
                    <a:pt x="70" y="643"/>
                  </a:lnTo>
                  <a:lnTo>
                    <a:pt x="73" y="643"/>
                  </a:lnTo>
                  <a:lnTo>
                    <a:pt x="73" y="643"/>
                  </a:lnTo>
                  <a:lnTo>
                    <a:pt x="73" y="643"/>
                  </a:lnTo>
                  <a:lnTo>
                    <a:pt x="73" y="643"/>
                  </a:lnTo>
                  <a:lnTo>
                    <a:pt x="75" y="640"/>
                  </a:lnTo>
                  <a:lnTo>
                    <a:pt x="75" y="640"/>
                  </a:lnTo>
                  <a:lnTo>
                    <a:pt x="75" y="638"/>
                  </a:lnTo>
                  <a:lnTo>
                    <a:pt x="75" y="638"/>
                  </a:lnTo>
                  <a:lnTo>
                    <a:pt x="78" y="638"/>
                  </a:lnTo>
                  <a:lnTo>
                    <a:pt x="82" y="636"/>
                  </a:lnTo>
                  <a:lnTo>
                    <a:pt x="82" y="633"/>
                  </a:lnTo>
                  <a:lnTo>
                    <a:pt x="85" y="633"/>
                  </a:lnTo>
                  <a:lnTo>
                    <a:pt x="87" y="633"/>
                  </a:lnTo>
                  <a:lnTo>
                    <a:pt x="87" y="633"/>
                  </a:lnTo>
                  <a:lnTo>
                    <a:pt x="89" y="631"/>
                  </a:lnTo>
                  <a:lnTo>
                    <a:pt x="92" y="633"/>
                  </a:lnTo>
                  <a:lnTo>
                    <a:pt x="94" y="631"/>
                  </a:lnTo>
                  <a:lnTo>
                    <a:pt x="94" y="631"/>
                  </a:lnTo>
                  <a:lnTo>
                    <a:pt x="94" y="631"/>
                  </a:lnTo>
                  <a:lnTo>
                    <a:pt x="96" y="631"/>
                  </a:lnTo>
                  <a:lnTo>
                    <a:pt x="96" y="631"/>
                  </a:lnTo>
                  <a:lnTo>
                    <a:pt x="99" y="631"/>
                  </a:lnTo>
                  <a:lnTo>
                    <a:pt x="99" y="631"/>
                  </a:lnTo>
                  <a:lnTo>
                    <a:pt x="101" y="629"/>
                  </a:lnTo>
                  <a:lnTo>
                    <a:pt x="104" y="626"/>
                  </a:lnTo>
                  <a:lnTo>
                    <a:pt x="106" y="624"/>
                  </a:lnTo>
                  <a:lnTo>
                    <a:pt x="106" y="626"/>
                  </a:lnTo>
                  <a:lnTo>
                    <a:pt x="108" y="626"/>
                  </a:lnTo>
                  <a:lnTo>
                    <a:pt x="108" y="624"/>
                  </a:lnTo>
                  <a:lnTo>
                    <a:pt x="115" y="624"/>
                  </a:lnTo>
                  <a:lnTo>
                    <a:pt x="118" y="624"/>
                  </a:lnTo>
                  <a:lnTo>
                    <a:pt x="118" y="624"/>
                  </a:lnTo>
                  <a:lnTo>
                    <a:pt x="120" y="624"/>
                  </a:lnTo>
                  <a:lnTo>
                    <a:pt x="122" y="621"/>
                  </a:lnTo>
                  <a:lnTo>
                    <a:pt x="125" y="621"/>
                  </a:lnTo>
                  <a:lnTo>
                    <a:pt x="127" y="621"/>
                  </a:lnTo>
                  <a:lnTo>
                    <a:pt x="127" y="621"/>
                  </a:lnTo>
                  <a:lnTo>
                    <a:pt x="130" y="621"/>
                  </a:lnTo>
                  <a:lnTo>
                    <a:pt x="130" y="619"/>
                  </a:lnTo>
                  <a:lnTo>
                    <a:pt x="134" y="619"/>
                  </a:lnTo>
                  <a:lnTo>
                    <a:pt x="134" y="619"/>
                  </a:lnTo>
                  <a:lnTo>
                    <a:pt x="134" y="619"/>
                  </a:lnTo>
                  <a:lnTo>
                    <a:pt x="137" y="617"/>
                  </a:lnTo>
                  <a:lnTo>
                    <a:pt x="137" y="614"/>
                  </a:lnTo>
                  <a:lnTo>
                    <a:pt x="137" y="614"/>
                  </a:lnTo>
                  <a:lnTo>
                    <a:pt x="139" y="612"/>
                  </a:lnTo>
                  <a:lnTo>
                    <a:pt x="139" y="614"/>
                  </a:lnTo>
                  <a:lnTo>
                    <a:pt x="141" y="612"/>
                  </a:lnTo>
                  <a:lnTo>
                    <a:pt x="144" y="612"/>
                  </a:lnTo>
                  <a:lnTo>
                    <a:pt x="144" y="610"/>
                  </a:lnTo>
                  <a:lnTo>
                    <a:pt x="144" y="610"/>
                  </a:lnTo>
                  <a:lnTo>
                    <a:pt x="144" y="607"/>
                  </a:lnTo>
                  <a:lnTo>
                    <a:pt x="148" y="607"/>
                  </a:lnTo>
                  <a:lnTo>
                    <a:pt x="148" y="605"/>
                  </a:lnTo>
                  <a:lnTo>
                    <a:pt x="153" y="605"/>
                  </a:lnTo>
                  <a:lnTo>
                    <a:pt x="153" y="607"/>
                  </a:lnTo>
                  <a:lnTo>
                    <a:pt x="158" y="605"/>
                  </a:lnTo>
                  <a:lnTo>
                    <a:pt x="160" y="607"/>
                  </a:lnTo>
                  <a:lnTo>
                    <a:pt x="163" y="610"/>
                  </a:lnTo>
                  <a:lnTo>
                    <a:pt x="163" y="610"/>
                  </a:lnTo>
                  <a:lnTo>
                    <a:pt x="163" y="610"/>
                  </a:lnTo>
                  <a:lnTo>
                    <a:pt x="165" y="610"/>
                  </a:lnTo>
                  <a:lnTo>
                    <a:pt x="165" y="605"/>
                  </a:lnTo>
                  <a:lnTo>
                    <a:pt x="167" y="605"/>
                  </a:lnTo>
                  <a:lnTo>
                    <a:pt x="167" y="600"/>
                  </a:lnTo>
                  <a:lnTo>
                    <a:pt x="167" y="600"/>
                  </a:lnTo>
                  <a:lnTo>
                    <a:pt x="170" y="600"/>
                  </a:lnTo>
                  <a:lnTo>
                    <a:pt x="172" y="598"/>
                  </a:lnTo>
                  <a:lnTo>
                    <a:pt x="174" y="598"/>
                  </a:lnTo>
                  <a:lnTo>
                    <a:pt x="177" y="593"/>
                  </a:lnTo>
                  <a:lnTo>
                    <a:pt x="177" y="593"/>
                  </a:lnTo>
                  <a:lnTo>
                    <a:pt x="179" y="591"/>
                  </a:lnTo>
                  <a:lnTo>
                    <a:pt x="179" y="591"/>
                  </a:lnTo>
                  <a:lnTo>
                    <a:pt x="182" y="588"/>
                  </a:lnTo>
                  <a:lnTo>
                    <a:pt x="184" y="586"/>
                  </a:lnTo>
                  <a:lnTo>
                    <a:pt x="186" y="586"/>
                  </a:lnTo>
                  <a:lnTo>
                    <a:pt x="186" y="584"/>
                  </a:lnTo>
                  <a:lnTo>
                    <a:pt x="189" y="581"/>
                  </a:lnTo>
                  <a:lnTo>
                    <a:pt x="191" y="581"/>
                  </a:lnTo>
                  <a:lnTo>
                    <a:pt x="191" y="581"/>
                  </a:lnTo>
                  <a:lnTo>
                    <a:pt x="193" y="579"/>
                  </a:lnTo>
                  <a:lnTo>
                    <a:pt x="198" y="579"/>
                  </a:lnTo>
                  <a:lnTo>
                    <a:pt x="200" y="577"/>
                  </a:lnTo>
                  <a:lnTo>
                    <a:pt x="200" y="574"/>
                  </a:lnTo>
                  <a:lnTo>
                    <a:pt x="203" y="572"/>
                  </a:lnTo>
                  <a:lnTo>
                    <a:pt x="205" y="572"/>
                  </a:lnTo>
                  <a:lnTo>
                    <a:pt x="210" y="572"/>
                  </a:lnTo>
                  <a:lnTo>
                    <a:pt x="212" y="572"/>
                  </a:lnTo>
                  <a:lnTo>
                    <a:pt x="212" y="572"/>
                  </a:lnTo>
                  <a:lnTo>
                    <a:pt x="217" y="570"/>
                  </a:lnTo>
                  <a:lnTo>
                    <a:pt x="217" y="567"/>
                  </a:lnTo>
                  <a:lnTo>
                    <a:pt x="217" y="567"/>
                  </a:lnTo>
                  <a:lnTo>
                    <a:pt x="217" y="562"/>
                  </a:lnTo>
                  <a:lnTo>
                    <a:pt x="217" y="562"/>
                  </a:lnTo>
                  <a:lnTo>
                    <a:pt x="219" y="560"/>
                  </a:lnTo>
                  <a:lnTo>
                    <a:pt x="219" y="558"/>
                  </a:lnTo>
                  <a:lnTo>
                    <a:pt x="219" y="558"/>
                  </a:lnTo>
                  <a:lnTo>
                    <a:pt x="222" y="558"/>
                  </a:lnTo>
                  <a:lnTo>
                    <a:pt x="226" y="553"/>
                  </a:lnTo>
                  <a:lnTo>
                    <a:pt x="226" y="548"/>
                  </a:lnTo>
                  <a:lnTo>
                    <a:pt x="229" y="548"/>
                  </a:lnTo>
                  <a:lnTo>
                    <a:pt x="229" y="548"/>
                  </a:lnTo>
                  <a:lnTo>
                    <a:pt x="229" y="548"/>
                  </a:lnTo>
                  <a:lnTo>
                    <a:pt x="229" y="544"/>
                  </a:lnTo>
                  <a:lnTo>
                    <a:pt x="229" y="544"/>
                  </a:lnTo>
                  <a:lnTo>
                    <a:pt x="231" y="541"/>
                  </a:lnTo>
                  <a:lnTo>
                    <a:pt x="236" y="539"/>
                  </a:lnTo>
                  <a:lnTo>
                    <a:pt x="236" y="536"/>
                  </a:lnTo>
                  <a:lnTo>
                    <a:pt x="236" y="536"/>
                  </a:lnTo>
                  <a:lnTo>
                    <a:pt x="238" y="536"/>
                  </a:lnTo>
                  <a:lnTo>
                    <a:pt x="238" y="539"/>
                  </a:lnTo>
                  <a:lnTo>
                    <a:pt x="238" y="539"/>
                  </a:lnTo>
                  <a:lnTo>
                    <a:pt x="238" y="539"/>
                  </a:lnTo>
                  <a:lnTo>
                    <a:pt x="241" y="536"/>
                  </a:lnTo>
                  <a:lnTo>
                    <a:pt x="238" y="534"/>
                  </a:lnTo>
                  <a:lnTo>
                    <a:pt x="238" y="532"/>
                  </a:lnTo>
                  <a:lnTo>
                    <a:pt x="238" y="532"/>
                  </a:lnTo>
                  <a:lnTo>
                    <a:pt x="238" y="532"/>
                  </a:lnTo>
                  <a:lnTo>
                    <a:pt x="241" y="532"/>
                  </a:lnTo>
                  <a:lnTo>
                    <a:pt x="243" y="534"/>
                  </a:lnTo>
                  <a:lnTo>
                    <a:pt x="243" y="534"/>
                  </a:lnTo>
                  <a:lnTo>
                    <a:pt x="245" y="532"/>
                  </a:lnTo>
                  <a:lnTo>
                    <a:pt x="245" y="529"/>
                  </a:lnTo>
                  <a:lnTo>
                    <a:pt x="245" y="527"/>
                  </a:lnTo>
                  <a:lnTo>
                    <a:pt x="248" y="527"/>
                  </a:lnTo>
                  <a:lnTo>
                    <a:pt x="248" y="527"/>
                  </a:lnTo>
                  <a:lnTo>
                    <a:pt x="255" y="525"/>
                  </a:lnTo>
                  <a:lnTo>
                    <a:pt x="255" y="525"/>
                  </a:lnTo>
                  <a:lnTo>
                    <a:pt x="257" y="525"/>
                  </a:lnTo>
                  <a:lnTo>
                    <a:pt x="259" y="525"/>
                  </a:lnTo>
                  <a:lnTo>
                    <a:pt x="259" y="527"/>
                  </a:lnTo>
                  <a:lnTo>
                    <a:pt x="259" y="527"/>
                  </a:lnTo>
                  <a:lnTo>
                    <a:pt x="262" y="527"/>
                  </a:lnTo>
                  <a:lnTo>
                    <a:pt x="262" y="525"/>
                  </a:lnTo>
                  <a:lnTo>
                    <a:pt x="264" y="525"/>
                  </a:lnTo>
                  <a:lnTo>
                    <a:pt x="267" y="525"/>
                  </a:lnTo>
                  <a:lnTo>
                    <a:pt x="271" y="522"/>
                  </a:lnTo>
                  <a:lnTo>
                    <a:pt x="276" y="522"/>
                  </a:lnTo>
                  <a:lnTo>
                    <a:pt x="276" y="520"/>
                  </a:lnTo>
                  <a:lnTo>
                    <a:pt x="276" y="520"/>
                  </a:lnTo>
                  <a:lnTo>
                    <a:pt x="278" y="518"/>
                  </a:lnTo>
                  <a:lnTo>
                    <a:pt x="281" y="520"/>
                  </a:lnTo>
                  <a:lnTo>
                    <a:pt x="283" y="518"/>
                  </a:lnTo>
                  <a:lnTo>
                    <a:pt x="283" y="518"/>
                  </a:lnTo>
                  <a:lnTo>
                    <a:pt x="285" y="518"/>
                  </a:lnTo>
                  <a:lnTo>
                    <a:pt x="288" y="518"/>
                  </a:lnTo>
                  <a:lnTo>
                    <a:pt x="290" y="518"/>
                  </a:lnTo>
                  <a:lnTo>
                    <a:pt x="290" y="518"/>
                  </a:lnTo>
                  <a:lnTo>
                    <a:pt x="290" y="520"/>
                  </a:lnTo>
                  <a:lnTo>
                    <a:pt x="293" y="518"/>
                  </a:lnTo>
                  <a:lnTo>
                    <a:pt x="295" y="520"/>
                  </a:lnTo>
                  <a:lnTo>
                    <a:pt x="297" y="520"/>
                  </a:lnTo>
                  <a:lnTo>
                    <a:pt x="300" y="522"/>
                  </a:lnTo>
                  <a:lnTo>
                    <a:pt x="302" y="525"/>
                  </a:lnTo>
                  <a:lnTo>
                    <a:pt x="304" y="525"/>
                  </a:lnTo>
                  <a:lnTo>
                    <a:pt x="304" y="525"/>
                  </a:lnTo>
                  <a:lnTo>
                    <a:pt x="307" y="525"/>
                  </a:lnTo>
                  <a:lnTo>
                    <a:pt x="307" y="525"/>
                  </a:lnTo>
                  <a:lnTo>
                    <a:pt x="307" y="525"/>
                  </a:lnTo>
                  <a:lnTo>
                    <a:pt x="309" y="525"/>
                  </a:lnTo>
                  <a:lnTo>
                    <a:pt x="309" y="525"/>
                  </a:lnTo>
                  <a:lnTo>
                    <a:pt x="309" y="527"/>
                  </a:lnTo>
                  <a:lnTo>
                    <a:pt x="309" y="529"/>
                  </a:lnTo>
                  <a:lnTo>
                    <a:pt x="311" y="529"/>
                  </a:lnTo>
                  <a:lnTo>
                    <a:pt x="314" y="532"/>
                  </a:lnTo>
                  <a:lnTo>
                    <a:pt x="316" y="532"/>
                  </a:lnTo>
                  <a:lnTo>
                    <a:pt x="316" y="534"/>
                  </a:lnTo>
                  <a:lnTo>
                    <a:pt x="319" y="536"/>
                  </a:lnTo>
                  <a:lnTo>
                    <a:pt x="321" y="539"/>
                  </a:lnTo>
                  <a:lnTo>
                    <a:pt x="321" y="536"/>
                  </a:lnTo>
                  <a:lnTo>
                    <a:pt x="323" y="536"/>
                  </a:lnTo>
                  <a:lnTo>
                    <a:pt x="326" y="536"/>
                  </a:lnTo>
                  <a:lnTo>
                    <a:pt x="328" y="536"/>
                  </a:lnTo>
                  <a:lnTo>
                    <a:pt x="328" y="536"/>
                  </a:lnTo>
                  <a:lnTo>
                    <a:pt x="330" y="536"/>
                  </a:lnTo>
                  <a:lnTo>
                    <a:pt x="330" y="534"/>
                  </a:lnTo>
                  <a:lnTo>
                    <a:pt x="333" y="534"/>
                  </a:lnTo>
                  <a:lnTo>
                    <a:pt x="335" y="532"/>
                  </a:lnTo>
                  <a:lnTo>
                    <a:pt x="340" y="532"/>
                  </a:lnTo>
                  <a:lnTo>
                    <a:pt x="342" y="532"/>
                  </a:lnTo>
                  <a:lnTo>
                    <a:pt x="347" y="529"/>
                  </a:lnTo>
                  <a:lnTo>
                    <a:pt x="347" y="527"/>
                  </a:lnTo>
                  <a:lnTo>
                    <a:pt x="347" y="527"/>
                  </a:lnTo>
                  <a:lnTo>
                    <a:pt x="354" y="527"/>
                  </a:lnTo>
                  <a:lnTo>
                    <a:pt x="356" y="527"/>
                  </a:lnTo>
                  <a:lnTo>
                    <a:pt x="359" y="529"/>
                  </a:lnTo>
                  <a:lnTo>
                    <a:pt x="361" y="529"/>
                  </a:lnTo>
                  <a:lnTo>
                    <a:pt x="363" y="529"/>
                  </a:lnTo>
                  <a:lnTo>
                    <a:pt x="366" y="527"/>
                  </a:lnTo>
                  <a:lnTo>
                    <a:pt x="368" y="525"/>
                  </a:lnTo>
                  <a:lnTo>
                    <a:pt x="370" y="525"/>
                  </a:lnTo>
                  <a:lnTo>
                    <a:pt x="373" y="527"/>
                  </a:lnTo>
                  <a:lnTo>
                    <a:pt x="375" y="527"/>
                  </a:lnTo>
                  <a:lnTo>
                    <a:pt x="378" y="525"/>
                  </a:lnTo>
                  <a:lnTo>
                    <a:pt x="378" y="525"/>
                  </a:lnTo>
                  <a:lnTo>
                    <a:pt x="380" y="525"/>
                  </a:lnTo>
                  <a:lnTo>
                    <a:pt x="382" y="520"/>
                  </a:lnTo>
                  <a:lnTo>
                    <a:pt x="385" y="518"/>
                  </a:lnTo>
                  <a:lnTo>
                    <a:pt x="389" y="515"/>
                  </a:lnTo>
                  <a:lnTo>
                    <a:pt x="389" y="513"/>
                  </a:lnTo>
                  <a:lnTo>
                    <a:pt x="389" y="510"/>
                  </a:lnTo>
                  <a:lnTo>
                    <a:pt x="389" y="510"/>
                  </a:lnTo>
                  <a:lnTo>
                    <a:pt x="392" y="506"/>
                  </a:lnTo>
                  <a:lnTo>
                    <a:pt x="394" y="501"/>
                  </a:lnTo>
                  <a:lnTo>
                    <a:pt x="394" y="499"/>
                  </a:lnTo>
                  <a:lnTo>
                    <a:pt x="394" y="496"/>
                  </a:lnTo>
                  <a:lnTo>
                    <a:pt x="394" y="494"/>
                  </a:lnTo>
                  <a:lnTo>
                    <a:pt x="394" y="494"/>
                  </a:lnTo>
                  <a:lnTo>
                    <a:pt x="394" y="492"/>
                  </a:lnTo>
                  <a:lnTo>
                    <a:pt x="394" y="492"/>
                  </a:lnTo>
                  <a:lnTo>
                    <a:pt x="396" y="489"/>
                  </a:lnTo>
                  <a:lnTo>
                    <a:pt x="394" y="487"/>
                  </a:lnTo>
                  <a:lnTo>
                    <a:pt x="396" y="484"/>
                  </a:lnTo>
                  <a:lnTo>
                    <a:pt x="394" y="482"/>
                  </a:lnTo>
                  <a:lnTo>
                    <a:pt x="394" y="482"/>
                  </a:lnTo>
                  <a:lnTo>
                    <a:pt x="396" y="477"/>
                  </a:lnTo>
                  <a:lnTo>
                    <a:pt x="396" y="475"/>
                  </a:lnTo>
                  <a:lnTo>
                    <a:pt x="396" y="475"/>
                  </a:lnTo>
                  <a:lnTo>
                    <a:pt x="401" y="470"/>
                  </a:lnTo>
                  <a:lnTo>
                    <a:pt x="401" y="470"/>
                  </a:lnTo>
                  <a:lnTo>
                    <a:pt x="399" y="470"/>
                  </a:lnTo>
                  <a:lnTo>
                    <a:pt x="396" y="470"/>
                  </a:lnTo>
                  <a:lnTo>
                    <a:pt x="396" y="470"/>
                  </a:lnTo>
                  <a:lnTo>
                    <a:pt x="396" y="468"/>
                  </a:lnTo>
                  <a:lnTo>
                    <a:pt x="399" y="463"/>
                  </a:lnTo>
                  <a:lnTo>
                    <a:pt x="396" y="461"/>
                  </a:lnTo>
                  <a:lnTo>
                    <a:pt x="396" y="461"/>
                  </a:lnTo>
                  <a:lnTo>
                    <a:pt x="396" y="458"/>
                  </a:lnTo>
                  <a:lnTo>
                    <a:pt x="396" y="458"/>
                  </a:lnTo>
                  <a:lnTo>
                    <a:pt x="396" y="456"/>
                  </a:lnTo>
                  <a:lnTo>
                    <a:pt x="394" y="456"/>
                  </a:lnTo>
                  <a:lnTo>
                    <a:pt x="392" y="456"/>
                  </a:lnTo>
                  <a:lnTo>
                    <a:pt x="389" y="456"/>
                  </a:lnTo>
                  <a:lnTo>
                    <a:pt x="387" y="451"/>
                  </a:lnTo>
                  <a:lnTo>
                    <a:pt x="385" y="451"/>
                  </a:lnTo>
                  <a:lnTo>
                    <a:pt x="382" y="449"/>
                  </a:lnTo>
                  <a:lnTo>
                    <a:pt x="382" y="449"/>
                  </a:lnTo>
                  <a:lnTo>
                    <a:pt x="382" y="444"/>
                  </a:lnTo>
                  <a:lnTo>
                    <a:pt x="382" y="442"/>
                  </a:lnTo>
                  <a:lnTo>
                    <a:pt x="380" y="442"/>
                  </a:lnTo>
                  <a:lnTo>
                    <a:pt x="378" y="442"/>
                  </a:lnTo>
                  <a:lnTo>
                    <a:pt x="375" y="442"/>
                  </a:lnTo>
                  <a:lnTo>
                    <a:pt x="373" y="440"/>
                  </a:lnTo>
                  <a:lnTo>
                    <a:pt x="373" y="435"/>
                  </a:lnTo>
                  <a:lnTo>
                    <a:pt x="368" y="433"/>
                  </a:lnTo>
                  <a:lnTo>
                    <a:pt x="368" y="433"/>
                  </a:lnTo>
                  <a:lnTo>
                    <a:pt x="370" y="433"/>
                  </a:lnTo>
                  <a:lnTo>
                    <a:pt x="373" y="430"/>
                  </a:lnTo>
                  <a:lnTo>
                    <a:pt x="373" y="430"/>
                  </a:lnTo>
                  <a:lnTo>
                    <a:pt x="373" y="430"/>
                  </a:lnTo>
                  <a:lnTo>
                    <a:pt x="373" y="428"/>
                  </a:lnTo>
                  <a:lnTo>
                    <a:pt x="373" y="425"/>
                  </a:lnTo>
                  <a:lnTo>
                    <a:pt x="373" y="425"/>
                  </a:lnTo>
                  <a:lnTo>
                    <a:pt x="370" y="423"/>
                  </a:lnTo>
                  <a:lnTo>
                    <a:pt x="368" y="421"/>
                  </a:lnTo>
                  <a:lnTo>
                    <a:pt x="368" y="421"/>
                  </a:lnTo>
                  <a:lnTo>
                    <a:pt x="368" y="416"/>
                  </a:lnTo>
                  <a:lnTo>
                    <a:pt x="366" y="416"/>
                  </a:lnTo>
                  <a:lnTo>
                    <a:pt x="366" y="414"/>
                  </a:lnTo>
                  <a:lnTo>
                    <a:pt x="368" y="409"/>
                  </a:lnTo>
                  <a:lnTo>
                    <a:pt x="366" y="404"/>
                  </a:lnTo>
                  <a:lnTo>
                    <a:pt x="368" y="402"/>
                  </a:lnTo>
                  <a:lnTo>
                    <a:pt x="366" y="399"/>
                  </a:lnTo>
                  <a:lnTo>
                    <a:pt x="366" y="395"/>
                  </a:lnTo>
                  <a:lnTo>
                    <a:pt x="366" y="395"/>
                  </a:lnTo>
                  <a:lnTo>
                    <a:pt x="366" y="392"/>
                  </a:lnTo>
                  <a:lnTo>
                    <a:pt x="368" y="392"/>
                  </a:lnTo>
                  <a:lnTo>
                    <a:pt x="368" y="392"/>
                  </a:lnTo>
                  <a:lnTo>
                    <a:pt x="368" y="385"/>
                  </a:lnTo>
                  <a:lnTo>
                    <a:pt x="368" y="381"/>
                  </a:lnTo>
                  <a:lnTo>
                    <a:pt x="368" y="381"/>
                  </a:lnTo>
                  <a:lnTo>
                    <a:pt x="368" y="378"/>
                  </a:lnTo>
                  <a:lnTo>
                    <a:pt x="366" y="378"/>
                  </a:lnTo>
                  <a:lnTo>
                    <a:pt x="366" y="376"/>
                  </a:lnTo>
                  <a:lnTo>
                    <a:pt x="368" y="376"/>
                  </a:lnTo>
                  <a:lnTo>
                    <a:pt x="368" y="373"/>
                  </a:lnTo>
                  <a:lnTo>
                    <a:pt x="373" y="373"/>
                  </a:lnTo>
                  <a:lnTo>
                    <a:pt x="375" y="373"/>
                  </a:lnTo>
                  <a:lnTo>
                    <a:pt x="375" y="371"/>
                  </a:lnTo>
                  <a:lnTo>
                    <a:pt x="375" y="369"/>
                  </a:lnTo>
                  <a:lnTo>
                    <a:pt x="378" y="366"/>
                  </a:lnTo>
                  <a:lnTo>
                    <a:pt x="380" y="362"/>
                  </a:lnTo>
                  <a:lnTo>
                    <a:pt x="382" y="359"/>
                  </a:lnTo>
                  <a:lnTo>
                    <a:pt x="382" y="359"/>
                  </a:lnTo>
                  <a:lnTo>
                    <a:pt x="382" y="355"/>
                  </a:lnTo>
                  <a:lnTo>
                    <a:pt x="385" y="355"/>
                  </a:lnTo>
                  <a:lnTo>
                    <a:pt x="387" y="355"/>
                  </a:lnTo>
                  <a:lnTo>
                    <a:pt x="389" y="352"/>
                  </a:lnTo>
                  <a:lnTo>
                    <a:pt x="389" y="347"/>
                  </a:lnTo>
                  <a:lnTo>
                    <a:pt x="392" y="347"/>
                  </a:lnTo>
                  <a:lnTo>
                    <a:pt x="394" y="347"/>
                  </a:lnTo>
                  <a:lnTo>
                    <a:pt x="396" y="345"/>
                  </a:lnTo>
                  <a:lnTo>
                    <a:pt x="396" y="343"/>
                  </a:lnTo>
                  <a:lnTo>
                    <a:pt x="399" y="343"/>
                  </a:lnTo>
                  <a:lnTo>
                    <a:pt x="401" y="340"/>
                  </a:lnTo>
                  <a:lnTo>
                    <a:pt x="401" y="340"/>
                  </a:lnTo>
                  <a:lnTo>
                    <a:pt x="404" y="336"/>
                  </a:lnTo>
                  <a:lnTo>
                    <a:pt x="404" y="333"/>
                  </a:lnTo>
                  <a:lnTo>
                    <a:pt x="404" y="333"/>
                  </a:lnTo>
                  <a:lnTo>
                    <a:pt x="401" y="329"/>
                  </a:lnTo>
                  <a:lnTo>
                    <a:pt x="401" y="326"/>
                  </a:lnTo>
                  <a:lnTo>
                    <a:pt x="404" y="321"/>
                  </a:lnTo>
                  <a:lnTo>
                    <a:pt x="404" y="319"/>
                  </a:lnTo>
                  <a:lnTo>
                    <a:pt x="404" y="314"/>
                  </a:lnTo>
                  <a:lnTo>
                    <a:pt x="404" y="312"/>
                  </a:lnTo>
                  <a:lnTo>
                    <a:pt x="401" y="307"/>
                  </a:lnTo>
                  <a:lnTo>
                    <a:pt x="401" y="305"/>
                  </a:lnTo>
                  <a:lnTo>
                    <a:pt x="399" y="305"/>
                  </a:lnTo>
                  <a:lnTo>
                    <a:pt x="399" y="303"/>
                  </a:lnTo>
                  <a:lnTo>
                    <a:pt x="399" y="300"/>
                  </a:lnTo>
                  <a:lnTo>
                    <a:pt x="396" y="293"/>
                  </a:lnTo>
                  <a:lnTo>
                    <a:pt x="396" y="293"/>
                  </a:lnTo>
                  <a:lnTo>
                    <a:pt x="396" y="288"/>
                  </a:lnTo>
                  <a:lnTo>
                    <a:pt x="396" y="286"/>
                  </a:lnTo>
                  <a:lnTo>
                    <a:pt x="396" y="286"/>
                  </a:lnTo>
                  <a:lnTo>
                    <a:pt x="392" y="281"/>
                  </a:lnTo>
                  <a:lnTo>
                    <a:pt x="392" y="281"/>
                  </a:lnTo>
                  <a:lnTo>
                    <a:pt x="392" y="277"/>
                  </a:lnTo>
                  <a:lnTo>
                    <a:pt x="392" y="274"/>
                  </a:lnTo>
                  <a:lnTo>
                    <a:pt x="387" y="272"/>
                  </a:lnTo>
                  <a:lnTo>
                    <a:pt x="387" y="272"/>
                  </a:lnTo>
                  <a:lnTo>
                    <a:pt x="385" y="267"/>
                  </a:lnTo>
                  <a:lnTo>
                    <a:pt x="385" y="265"/>
                  </a:lnTo>
                  <a:lnTo>
                    <a:pt x="387" y="262"/>
                  </a:lnTo>
                  <a:lnTo>
                    <a:pt x="389" y="260"/>
                  </a:lnTo>
                  <a:lnTo>
                    <a:pt x="389" y="260"/>
                  </a:lnTo>
                  <a:lnTo>
                    <a:pt x="387" y="258"/>
                  </a:lnTo>
                  <a:lnTo>
                    <a:pt x="385" y="258"/>
                  </a:lnTo>
                  <a:lnTo>
                    <a:pt x="385" y="255"/>
                  </a:lnTo>
                  <a:lnTo>
                    <a:pt x="385" y="253"/>
                  </a:lnTo>
                  <a:lnTo>
                    <a:pt x="387" y="251"/>
                  </a:lnTo>
                  <a:lnTo>
                    <a:pt x="389" y="251"/>
                  </a:lnTo>
                  <a:lnTo>
                    <a:pt x="389" y="251"/>
                  </a:lnTo>
                  <a:lnTo>
                    <a:pt x="389" y="248"/>
                  </a:lnTo>
                  <a:lnTo>
                    <a:pt x="394" y="244"/>
                  </a:lnTo>
                  <a:lnTo>
                    <a:pt x="394" y="241"/>
                  </a:lnTo>
                  <a:lnTo>
                    <a:pt x="396" y="239"/>
                  </a:lnTo>
                  <a:lnTo>
                    <a:pt x="396" y="239"/>
                  </a:lnTo>
                  <a:lnTo>
                    <a:pt x="394" y="236"/>
                  </a:lnTo>
                  <a:lnTo>
                    <a:pt x="396" y="232"/>
                  </a:lnTo>
                  <a:lnTo>
                    <a:pt x="396" y="229"/>
                  </a:lnTo>
                  <a:lnTo>
                    <a:pt x="396" y="229"/>
                  </a:lnTo>
                  <a:lnTo>
                    <a:pt x="396" y="229"/>
                  </a:lnTo>
                  <a:lnTo>
                    <a:pt x="396" y="229"/>
                  </a:lnTo>
                  <a:lnTo>
                    <a:pt x="396" y="227"/>
                  </a:lnTo>
                  <a:lnTo>
                    <a:pt x="394" y="227"/>
                  </a:lnTo>
                  <a:lnTo>
                    <a:pt x="394" y="225"/>
                  </a:lnTo>
                  <a:lnTo>
                    <a:pt x="394" y="220"/>
                  </a:lnTo>
                  <a:lnTo>
                    <a:pt x="394" y="220"/>
                  </a:lnTo>
                  <a:lnTo>
                    <a:pt x="387" y="215"/>
                  </a:lnTo>
                  <a:lnTo>
                    <a:pt x="387" y="215"/>
                  </a:lnTo>
                  <a:lnTo>
                    <a:pt x="387" y="215"/>
                  </a:lnTo>
                  <a:lnTo>
                    <a:pt x="385" y="215"/>
                  </a:lnTo>
                  <a:lnTo>
                    <a:pt x="385" y="215"/>
                  </a:lnTo>
                  <a:lnTo>
                    <a:pt x="385" y="215"/>
                  </a:lnTo>
                  <a:lnTo>
                    <a:pt x="385" y="210"/>
                  </a:lnTo>
                  <a:lnTo>
                    <a:pt x="385" y="208"/>
                  </a:lnTo>
                  <a:lnTo>
                    <a:pt x="382" y="203"/>
                  </a:lnTo>
                  <a:lnTo>
                    <a:pt x="382" y="203"/>
                  </a:lnTo>
                  <a:lnTo>
                    <a:pt x="380" y="199"/>
                  </a:lnTo>
                  <a:lnTo>
                    <a:pt x="380" y="196"/>
                  </a:lnTo>
                  <a:lnTo>
                    <a:pt x="382" y="194"/>
                  </a:lnTo>
                  <a:lnTo>
                    <a:pt x="387" y="187"/>
                  </a:lnTo>
                  <a:lnTo>
                    <a:pt x="387" y="187"/>
                  </a:lnTo>
                  <a:lnTo>
                    <a:pt x="387" y="184"/>
                  </a:lnTo>
                  <a:lnTo>
                    <a:pt x="394" y="184"/>
                  </a:lnTo>
                  <a:lnTo>
                    <a:pt x="394" y="184"/>
                  </a:lnTo>
                  <a:lnTo>
                    <a:pt x="392" y="182"/>
                  </a:lnTo>
                  <a:lnTo>
                    <a:pt x="392" y="182"/>
                  </a:lnTo>
                  <a:lnTo>
                    <a:pt x="392" y="180"/>
                  </a:lnTo>
                  <a:lnTo>
                    <a:pt x="394" y="180"/>
                  </a:lnTo>
                  <a:lnTo>
                    <a:pt x="396" y="177"/>
                  </a:lnTo>
                  <a:lnTo>
                    <a:pt x="396" y="175"/>
                  </a:lnTo>
                  <a:lnTo>
                    <a:pt x="399" y="170"/>
                  </a:lnTo>
                  <a:lnTo>
                    <a:pt x="399" y="168"/>
                  </a:lnTo>
                  <a:lnTo>
                    <a:pt x="401" y="163"/>
                  </a:lnTo>
                  <a:lnTo>
                    <a:pt x="404" y="163"/>
                  </a:lnTo>
                  <a:lnTo>
                    <a:pt x="404" y="166"/>
                  </a:lnTo>
                  <a:lnTo>
                    <a:pt x="404" y="166"/>
                  </a:lnTo>
                  <a:lnTo>
                    <a:pt x="406" y="163"/>
                  </a:lnTo>
                  <a:lnTo>
                    <a:pt x="406" y="158"/>
                  </a:lnTo>
                  <a:lnTo>
                    <a:pt x="413" y="156"/>
                  </a:lnTo>
                  <a:lnTo>
                    <a:pt x="413" y="154"/>
                  </a:lnTo>
                  <a:lnTo>
                    <a:pt x="413" y="151"/>
                  </a:lnTo>
                  <a:lnTo>
                    <a:pt x="413" y="149"/>
                  </a:lnTo>
                  <a:lnTo>
                    <a:pt x="413" y="149"/>
                  </a:lnTo>
                  <a:lnTo>
                    <a:pt x="420" y="140"/>
                  </a:lnTo>
                  <a:lnTo>
                    <a:pt x="420" y="140"/>
                  </a:lnTo>
                  <a:lnTo>
                    <a:pt x="420" y="137"/>
                  </a:lnTo>
                  <a:lnTo>
                    <a:pt x="420" y="137"/>
                  </a:lnTo>
                  <a:lnTo>
                    <a:pt x="420" y="135"/>
                  </a:lnTo>
                  <a:lnTo>
                    <a:pt x="420" y="133"/>
                  </a:lnTo>
                  <a:lnTo>
                    <a:pt x="420" y="130"/>
                  </a:lnTo>
                  <a:lnTo>
                    <a:pt x="420" y="130"/>
                  </a:lnTo>
                  <a:lnTo>
                    <a:pt x="420" y="125"/>
                  </a:lnTo>
                  <a:lnTo>
                    <a:pt x="420" y="125"/>
                  </a:lnTo>
                  <a:lnTo>
                    <a:pt x="420" y="125"/>
                  </a:lnTo>
                  <a:lnTo>
                    <a:pt x="420" y="123"/>
                  </a:lnTo>
                  <a:lnTo>
                    <a:pt x="422" y="121"/>
                  </a:lnTo>
                  <a:lnTo>
                    <a:pt x="425" y="116"/>
                  </a:lnTo>
                  <a:lnTo>
                    <a:pt x="427" y="116"/>
                  </a:lnTo>
                  <a:lnTo>
                    <a:pt x="427" y="116"/>
                  </a:lnTo>
                  <a:lnTo>
                    <a:pt x="427" y="114"/>
                  </a:lnTo>
                  <a:lnTo>
                    <a:pt x="430" y="111"/>
                  </a:lnTo>
                  <a:lnTo>
                    <a:pt x="432" y="109"/>
                  </a:lnTo>
                  <a:lnTo>
                    <a:pt x="432" y="109"/>
                  </a:lnTo>
                  <a:lnTo>
                    <a:pt x="434" y="107"/>
                  </a:lnTo>
                  <a:lnTo>
                    <a:pt x="439" y="102"/>
                  </a:lnTo>
                  <a:lnTo>
                    <a:pt x="439" y="102"/>
                  </a:lnTo>
                  <a:lnTo>
                    <a:pt x="439" y="102"/>
                  </a:lnTo>
                  <a:lnTo>
                    <a:pt x="439" y="99"/>
                  </a:lnTo>
                  <a:lnTo>
                    <a:pt x="439" y="99"/>
                  </a:lnTo>
                  <a:lnTo>
                    <a:pt x="441" y="97"/>
                  </a:lnTo>
                  <a:lnTo>
                    <a:pt x="441" y="95"/>
                  </a:lnTo>
                  <a:lnTo>
                    <a:pt x="441" y="92"/>
                  </a:lnTo>
                  <a:lnTo>
                    <a:pt x="444" y="92"/>
                  </a:lnTo>
                  <a:lnTo>
                    <a:pt x="444" y="92"/>
                  </a:lnTo>
                  <a:lnTo>
                    <a:pt x="444" y="95"/>
                  </a:lnTo>
                  <a:lnTo>
                    <a:pt x="446" y="97"/>
                  </a:lnTo>
                  <a:lnTo>
                    <a:pt x="446" y="97"/>
                  </a:lnTo>
                  <a:lnTo>
                    <a:pt x="448" y="97"/>
                  </a:lnTo>
                  <a:lnTo>
                    <a:pt x="448" y="97"/>
                  </a:lnTo>
                  <a:lnTo>
                    <a:pt x="451" y="95"/>
                  </a:lnTo>
                  <a:lnTo>
                    <a:pt x="451" y="95"/>
                  </a:lnTo>
                  <a:lnTo>
                    <a:pt x="453" y="95"/>
                  </a:lnTo>
                  <a:lnTo>
                    <a:pt x="453" y="95"/>
                  </a:lnTo>
                  <a:lnTo>
                    <a:pt x="453" y="97"/>
                  </a:lnTo>
                  <a:lnTo>
                    <a:pt x="456" y="95"/>
                  </a:lnTo>
                  <a:lnTo>
                    <a:pt x="456" y="95"/>
                  </a:lnTo>
                  <a:lnTo>
                    <a:pt x="456" y="92"/>
                  </a:lnTo>
                  <a:lnTo>
                    <a:pt x="458" y="92"/>
                  </a:lnTo>
                  <a:lnTo>
                    <a:pt x="460" y="92"/>
                  </a:lnTo>
                  <a:lnTo>
                    <a:pt x="465" y="90"/>
                  </a:lnTo>
                  <a:lnTo>
                    <a:pt x="465" y="92"/>
                  </a:lnTo>
                  <a:lnTo>
                    <a:pt x="467" y="92"/>
                  </a:lnTo>
                  <a:lnTo>
                    <a:pt x="470" y="92"/>
                  </a:lnTo>
                  <a:lnTo>
                    <a:pt x="470" y="92"/>
                  </a:lnTo>
                  <a:lnTo>
                    <a:pt x="474" y="90"/>
                  </a:lnTo>
                  <a:lnTo>
                    <a:pt x="479" y="92"/>
                  </a:lnTo>
                  <a:lnTo>
                    <a:pt x="479" y="90"/>
                  </a:lnTo>
                  <a:lnTo>
                    <a:pt x="479" y="92"/>
                  </a:lnTo>
                  <a:lnTo>
                    <a:pt x="482" y="90"/>
                  </a:lnTo>
                  <a:lnTo>
                    <a:pt x="479" y="88"/>
                  </a:lnTo>
                  <a:lnTo>
                    <a:pt x="482" y="85"/>
                  </a:lnTo>
                  <a:lnTo>
                    <a:pt x="482" y="85"/>
                  </a:lnTo>
                  <a:lnTo>
                    <a:pt x="486" y="85"/>
                  </a:lnTo>
                  <a:lnTo>
                    <a:pt x="489" y="81"/>
                  </a:lnTo>
                  <a:lnTo>
                    <a:pt x="489" y="81"/>
                  </a:lnTo>
                  <a:lnTo>
                    <a:pt x="489" y="81"/>
                  </a:lnTo>
                  <a:lnTo>
                    <a:pt x="489" y="78"/>
                  </a:lnTo>
                  <a:lnTo>
                    <a:pt x="491" y="76"/>
                  </a:lnTo>
                  <a:lnTo>
                    <a:pt x="491" y="76"/>
                  </a:lnTo>
                  <a:lnTo>
                    <a:pt x="493" y="76"/>
                  </a:lnTo>
                  <a:lnTo>
                    <a:pt x="493" y="73"/>
                  </a:lnTo>
                  <a:lnTo>
                    <a:pt x="493" y="73"/>
                  </a:lnTo>
                  <a:lnTo>
                    <a:pt x="493" y="73"/>
                  </a:lnTo>
                  <a:lnTo>
                    <a:pt x="493" y="73"/>
                  </a:lnTo>
                  <a:lnTo>
                    <a:pt x="489" y="73"/>
                  </a:lnTo>
                  <a:lnTo>
                    <a:pt x="489" y="71"/>
                  </a:lnTo>
                  <a:lnTo>
                    <a:pt x="489" y="71"/>
                  </a:lnTo>
                  <a:lnTo>
                    <a:pt x="491" y="69"/>
                  </a:lnTo>
                  <a:lnTo>
                    <a:pt x="496" y="69"/>
                  </a:lnTo>
                  <a:lnTo>
                    <a:pt x="498" y="66"/>
                  </a:lnTo>
                  <a:lnTo>
                    <a:pt x="503" y="66"/>
                  </a:lnTo>
                  <a:lnTo>
                    <a:pt x="505" y="66"/>
                  </a:lnTo>
                  <a:lnTo>
                    <a:pt x="505" y="66"/>
                  </a:lnTo>
                  <a:lnTo>
                    <a:pt x="507" y="64"/>
                  </a:lnTo>
                  <a:lnTo>
                    <a:pt x="507" y="64"/>
                  </a:lnTo>
                  <a:lnTo>
                    <a:pt x="507" y="62"/>
                  </a:lnTo>
                  <a:lnTo>
                    <a:pt x="510" y="59"/>
                  </a:lnTo>
                  <a:lnTo>
                    <a:pt x="510" y="57"/>
                  </a:lnTo>
                  <a:lnTo>
                    <a:pt x="512" y="57"/>
                  </a:lnTo>
                  <a:lnTo>
                    <a:pt x="512" y="59"/>
                  </a:lnTo>
                  <a:lnTo>
                    <a:pt x="515" y="59"/>
                  </a:lnTo>
                  <a:lnTo>
                    <a:pt x="515" y="55"/>
                  </a:lnTo>
                  <a:lnTo>
                    <a:pt x="515" y="55"/>
                  </a:lnTo>
                  <a:lnTo>
                    <a:pt x="515" y="52"/>
                  </a:lnTo>
                  <a:lnTo>
                    <a:pt x="515" y="50"/>
                  </a:lnTo>
                  <a:lnTo>
                    <a:pt x="515" y="47"/>
                  </a:lnTo>
                  <a:lnTo>
                    <a:pt x="517" y="47"/>
                  </a:lnTo>
                  <a:lnTo>
                    <a:pt x="519" y="47"/>
                  </a:lnTo>
                  <a:lnTo>
                    <a:pt x="519" y="45"/>
                  </a:lnTo>
                  <a:lnTo>
                    <a:pt x="522" y="43"/>
                  </a:lnTo>
                  <a:lnTo>
                    <a:pt x="524" y="40"/>
                  </a:lnTo>
                  <a:lnTo>
                    <a:pt x="526" y="38"/>
                  </a:lnTo>
                  <a:lnTo>
                    <a:pt x="529" y="38"/>
                  </a:lnTo>
                  <a:lnTo>
                    <a:pt x="529" y="33"/>
                  </a:lnTo>
                  <a:lnTo>
                    <a:pt x="529" y="33"/>
                  </a:lnTo>
                  <a:lnTo>
                    <a:pt x="531" y="29"/>
                  </a:lnTo>
                  <a:lnTo>
                    <a:pt x="531" y="26"/>
                  </a:lnTo>
                  <a:lnTo>
                    <a:pt x="531" y="26"/>
                  </a:lnTo>
                  <a:lnTo>
                    <a:pt x="526" y="24"/>
                  </a:lnTo>
                  <a:lnTo>
                    <a:pt x="526" y="24"/>
                  </a:lnTo>
                  <a:lnTo>
                    <a:pt x="524" y="19"/>
                  </a:lnTo>
                  <a:lnTo>
                    <a:pt x="522" y="19"/>
                  </a:lnTo>
                  <a:lnTo>
                    <a:pt x="524" y="14"/>
                  </a:lnTo>
                  <a:lnTo>
                    <a:pt x="524" y="12"/>
                  </a:lnTo>
                  <a:lnTo>
                    <a:pt x="526" y="12"/>
                  </a:lnTo>
                  <a:lnTo>
                    <a:pt x="526" y="10"/>
                  </a:lnTo>
                  <a:lnTo>
                    <a:pt x="524" y="10"/>
                  </a:lnTo>
                  <a:lnTo>
                    <a:pt x="524" y="5"/>
                  </a:lnTo>
                  <a:lnTo>
                    <a:pt x="529" y="3"/>
                  </a:lnTo>
                  <a:lnTo>
                    <a:pt x="529" y="0"/>
                  </a:lnTo>
                  <a:lnTo>
                    <a:pt x="531" y="0"/>
                  </a:lnTo>
                  <a:lnTo>
                    <a:pt x="533" y="5"/>
                  </a:lnTo>
                  <a:lnTo>
                    <a:pt x="538" y="7"/>
                  </a:lnTo>
                  <a:lnTo>
                    <a:pt x="541" y="10"/>
                  </a:lnTo>
                  <a:lnTo>
                    <a:pt x="541" y="10"/>
                  </a:lnTo>
                  <a:lnTo>
                    <a:pt x="545" y="14"/>
                  </a:lnTo>
                  <a:lnTo>
                    <a:pt x="550" y="17"/>
                  </a:lnTo>
                  <a:lnTo>
                    <a:pt x="550" y="17"/>
                  </a:lnTo>
                  <a:lnTo>
                    <a:pt x="552" y="19"/>
                  </a:lnTo>
                  <a:lnTo>
                    <a:pt x="557" y="21"/>
                  </a:lnTo>
                  <a:lnTo>
                    <a:pt x="559" y="21"/>
                  </a:lnTo>
                  <a:lnTo>
                    <a:pt x="562" y="21"/>
                  </a:lnTo>
                  <a:lnTo>
                    <a:pt x="562" y="21"/>
                  </a:lnTo>
                  <a:lnTo>
                    <a:pt x="564" y="24"/>
                  </a:lnTo>
                  <a:lnTo>
                    <a:pt x="569" y="24"/>
                  </a:lnTo>
                  <a:lnTo>
                    <a:pt x="569" y="21"/>
                  </a:lnTo>
                  <a:lnTo>
                    <a:pt x="571" y="21"/>
                  </a:lnTo>
                  <a:lnTo>
                    <a:pt x="576" y="21"/>
                  </a:lnTo>
                  <a:lnTo>
                    <a:pt x="576" y="24"/>
                  </a:lnTo>
                  <a:lnTo>
                    <a:pt x="578" y="21"/>
                  </a:lnTo>
                  <a:lnTo>
                    <a:pt x="578" y="24"/>
                  </a:lnTo>
                  <a:lnTo>
                    <a:pt x="581" y="21"/>
                  </a:lnTo>
                  <a:lnTo>
                    <a:pt x="585" y="24"/>
                  </a:lnTo>
                  <a:lnTo>
                    <a:pt x="585" y="24"/>
                  </a:lnTo>
                  <a:lnTo>
                    <a:pt x="590" y="26"/>
                  </a:lnTo>
                  <a:lnTo>
                    <a:pt x="590" y="24"/>
                  </a:lnTo>
                  <a:lnTo>
                    <a:pt x="590" y="24"/>
                  </a:lnTo>
                  <a:lnTo>
                    <a:pt x="590" y="29"/>
                  </a:lnTo>
                  <a:lnTo>
                    <a:pt x="593" y="29"/>
                  </a:lnTo>
                  <a:lnTo>
                    <a:pt x="593" y="29"/>
                  </a:lnTo>
                  <a:lnTo>
                    <a:pt x="595" y="31"/>
                  </a:lnTo>
                  <a:lnTo>
                    <a:pt x="597" y="31"/>
                  </a:lnTo>
                  <a:lnTo>
                    <a:pt x="597" y="31"/>
                  </a:lnTo>
                  <a:lnTo>
                    <a:pt x="597" y="33"/>
                  </a:lnTo>
                  <a:lnTo>
                    <a:pt x="600" y="36"/>
                  </a:lnTo>
                  <a:lnTo>
                    <a:pt x="600" y="36"/>
                  </a:lnTo>
                  <a:lnTo>
                    <a:pt x="600" y="38"/>
                  </a:lnTo>
                  <a:lnTo>
                    <a:pt x="600" y="38"/>
                  </a:lnTo>
                  <a:lnTo>
                    <a:pt x="600" y="38"/>
                  </a:lnTo>
                  <a:lnTo>
                    <a:pt x="600" y="40"/>
                  </a:lnTo>
                  <a:lnTo>
                    <a:pt x="600" y="43"/>
                  </a:lnTo>
                  <a:lnTo>
                    <a:pt x="600" y="43"/>
                  </a:lnTo>
                  <a:lnTo>
                    <a:pt x="600" y="43"/>
                  </a:lnTo>
                  <a:lnTo>
                    <a:pt x="600" y="45"/>
                  </a:lnTo>
                  <a:lnTo>
                    <a:pt x="597" y="47"/>
                  </a:lnTo>
                  <a:lnTo>
                    <a:pt x="597" y="47"/>
                  </a:lnTo>
                  <a:lnTo>
                    <a:pt x="597" y="47"/>
                  </a:lnTo>
                  <a:lnTo>
                    <a:pt x="597" y="50"/>
                  </a:lnTo>
                  <a:lnTo>
                    <a:pt x="595" y="52"/>
                  </a:lnTo>
                  <a:lnTo>
                    <a:pt x="593" y="55"/>
                  </a:lnTo>
                  <a:lnTo>
                    <a:pt x="590" y="55"/>
                  </a:lnTo>
                  <a:lnTo>
                    <a:pt x="590" y="57"/>
                  </a:lnTo>
                  <a:lnTo>
                    <a:pt x="583" y="71"/>
                  </a:lnTo>
                  <a:lnTo>
                    <a:pt x="581" y="76"/>
                  </a:lnTo>
                  <a:lnTo>
                    <a:pt x="581" y="76"/>
                  </a:lnTo>
                  <a:lnTo>
                    <a:pt x="581" y="78"/>
                  </a:lnTo>
                  <a:lnTo>
                    <a:pt x="581" y="81"/>
                  </a:lnTo>
                  <a:lnTo>
                    <a:pt x="578" y="83"/>
                  </a:lnTo>
                  <a:lnTo>
                    <a:pt x="578" y="83"/>
                  </a:lnTo>
                  <a:lnTo>
                    <a:pt x="581" y="83"/>
                  </a:lnTo>
                  <a:lnTo>
                    <a:pt x="581" y="83"/>
                  </a:lnTo>
                  <a:lnTo>
                    <a:pt x="581" y="85"/>
                  </a:lnTo>
                  <a:lnTo>
                    <a:pt x="583" y="85"/>
                  </a:lnTo>
                  <a:lnTo>
                    <a:pt x="583" y="88"/>
                  </a:lnTo>
                  <a:lnTo>
                    <a:pt x="588" y="88"/>
                  </a:lnTo>
                  <a:lnTo>
                    <a:pt x="588" y="88"/>
                  </a:lnTo>
                  <a:lnTo>
                    <a:pt x="588" y="90"/>
                  </a:lnTo>
                  <a:lnTo>
                    <a:pt x="588" y="92"/>
                  </a:lnTo>
                  <a:lnTo>
                    <a:pt x="588" y="92"/>
                  </a:lnTo>
                  <a:lnTo>
                    <a:pt x="590" y="95"/>
                  </a:lnTo>
                  <a:lnTo>
                    <a:pt x="590" y="99"/>
                  </a:lnTo>
                  <a:lnTo>
                    <a:pt x="590" y="99"/>
                  </a:lnTo>
                  <a:lnTo>
                    <a:pt x="593" y="99"/>
                  </a:lnTo>
                  <a:lnTo>
                    <a:pt x="595" y="99"/>
                  </a:lnTo>
                  <a:lnTo>
                    <a:pt x="593" y="99"/>
                  </a:lnTo>
                  <a:lnTo>
                    <a:pt x="590" y="99"/>
                  </a:lnTo>
                  <a:lnTo>
                    <a:pt x="590" y="104"/>
                  </a:lnTo>
                  <a:lnTo>
                    <a:pt x="590" y="107"/>
                  </a:lnTo>
                  <a:lnTo>
                    <a:pt x="585" y="107"/>
                  </a:lnTo>
                  <a:lnTo>
                    <a:pt x="585" y="109"/>
                  </a:lnTo>
                  <a:lnTo>
                    <a:pt x="585" y="109"/>
                  </a:lnTo>
                  <a:lnTo>
                    <a:pt x="585" y="109"/>
                  </a:lnTo>
                  <a:lnTo>
                    <a:pt x="588" y="111"/>
                  </a:lnTo>
                  <a:lnTo>
                    <a:pt x="588" y="111"/>
                  </a:lnTo>
                  <a:lnTo>
                    <a:pt x="590" y="116"/>
                  </a:lnTo>
                  <a:lnTo>
                    <a:pt x="590" y="121"/>
                  </a:lnTo>
                  <a:lnTo>
                    <a:pt x="588" y="123"/>
                  </a:lnTo>
                  <a:lnTo>
                    <a:pt x="590" y="123"/>
                  </a:lnTo>
                  <a:lnTo>
                    <a:pt x="590" y="125"/>
                  </a:lnTo>
                  <a:lnTo>
                    <a:pt x="595" y="125"/>
                  </a:lnTo>
                  <a:lnTo>
                    <a:pt x="595" y="125"/>
                  </a:lnTo>
                  <a:lnTo>
                    <a:pt x="597" y="125"/>
                  </a:lnTo>
                  <a:lnTo>
                    <a:pt x="600" y="125"/>
                  </a:lnTo>
                  <a:lnTo>
                    <a:pt x="602" y="128"/>
                  </a:lnTo>
                  <a:lnTo>
                    <a:pt x="602" y="128"/>
                  </a:lnTo>
                  <a:lnTo>
                    <a:pt x="600" y="128"/>
                  </a:lnTo>
                  <a:lnTo>
                    <a:pt x="600" y="130"/>
                  </a:lnTo>
                  <a:lnTo>
                    <a:pt x="600" y="135"/>
                  </a:lnTo>
                  <a:lnTo>
                    <a:pt x="600" y="135"/>
                  </a:lnTo>
                  <a:lnTo>
                    <a:pt x="600" y="137"/>
                  </a:lnTo>
                  <a:lnTo>
                    <a:pt x="595" y="142"/>
                  </a:lnTo>
                  <a:lnTo>
                    <a:pt x="595" y="144"/>
                  </a:lnTo>
                  <a:lnTo>
                    <a:pt x="597" y="142"/>
                  </a:lnTo>
                  <a:lnTo>
                    <a:pt x="597" y="142"/>
                  </a:lnTo>
                  <a:lnTo>
                    <a:pt x="597" y="142"/>
                  </a:lnTo>
                  <a:lnTo>
                    <a:pt x="597" y="144"/>
                  </a:lnTo>
                  <a:lnTo>
                    <a:pt x="597" y="147"/>
                  </a:lnTo>
                  <a:lnTo>
                    <a:pt x="600" y="147"/>
                  </a:lnTo>
                  <a:lnTo>
                    <a:pt x="600" y="147"/>
                  </a:lnTo>
                  <a:lnTo>
                    <a:pt x="600" y="149"/>
                  </a:lnTo>
                  <a:lnTo>
                    <a:pt x="600" y="149"/>
                  </a:lnTo>
                  <a:lnTo>
                    <a:pt x="602" y="151"/>
                  </a:lnTo>
                  <a:lnTo>
                    <a:pt x="604" y="154"/>
                  </a:lnTo>
                  <a:lnTo>
                    <a:pt x="604" y="156"/>
                  </a:lnTo>
                  <a:lnTo>
                    <a:pt x="604" y="161"/>
                  </a:lnTo>
                  <a:lnTo>
                    <a:pt x="602" y="161"/>
                  </a:lnTo>
                  <a:lnTo>
                    <a:pt x="602" y="163"/>
                  </a:lnTo>
                  <a:lnTo>
                    <a:pt x="602" y="163"/>
                  </a:lnTo>
                  <a:lnTo>
                    <a:pt x="602" y="163"/>
                  </a:lnTo>
                  <a:lnTo>
                    <a:pt x="600" y="163"/>
                  </a:lnTo>
                  <a:lnTo>
                    <a:pt x="602" y="166"/>
                  </a:lnTo>
                  <a:lnTo>
                    <a:pt x="602" y="168"/>
                  </a:lnTo>
                  <a:lnTo>
                    <a:pt x="600" y="168"/>
                  </a:lnTo>
                  <a:lnTo>
                    <a:pt x="600" y="170"/>
                  </a:lnTo>
                  <a:lnTo>
                    <a:pt x="600" y="170"/>
                  </a:lnTo>
                  <a:lnTo>
                    <a:pt x="602" y="168"/>
                  </a:lnTo>
                  <a:lnTo>
                    <a:pt x="604" y="168"/>
                  </a:lnTo>
                  <a:lnTo>
                    <a:pt x="607" y="168"/>
                  </a:lnTo>
                  <a:lnTo>
                    <a:pt x="607" y="168"/>
                  </a:lnTo>
                  <a:lnTo>
                    <a:pt x="609" y="168"/>
                  </a:lnTo>
                  <a:lnTo>
                    <a:pt x="609" y="168"/>
                  </a:lnTo>
                  <a:lnTo>
                    <a:pt x="609" y="168"/>
                  </a:lnTo>
                  <a:lnTo>
                    <a:pt x="611" y="168"/>
                  </a:lnTo>
                  <a:lnTo>
                    <a:pt x="611" y="168"/>
                  </a:lnTo>
                  <a:lnTo>
                    <a:pt x="614" y="170"/>
                  </a:lnTo>
                  <a:lnTo>
                    <a:pt x="616" y="170"/>
                  </a:lnTo>
                  <a:lnTo>
                    <a:pt x="619" y="170"/>
                  </a:lnTo>
                  <a:lnTo>
                    <a:pt x="619" y="173"/>
                  </a:lnTo>
                  <a:lnTo>
                    <a:pt x="616" y="173"/>
                  </a:lnTo>
                  <a:lnTo>
                    <a:pt x="616" y="175"/>
                  </a:lnTo>
                  <a:lnTo>
                    <a:pt x="616" y="180"/>
                  </a:lnTo>
                  <a:lnTo>
                    <a:pt x="614" y="182"/>
                  </a:lnTo>
                  <a:lnTo>
                    <a:pt x="616" y="184"/>
                  </a:lnTo>
                  <a:lnTo>
                    <a:pt x="616" y="184"/>
                  </a:lnTo>
                  <a:lnTo>
                    <a:pt x="619" y="187"/>
                  </a:lnTo>
                  <a:lnTo>
                    <a:pt x="621" y="187"/>
                  </a:lnTo>
                  <a:lnTo>
                    <a:pt x="621" y="189"/>
                  </a:lnTo>
                  <a:lnTo>
                    <a:pt x="616" y="196"/>
                  </a:lnTo>
                  <a:lnTo>
                    <a:pt x="616" y="206"/>
                  </a:lnTo>
                  <a:lnTo>
                    <a:pt x="616" y="208"/>
                  </a:lnTo>
                  <a:lnTo>
                    <a:pt x="616" y="208"/>
                  </a:lnTo>
                  <a:lnTo>
                    <a:pt x="616" y="210"/>
                  </a:lnTo>
                  <a:lnTo>
                    <a:pt x="614" y="213"/>
                  </a:lnTo>
                  <a:lnTo>
                    <a:pt x="611" y="215"/>
                  </a:lnTo>
                  <a:lnTo>
                    <a:pt x="611" y="215"/>
                  </a:lnTo>
                  <a:lnTo>
                    <a:pt x="611" y="220"/>
                  </a:lnTo>
                  <a:lnTo>
                    <a:pt x="611" y="222"/>
                  </a:lnTo>
                  <a:lnTo>
                    <a:pt x="611" y="222"/>
                  </a:lnTo>
                  <a:lnTo>
                    <a:pt x="611" y="227"/>
                  </a:lnTo>
                  <a:lnTo>
                    <a:pt x="609" y="229"/>
                  </a:lnTo>
                  <a:lnTo>
                    <a:pt x="609" y="232"/>
                  </a:lnTo>
                  <a:lnTo>
                    <a:pt x="607" y="234"/>
                  </a:lnTo>
                  <a:lnTo>
                    <a:pt x="607" y="236"/>
                  </a:lnTo>
                  <a:lnTo>
                    <a:pt x="604" y="236"/>
                  </a:lnTo>
                  <a:lnTo>
                    <a:pt x="604" y="239"/>
                  </a:lnTo>
                  <a:lnTo>
                    <a:pt x="602" y="239"/>
                  </a:lnTo>
                  <a:lnTo>
                    <a:pt x="602" y="239"/>
                  </a:lnTo>
                  <a:lnTo>
                    <a:pt x="602" y="241"/>
                  </a:lnTo>
                  <a:lnTo>
                    <a:pt x="604" y="241"/>
                  </a:lnTo>
                  <a:lnTo>
                    <a:pt x="604" y="241"/>
                  </a:lnTo>
                  <a:lnTo>
                    <a:pt x="604" y="241"/>
                  </a:lnTo>
                  <a:lnTo>
                    <a:pt x="604" y="246"/>
                  </a:lnTo>
                  <a:lnTo>
                    <a:pt x="604" y="246"/>
                  </a:lnTo>
                  <a:lnTo>
                    <a:pt x="607" y="248"/>
                  </a:lnTo>
                  <a:lnTo>
                    <a:pt x="609" y="251"/>
                  </a:lnTo>
                  <a:lnTo>
                    <a:pt x="611" y="253"/>
                  </a:lnTo>
                  <a:lnTo>
                    <a:pt x="607" y="258"/>
                  </a:lnTo>
                  <a:lnTo>
                    <a:pt x="604" y="260"/>
                  </a:lnTo>
                  <a:lnTo>
                    <a:pt x="602" y="262"/>
                  </a:lnTo>
                  <a:lnTo>
                    <a:pt x="602" y="262"/>
                  </a:lnTo>
                  <a:lnTo>
                    <a:pt x="600" y="265"/>
                  </a:lnTo>
                  <a:lnTo>
                    <a:pt x="600" y="265"/>
                  </a:lnTo>
                  <a:lnTo>
                    <a:pt x="602" y="265"/>
                  </a:lnTo>
                  <a:lnTo>
                    <a:pt x="607" y="267"/>
                  </a:lnTo>
                  <a:lnTo>
                    <a:pt x="607" y="267"/>
                  </a:lnTo>
                  <a:lnTo>
                    <a:pt x="604" y="267"/>
                  </a:lnTo>
                  <a:lnTo>
                    <a:pt x="604" y="272"/>
                  </a:lnTo>
                  <a:lnTo>
                    <a:pt x="604" y="272"/>
                  </a:lnTo>
                  <a:lnTo>
                    <a:pt x="602" y="272"/>
                  </a:lnTo>
                  <a:lnTo>
                    <a:pt x="602" y="277"/>
                  </a:lnTo>
                  <a:lnTo>
                    <a:pt x="600" y="279"/>
                  </a:lnTo>
                  <a:lnTo>
                    <a:pt x="604" y="281"/>
                  </a:lnTo>
                  <a:lnTo>
                    <a:pt x="602" y="284"/>
                  </a:lnTo>
                  <a:lnTo>
                    <a:pt x="604" y="286"/>
                  </a:lnTo>
                  <a:lnTo>
                    <a:pt x="604" y="288"/>
                  </a:lnTo>
                  <a:lnTo>
                    <a:pt x="604" y="288"/>
                  </a:lnTo>
                  <a:lnTo>
                    <a:pt x="607" y="288"/>
                  </a:lnTo>
                  <a:lnTo>
                    <a:pt x="607" y="288"/>
                  </a:lnTo>
                  <a:lnTo>
                    <a:pt x="607" y="291"/>
                  </a:lnTo>
                  <a:lnTo>
                    <a:pt x="607" y="288"/>
                  </a:lnTo>
                  <a:lnTo>
                    <a:pt x="609" y="288"/>
                  </a:lnTo>
                  <a:lnTo>
                    <a:pt x="614" y="296"/>
                  </a:lnTo>
                  <a:lnTo>
                    <a:pt x="614" y="293"/>
                  </a:lnTo>
                  <a:lnTo>
                    <a:pt x="616" y="293"/>
                  </a:lnTo>
                  <a:lnTo>
                    <a:pt x="616" y="296"/>
                  </a:lnTo>
                  <a:lnTo>
                    <a:pt x="616" y="296"/>
                  </a:lnTo>
                  <a:lnTo>
                    <a:pt x="616" y="300"/>
                  </a:lnTo>
                  <a:lnTo>
                    <a:pt x="616" y="303"/>
                  </a:lnTo>
                  <a:lnTo>
                    <a:pt x="621" y="303"/>
                  </a:lnTo>
                  <a:lnTo>
                    <a:pt x="621" y="305"/>
                  </a:lnTo>
                  <a:lnTo>
                    <a:pt x="621" y="305"/>
                  </a:lnTo>
                  <a:lnTo>
                    <a:pt x="621" y="305"/>
                  </a:lnTo>
                  <a:lnTo>
                    <a:pt x="623" y="305"/>
                  </a:lnTo>
                  <a:lnTo>
                    <a:pt x="623" y="307"/>
                  </a:lnTo>
                  <a:lnTo>
                    <a:pt x="626" y="310"/>
                  </a:lnTo>
                  <a:lnTo>
                    <a:pt x="628" y="307"/>
                  </a:lnTo>
                  <a:lnTo>
                    <a:pt x="628" y="307"/>
                  </a:lnTo>
                  <a:lnTo>
                    <a:pt x="630" y="310"/>
                  </a:lnTo>
                  <a:lnTo>
                    <a:pt x="630" y="310"/>
                  </a:lnTo>
                  <a:lnTo>
                    <a:pt x="630" y="312"/>
                  </a:lnTo>
                  <a:lnTo>
                    <a:pt x="635" y="314"/>
                  </a:lnTo>
                  <a:lnTo>
                    <a:pt x="635" y="317"/>
                  </a:lnTo>
                  <a:lnTo>
                    <a:pt x="635" y="314"/>
                  </a:lnTo>
                  <a:lnTo>
                    <a:pt x="637" y="314"/>
                  </a:lnTo>
                  <a:lnTo>
                    <a:pt x="640" y="319"/>
                  </a:lnTo>
                  <a:lnTo>
                    <a:pt x="640" y="319"/>
                  </a:lnTo>
                  <a:lnTo>
                    <a:pt x="642" y="319"/>
                  </a:lnTo>
                  <a:lnTo>
                    <a:pt x="642" y="319"/>
                  </a:lnTo>
                  <a:lnTo>
                    <a:pt x="642" y="321"/>
                  </a:lnTo>
                  <a:lnTo>
                    <a:pt x="642" y="326"/>
                  </a:lnTo>
                  <a:lnTo>
                    <a:pt x="640" y="329"/>
                  </a:lnTo>
                  <a:lnTo>
                    <a:pt x="642" y="329"/>
                  </a:lnTo>
                  <a:lnTo>
                    <a:pt x="642" y="329"/>
                  </a:lnTo>
                  <a:lnTo>
                    <a:pt x="645" y="331"/>
                  </a:lnTo>
                  <a:lnTo>
                    <a:pt x="642" y="331"/>
                  </a:lnTo>
                  <a:lnTo>
                    <a:pt x="642" y="333"/>
                  </a:lnTo>
                  <a:lnTo>
                    <a:pt x="642" y="333"/>
                  </a:lnTo>
                  <a:lnTo>
                    <a:pt x="642" y="336"/>
                  </a:lnTo>
                  <a:lnTo>
                    <a:pt x="645" y="336"/>
                  </a:lnTo>
                  <a:lnTo>
                    <a:pt x="645" y="338"/>
                  </a:lnTo>
                  <a:lnTo>
                    <a:pt x="642" y="340"/>
                  </a:lnTo>
                  <a:lnTo>
                    <a:pt x="642" y="340"/>
                  </a:lnTo>
                  <a:lnTo>
                    <a:pt x="640" y="343"/>
                  </a:lnTo>
                  <a:lnTo>
                    <a:pt x="642" y="345"/>
                  </a:lnTo>
                  <a:lnTo>
                    <a:pt x="642" y="347"/>
                  </a:lnTo>
                  <a:lnTo>
                    <a:pt x="645" y="350"/>
                  </a:lnTo>
                  <a:lnTo>
                    <a:pt x="642" y="350"/>
                  </a:lnTo>
                  <a:lnTo>
                    <a:pt x="640" y="350"/>
                  </a:lnTo>
                  <a:lnTo>
                    <a:pt x="640" y="350"/>
                  </a:lnTo>
                  <a:lnTo>
                    <a:pt x="640" y="352"/>
                  </a:lnTo>
                  <a:lnTo>
                    <a:pt x="640" y="355"/>
                  </a:lnTo>
                  <a:lnTo>
                    <a:pt x="642" y="355"/>
                  </a:lnTo>
                  <a:lnTo>
                    <a:pt x="642" y="355"/>
                  </a:lnTo>
                  <a:lnTo>
                    <a:pt x="642" y="357"/>
                  </a:lnTo>
                  <a:lnTo>
                    <a:pt x="642" y="357"/>
                  </a:lnTo>
                  <a:lnTo>
                    <a:pt x="642" y="359"/>
                  </a:lnTo>
                  <a:lnTo>
                    <a:pt x="642" y="359"/>
                  </a:lnTo>
                  <a:lnTo>
                    <a:pt x="642" y="362"/>
                  </a:lnTo>
                  <a:lnTo>
                    <a:pt x="642" y="362"/>
                  </a:lnTo>
                  <a:lnTo>
                    <a:pt x="642" y="364"/>
                  </a:lnTo>
                  <a:lnTo>
                    <a:pt x="640" y="364"/>
                  </a:lnTo>
                  <a:lnTo>
                    <a:pt x="642" y="366"/>
                  </a:lnTo>
                  <a:lnTo>
                    <a:pt x="642" y="369"/>
                  </a:lnTo>
                  <a:lnTo>
                    <a:pt x="645" y="369"/>
                  </a:lnTo>
                  <a:lnTo>
                    <a:pt x="645" y="373"/>
                  </a:lnTo>
                  <a:lnTo>
                    <a:pt x="645" y="376"/>
                  </a:lnTo>
                  <a:lnTo>
                    <a:pt x="645" y="376"/>
                  </a:lnTo>
                  <a:lnTo>
                    <a:pt x="645" y="381"/>
                  </a:lnTo>
                  <a:lnTo>
                    <a:pt x="645" y="383"/>
                  </a:lnTo>
                  <a:lnTo>
                    <a:pt x="642" y="383"/>
                  </a:lnTo>
                  <a:lnTo>
                    <a:pt x="640" y="383"/>
                  </a:lnTo>
                  <a:lnTo>
                    <a:pt x="642" y="385"/>
                  </a:lnTo>
                  <a:lnTo>
                    <a:pt x="642" y="388"/>
                  </a:lnTo>
                  <a:lnTo>
                    <a:pt x="645" y="392"/>
                  </a:lnTo>
                  <a:lnTo>
                    <a:pt x="642" y="392"/>
                  </a:lnTo>
                  <a:lnTo>
                    <a:pt x="645" y="397"/>
                  </a:lnTo>
                  <a:lnTo>
                    <a:pt x="645" y="399"/>
                  </a:lnTo>
                  <a:lnTo>
                    <a:pt x="645" y="404"/>
                  </a:lnTo>
                  <a:lnTo>
                    <a:pt x="645" y="407"/>
                  </a:lnTo>
                  <a:lnTo>
                    <a:pt x="647" y="411"/>
                  </a:lnTo>
                  <a:lnTo>
                    <a:pt x="645" y="414"/>
                  </a:lnTo>
                  <a:lnTo>
                    <a:pt x="649" y="416"/>
                  </a:lnTo>
                  <a:lnTo>
                    <a:pt x="649" y="423"/>
                  </a:lnTo>
                  <a:lnTo>
                    <a:pt x="647" y="425"/>
                  </a:lnTo>
                  <a:lnTo>
                    <a:pt x="647" y="425"/>
                  </a:lnTo>
                  <a:lnTo>
                    <a:pt x="647" y="428"/>
                  </a:lnTo>
                  <a:lnTo>
                    <a:pt x="645" y="430"/>
                  </a:lnTo>
                  <a:lnTo>
                    <a:pt x="645" y="433"/>
                  </a:lnTo>
                  <a:lnTo>
                    <a:pt x="645" y="433"/>
                  </a:lnTo>
                  <a:lnTo>
                    <a:pt x="645" y="433"/>
                  </a:lnTo>
                  <a:lnTo>
                    <a:pt x="647" y="433"/>
                  </a:lnTo>
                  <a:lnTo>
                    <a:pt x="649" y="435"/>
                  </a:lnTo>
                  <a:lnTo>
                    <a:pt x="652" y="440"/>
                  </a:lnTo>
                  <a:lnTo>
                    <a:pt x="652" y="444"/>
                  </a:lnTo>
                  <a:lnTo>
                    <a:pt x="652" y="447"/>
                  </a:lnTo>
                  <a:lnTo>
                    <a:pt x="652" y="449"/>
                  </a:lnTo>
                  <a:lnTo>
                    <a:pt x="652" y="449"/>
                  </a:lnTo>
                  <a:lnTo>
                    <a:pt x="652" y="449"/>
                  </a:lnTo>
                  <a:lnTo>
                    <a:pt x="652" y="454"/>
                  </a:lnTo>
                  <a:lnTo>
                    <a:pt x="652" y="456"/>
                  </a:lnTo>
                  <a:lnTo>
                    <a:pt x="654" y="461"/>
                  </a:lnTo>
                  <a:lnTo>
                    <a:pt x="656" y="466"/>
                  </a:lnTo>
                  <a:lnTo>
                    <a:pt x="659" y="466"/>
                  </a:lnTo>
                  <a:lnTo>
                    <a:pt x="659" y="466"/>
                  </a:lnTo>
                  <a:lnTo>
                    <a:pt x="661" y="468"/>
                  </a:lnTo>
                  <a:lnTo>
                    <a:pt x="661" y="468"/>
                  </a:lnTo>
                  <a:lnTo>
                    <a:pt x="661" y="470"/>
                  </a:lnTo>
                  <a:lnTo>
                    <a:pt x="661" y="470"/>
                  </a:lnTo>
                  <a:lnTo>
                    <a:pt x="659" y="475"/>
                  </a:lnTo>
                  <a:lnTo>
                    <a:pt x="659" y="477"/>
                  </a:lnTo>
                  <a:lnTo>
                    <a:pt x="659" y="477"/>
                  </a:lnTo>
                  <a:lnTo>
                    <a:pt x="659" y="482"/>
                  </a:lnTo>
                  <a:lnTo>
                    <a:pt x="659" y="487"/>
                  </a:lnTo>
                  <a:lnTo>
                    <a:pt x="659" y="489"/>
                  </a:lnTo>
                  <a:lnTo>
                    <a:pt x="659" y="492"/>
                  </a:lnTo>
                  <a:lnTo>
                    <a:pt x="659" y="494"/>
                  </a:lnTo>
                  <a:lnTo>
                    <a:pt x="659" y="496"/>
                  </a:lnTo>
                  <a:lnTo>
                    <a:pt x="663" y="501"/>
                  </a:lnTo>
                  <a:lnTo>
                    <a:pt x="666" y="506"/>
                  </a:lnTo>
                  <a:lnTo>
                    <a:pt x="666" y="506"/>
                  </a:lnTo>
                  <a:lnTo>
                    <a:pt x="668" y="508"/>
                  </a:lnTo>
                  <a:lnTo>
                    <a:pt x="668" y="508"/>
                  </a:lnTo>
                  <a:lnTo>
                    <a:pt x="666" y="513"/>
                  </a:lnTo>
                  <a:lnTo>
                    <a:pt x="668" y="513"/>
                  </a:lnTo>
                  <a:lnTo>
                    <a:pt x="670" y="515"/>
                  </a:lnTo>
                  <a:lnTo>
                    <a:pt x="678" y="515"/>
                  </a:lnTo>
                  <a:lnTo>
                    <a:pt x="680" y="518"/>
                  </a:lnTo>
                  <a:lnTo>
                    <a:pt x="682" y="520"/>
                  </a:lnTo>
                  <a:lnTo>
                    <a:pt x="682" y="520"/>
                  </a:lnTo>
                  <a:lnTo>
                    <a:pt x="687" y="522"/>
                  </a:lnTo>
                  <a:lnTo>
                    <a:pt x="694" y="522"/>
                  </a:lnTo>
                  <a:lnTo>
                    <a:pt x="696" y="522"/>
                  </a:lnTo>
                  <a:lnTo>
                    <a:pt x="699" y="522"/>
                  </a:lnTo>
                  <a:lnTo>
                    <a:pt x="699" y="525"/>
                  </a:lnTo>
                  <a:lnTo>
                    <a:pt x="701" y="525"/>
                  </a:lnTo>
                  <a:lnTo>
                    <a:pt x="701" y="527"/>
                  </a:lnTo>
                  <a:lnTo>
                    <a:pt x="704" y="529"/>
                  </a:lnTo>
                  <a:lnTo>
                    <a:pt x="704" y="529"/>
                  </a:lnTo>
                  <a:lnTo>
                    <a:pt x="704" y="532"/>
                  </a:lnTo>
                  <a:lnTo>
                    <a:pt x="706" y="534"/>
                  </a:lnTo>
                  <a:lnTo>
                    <a:pt x="706" y="534"/>
                  </a:lnTo>
                  <a:lnTo>
                    <a:pt x="708" y="532"/>
                  </a:lnTo>
                  <a:lnTo>
                    <a:pt x="711" y="532"/>
                  </a:lnTo>
                  <a:lnTo>
                    <a:pt x="713" y="532"/>
                  </a:lnTo>
                  <a:lnTo>
                    <a:pt x="713" y="532"/>
                  </a:lnTo>
                  <a:lnTo>
                    <a:pt x="711" y="534"/>
                  </a:lnTo>
                  <a:lnTo>
                    <a:pt x="711" y="534"/>
                  </a:lnTo>
                  <a:lnTo>
                    <a:pt x="708" y="536"/>
                  </a:lnTo>
                  <a:lnTo>
                    <a:pt x="708" y="539"/>
                  </a:lnTo>
                  <a:lnTo>
                    <a:pt x="706" y="539"/>
                  </a:lnTo>
                  <a:lnTo>
                    <a:pt x="706" y="539"/>
                  </a:lnTo>
                  <a:lnTo>
                    <a:pt x="706" y="544"/>
                  </a:lnTo>
                  <a:lnTo>
                    <a:pt x="704" y="544"/>
                  </a:lnTo>
                  <a:lnTo>
                    <a:pt x="706" y="548"/>
                  </a:lnTo>
                  <a:lnTo>
                    <a:pt x="706" y="551"/>
                  </a:lnTo>
                  <a:lnTo>
                    <a:pt x="706" y="558"/>
                  </a:lnTo>
                  <a:lnTo>
                    <a:pt x="708" y="558"/>
                  </a:lnTo>
                  <a:lnTo>
                    <a:pt x="708" y="558"/>
                  </a:lnTo>
                  <a:lnTo>
                    <a:pt x="706" y="560"/>
                  </a:lnTo>
                  <a:lnTo>
                    <a:pt x="706" y="560"/>
                  </a:lnTo>
                  <a:lnTo>
                    <a:pt x="704" y="560"/>
                  </a:lnTo>
                  <a:lnTo>
                    <a:pt x="704" y="560"/>
                  </a:lnTo>
                  <a:lnTo>
                    <a:pt x="706" y="560"/>
                  </a:lnTo>
                  <a:lnTo>
                    <a:pt x="706" y="562"/>
                  </a:lnTo>
                  <a:lnTo>
                    <a:pt x="704" y="562"/>
                  </a:lnTo>
                  <a:lnTo>
                    <a:pt x="704" y="565"/>
                  </a:lnTo>
                  <a:lnTo>
                    <a:pt x="701" y="567"/>
                  </a:lnTo>
                  <a:lnTo>
                    <a:pt x="699" y="570"/>
                  </a:lnTo>
                  <a:lnTo>
                    <a:pt x="699" y="570"/>
                  </a:lnTo>
                  <a:lnTo>
                    <a:pt x="696" y="572"/>
                  </a:lnTo>
                  <a:lnTo>
                    <a:pt x="699" y="574"/>
                  </a:lnTo>
                  <a:lnTo>
                    <a:pt x="696" y="579"/>
                  </a:lnTo>
                  <a:lnTo>
                    <a:pt x="696" y="581"/>
                  </a:lnTo>
                  <a:lnTo>
                    <a:pt x="696" y="581"/>
                  </a:lnTo>
                  <a:lnTo>
                    <a:pt x="694" y="586"/>
                  </a:lnTo>
                  <a:lnTo>
                    <a:pt x="694" y="593"/>
                  </a:lnTo>
                  <a:lnTo>
                    <a:pt x="694" y="598"/>
                  </a:lnTo>
                  <a:lnTo>
                    <a:pt x="694" y="598"/>
                  </a:lnTo>
                  <a:lnTo>
                    <a:pt x="689" y="600"/>
                  </a:lnTo>
                  <a:lnTo>
                    <a:pt x="692" y="603"/>
                  </a:lnTo>
                  <a:lnTo>
                    <a:pt x="689" y="610"/>
                  </a:lnTo>
                  <a:lnTo>
                    <a:pt x="678" y="614"/>
                  </a:lnTo>
                  <a:lnTo>
                    <a:pt x="675" y="617"/>
                  </a:lnTo>
                  <a:lnTo>
                    <a:pt x="673" y="617"/>
                  </a:lnTo>
                  <a:lnTo>
                    <a:pt x="670" y="617"/>
                  </a:lnTo>
                  <a:lnTo>
                    <a:pt x="668" y="619"/>
                  </a:lnTo>
                  <a:lnTo>
                    <a:pt x="668" y="621"/>
                  </a:lnTo>
                  <a:lnTo>
                    <a:pt x="670" y="629"/>
                  </a:lnTo>
                  <a:lnTo>
                    <a:pt x="673" y="629"/>
                  </a:lnTo>
                  <a:lnTo>
                    <a:pt x="678" y="633"/>
                  </a:lnTo>
                  <a:lnTo>
                    <a:pt x="678" y="636"/>
                  </a:lnTo>
                  <a:lnTo>
                    <a:pt x="678" y="636"/>
                  </a:lnTo>
                  <a:lnTo>
                    <a:pt x="678" y="636"/>
                  </a:lnTo>
                  <a:lnTo>
                    <a:pt x="678" y="638"/>
                  </a:lnTo>
                  <a:lnTo>
                    <a:pt x="678" y="640"/>
                  </a:lnTo>
                  <a:lnTo>
                    <a:pt x="678" y="643"/>
                  </a:lnTo>
                  <a:lnTo>
                    <a:pt x="675" y="647"/>
                  </a:lnTo>
                  <a:lnTo>
                    <a:pt x="673" y="652"/>
                  </a:lnTo>
                  <a:lnTo>
                    <a:pt x="673" y="657"/>
                  </a:lnTo>
                  <a:lnTo>
                    <a:pt x="678" y="659"/>
                  </a:lnTo>
                  <a:lnTo>
                    <a:pt x="680" y="662"/>
                  </a:lnTo>
                  <a:lnTo>
                    <a:pt x="687" y="664"/>
                  </a:lnTo>
                  <a:lnTo>
                    <a:pt x="687" y="664"/>
                  </a:lnTo>
                  <a:lnTo>
                    <a:pt x="689" y="664"/>
                  </a:lnTo>
                  <a:lnTo>
                    <a:pt x="689" y="666"/>
                  </a:lnTo>
                  <a:lnTo>
                    <a:pt x="689" y="666"/>
                  </a:lnTo>
                  <a:lnTo>
                    <a:pt x="692" y="669"/>
                  </a:lnTo>
                  <a:lnTo>
                    <a:pt x="692" y="671"/>
                  </a:lnTo>
                  <a:lnTo>
                    <a:pt x="689" y="681"/>
                  </a:lnTo>
                  <a:lnTo>
                    <a:pt x="689" y="683"/>
                  </a:lnTo>
                  <a:lnTo>
                    <a:pt x="689" y="683"/>
                  </a:lnTo>
                  <a:lnTo>
                    <a:pt x="687" y="692"/>
                  </a:lnTo>
                  <a:lnTo>
                    <a:pt x="685" y="695"/>
                  </a:lnTo>
                  <a:lnTo>
                    <a:pt x="682" y="699"/>
                  </a:lnTo>
                  <a:lnTo>
                    <a:pt x="682" y="702"/>
                  </a:lnTo>
                  <a:lnTo>
                    <a:pt x="682" y="704"/>
                  </a:lnTo>
                  <a:lnTo>
                    <a:pt x="685" y="704"/>
                  </a:lnTo>
                  <a:lnTo>
                    <a:pt x="685" y="707"/>
                  </a:lnTo>
                  <a:lnTo>
                    <a:pt x="682" y="707"/>
                  </a:lnTo>
                  <a:lnTo>
                    <a:pt x="682" y="709"/>
                  </a:lnTo>
                  <a:lnTo>
                    <a:pt x="680" y="707"/>
                  </a:lnTo>
                  <a:lnTo>
                    <a:pt x="678" y="707"/>
                  </a:lnTo>
                  <a:lnTo>
                    <a:pt x="678" y="709"/>
                  </a:lnTo>
                  <a:lnTo>
                    <a:pt x="678" y="709"/>
                  </a:lnTo>
                  <a:lnTo>
                    <a:pt x="675" y="709"/>
                  </a:lnTo>
                  <a:lnTo>
                    <a:pt x="675" y="709"/>
                  </a:lnTo>
                  <a:lnTo>
                    <a:pt x="675" y="711"/>
                  </a:lnTo>
                  <a:lnTo>
                    <a:pt x="673" y="714"/>
                  </a:lnTo>
                  <a:lnTo>
                    <a:pt x="673" y="714"/>
                  </a:lnTo>
                  <a:lnTo>
                    <a:pt x="670" y="714"/>
                  </a:lnTo>
                  <a:lnTo>
                    <a:pt x="670" y="716"/>
                  </a:lnTo>
                  <a:lnTo>
                    <a:pt x="670" y="716"/>
                  </a:lnTo>
                  <a:lnTo>
                    <a:pt x="670" y="718"/>
                  </a:lnTo>
                  <a:lnTo>
                    <a:pt x="668" y="718"/>
                  </a:lnTo>
                  <a:lnTo>
                    <a:pt x="666" y="718"/>
                  </a:lnTo>
                  <a:lnTo>
                    <a:pt x="666" y="718"/>
                  </a:lnTo>
                  <a:lnTo>
                    <a:pt x="663" y="721"/>
                  </a:lnTo>
                  <a:lnTo>
                    <a:pt x="661" y="721"/>
                  </a:lnTo>
                  <a:lnTo>
                    <a:pt x="661" y="723"/>
                  </a:lnTo>
                  <a:lnTo>
                    <a:pt x="661" y="725"/>
                  </a:lnTo>
                  <a:lnTo>
                    <a:pt x="661" y="725"/>
                  </a:lnTo>
                  <a:lnTo>
                    <a:pt x="661" y="728"/>
                  </a:lnTo>
                  <a:lnTo>
                    <a:pt x="661" y="728"/>
                  </a:lnTo>
                  <a:lnTo>
                    <a:pt x="659" y="728"/>
                  </a:lnTo>
                  <a:lnTo>
                    <a:pt x="659" y="730"/>
                  </a:lnTo>
                  <a:lnTo>
                    <a:pt x="656" y="730"/>
                  </a:lnTo>
                  <a:lnTo>
                    <a:pt x="656" y="733"/>
                  </a:lnTo>
                  <a:lnTo>
                    <a:pt x="654" y="733"/>
                  </a:lnTo>
                  <a:lnTo>
                    <a:pt x="656" y="735"/>
                  </a:lnTo>
                  <a:lnTo>
                    <a:pt x="654" y="737"/>
                  </a:lnTo>
                  <a:lnTo>
                    <a:pt x="652" y="737"/>
                  </a:lnTo>
                  <a:lnTo>
                    <a:pt x="652" y="737"/>
                  </a:lnTo>
                  <a:lnTo>
                    <a:pt x="649" y="735"/>
                  </a:lnTo>
                  <a:lnTo>
                    <a:pt x="649" y="735"/>
                  </a:lnTo>
                  <a:lnTo>
                    <a:pt x="647" y="735"/>
                  </a:lnTo>
                  <a:lnTo>
                    <a:pt x="645" y="737"/>
                  </a:lnTo>
                  <a:lnTo>
                    <a:pt x="647" y="737"/>
                  </a:lnTo>
                  <a:lnTo>
                    <a:pt x="647" y="740"/>
                  </a:lnTo>
                  <a:lnTo>
                    <a:pt x="645" y="740"/>
                  </a:lnTo>
                  <a:lnTo>
                    <a:pt x="645" y="740"/>
                  </a:lnTo>
                  <a:lnTo>
                    <a:pt x="645" y="742"/>
                  </a:lnTo>
                  <a:lnTo>
                    <a:pt x="645" y="744"/>
                  </a:lnTo>
                  <a:lnTo>
                    <a:pt x="645" y="744"/>
                  </a:lnTo>
                  <a:lnTo>
                    <a:pt x="642" y="747"/>
                  </a:lnTo>
                  <a:lnTo>
                    <a:pt x="640" y="744"/>
                  </a:lnTo>
                  <a:lnTo>
                    <a:pt x="637" y="744"/>
                  </a:lnTo>
                  <a:lnTo>
                    <a:pt x="637" y="742"/>
                  </a:lnTo>
                  <a:lnTo>
                    <a:pt x="637" y="742"/>
                  </a:lnTo>
                  <a:lnTo>
                    <a:pt x="635" y="740"/>
                  </a:lnTo>
                  <a:lnTo>
                    <a:pt x="633" y="742"/>
                  </a:lnTo>
                  <a:lnTo>
                    <a:pt x="633" y="742"/>
                  </a:lnTo>
                  <a:lnTo>
                    <a:pt x="633" y="744"/>
                  </a:lnTo>
                  <a:lnTo>
                    <a:pt x="628" y="744"/>
                  </a:lnTo>
                  <a:lnTo>
                    <a:pt x="626" y="747"/>
                  </a:lnTo>
                  <a:lnTo>
                    <a:pt x="626" y="751"/>
                  </a:lnTo>
                  <a:lnTo>
                    <a:pt x="623" y="751"/>
                  </a:lnTo>
                  <a:lnTo>
                    <a:pt x="623" y="754"/>
                  </a:lnTo>
                  <a:lnTo>
                    <a:pt x="621" y="756"/>
                  </a:lnTo>
                  <a:lnTo>
                    <a:pt x="621" y="756"/>
                  </a:lnTo>
                  <a:lnTo>
                    <a:pt x="621" y="756"/>
                  </a:lnTo>
                  <a:lnTo>
                    <a:pt x="619" y="758"/>
                  </a:lnTo>
                  <a:lnTo>
                    <a:pt x="616" y="758"/>
                  </a:lnTo>
                  <a:lnTo>
                    <a:pt x="616" y="758"/>
                  </a:lnTo>
                  <a:lnTo>
                    <a:pt x="616" y="758"/>
                  </a:lnTo>
                  <a:lnTo>
                    <a:pt x="614" y="758"/>
                  </a:lnTo>
                  <a:lnTo>
                    <a:pt x="614" y="761"/>
                  </a:lnTo>
                  <a:lnTo>
                    <a:pt x="611" y="763"/>
                  </a:lnTo>
                  <a:lnTo>
                    <a:pt x="611" y="763"/>
                  </a:lnTo>
                  <a:lnTo>
                    <a:pt x="611" y="766"/>
                  </a:lnTo>
                  <a:lnTo>
                    <a:pt x="609" y="766"/>
                  </a:lnTo>
                  <a:lnTo>
                    <a:pt x="607" y="766"/>
                  </a:lnTo>
                  <a:lnTo>
                    <a:pt x="607" y="766"/>
                  </a:lnTo>
                  <a:lnTo>
                    <a:pt x="607" y="766"/>
                  </a:lnTo>
                  <a:lnTo>
                    <a:pt x="607" y="768"/>
                  </a:lnTo>
                  <a:lnTo>
                    <a:pt x="607" y="770"/>
                  </a:lnTo>
                  <a:lnTo>
                    <a:pt x="604" y="773"/>
                  </a:lnTo>
                  <a:lnTo>
                    <a:pt x="604" y="773"/>
                  </a:lnTo>
                  <a:lnTo>
                    <a:pt x="602" y="773"/>
                  </a:lnTo>
                  <a:lnTo>
                    <a:pt x="600" y="775"/>
                  </a:lnTo>
                  <a:lnTo>
                    <a:pt x="597" y="775"/>
                  </a:lnTo>
                  <a:lnTo>
                    <a:pt x="595" y="777"/>
                  </a:lnTo>
                  <a:lnTo>
                    <a:pt x="593" y="780"/>
                  </a:lnTo>
                  <a:lnTo>
                    <a:pt x="590" y="780"/>
                  </a:lnTo>
                  <a:lnTo>
                    <a:pt x="588" y="780"/>
                  </a:lnTo>
                  <a:lnTo>
                    <a:pt x="585" y="780"/>
                  </a:lnTo>
                  <a:lnTo>
                    <a:pt x="585" y="780"/>
                  </a:lnTo>
                  <a:lnTo>
                    <a:pt x="585" y="782"/>
                  </a:lnTo>
                  <a:lnTo>
                    <a:pt x="583" y="782"/>
                  </a:lnTo>
                  <a:lnTo>
                    <a:pt x="581" y="787"/>
                  </a:lnTo>
                  <a:lnTo>
                    <a:pt x="581" y="789"/>
                  </a:lnTo>
                  <a:lnTo>
                    <a:pt x="578" y="794"/>
                  </a:lnTo>
                  <a:lnTo>
                    <a:pt x="578" y="792"/>
                  </a:lnTo>
                  <a:lnTo>
                    <a:pt x="574" y="796"/>
                  </a:lnTo>
                  <a:lnTo>
                    <a:pt x="571" y="799"/>
                  </a:lnTo>
                  <a:lnTo>
                    <a:pt x="571" y="799"/>
                  </a:lnTo>
                  <a:lnTo>
                    <a:pt x="569" y="801"/>
                  </a:lnTo>
                  <a:lnTo>
                    <a:pt x="569" y="801"/>
                  </a:lnTo>
                  <a:lnTo>
                    <a:pt x="569" y="801"/>
                  </a:lnTo>
                  <a:lnTo>
                    <a:pt x="569" y="803"/>
                  </a:lnTo>
                  <a:lnTo>
                    <a:pt x="569" y="806"/>
                  </a:lnTo>
                  <a:lnTo>
                    <a:pt x="567" y="806"/>
                  </a:lnTo>
                  <a:lnTo>
                    <a:pt x="567" y="806"/>
                  </a:lnTo>
                  <a:lnTo>
                    <a:pt x="567" y="810"/>
                  </a:lnTo>
                  <a:lnTo>
                    <a:pt x="564" y="810"/>
                  </a:lnTo>
                  <a:lnTo>
                    <a:pt x="564" y="815"/>
                  </a:lnTo>
                  <a:lnTo>
                    <a:pt x="562" y="815"/>
                  </a:lnTo>
                  <a:lnTo>
                    <a:pt x="559" y="813"/>
                  </a:lnTo>
                  <a:lnTo>
                    <a:pt x="559" y="813"/>
                  </a:lnTo>
                  <a:lnTo>
                    <a:pt x="557" y="813"/>
                  </a:lnTo>
                  <a:lnTo>
                    <a:pt x="557" y="813"/>
                  </a:lnTo>
                  <a:lnTo>
                    <a:pt x="557" y="813"/>
                  </a:lnTo>
                  <a:lnTo>
                    <a:pt x="555" y="815"/>
                  </a:lnTo>
                  <a:lnTo>
                    <a:pt x="552" y="815"/>
                  </a:lnTo>
                  <a:lnTo>
                    <a:pt x="552" y="818"/>
                  </a:lnTo>
                  <a:lnTo>
                    <a:pt x="552" y="818"/>
                  </a:lnTo>
                  <a:lnTo>
                    <a:pt x="548" y="818"/>
                  </a:lnTo>
                  <a:lnTo>
                    <a:pt x="548" y="820"/>
                  </a:lnTo>
                  <a:lnTo>
                    <a:pt x="548" y="820"/>
                  </a:lnTo>
                  <a:lnTo>
                    <a:pt x="541" y="820"/>
                  </a:lnTo>
                  <a:lnTo>
                    <a:pt x="541" y="822"/>
                  </a:lnTo>
                  <a:lnTo>
                    <a:pt x="541" y="825"/>
                  </a:lnTo>
                  <a:lnTo>
                    <a:pt x="541" y="827"/>
                  </a:lnTo>
                  <a:lnTo>
                    <a:pt x="541" y="832"/>
                  </a:lnTo>
                  <a:lnTo>
                    <a:pt x="536" y="834"/>
                  </a:lnTo>
                  <a:lnTo>
                    <a:pt x="533" y="836"/>
                  </a:lnTo>
                  <a:lnTo>
                    <a:pt x="533" y="836"/>
                  </a:lnTo>
                  <a:lnTo>
                    <a:pt x="531" y="839"/>
                  </a:lnTo>
                  <a:lnTo>
                    <a:pt x="531" y="841"/>
                  </a:lnTo>
                  <a:lnTo>
                    <a:pt x="529" y="844"/>
                  </a:lnTo>
                  <a:lnTo>
                    <a:pt x="526" y="851"/>
                  </a:lnTo>
                  <a:lnTo>
                    <a:pt x="524" y="851"/>
                  </a:lnTo>
                  <a:lnTo>
                    <a:pt x="524" y="851"/>
                  </a:lnTo>
                  <a:lnTo>
                    <a:pt x="522" y="851"/>
                  </a:lnTo>
                  <a:lnTo>
                    <a:pt x="522" y="853"/>
                  </a:lnTo>
                  <a:lnTo>
                    <a:pt x="519" y="853"/>
                  </a:lnTo>
                  <a:lnTo>
                    <a:pt x="517" y="855"/>
                  </a:lnTo>
                  <a:lnTo>
                    <a:pt x="517" y="855"/>
                  </a:lnTo>
                  <a:lnTo>
                    <a:pt x="515" y="855"/>
                  </a:lnTo>
                  <a:lnTo>
                    <a:pt x="515" y="853"/>
                  </a:lnTo>
                  <a:lnTo>
                    <a:pt x="512" y="853"/>
                  </a:lnTo>
                  <a:lnTo>
                    <a:pt x="512" y="853"/>
                  </a:lnTo>
                  <a:lnTo>
                    <a:pt x="510" y="851"/>
                  </a:lnTo>
                  <a:lnTo>
                    <a:pt x="505" y="853"/>
                  </a:lnTo>
                  <a:lnTo>
                    <a:pt x="503" y="853"/>
                  </a:lnTo>
                  <a:lnTo>
                    <a:pt x="500" y="853"/>
                  </a:lnTo>
                  <a:lnTo>
                    <a:pt x="498" y="853"/>
                  </a:lnTo>
                  <a:lnTo>
                    <a:pt x="498" y="853"/>
                  </a:lnTo>
                  <a:lnTo>
                    <a:pt x="493" y="855"/>
                  </a:lnTo>
                  <a:lnTo>
                    <a:pt x="491" y="855"/>
                  </a:lnTo>
                  <a:lnTo>
                    <a:pt x="489" y="855"/>
                  </a:lnTo>
                  <a:lnTo>
                    <a:pt x="484" y="855"/>
                  </a:lnTo>
                  <a:lnTo>
                    <a:pt x="482" y="858"/>
                  </a:lnTo>
                  <a:lnTo>
                    <a:pt x="479" y="858"/>
                  </a:lnTo>
                  <a:lnTo>
                    <a:pt x="477" y="855"/>
                  </a:lnTo>
                  <a:lnTo>
                    <a:pt x="477" y="855"/>
                  </a:lnTo>
                  <a:lnTo>
                    <a:pt x="474" y="858"/>
                  </a:lnTo>
                  <a:lnTo>
                    <a:pt x="472" y="858"/>
                  </a:lnTo>
                  <a:lnTo>
                    <a:pt x="472" y="860"/>
                  </a:lnTo>
                  <a:lnTo>
                    <a:pt x="470" y="860"/>
                  </a:lnTo>
                  <a:lnTo>
                    <a:pt x="467" y="860"/>
                  </a:lnTo>
                  <a:lnTo>
                    <a:pt x="465" y="860"/>
                  </a:lnTo>
                  <a:lnTo>
                    <a:pt x="465" y="862"/>
                  </a:lnTo>
                  <a:lnTo>
                    <a:pt x="460" y="865"/>
                  </a:lnTo>
                  <a:lnTo>
                    <a:pt x="460" y="867"/>
                  </a:lnTo>
                  <a:lnTo>
                    <a:pt x="460" y="867"/>
                  </a:lnTo>
                  <a:lnTo>
                    <a:pt x="458" y="870"/>
                  </a:lnTo>
                  <a:lnTo>
                    <a:pt x="456" y="872"/>
                  </a:lnTo>
                  <a:lnTo>
                    <a:pt x="453" y="872"/>
                  </a:lnTo>
                  <a:lnTo>
                    <a:pt x="451" y="874"/>
                  </a:lnTo>
                  <a:lnTo>
                    <a:pt x="451" y="877"/>
                  </a:lnTo>
                  <a:lnTo>
                    <a:pt x="451" y="879"/>
                  </a:lnTo>
                  <a:lnTo>
                    <a:pt x="448" y="879"/>
                  </a:lnTo>
                  <a:lnTo>
                    <a:pt x="448" y="879"/>
                  </a:lnTo>
                  <a:lnTo>
                    <a:pt x="446" y="879"/>
                  </a:lnTo>
                  <a:lnTo>
                    <a:pt x="444" y="879"/>
                  </a:lnTo>
                  <a:lnTo>
                    <a:pt x="444" y="881"/>
                  </a:lnTo>
                  <a:lnTo>
                    <a:pt x="444" y="881"/>
                  </a:lnTo>
                  <a:lnTo>
                    <a:pt x="444" y="884"/>
                  </a:lnTo>
                  <a:lnTo>
                    <a:pt x="439" y="884"/>
                  </a:lnTo>
                  <a:lnTo>
                    <a:pt x="437" y="884"/>
                  </a:lnTo>
                  <a:lnTo>
                    <a:pt x="434" y="884"/>
                  </a:lnTo>
                  <a:lnTo>
                    <a:pt x="432" y="884"/>
                  </a:lnTo>
                  <a:lnTo>
                    <a:pt x="430" y="884"/>
                  </a:lnTo>
                  <a:lnTo>
                    <a:pt x="430" y="886"/>
                  </a:lnTo>
                  <a:lnTo>
                    <a:pt x="427" y="891"/>
                  </a:lnTo>
                  <a:lnTo>
                    <a:pt x="425" y="888"/>
                  </a:lnTo>
                  <a:lnTo>
                    <a:pt x="425" y="891"/>
                  </a:lnTo>
                  <a:lnTo>
                    <a:pt x="422" y="891"/>
                  </a:lnTo>
                  <a:lnTo>
                    <a:pt x="420" y="891"/>
                  </a:lnTo>
                  <a:lnTo>
                    <a:pt x="418" y="891"/>
                  </a:lnTo>
                  <a:lnTo>
                    <a:pt x="418" y="891"/>
                  </a:lnTo>
                  <a:lnTo>
                    <a:pt x="415" y="888"/>
                  </a:lnTo>
                  <a:lnTo>
                    <a:pt x="415" y="888"/>
                  </a:lnTo>
                  <a:lnTo>
                    <a:pt x="415" y="888"/>
                  </a:lnTo>
                  <a:lnTo>
                    <a:pt x="415" y="891"/>
                  </a:lnTo>
                  <a:lnTo>
                    <a:pt x="413" y="893"/>
                  </a:lnTo>
                  <a:lnTo>
                    <a:pt x="411" y="895"/>
                  </a:lnTo>
                  <a:lnTo>
                    <a:pt x="411" y="895"/>
                  </a:lnTo>
                  <a:lnTo>
                    <a:pt x="411" y="898"/>
                  </a:lnTo>
                  <a:lnTo>
                    <a:pt x="408" y="900"/>
                  </a:lnTo>
                  <a:lnTo>
                    <a:pt x="404" y="900"/>
                  </a:lnTo>
                  <a:lnTo>
                    <a:pt x="401" y="900"/>
                  </a:lnTo>
                  <a:lnTo>
                    <a:pt x="401" y="898"/>
                  </a:lnTo>
                  <a:lnTo>
                    <a:pt x="401" y="895"/>
                  </a:lnTo>
                  <a:lnTo>
                    <a:pt x="401" y="893"/>
                  </a:lnTo>
                  <a:lnTo>
                    <a:pt x="399" y="891"/>
                  </a:lnTo>
                  <a:lnTo>
                    <a:pt x="399" y="891"/>
                  </a:lnTo>
                  <a:lnTo>
                    <a:pt x="396" y="893"/>
                  </a:lnTo>
                  <a:lnTo>
                    <a:pt x="396" y="893"/>
                  </a:lnTo>
                  <a:lnTo>
                    <a:pt x="394" y="893"/>
                  </a:lnTo>
                  <a:lnTo>
                    <a:pt x="392" y="888"/>
                  </a:lnTo>
                  <a:lnTo>
                    <a:pt x="392" y="888"/>
                  </a:lnTo>
                  <a:lnTo>
                    <a:pt x="387" y="888"/>
                  </a:lnTo>
                  <a:lnTo>
                    <a:pt x="385" y="886"/>
                  </a:lnTo>
                  <a:lnTo>
                    <a:pt x="385" y="886"/>
                  </a:lnTo>
                  <a:lnTo>
                    <a:pt x="385" y="884"/>
                  </a:lnTo>
                  <a:lnTo>
                    <a:pt x="385" y="881"/>
                  </a:lnTo>
                  <a:lnTo>
                    <a:pt x="385" y="879"/>
                  </a:lnTo>
                  <a:lnTo>
                    <a:pt x="385" y="877"/>
                  </a:lnTo>
                  <a:lnTo>
                    <a:pt x="385" y="874"/>
                  </a:lnTo>
                  <a:lnTo>
                    <a:pt x="385" y="874"/>
                  </a:lnTo>
                  <a:lnTo>
                    <a:pt x="382" y="872"/>
                  </a:lnTo>
                  <a:lnTo>
                    <a:pt x="380" y="872"/>
                  </a:lnTo>
                  <a:lnTo>
                    <a:pt x="378" y="872"/>
                  </a:lnTo>
                  <a:lnTo>
                    <a:pt x="378" y="872"/>
                  </a:lnTo>
                  <a:lnTo>
                    <a:pt x="373" y="874"/>
                  </a:lnTo>
                  <a:lnTo>
                    <a:pt x="373" y="872"/>
                  </a:lnTo>
                  <a:lnTo>
                    <a:pt x="370" y="872"/>
                  </a:lnTo>
                  <a:lnTo>
                    <a:pt x="368" y="872"/>
                  </a:lnTo>
                  <a:lnTo>
                    <a:pt x="368" y="872"/>
                  </a:lnTo>
                  <a:lnTo>
                    <a:pt x="368" y="870"/>
                  </a:lnTo>
                  <a:lnTo>
                    <a:pt x="366" y="870"/>
                  </a:lnTo>
                  <a:lnTo>
                    <a:pt x="366" y="870"/>
                  </a:lnTo>
                  <a:lnTo>
                    <a:pt x="366" y="867"/>
                  </a:lnTo>
                  <a:lnTo>
                    <a:pt x="366" y="867"/>
                  </a:lnTo>
                  <a:lnTo>
                    <a:pt x="363" y="867"/>
                  </a:lnTo>
                  <a:lnTo>
                    <a:pt x="363" y="867"/>
                  </a:lnTo>
                  <a:lnTo>
                    <a:pt x="363" y="867"/>
                  </a:lnTo>
                  <a:lnTo>
                    <a:pt x="363" y="870"/>
                  </a:lnTo>
                  <a:lnTo>
                    <a:pt x="361" y="867"/>
                  </a:lnTo>
                  <a:lnTo>
                    <a:pt x="359" y="867"/>
                  </a:lnTo>
                  <a:lnTo>
                    <a:pt x="356" y="872"/>
                  </a:lnTo>
                  <a:lnTo>
                    <a:pt x="354" y="874"/>
                  </a:lnTo>
                  <a:lnTo>
                    <a:pt x="354" y="874"/>
                  </a:lnTo>
                  <a:lnTo>
                    <a:pt x="354" y="872"/>
                  </a:lnTo>
                  <a:lnTo>
                    <a:pt x="352" y="872"/>
                  </a:lnTo>
                  <a:lnTo>
                    <a:pt x="349" y="872"/>
                  </a:lnTo>
                  <a:lnTo>
                    <a:pt x="349" y="872"/>
                  </a:lnTo>
                  <a:lnTo>
                    <a:pt x="345" y="872"/>
                  </a:lnTo>
                  <a:lnTo>
                    <a:pt x="345" y="874"/>
                  </a:lnTo>
                  <a:lnTo>
                    <a:pt x="342" y="874"/>
                  </a:lnTo>
                  <a:lnTo>
                    <a:pt x="342" y="874"/>
                  </a:lnTo>
                  <a:lnTo>
                    <a:pt x="342" y="872"/>
                  </a:lnTo>
                  <a:lnTo>
                    <a:pt x="340" y="872"/>
                  </a:lnTo>
                  <a:lnTo>
                    <a:pt x="340" y="870"/>
                  </a:lnTo>
                  <a:lnTo>
                    <a:pt x="337" y="867"/>
                  </a:lnTo>
                  <a:lnTo>
                    <a:pt x="337" y="867"/>
                  </a:lnTo>
                  <a:lnTo>
                    <a:pt x="333" y="867"/>
                  </a:lnTo>
                  <a:lnTo>
                    <a:pt x="330" y="865"/>
                  </a:lnTo>
                  <a:lnTo>
                    <a:pt x="328" y="860"/>
                  </a:lnTo>
                  <a:lnTo>
                    <a:pt x="328" y="858"/>
                  </a:lnTo>
                  <a:lnTo>
                    <a:pt x="323" y="855"/>
                  </a:lnTo>
                  <a:lnTo>
                    <a:pt x="323" y="853"/>
                  </a:lnTo>
                  <a:lnTo>
                    <a:pt x="321" y="853"/>
                  </a:lnTo>
                  <a:lnTo>
                    <a:pt x="321" y="853"/>
                  </a:lnTo>
                  <a:lnTo>
                    <a:pt x="319" y="853"/>
                  </a:lnTo>
                  <a:lnTo>
                    <a:pt x="316" y="855"/>
                  </a:lnTo>
                  <a:lnTo>
                    <a:pt x="311" y="858"/>
                  </a:lnTo>
                  <a:lnTo>
                    <a:pt x="311" y="860"/>
                  </a:lnTo>
                  <a:lnTo>
                    <a:pt x="309" y="860"/>
                  </a:lnTo>
                  <a:lnTo>
                    <a:pt x="307" y="860"/>
                  </a:lnTo>
                  <a:lnTo>
                    <a:pt x="307" y="860"/>
                  </a:lnTo>
                  <a:lnTo>
                    <a:pt x="304" y="862"/>
                  </a:lnTo>
                  <a:lnTo>
                    <a:pt x="302" y="867"/>
                  </a:lnTo>
                  <a:lnTo>
                    <a:pt x="300" y="867"/>
                  </a:lnTo>
                  <a:lnTo>
                    <a:pt x="295" y="872"/>
                  </a:lnTo>
                  <a:lnTo>
                    <a:pt x="293" y="874"/>
                  </a:lnTo>
                  <a:lnTo>
                    <a:pt x="283" y="877"/>
                  </a:lnTo>
                  <a:lnTo>
                    <a:pt x="281" y="877"/>
                  </a:lnTo>
                  <a:lnTo>
                    <a:pt x="281" y="879"/>
                  </a:lnTo>
                  <a:lnTo>
                    <a:pt x="278" y="881"/>
                  </a:lnTo>
                  <a:lnTo>
                    <a:pt x="276" y="884"/>
                  </a:lnTo>
                  <a:lnTo>
                    <a:pt x="271" y="891"/>
                  </a:lnTo>
                  <a:lnTo>
                    <a:pt x="271" y="893"/>
                  </a:lnTo>
                  <a:lnTo>
                    <a:pt x="271" y="895"/>
                  </a:lnTo>
                  <a:lnTo>
                    <a:pt x="271" y="900"/>
                  </a:lnTo>
                  <a:lnTo>
                    <a:pt x="274" y="900"/>
                  </a:lnTo>
                  <a:lnTo>
                    <a:pt x="274" y="900"/>
                  </a:lnTo>
                  <a:lnTo>
                    <a:pt x="274" y="900"/>
                  </a:lnTo>
                  <a:lnTo>
                    <a:pt x="271" y="903"/>
                  </a:lnTo>
                  <a:lnTo>
                    <a:pt x="274" y="903"/>
                  </a:lnTo>
                  <a:lnTo>
                    <a:pt x="278" y="910"/>
                  </a:lnTo>
                  <a:lnTo>
                    <a:pt x="278" y="912"/>
                  </a:lnTo>
                  <a:lnTo>
                    <a:pt x="278" y="912"/>
                  </a:lnTo>
                  <a:lnTo>
                    <a:pt x="278" y="914"/>
                  </a:lnTo>
                  <a:lnTo>
                    <a:pt x="281" y="919"/>
                  </a:lnTo>
                  <a:lnTo>
                    <a:pt x="281" y="919"/>
                  </a:lnTo>
                  <a:lnTo>
                    <a:pt x="283" y="921"/>
                  </a:lnTo>
                  <a:lnTo>
                    <a:pt x="288" y="921"/>
                  </a:lnTo>
                  <a:lnTo>
                    <a:pt x="288" y="924"/>
                  </a:lnTo>
                  <a:lnTo>
                    <a:pt x="290" y="924"/>
                  </a:lnTo>
                  <a:lnTo>
                    <a:pt x="290" y="924"/>
                  </a:lnTo>
                  <a:lnTo>
                    <a:pt x="293" y="926"/>
                  </a:lnTo>
                  <a:lnTo>
                    <a:pt x="295" y="926"/>
                  </a:lnTo>
                  <a:lnTo>
                    <a:pt x="295" y="929"/>
                  </a:lnTo>
                  <a:lnTo>
                    <a:pt x="295" y="929"/>
                  </a:lnTo>
                  <a:lnTo>
                    <a:pt x="295" y="931"/>
                  </a:lnTo>
                  <a:lnTo>
                    <a:pt x="295" y="933"/>
                  </a:lnTo>
                  <a:lnTo>
                    <a:pt x="293" y="936"/>
                  </a:lnTo>
                  <a:lnTo>
                    <a:pt x="290" y="936"/>
                  </a:lnTo>
                  <a:lnTo>
                    <a:pt x="290" y="938"/>
                  </a:lnTo>
                  <a:lnTo>
                    <a:pt x="290" y="938"/>
                  </a:lnTo>
                  <a:lnTo>
                    <a:pt x="290" y="938"/>
                  </a:lnTo>
                  <a:lnTo>
                    <a:pt x="290" y="940"/>
                  </a:lnTo>
                  <a:lnTo>
                    <a:pt x="290" y="940"/>
                  </a:lnTo>
                  <a:lnTo>
                    <a:pt x="293" y="940"/>
                  </a:lnTo>
                  <a:lnTo>
                    <a:pt x="293" y="940"/>
                  </a:lnTo>
                  <a:lnTo>
                    <a:pt x="290" y="945"/>
                  </a:lnTo>
                  <a:lnTo>
                    <a:pt x="293" y="947"/>
                  </a:lnTo>
                  <a:lnTo>
                    <a:pt x="295" y="947"/>
                  </a:lnTo>
                  <a:lnTo>
                    <a:pt x="295" y="950"/>
                  </a:lnTo>
                  <a:lnTo>
                    <a:pt x="295" y="955"/>
                  </a:lnTo>
                  <a:lnTo>
                    <a:pt x="293" y="955"/>
                  </a:lnTo>
                  <a:lnTo>
                    <a:pt x="290" y="957"/>
                  </a:lnTo>
                  <a:lnTo>
                    <a:pt x="290" y="959"/>
                  </a:lnTo>
                  <a:lnTo>
                    <a:pt x="285" y="959"/>
                  </a:lnTo>
                  <a:lnTo>
                    <a:pt x="283" y="959"/>
                  </a:lnTo>
                  <a:lnTo>
                    <a:pt x="283" y="962"/>
                  </a:lnTo>
                  <a:lnTo>
                    <a:pt x="281" y="964"/>
                  </a:lnTo>
                  <a:lnTo>
                    <a:pt x="281" y="964"/>
                  </a:lnTo>
                  <a:lnTo>
                    <a:pt x="281" y="966"/>
                  </a:lnTo>
                  <a:lnTo>
                    <a:pt x="281" y="973"/>
                  </a:lnTo>
                  <a:lnTo>
                    <a:pt x="278" y="976"/>
                  </a:lnTo>
                  <a:lnTo>
                    <a:pt x="274" y="983"/>
                  </a:lnTo>
                  <a:lnTo>
                    <a:pt x="274" y="983"/>
                  </a:lnTo>
                  <a:lnTo>
                    <a:pt x="274" y="983"/>
                  </a:lnTo>
                  <a:lnTo>
                    <a:pt x="274" y="985"/>
                  </a:lnTo>
                  <a:lnTo>
                    <a:pt x="274" y="985"/>
                  </a:lnTo>
                  <a:lnTo>
                    <a:pt x="274" y="990"/>
                  </a:lnTo>
                  <a:lnTo>
                    <a:pt x="271" y="992"/>
                  </a:lnTo>
                  <a:lnTo>
                    <a:pt x="269" y="992"/>
                  </a:lnTo>
                  <a:lnTo>
                    <a:pt x="267" y="995"/>
                  </a:lnTo>
                  <a:lnTo>
                    <a:pt x="267" y="995"/>
                  </a:lnTo>
                  <a:lnTo>
                    <a:pt x="264" y="999"/>
                  </a:lnTo>
                  <a:lnTo>
                    <a:pt x="264" y="999"/>
                  </a:lnTo>
                  <a:lnTo>
                    <a:pt x="262" y="1004"/>
                  </a:lnTo>
                  <a:lnTo>
                    <a:pt x="262" y="1004"/>
                  </a:lnTo>
                  <a:lnTo>
                    <a:pt x="259" y="1004"/>
                  </a:lnTo>
                  <a:lnTo>
                    <a:pt x="257" y="1004"/>
                  </a:lnTo>
                  <a:lnTo>
                    <a:pt x="252" y="1004"/>
                  </a:lnTo>
                  <a:lnTo>
                    <a:pt x="250" y="1002"/>
                  </a:lnTo>
                  <a:lnTo>
                    <a:pt x="250" y="1002"/>
                  </a:lnTo>
                  <a:lnTo>
                    <a:pt x="248" y="1004"/>
                  </a:lnTo>
                  <a:lnTo>
                    <a:pt x="248" y="1009"/>
                  </a:lnTo>
                  <a:lnTo>
                    <a:pt x="248" y="1011"/>
                  </a:lnTo>
                  <a:lnTo>
                    <a:pt x="248" y="1014"/>
                  </a:lnTo>
                  <a:lnTo>
                    <a:pt x="248" y="1014"/>
                  </a:lnTo>
                  <a:lnTo>
                    <a:pt x="245" y="1016"/>
                  </a:lnTo>
                  <a:lnTo>
                    <a:pt x="243" y="1023"/>
                  </a:lnTo>
                  <a:lnTo>
                    <a:pt x="243" y="1025"/>
                  </a:lnTo>
                  <a:lnTo>
                    <a:pt x="241" y="1028"/>
                  </a:lnTo>
                  <a:lnTo>
                    <a:pt x="238" y="1028"/>
                  </a:lnTo>
                  <a:lnTo>
                    <a:pt x="238" y="1028"/>
                  </a:lnTo>
                  <a:lnTo>
                    <a:pt x="236" y="1030"/>
                  </a:lnTo>
                  <a:lnTo>
                    <a:pt x="236" y="1032"/>
                  </a:lnTo>
                  <a:lnTo>
                    <a:pt x="236" y="1032"/>
                  </a:lnTo>
                  <a:lnTo>
                    <a:pt x="233" y="1032"/>
                  </a:lnTo>
                  <a:lnTo>
                    <a:pt x="231" y="1032"/>
                  </a:lnTo>
                  <a:lnTo>
                    <a:pt x="231" y="1032"/>
                  </a:lnTo>
                  <a:lnTo>
                    <a:pt x="229" y="1032"/>
                  </a:lnTo>
                  <a:lnTo>
                    <a:pt x="229" y="1032"/>
                  </a:lnTo>
                  <a:lnTo>
                    <a:pt x="226" y="1030"/>
                  </a:lnTo>
                  <a:lnTo>
                    <a:pt x="224" y="1030"/>
                  </a:lnTo>
                  <a:lnTo>
                    <a:pt x="222" y="1032"/>
                  </a:lnTo>
                  <a:lnTo>
                    <a:pt x="222" y="1032"/>
                  </a:lnTo>
                  <a:lnTo>
                    <a:pt x="219" y="1030"/>
                  </a:lnTo>
                  <a:lnTo>
                    <a:pt x="217" y="1030"/>
                  </a:lnTo>
                  <a:lnTo>
                    <a:pt x="212" y="1023"/>
                  </a:lnTo>
                  <a:lnTo>
                    <a:pt x="212" y="1023"/>
                  </a:lnTo>
                  <a:lnTo>
                    <a:pt x="212" y="1023"/>
                  </a:lnTo>
                  <a:lnTo>
                    <a:pt x="210" y="1021"/>
                  </a:lnTo>
                  <a:lnTo>
                    <a:pt x="207" y="1021"/>
                  </a:lnTo>
                  <a:lnTo>
                    <a:pt x="207" y="1023"/>
                  </a:lnTo>
                  <a:lnTo>
                    <a:pt x="203" y="1028"/>
                  </a:lnTo>
                  <a:lnTo>
                    <a:pt x="200" y="1030"/>
                  </a:lnTo>
                  <a:lnTo>
                    <a:pt x="198" y="1030"/>
                  </a:lnTo>
                  <a:lnTo>
                    <a:pt x="196" y="1030"/>
                  </a:lnTo>
                  <a:lnTo>
                    <a:pt x="193" y="1030"/>
                  </a:lnTo>
                  <a:lnTo>
                    <a:pt x="193" y="1030"/>
                  </a:lnTo>
                  <a:lnTo>
                    <a:pt x="193" y="1032"/>
                  </a:lnTo>
                  <a:lnTo>
                    <a:pt x="191" y="1032"/>
                  </a:lnTo>
                  <a:lnTo>
                    <a:pt x="189" y="1035"/>
                  </a:lnTo>
                  <a:lnTo>
                    <a:pt x="189" y="1035"/>
                  </a:lnTo>
                  <a:lnTo>
                    <a:pt x="186" y="1035"/>
                  </a:lnTo>
                  <a:lnTo>
                    <a:pt x="186" y="1035"/>
                  </a:lnTo>
                  <a:lnTo>
                    <a:pt x="182" y="1032"/>
                  </a:lnTo>
                  <a:lnTo>
                    <a:pt x="179" y="1032"/>
                  </a:lnTo>
                  <a:lnTo>
                    <a:pt x="177" y="1032"/>
                  </a:lnTo>
                  <a:lnTo>
                    <a:pt x="174" y="1037"/>
                  </a:lnTo>
                  <a:lnTo>
                    <a:pt x="174" y="1037"/>
                  </a:lnTo>
                  <a:lnTo>
                    <a:pt x="172" y="1037"/>
                  </a:lnTo>
                  <a:lnTo>
                    <a:pt x="172" y="1037"/>
                  </a:lnTo>
                  <a:lnTo>
                    <a:pt x="170" y="1037"/>
                  </a:lnTo>
                  <a:lnTo>
                    <a:pt x="167" y="1040"/>
                  </a:lnTo>
                  <a:lnTo>
                    <a:pt x="167" y="1040"/>
                  </a:lnTo>
                  <a:lnTo>
                    <a:pt x="167" y="1040"/>
                  </a:lnTo>
                  <a:lnTo>
                    <a:pt x="167" y="1040"/>
                  </a:lnTo>
                  <a:lnTo>
                    <a:pt x="167" y="1047"/>
                  </a:lnTo>
                  <a:lnTo>
                    <a:pt x="167" y="1049"/>
                  </a:lnTo>
                  <a:lnTo>
                    <a:pt x="167" y="1049"/>
                  </a:lnTo>
                  <a:lnTo>
                    <a:pt x="165" y="1049"/>
                  </a:lnTo>
                  <a:lnTo>
                    <a:pt x="163" y="1049"/>
                  </a:lnTo>
                  <a:lnTo>
                    <a:pt x="160" y="1049"/>
                  </a:lnTo>
                  <a:lnTo>
                    <a:pt x="158" y="1051"/>
                  </a:lnTo>
                  <a:lnTo>
                    <a:pt x="156" y="1051"/>
                  </a:lnTo>
                  <a:lnTo>
                    <a:pt x="156" y="1054"/>
                  </a:lnTo>
                  <a:lnTo>
                    <a:pt x="156" y="1056"/>
                  </a:lnTo>
                  <a:lnTo>
                    <a:pt x="153" y="1056"/>
                  </a:lnTo>
                  <a:lnTo>
                    <a:pt x="153" y="1056"/>
                  </a:lnTo>
                  <a:lnTo>
                    <a:pt x="148" y="1061"/>
                  </a:lnTo>
                  <a:lnTo>
                    <a:pt x="148" y="1063"/>
                  </a:lnTo>
                  <a:lnTo>
                    <a:pt x="148" y="1063"/>
                  </a:lnTo>
                  <a:lnTo>
                    <a:pt x="148" y="1066"/>
                  </a:lnTo>
                  <a:lnTo>
                    <a:pt x="144" y="1068"/>
                  </a:lnTo>
                  <a:lnTo>
                    <a:pt x="144" y="1066"/>
                  </a:lnTo>
                  <a:lnTo>
                    <a:pt x="144" y="1066"/>
                  </a:lnTo>
                  <a:lnTo>
                    <a:pt x="139" y="1068"/>
                  </a:lnTo>
                  <a:lnTo>
                    <a:pt x="139" y="1068"/>
                  </a:lnTo>
                  <a:lnTo>
                    <a:pt x="137" y="1068"/>
                  </a:lnTo>
                  <a:lnTo>
                    <a:pt x="137" y="1068"/>
                  </a:lnTo>
                  <a:lnTo>
                    <a:pt x="134" y="1073"/>
                  </a:lnTo>
                  <a:lnTo>
                    <a:pt x="130" y="1068"/>
                  </a:lnTo>
                  <a:lnTo>
                    <a:pt x="130" y="1066"/>
                  </a:lnTo>
                  <a:lnTo>
                    <a:pt x="127" y="1066"/>
                  </a:lnTo>
                  <a:lnTo>
                    <a:pt x="125" y="1066"/>
                  </a:lnTo>
                  <a:lnTo>
                    <a:pt x="125" y="1066"/>
                  </a:lnTo>
                  <a:lnTo>
                    <a:pt x="122" y="1066"/>
                  </a:lnTo>
                  <a:lnTo>
                    <a:pt x="120" y="1063"/>
                  </a:lnTo>
                  <a:lnTo>
                    <a:pt x="120" y="1063"/>
                  </a:lnTo>
                  <a:lnTo>
                    <a:pt x="118" y="1061"/>
                  </a:lnTo>
                  <a:lnTo>
                    <a:pt x="118" y="1061"/>
                  </a:lnTo>
                  <a:lnTo>
                    <a:pt x="115" y="1058"/>
                  </a:lnTo>
                  <a:lnTo>
                    <a:pt x="115" y="1058"/>
                  </a:lnTo>
                  <a:lnTo>
                    <a:pt x="111" y="1061"/>
                  </a:lnTo>
                  <a:lnTo>
                    <a:pt x="111" y="1058"/>
                  </a:lnTo>
                  <a:lnTo>
                    <a:pt x="108" y="1058"/>
                  </a:lnTo>
                  <a:lnTo>
                    <a:pt x="106" y="1058"/>
                  </a:lnTo>
                  <a:lnTo>
                    <a:pt x="99" y="1058"/>
                  </a:lnTo>
                  <a:lnTo>
                    <a:pt x="99" y="1058"/>
                  </a:lnTo>
                  <a:lnTo>
                    <a:pt x="99" y="1058"/>
                  </a:lnTo>
                  <a:lnTo>
                    <a:pt x="96" y="1056"/>
                  </a:lnTo>
                  <a:lnTo>
                    <a:pt x="94" y="1056"/>
                  </a:lnTo>
                  <a:lnTo>
                    <a:pt x="92" y="1056"/>
                  </a:lnTo>
                  <a:lnTo>
                    <a:pt x="92" y="1051"/>
                  </a:lnTo>
                  <a:lnTo>
                    <a:pt x="92" y="1051"/>
                  </a:lnTo>
                  <a:lnTo>
                    <a:pt x="89" y="1049"/>
                  </a:lnTo>
                  <a:lnTo>
                    <a:pt x="85" y="1049"/>
                  </a:lnTo>
                  <a:lnTo>
                    <a:pt x="80" y="1047"/>
                  </a:lnTo>
                  <a:lnTo>
                    <a:pt x="78" y="1037"/>
                  </a:lnTo>
                  <a:lnTo>
                    <a:pt x="78" y="1037"/>
                  </a:lnTo>
                  <a:lnTo>
                    <a:pt x="78" y="1037"/>
                  </a:lnTo>
                  <a:lnTo>
                    <a:pt x="75" y="1035"/>
                  </a:lnTo>
                  <a:lnTo>
                    <a:pt x="75" y="1035"/>
                  </a:lnTo>
                  <a:lnTo>
                    <a:pt x="73" y="1032"/>
                  </a:lnTo>
                  <a:lnTo>
                    <a:pt x="73" y="1032"/>
                  </a:lnTo>
                  <a:lnTo>
                    <a:pt x="70" y="1032"/>
                  </a:lnTo>
                  <a:lnTo>
                    <a:pt x="70" y="1032"/>
                  </a:lnTo>
                  <a:lnTo>
                    <a:pt x="70" y="1030"/>
                  </a:lnTo>
                  <a:lnTo>
                    <a:pt x="70" y="1025"/>
                  </a:lnTo>
                  <a:lnTo>
                    <a:pt x="68" y="1023"/>
                  </a:lnTo>
                  <a:lnTo>
                    <a:pt x="70" y="1021"/>
                  </a:lnTo>
                  <a:lnTo>
                    <a:pt x="70" y="1018"/>
                  </a:lnTo>
                  <a:lnTo>
                    <a:pt x="68" y="1016"/>
                  </a:lnTo>
                  <a:lnTo>
                    <a:pt x="70" y="1014"/>
                  </a:lnTo>
                  <a:lnTo>
                    <a:pt x="73" y="1011"/>
                  </a:lnTo>
                  <a:lnTo>
                    <a:pt x="75" y="1009"/>
                  </a:lnTo>
                  <a:lnTo>
                    <a:pt x="75" y="1009"/>
                  </a:lnTo>
                  <a:lnTo>
                    <a:pt x="70" y="1004"/>
                  </a:lnTo>
                  <a:lnTo>
                    <a:pt x="70" y="1002"/>
                  </a:lnTo>
                  <a:lnTo>
                    <a:pt x="70" y="999"/>
                  </a:lnTo>
                  <a:lnTo>
                    <a:pt x="70" y="997"/>
                  </a:lnTo>
                  <a:lnTo>
                    <a:pt x="66" y="995"/>
                  </a:lnTo>
                  <a:lnTo>
                    <a:pt x="66" y="990"/>
                  </a:lnTo>
                  <a:lnTo>
                    <a:pt x="63" y="990"/>
                  </a:lnTo>
                  <a:lnTo>
                    <a:pt x="63" y="990"/>
                  </a:lnTo>
                  <a:lnTo>
                    <a:pt x="61" y="988"/>
                  </a:lnTo>
                  <a:lnTo>
                    <a:pt x="59" y="985"/>
                  </a:lnTo>
                  <a:lnTo>
                    <a:pt x="59" y="983"/>
                  </a:lnTo>
                  <a:lnTo>
                    <a:pt x="59" y="981"/>
                  </a:lnTo>
                  <a:lnTo>
                    <a:pt x="54" y="978"/>
                  </a:lnTo>
                  <a:lnTo>
                    <a:pt x="54" y="976"/>
                  </a:lnTo>
                  <a:lnTo>
                    <a:pt x="54" y="973"/>
                  </a:lnTo>
                  <a:lnTo>
                    <a:pt x="54" y="971"/>
                  </a:lnTo>
                  <a:lnTo>
                    <a:pt x="54" y="969"/>
                  </a:lnTo>
                  <a:lnTo>
                    <a:pt x="52" y="966"/>
                  </a:lnTo>
                  <a:lnTo>
                    <a:pt x="49" y="964"/>
                  </a:lnTo>
                  <a:lnTo>
                    <a:pt x="49" y="964"/>
                  </a:lnTo>
                  <a:lnTo>
                    <a:pt x="44" y="966"/>
                  </a:lnTo>
                  <a:lnTo>
                    <a:pt x="42" y="966"/>
                  </a:lnTo>
                  <a:lnTo>
                    <a:pt x="40" y="969"/>
                  </a:lnTo>
                  <a:lnTo>
                    <a:pt x="37" y="971"/>
                  </a:lnTo>
                  <a:lnTo>
                    <a:pt x="35" y="971"/>
                  </a:lnTo>
                  <a:lnTo>
                    <a:pt x="35" y="971"/>
                  </a:lnTo>
                  <a:lnTo>
                    <a:pt x="33" y="971"/>
                  </a:lnTo>
                  <a:lnTo>
                    <a:pt x="33" y="973"/>
                  </a:lnTo>
                  <a:lnTo>
                    <a:pt x="33" y="973"/>
                  </a:lnTo>
                  <a:lnTo>
                    <a:pt x="33" y="976"/>
                  </a:lnTo>
                  <a:lnTo>
                    <a:pt x="33" y="981"/>
                  </a:lnTo>
                  <a:lnTo>
                    <a:pt x="30" y="981"/>
                  </a:lnTo>
                  <a:lnTo>
                    <a:pt x="26" y="985"/>
                  </a:lnTo>
                  <a:lnTo>
                    <a:pt x="19" y="983"/>
                  </a:lnTo>
                  <a:lnTo>
                    <a:pt x="14" y="981"/>
                  </a:lnTo>
                  <a:lnTo>
                    <a:pt x="7" y="983"/>
                  </a:lnTo>
                  <a:lnTo>
                    <a:pt x="4" y="98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 cap="flat">
              <a:solidFill>
                <a:schemeClr val="bg2">
                  <a:lumMod val="7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>
                <a:solidFill>
                  <a:srgbClr val="000000"/>
                </a:solidFill>
              </a:endParaRPr>
            </a:p>
          </p:txBody>
        </p:sp>
        <p:sp>
          <p:nvSpPr>
            <p:cNvPr id="98" name="Freeform 30"/>
            <p:cNvSpPr>
              <a:spLocks/>
            </p:cNvSpPr>
            <p:nvPr/>
          </p:nvSpPr>
          <p:spPr bwMode="gray">
            <a:xfrm>
              <a:off x="3815595" y="3395260"/>
              <a:ext cx="370084" cy="245982"/>
            </a:xfrm>
            <a:custGeom>
              <a:avLst/>
              <a:gdLst/>
              <a:ahLst/>
              <a:cxnLst>
                <a:cxn ang="0">
                  <a:pos x="9" y="177"/>
                </a:cxn>
                <a:cxn ang="0">
                  <a:pos x="23" y="159"/>
                </a:cxn>
                <a:cxn ang="0">
                  <a:pos x="35" y="163"/>
                </a:cxn>
                <a:cxn ang="0">
                  <a:pos x="52" y="147"/>
                </a:cxn>
                <a:cxn ang="0">
                  <a:pos x="66" y="121"/>
                </a:cxn>
                <a:cxn ang="0">
                  <a:pos x="71" y="99"/>
                </a:cxn>
                <a:cxn ang="0">
                  <a:pos x="87" y="81"/>
                </a:cxn>
                <a:cxn ang="0">
                  <a:pos x="99" y="59"/>
                </a:cxn>
                <a:cxn ang="0">
                  <a:pos x="108" y="31"/>
                </a:cxn>
                <a:cxn ang="0">
                  <a:pos x="170" y="3"/>
                </a:cxn>
                <a:cxn ang="0">
                  <a:pos x="196" y="17"/>
                </a:cxn>
                <a:cxn ang="0">
                  <a:pos x="227" y="26"/>
                </a:cxn>
                <a:cxn ang="0">
                  <a:pos x="248" y="33"/>
                </a:cxn>
                <a:cxn ang="0">
                  <a:pos x="276" y="31"/>
                </a:cxn>
                <a:cxn ang="0">
                  <a:pos x="314" y="31"/>
                </a:cxn>
                <a:cxn ang="0">
                  <a:pos x="352" y="31"/>
                </a:cxn>
                <a:cxn ang="0">
                  <a:pos x="375" y="36"/>
                </a:cxn>
                <a:cxn ang="0">
                  <a:pos x="406" y="59"/>
                </a:cxn>
                <a:cxn ang="0">
                  <a:pos x="420" y="85"/>
                </a:cxn>
                <a:cxn ang="0">
                  <a:pos x="425" y="104"/>
                </a:cxn>
                <a:cxn ang="0">
                  <a:pos x="430" y="125"/>
                </a:cxn>
                <a:cxn ang="0">
                  <a:pos x="437" y="149"/>
                </a:cxn>
                <a:cxn ang="0">
                  <a:pos x="442" y="177"/>
                </a:cxn>
                <a:cxn ang="0">
                  <a:pos x="449" y="194"/>
                </a:cxn>
                <a:cxn ang="0">
                  <a:pos x="458" y="215"/>
                </a:cxn>
                <a:cxn ang="0">
                  <a:pos x="439" y="220"/>
                </a:cxn>
                <a:cxn ang="0">
                  <a:pos x="420" y="222"/>
                </a:cxn>
                <a:cxn ang="0">
                  <a:pos x="394" y="215"/>
                </a:cxn>
                <a:cxn ang="0">
                  <a:pos x="385" y="215"/>
                </a:cxn>
                <a:cxn ang="0">
                  <a:pos x="373" y="213"/>
                </a:cxn>
                <a:cxn ang="0">
                  <a:pos x="345" y="215"/>
                </a:cxn>
                <a:cxn ang="0">
                  <a:pos x="319" y="206"/>
                </a:cxn>
                <a:cxn ang="0">
                  <a:pos x="300" y="210"/>
                </a:cxn>
                <a:cxn ang="0">
                  <a:pos x="290" y="192"/>
                </a:cxn>
                <a:cxn ang="0">
                  <a:pos x="260" y="213"/>
                </a:cxn>
                <a:cxn ang="0">
                  <a:pos x="271" y="234"/>
                </a:cxn>
                <a:cxn ang="0">
                  <a:pos x="257" y="248"/>
                </a:cxn>
                <a:cxn ang="0">
                  <a:pos x="255" y="262"/>
                </a:cxn>
                <a:cxn ang="0">
                  <a:pos x="234" y="279"/>
                </a:cxn>
                <a:cxn ang="0">
                  <a:pos x="208" y="253"/>
                </a:cxn>
                <a:cxn ang="0">
                  <a:pos x="196" y="251"/>
                </a:cxn>
                <a:cxn ang="0">
                  <a:pos x="165" y="253"/>
                </a:cxn>
                <a:cxn ang="0">
                  <a:pos x="139" y="241"/>
                </a:cxn>
                <a:cxn ang="0">
                  <a:pos x="144" y="222"/>
                </a:cxn>
                <a:cxn ang="0">
                  <a:pos x="153" y="201"/>
                </a:cxn>
                <a:cxn ang="0">
                  <a:pos x="170" y="182"/>
                </a:cxn>
                <a:cxn ang="0">
                  <a:pos x="179" y="166"/>
                </a:cxn>
                <a:cxn ang="0">
                  <a:pos x="165" y="161"/>
                </a:cxn>
                <a:cxn ang="0">
                  <a:pos x="142" y="168"/>
                </a:cxn>
                <a:cxn ang="0">
                  <a:pos x="125" y="175"/>
                </a:cxn>
                <a:cxn ang="0">
                  <a:pos x="101" y="182"/>
                </a:cxn>
                <a:cxn ang="0">
                  <a:pos x="97" y="194"/>
                </a:cxn>
                <a:cxn ang="0">
                  <a:pos x="87" y="206"/>
                </a:cxn>
                <a:cxn ang="0">
                  <a:pos x="71" y="210"/>
                </a:cxn>
                <a:cxn ang="0">
                  <a:pos x="66" y="213"/>
                </a:cxn>
                <a:cxn ang="0">
                  <a:pos x="47" y="215"/>
                </a:cxn>
                <a:cxn ang="0">
                  <a:pos x="28" y="213"/>
                </a:cxn>
                <a:cxn ang="0">
                  <a:pos x="16" y="203"/>
                </a:cxn>
                <a:cxn ang="0">
                  <a:pos x="7" y="199"/>
                </a:cxn>
                <a:cxn ang="0">
                  <a:pos x="0" y="189"/>
                </a:cxn>
              </a:cxnLst>
              <a:rect l="0" t="0" r="r" b="b"/>
              <a:pathLst>
                <a:path w="458" h="281">
                  <a:moveTo>
                    <a:pt x="0" y="189"/>
                  </a:moveTo>
                  <a:lnTo>
                    <a:pt x="0" y="189"/>
                  </a:lnTo>
                  <a:lnTo>
                    <a:pt x="2" y="187"/>
                  </a:lnTo>
                  <a:lnTo>
                    <a:pt x="2" y="187"/>
                  </a:lnTo>
                  <a:lnTo>
                    <a:pt x="5" y="184"/>
                  </a:lnTo>
                  <a:lnTo>
                    <a:pt x="5" y="184"/>
                  </a:lnTo>
                  <a:lnTo>
                    <a:pt x="7" y="184"/>
                  </a:lnTo>
                  <a:lnTo>
                    <a:pt x="7" y="182"/>
                  </a:lnTo>
                  <a:lnTo>
                    <a:pt x="7" y="182"/>
                  </a:lnTo>
                  <a:lnTo>
                    <a:pt x="7" y="182"/>
                  </a:lnTo>
                  <a:lnTo>
                    <a:pt x="7" y="177"/>
                  </a:lnTo>
                  <a:lnTo>
                    <a:pt x="9" y="177"/>
                  </a:lnTo>
                  <a:lnTo>
                    <a:pt x="9" y="175"/>
                  </a:lnTo>
                  <a:lnTo>
                    <a:pt x="14" y="173"/>
                  </a:lnTo>
                  <a:lnTo>
                    <a:pt x="14" y="173"/>
                  </a:lnTo>
                  <a:lnTo>
                    <a:pt x="14" y="170"/>
                  </a:lnTo>
                  <a:lnTo>
                    <a:pt x="14" y="168"/>
                  </a:lnTo>
                  <a:lnTo>
                    <a:pt x="16" y="168"/>
                  </a:lnTo>
                  <a:lnTo>
                    <a:pt x="16" y="166"/>
                  </a:lnTo>
                  <a:lnTo>
                    <a:pt x="16" y="163"/>
                  </a:lnTo>
                  <a:lnTo>
                    <a:pt x="19" y="163"/>
                  </a:lnTo>
                  <a:lnTo>
                    <a:pt x="21" y="161"/>
                  </a:lnTo>
                  <a:lnTo>
                    <a:pt x="21" y="161"/>
                  </a:lnTo>
                  <a:lnTo>
                    <a:pt x="23" y="159"/>
                  </a:lnTo>
                  <a:lnTo>
                    <a:pt x="23" y="161"/>
                  </a:lnTo>
                  <a:lnTo>
                    <a:pt x="23" y="159"/>
                  </a:lnTo>
                  <a:lnTo>
                    <a:pt x="23" y="161"/>
                  </a:lnTo>
                  <a:lnTo>
                    <a:pt x="26" y="161"/>
                  </a:lnTo>
                  <a:lnTo>
                    <a:pt x="26" y="161"/>
                  </a:lnTo>
                  <a:lnTo>
                    <a:pt x="26" y="163"/>
                  </a:lnTo>
                  <a:lnTo>
                    <a:pt x="26" y="166"/>
                  </a:lnTo>
                  <a:lnTo>
                    <a:pt x="31" y="163"/>
                  </a:lnTo>
                  <a:lnTo>
                    <a:pt x="31" y="161"/>
                  </a:lnTo>
                  <a:lnTo>
                    <a:pt x="31" y="163"/>
                  </a:lnTo>
                  <a:lnTo>
                    <a:pt x="33" y="163"/>
                  </a:lnTo>
                  <a:lnTo>
                    <a:pt x="35" y="163"/>
                  </a:lnTo>
                  <a:lnTo>
                    <a:pt x="35" y="161"/>
                  </a:lnTo>
                  <a:lnTo>
                    <a:pt x="38" y="161"/>
                  </a:lnTo>
                  <a:lnTo>
                    <a:pt x="38" y="161"/>
                  </a:lnTo>
                  <a:lnTo>
                    <a:pt x="40" y="159"/>
                  </a:lnTo>
                  <a:lnTo>
                    <a:pt x="40" y="159"/>
                  </a:lnTo>
                  <a:lnTo>
                    <a:pt x="42" y="159"/>
                  </a:lnTo>
                  <a:lnTo>
                    <a:pt x="42" y="154"/>
                  </a:lnTo>
                  <a:lnTo>
                    <a:pt x="42" y="151"/>
                  </a:lnTo>
                  <a:lnTo>
                    <a:pt x="47" y="149"/>
                  </a:lnTo>
                  <a:lnTo>
                    <a:pt x="49" y="147"/>
                  </a:lnTo>
                  <a:lnTo>
                    <a:pt x="49" y="147"/>
                  </a:lnTo>
                  <a:lnTo>
                    <a:pt x="52" y="147"/>
                  </a:lnTo>
                  <a:lnTo>
                    <a:pt x="52" y="147"/>
                  </a:lnTo>
                  <a:lnTo>
                    <a:pt x="52" y="144"/>
                  </a:lnTo>
                  <a:lnTo>
                    <a:pt x="52" y="142"/>
                  </a:lnTo>
                  <a:lnTo>
                    <a:pt x="54" y="142"/>
                  </a:lnTo>
                  <a:lnTo>
                    <a:pt x="54" y="140"/>
                  </a:lnTo>
                  <a:lnTo>
                    <a:pt x="56" y="137"/>
                  </a:lnTo>
                  <a:lnTo>
                    <a:pt x="59" y="133"/>
                  </a:lnTo>
                  <a:lnTo>
                    <a:pt x="59" y="130"/>
                  </a:lnTo>
                  <a:lnTo>
                    <a:pt x="59" y="130"/>
                  </a:lnTo>
                  <a:lnTo>
                    <a:pt x="59" y="128"/>
                  </a:lnTo>
                  <a:lnTo>
                    <a:pt x="64" y="123"/>
                  </a:lnTo>
                  <a:lnTo>
                    <a:pt x="66" y="121"/>
                  </a:lnTo>
                  <a:lnTo>
                    <a:pt x="68" y="118"/>
                  </a:lnTo>
                  <a:lnTo>
                    <a:pt x="66" y="118"/>
                  </a:lnTo>
                  <a:lnTo>
                    <a:pt x="66" y="116"/>
                  </a:lnTo>
                  <a:lnTo>
                    <a:pt x="64" y="116"/>
                  </a:lnTo>
                  <a:lnTo>
                    <a:pt x="61" y="118"/>
                  </a:lnTo>
                  <a:lnTo>
                    <a:pt x="61" y="116"/>
                  </a:lnTo>
                  <a:lnTo>
                    <a:pt x="64" y="114"/>
                  </a:lnTo>
                  <a:lnTo>
                    <a:pt x="64" y="109"/>
                  </a:lnTo>
                  <a:lnTo>
                    <a:pt x="64" y="109"/>
                  </a:lnTo>
                  <a:lnTo>
                    <a:pt x="66" y="107"/>
                  </a:lnTo>
                  <a:lnTo>
                    <a:pt x="68" y="104"/>
                  </a:lnTo>
                  <a:lnTo>
                    <a:pt x="71" y="99"/>
                  </a:lnTo>
                  <a:lnTo>
                    <a:pt x="73" y="99"/>
                  </a:lnTo>
                  <a:lnTo>
                    <a:pt x="73" y="97"/>
                  </a:lnTo>
                  <a:lnTo>
                    <a:pt x="73" y="95"/>
                  </a:lnTo>
                  <a:lnTo>
                    <a:pt x="73" y="95"/>
                  </a:lnTo>
                  <a:lnTo>
                    <a:pt x="78" y="92"/>
                  </a:lnTo>
                  <a:lnTo>
                    <a:pt x="80" y="92"/>
                  </a:lnTo>
                  <a:lnTo>
                    <a:pt x="82" y="88"/>
                  </a:lnTo>
                  <a:lnTo>
                    <a:pt x="82" y="88"/>
                  </a:lnTo>
                  <a:lnTo>
                    <a:pt x="85" y="88"/>
                  </a:lnTo>
                  <a:lnTo>
                    <a:pt x="87" y="85"/>
                  </a:lnTo>
                  <a:lnTo>
                    <a:pt x="87" y="85"/>
                  </a:lnTo>
                  <a:lnTo>
                    <a:pt x="87" y="81"/>
                  </a:lnTo>
                  <a:lnTo>
                    <a:pt x="87" y="81"/>
                  </a:lnTo>
                  <a:lnTo>
                    <a:pt x="87" y="78"/>
                  </a:lnTo>
                  <a:lnTo>
                    <a:pt x="90" y="76"/>
                  </a:lnTo>
                  <a:lnTo>
                    <a:pt x="92" y="73"/>
                  </a:lnTo>
                  <a:lnTo>
                    <a:pt x="90" y="71"/>
                  </a:lnTo>
                  <a:lnTo>
                    <a:pt x="92" y="69"/>
                  </a:lnTo>
                  <a:lnTo>
                    <a:pt x="92" y="69"/>
                  </a:lnTo>
                  <a:lnTo>
                    <a:pt x="92" y="66"/>
                  </a:lnTo>
                  <a:lnTo>
                    <a:pt x="94" y="66"/>
                  </a:lnTo>
                  <a:lnTo>
                    <a:pt x="97" y="64"/>
                  </a:lnTo>
                  <a:lnTo>
                    <a:pt x="99" y="62"/>
                  </a:lnTo>
                  <a:lnTo>
                    <a:pt x="99" y="59"/>
                  </a:lnTo>
                  <a:lnTo>
                    <a:pt x="101" y="59"/>
                  </a:lnTo>
                  <a:lnTo>
                    <a:pt x="101" y="59"/>
                  </a:lnTo>
                  <a:lnTo>
                    <a:pt x="99" y="57"/>
                  </a:lnTo>
                  <a:lnTo>
                    <a:pt x="99" y="57"/>
                  </a:lnTo>
                  <a:lnTo>
                    <a:pt x="101" y="55"/>
                  </a:lnTo>
                  <a:lnTo>
                    <a:pt x="101" y="52"/>
                  </a:lnTo>
                  <a:lnTo>
                    <a:pt x="99" y="50"/>
                  </a:lnTo>
                  <a:lnTo>
                    <a:pt x="99" y="50"/>
                  </a:lnTo>
                  <a:lnTo>
                    <a:pt x="101" y="47"/>
                  </a:lnTo>
                  <a:lnTo>
                    <a:pt x="104" y="40"/>
                  </a:lnTo>
                  <a:lnTo>
                    <a:pt x="106" y="36"/>
                  </a:lnTo>
                  <a:lnTo>
                    <a:pt x="108" y="31"/>
                  </a:lnTo>
                  <a:lnTo>
                    <a:pt x="108" y="31"/>
                  </a:lnTo>
                  <a:lnTo>
                    <a:pt x="108" y="31"/>
                  </a:lnTo>
                  <a:lnTo>
                    <a:pt x="113" y="29"/>
                  </a:lnTo>
                  <a:lnTo>
                    <a:pt x="116" y="22"/>
                  </a:lnTo>
                  <a:lnTo>
                    <a:pt x="118" y="17"/>
                  </a:lnTo>
                  <a:lnTo>
                    <a:pt x="118" y="12"/>
                  </a:lnTo>
                  <a:lnTo>
                    <a:pt x="142" y="7"/>
                  </a:lnTo>
                  <a:lnTo>
                    <a:pt x="144" y="7"/>
                  </a:lnTo>
                  <a:lnTo>
                    <a:pt x="156" y="3"/>
                  </a:lnTo>
                  <a:lnTo>
                    <a:pt x="168" y="0"/>
                  </a:lnTo>
                  <a:lnTo>
                    <a:pt x="168" y="0"/>
                  </a:lnTo>
                  <a:lnTo>
                    <a:pt x="170" y="3"/>
                  </a:lnTo>
                  <a:lnTo>
                    <a:pt x="172" y="7"/>
                  </a:lnTo>
                  <a:lnTo>
                    <a:pt x="172" y="7"/>
                  </a:lnTo>
                  <a:lnTo>
                    <a:pt x="177" y="12"/>
                  </a:lnTo>
                  <a:lnTo>
                    <a:pt x="179" y="12"/>
                  </a:lnTo>
                  <a:lnTo>
                    <a:pt x="179" y="12"/>
                  </a:lnTo>
                  <a:lnTo>
                    <a:pt x="182" y="14"/>
                  </a:lnTo>
                  <a:lnTo>
                    <a:pt x="184" y="12"/>
                  </a:lnTo>
                  <a:lnTo>
                    <a:pt x="186" y="12"/>
                  </a:lnTo>
                  <a:lnTo>
                    <a:pt x="189" y="12"/>
                  </a:lnTo>
                  <a:lnTo>
                    <a:pt x="189" y="12"/>
                  </a:lnTo>
                  <a:lnTo>
                    <a:pt x="194" y="14"/>
                  </a:lnTo>
                  <a:lnTo>
                    <a:pt x="196" y="17"/>
                  </a:lnTo>
                  <a:lnTo>
                    <a:pt x="196" y="14"/>
                  </a:lnTo>
                  <a:lnTo>
                    <a:pt x="201" y="12"/>
                  </a:lnTo>
                  <a:lnTo>
                    <a:pt x="203" y="12"/>
                  </a:lnTo>
                  <a:lnTo>
                    <a:pt x="203" y="12"/>
                  </a:lnTo>
                  <a:lnTo>
                    <a:pt x="205" y="12"/>
                  </a:lnTo>
                  <a:lnTo>
                    <a:pt x="205" y="12"/>
                  </a:lnTo>
                  <a:lnTo>
                    <a:pt x="210" y="14"/>
                  </a:lnTo>
                  <a:lnTo>
                    <a:pt x="212" y="17"/>
                  </a:lnTo>
                  <a:lnTo>
                    <a:pt x="215" y="17"/>
                  </a:lnTo>
                  <a:lnTo>
                    <a:pt x="217" y="19"/>
                  </a:lnTo>
                  <a:lnTo>
                    <a:pt x="219" y="22"/>
                  </a:lnTo>
                  <a:lnTo>
                    <a:pt x="227" y="26"/>
                  </a:lnTo>
                  <a:lnTo>
                    <a:pt x="229" y="29"/>
                  </a:lnTo>
                  <a:lnTo>
                    <a:pt x="234" y="31"/>
                  </a:lnTo>
                  <a:lnTo>
                    <a:pt x="234" y="29"/>
                  </a:lnTo>
                  <a:lnTo>
                    <a:pt x="234" y="31"/>
                  </a:lnTo>
                  <a:lnTo>
                    <a:pt x="236" y="31"/>
                  </a:lnTo>
                  <a:lnTo>
                    <a:pt x="236" y="31"/>
                  </a:lnTo>
                  <a:lnTo>
                    <a:pt x="236" y="31"/>
                  </a:lnTo>
                  <a:lnTo>
                    <a:pt x="238" y="31"/>
                  </a:lnTo>
                  <a:lnTo>
                    <a:pt x="238" y="33"/>
                  </a:lnTo>
                  <a:lnTo>
                    <a:pt x="238" y="33"/>
                  </a:lnTo>
                  <a:lnTo>
                    <a:pt x="243" y="33"/>
                  </a:lnTo>
                  <a:lnTo>
                    <a:pt x="248" y="33"/>
                  </a:lnTo>
                  <a:lnTo>
                    <a:pt x="248" y="31"/>
                  </a:lnTo>
                  <a:lnTo>
                    <a:pt x="250" y="33"/>
                  </a:lnTo>
                  <a:lnTo>
                    <a:pt x="250" y="31"/>
                  </a:lnTo>
                  <a:lnTo>
                    <a:pt x="253" y="31"/>
                  </a:lnTo>
                  <a:lnTo>
                    <a:pt x="253" y="31"/>
                  </a:lnTo>
                  <a:lnTo>
                    <a:pt x="255" y="33"/>
                  </a:lnTo>
                  <a:lnTo>
                    <a:pt x="257" y="31"/>
                  </a:lnTo>
                  <a:lnTo>
                    <a:pt x="260" y="31"/>
                  </a:lnTo>
                  <a:lnTo>
                    <a:pt x="262" y="31"/>
                  </a:lnTo>
                  <a:lnTo>
                    <a:pt x="264" y="31"/>
                  </a:lnTo>
                  <a:lnTo>
                    <a:pt x="271" y="31"/>
                  </a:lnTo>
                  <a:lnTo>
                    <a:pt x="276" y="31"/>
                  </a:lnTo>
                  <a:lnTo>
                    <a:pt x="281" y="33"/>
                  </a:lnTo>
                  <a:lnTo>
                    <a:pt x="283" y="33"/>
                  </a:lnTo>
                  <a:lnTo>
                    <a:pt x="283" y="33"/>
                  </a:lnTo>
                  <a:lnTo>
                    <a:pt x="286" y="33"/>
                  </a:lnTo>
                  <a:lnTo>
                    <a:pt x="288" y="36"/>
                  </a:lnTo>
                  <a:lnTo>
                    <a:pt x="288" y="36"/>
                  </a:lnTo>
                  <a:lnTo>
                    <a:pt x="290" y="33"/>
                  </a:lnTo>
                  <a:lnTo>
                    <a:pt x="293" y="33"/>
                  </a:lnTo>
                  <a:lnTo>
                    <a:pt x="297" y="36"/>
                  </a:lnTo>
                  <a:lnTo>
                    <a:pt x="307" y="36"/>
                  </a:lnTo>
                  <a:lnTo>
                    <a:pt x="312" y="33"/>
                  </a:lnTo>
                  <a:lnTo>
                    <a:pt x="314" y="31"/>
                  </a:lnTo>
                  <a:lnTo>
                    <a:pt x="316" y="31"/>
                  </a:lnTo>
                  <a:lnTo>
                    <a:pt x="319" y="31"/>
                  </a:lnTo>
                  <a:lnTo>
                    <a:pt x="321" y="29"/>
                  </a:lnTo>
                  <a:lnTo>
                    <a:pt x="326" y="29"/>
                  </a:lnTo>
                  <a:lnTo>
                    <a:pt x="326" y="29"/>
                  </a:lnTo>
                  <a:lnTo>
                    <a:pt x="328" y="29"/>
                  </a:lnTo>
                  <a:lnTo>
                    <a:pt x="333" y="29"/>
                  </a:lnTo>
                  <a:lnTo>
                    <a:pt x="338" y="29"/>
                  </a:lnTo>
                  <a:lnTo>
                    <a:pt x="342" y="31"/>
                  </a:lnTo>
                  <a:lnTo>
                    <a:pt x="345" y="31"/>
                  </a:lnTo>
                  <a:lnTo>
                    <a:pt x="349" y="31"/>
                  </a:lnTo>
                  <a:lnTo>
                    <a:pt x="352" y="31"/>
                  </a:lnTo>
                  <a:lnTo>
                    <a:pt x="354" y="31"/>
                  </a:lnTo>
                  <a:lnTo>
                    <a:pt x="354" y="31"/>
                  </a:lnTo>
                  <a:lnTo>
                    <a:pt x="357" y="33"/>
                  </a:lnTo>
                  <a:lnTo>
                    <a:pt x="357" y="33"/>
                  </a:lnTo>
                  <a:lnTo>
                    <a:pt x="364" y="36"/>
                  </a:lnTo>
                  <a:lnTo>
                    <a:pt x="364" y="36"/>
                  </a:lnTo>
                  <a:lnTo>
                    <a:pt x="366" y="36"/>
                  </a:lnTo>
                  <a:lnTo>
                    <a:pt x="373" y="38"/>
                  </a:lnTo>
                  <a:lnTo>
                    <a:pt x="373" y="38"/>
                  </a:lnTo>
                  <a:lnTo>
                    <a:pt x="373" y="38"/>
                  </a:lnTo>
                  <a:lnTo>
                    <a:pt x="375" y="38"/>
                  </a:lnTo>
                  <a:lnTo>
                    <a:pt x="375" y="36"/>
                  </a:lnTo>
                  <a:lnTo>
                    <a:pt x="382" y="40"/>
                  </a:lnTo>
                  <a:lnTo>
                    <a:pt x="385" y="40"/>
                  </a:lnTo>
                  <a:lnTo>
                    <a:pt x="390" y="43"/>
                  </a:lnTo>
                  <a:lnTo>
                    <a:pt x="392" y="43"/>
                  </a:lnTo>
                  <a:lnTo>
                    <a:pt x="394" y="45"/>
                  </a:lnTo>
                  <a:lnTo>
                    <a:pt x="394" y="47"/>
                  </a:lnTo>
                  <a:lnTo>
                    <a:pt x="397" y="47"/>
                  </a:lnTo>
                  <a:lnTo>
                    <a:pt x="401" y="50"/>
                  </a:lnTo>
                  <a:lnTo>
                    <a:pt x="404" y="55"/>
                  </a:lnTo>
                  <a:lnTo>
                    <a:pt x="404" y="57"/>
                  </a:lnTo>
                  <a:lnTo>
                    <a:pt x="406" y="57"/>
                  </a:lnTo>
                  <a:lnTo>
                    <a:pt x="406" y="59"/>
                  </a:lnTo>
                  <a:lnTo>
                    <a:pt x="408" y="66"/>
                  </a:lnTo>
                  <a:lnTo>
                    <a:pt x="408" y="69"/>
                  </a:lnTo>
                  <a:lnTo>
                    <a:pt x="411" y="71"/>
                  </a:lnTo>
                  <a:lnTo>
                    <a:pt x="413" y="71"/>
                  </a:lnTo>
                  <a:lnTo>
                    <a:pt x="413" y="73"/>
                  </a:lnTo>
                  <a:lnTo>
                    <a:pt x="413" y="76"/>
                  </a:lnTo>
                  <a:lnTo>
                    <a:pt x="416" y="78"/>
                  </a:lnTo>
                  <a:lnTo>
                    <a:pt x="418" y="78"/>
                  </a:lnTo>
                  <a:lnTo>
                    <a:pt x="418" y="83"/>
                  </a:lnTo>
                  <a:lnTo>
                    <a:pt x="418" y="83"/>
                  </a:lnTo>
                  <a:lnTo>
                    <a:pt x="420" y="85"/>
                  </a:lnTo>
                  <a:lnTo>
                    <a:pt x="420" y="85"/>
                  </a:lnTo>
                  <a:lnTo>
                    <a:pt x="420" y="85"/>
                  </a:lnTo>
                  <a:lnTo>
                    <a:pt x="420" y="88"/>
                  </a:lnTo>
                  <a:lnTo>
                    <a:pt x="420" y="90"/>
                  </a:lnTo>
                  <a:lnTo>
                    <a:pt x="420" y="90"/>
                  </a:lnTo>
                  <a:lnTo>
                    <a:pt x="423" y="90"/>
                  </a:lnTo>
                  <a:lnTo>
                    <a:pt x="423" y="92"/>
                  </a:lnTo>
                  <a:lnTo>
                    <a:pt x="423" y="95"/>
                  </a:lnTo>
                  <a:lnTo>
                    <a:pt x="423" y="97"/>
                  </a:lnTo>
                  <a:lnTo>
                    <a:pt x="425" y="97"/>
                  </a:lnTo>
                  <a:lnTo>
                    <a:pt x="425" y="99"/>
                  </a:lnTo>
                  <a:lnTo>
                    <a:pt x="425" y="102"/>
                  </a:lnTo>
                  <a:lnTo>
                    <a:pt x="425" y="104"/>
                  </a:lnTo>
                  <a:lnTo>
                    <a:pt x="427" y="104"/>
                  </a:lnTo>
                  <a:lnTo>
                    <a:pt x="427" y="109"/>
                  </a:lnTo>
                  <a:lnTo>
                    <a:pt x="427" y="111"/>
                  </a:lnTo>
                  <a:lnTo>
                    <a:pt x="427" y="111"/>
                  </a:lnTo>
                  <a:lnTo>
                    <a:pt x="430" y="111"/>
                  </a:lnTo>
                  <a:lnTo>
                    <a:pt x="430" y="114"/>
                  </a:lnTo>
                  <a:lnTo>
                    <a:pt x="427" y="118"/>
                  </a:lnTo>
                  <a:lnTo>
                    <a:pt x="427" y="121"/>
                  </a:lnTo>
                  <a:lnTo>
                    <a:pt x="430" y="121"/>
                  </a:lnTo>
                  <a:lnTo>
                    <a:pt x="430" y="123"/>
                  </a:lnTo>
                  <a:lnTo>
                    <a:pt x="430" y="125"/>
                  </a:lnTo>
                  <a:lnTo>
                    <a:pt x="430" y="125"/>
                  </a:lnTo>
                  <a:lnTo>
                    <a:pt x="430" y="128"/>
                  </a:lnTo>
                  <a:lnTo>
                    <a:pt x="430" y="135"/>
                  </a:lnTo>
                  <a:lnTo>
                    <a:pt x="432" y="137"/>
                  </a:lnTo>
                  <a:lnTo>
                    <a:pt x="432" y="137"/>
                  </a:lnTo>
                  <a:lnTo>
                    <a:pt x="434" y="137"/>
                  </a:lnTo>
                  <a:lnTo>
                    <a:pt x="434" y="137"/>
                  </a:lnTo>
                  <a:lnTo>
                    <a:pt x="434" y="140"/>
                  </a:lnTo>
                  <a:lnTo>
                    <a:pt x="434" y="142"/>
                  </a:lnTo>
                  <a:lnTo>
                    <a:pt x="434" y="142"/>
                  </a:lnTo>
                  <a:lnTo>
                    <a:pt x="434" y="144"/>
                  </a:lnTo>
                  <a:lnTo>
                    <a:pt x="434" y="149"/>
                  </a:lnTo>
                  <a:lnTo>
                    <a:pt x="437" y="149"/>
                  </a:lnTo>
                  <a:lnTo>
                    <a:pt x="439" y="151"/>
                  </a:lnTo>
                  <a:lnTo>
                    <a:pt x="439" y="151"/>
                  </a:lnTo>
                  <a:lnTo>
                    <a:pt x="439" y="151"/>
                  </a:lnTo>
                  <a:lnTo>
                    <a:pt x="439" y="154"/>
                  </a:lnTo>
                  <a:lnTo>
                    <a:pt x="439" y="156"/>
                  </a:lnTo>
                  <a:lnTo>
                    <a:pt x="439" y="159"/>
                  </a:lnTo>
                  <a:lnTo>
                    <a:pt x="439" y="161"/>
                  </a:lnTo>
                  <a:lnTo>
                    <a:pt x="442" y="161"/>
                  </a:lnTo>
                  <a:lnTo>
                    <a:pt x="442" y="163"/>
                  </a:lnTo>
                  <a:lnTo>
                    <a:pt x="442" y="170"/>
                  </a:lnTo>
                  <a:lnTo>
                    <a:pt x="442" y="170"/>
                  </a:lnTo>
                  <a:lnTo>
                    <a:pt x="442" y="177"/>
                  </a:lnTo>
                  <a:lnTo>
                    <a:pt x="442" y="175"/>
                  </a:lnTo>
                  <a:lnTo>
                    <a:pt x="444" y="177"/>
                  </a:lnTo>
                  <a:lnTo>
                    <a:pt x="444" y="177"/>
                  </a:lnTo>
                  <a:lnTo>
                    <a:pt x="444" y="180"/>
                  </a:lnTo>
                  <a:lnTo>
                    <a:pt x="444" y="182"/>
                  </a:lnTo>
                  <a:lnTo>
                    <a:pt x="446" y="182"/>
                  </a:lnTo>
                  <a:lnTo>
                    <a:pt x="446" y="182"/>
                  </a:lnTo>
                  <a:lnTo>
                    <a:pt x="449" y="182"/>
                  </a:lnTo>
                  <a:lnTo>
                    <a:pt x="449" y="184"/>
                  </a:lnTo>
                  <a:lnTo>
                    <a:pt x="449" y="192"/>
                  </a:lnTo>
                  <a:lnTo>
                    <a:pt x="449" y="194"/>
                  </a:lnTo>
                  <a:lnTo>
                    <a:pt x="449" y="194"/>
                  </a:lnTo>
                  <a:lnTo>
                    <a:pt x="449" y="196"/>
                  </a:lnTo>
                  <a:lnTo>
                    <a:pt x="451" y="201"/>
                  </a:lnTo>
                  <a:lnTo>
                    <a:pt x="451" y="201"/>
                  </a:lnTo>
                  <a:lnTo>
                    <a:pt x="453" y="201"/>
                  </a:lnTo>
                  <a:lnTo>
                    <a:pt x="453" y="201"/>
                  </a:lnTo>
                  <a:lnTo>
                    <a:pt x="453" y="201"/>
                  </a:lnTo>
                  <a:lnTo>
                    <a:pt x="456" y="201"/>
                  </a:lnTo>
                  <a:lnTo>
                    <a:pt x="456" y="206"/>
                  </a:lnTo>
                  <a:lnTo>
                    <a:pt x="458" y="210"/>
                  </a:lnTo>
                  <a:lnTo>
                    <a:pt x="458" y="213"/>
                  </a:lnTo>
                  <a:lnTo>
                    <a:pt x="458" y="215"/>
                  </a:lnTo>
                  <a:lnTo>
                    <a:pt x="458" y="215"/>
                  </a:lnTo>
                  <a:lnTo>
                    <a:pt x="456" y="218"/>
                  </a:lnTo>
                  <a:lnTo>
                    <a:pt x="456" y="218"/>
                  </a:lnTo>
                  <a:lnTo>
                    <a:pt x="453" y="220"/>
                  </a:lnTo>
                  <a:lnTo>
                    <a:pt x="451" y="220"/>
                  </a:lnTo>
                  <a:lnTo>
                    <a:pt x="451" y="220"/>
                  </a:lnTo>
                  <a:lnTo>
                    <a:pt x="449" y="220"/>
                  </a:lnTo>
                  <a:lnTo>
                    <a:pt x="446" y="222"/>
                  </a:lnTo>
                  <a:lnTo>
                    <a:pt x="446" y="222"/>
                  </a:lnTo>
                  <a:lnTo>
                    <a:pt x="442" y="218"/>
                  </a:lnTo>
                  <a:lnTo>
                    <a:pt x="442" y="218"/>
                  </a:lnTo>
                  <a:lnTo>
                    <a:pt x="439" y="220"/>
                  </a:lnTo>
                  <a:lnTo>
                    <a:pt x="439" y="220"/>
                  </a:lnTo>
                  <a:lnTo>
                    <a:pt x="439" y="222"/>
                  </a:lnTo>
                  <a:lnTo>
                    <a:pt x="437" y="222"/>
                  </a:lnTo>
                  <a:lnTo>
                    <a:pt x="434" y="225"/>
                  </a:lnTo>
                  <a:lnTo>
                    <a:pt x="434" y="225"/>
                  </a:lnTo>
                  <a:lnTo>
                    <a:pt x="432" y="225"/>
                  </a:lnTo>
                  <a:lnTo>
                    <a:pt x="430" y="225"/>
                  </a:lnTo>
                  <a:lnTo>
                    <a:pt x="427" y="225"/>
                  </a:lnTo>
                  <a:lnTo>
                    <a:pt x="427" y="222"/>
                  </a:lnTo>
                  <a:lnTo>
                    <a:pt x="427" y="220"/>
                  </a:lnTo>
                  <a:lnTo>
                    <a:pt x="425" y="220"/>
                  </a:lnTo>
                  <a:lnTo>
                    <a:pt x="425" y="222"/>
                  </a:lnTo>
                  <a:lnTo>
                    <a:pt x="420" y="222"/>
                  </a:lnTo>
                  <a:lnTo>
                    <a:pt x="418" y="225"/>
                  </a:lnTo>
                  <a:lnTo>
                    <a:pt x="411" y="225"/>
                  </a:lnTo>
                  <a:lnTo>
                    <a:pt x="411" y="222"/>
                  </a:lnTo>
                  <a:lnTo>
                    <a:pt x="408" y="220"/>
                  </a:lnTo>
                  <a:lnTo>
                    <a:pt x="406" y="220"/>
                  </a:lnTo>
                  <a:lnTo>
                    <a:pt x="404" y="218"/>
                  </a:lnTo>
                  <a:lnTo>
                    <a:pt x="401" y="218"/>
                  </a:lnTo>
                  <a:lnTo>
                    <a:pt x="399" y="215"/>
                  </a:lnTo>
                  <a:lnTo>
                    <a:pt x="399" y="215"/>
                  </a:lnTo>
                  <a:lnTo>
                    <a:pt x="399" y="215"/>
                  </a:lnTo>
                  <a:lnTo>
                    <a:pt x="397" y="215"/>
                  </a:lnTo>
                  <a:lnTo>
                    <a:pt x="394" y="215"/>
                  </a:lnTo>
                  <a:lnTo>
                    <a:pt x="394" y="215"/>
                  </a:lnTo>
                  <a:lnTo>
                    <a:pt x="394" y="215"/>
                  </a:lnTo>
                  <a:lnTo>
                    <a:pt x="392" y="215"/>
                  </a:lnTo>
                  <a:lnTo>
                    <a:pt x="392" y="215"/>
                  </a:lnTo>
                  <a:lnTo>
                    <a:pt x="392" y="215"/>
                  </a:lnTo>
                  <a:lnTo>
                    <a:pt x="392" y="215"/>
                  </a:lnTo>
                  <a:lnTo>
                    <a:pt x="390" y="215"/>
                  </a:lnTo>
                  <a:lnTo>
                    <a:pt x="390" y="215"/>
                  </a:lnTo>
                  <a:lnTo>
                    <a:pt x="387" y="215"/>
                  </a:lnTo>
                  <a:lnTo>
                    <a:pt x="387" y="215"/>
                  </a:lnTo>
                  <a:lnTo>
                    <a:pt x="387" y="215"/>
                  </a:lnTo>
                  <a:lnTo>
                    <a:pt x="385" y="215"/>
                  </a:lnTo>
                  <a:lnTo>
                    <a:pt x="385" y="215"/>
                  </a:lnTo>
                  <a:lnTo>
                    <a:pt x="385" y="215"/>
                  </a:lnTo>
                  <a:lnTo>
                    <a:pt x="382" y="218"/>
                  </a:lnTo>
                  <a:lnTo>
                    <a:pt x="382" y="218"/>
                  </a:lnTo>
                  <a:lnTo>
                    <a:pt x="382" y="215"/>
                  </a:lnTo>
                  <a:lnTo>
                    <a:pt x="380" y="215"/>
                  </a:lnTo>
                  <a:lnTo>
                    <a:pt x="380" y="215"/>
                  </a:lnTo>
                  <a:lnTo>
                    <a:pt x="380" y="215"/>
                  </a:lnTo>
                  <a:lnTo>
                    <a:pt x="378" y="213"/>
                  </a:lnTo>
                  <a:lnTo>
                    <a:pt x="375" y="213"/>
                  </a:lnTo>
                  <a:lnTo>
                    <a:pt x="375" y="213"/>
                  </a:lnTo>
                  <a:lnTo>
                    <a:pt x="373" y="213"/>
                  </a:lnTo>
                  <a:lnTo>
                    <a:pt x="371" y="210"/>
                  </a:lnTo>
                  <a:lnTo>
                    <a:pt x="371" y="210"/>
                  </a:lnTo>
                  <a:lnTo>
                    <a:pt x="371" y="213"/>
                  </a:lnTo>
                  <a:lnTo>
                    <a:pt x="368" y="213"/>
                  </a:lnTo>
                  <a:lnTo>
                    <a:pt x="366" y="210"/>
                  </a:lnTo>
                  <a:lnTo>
                    <a:pt x="364" y="213"/>
                  </a:lnTo>
                  <a:lnTo>
                    <a:pt x="364" y="215"/>
                  </a:lnTo>
                  <a:lnTo>
                    <a:pt x="364" y="215"/>
                  </a:lnTo>
                  <a:lnTo>
                    <a:pt x="361" y="215"/>
                  </a:lnTo>
                  <a:lnTo>
                    <a:pt x="357" y="215"/>
                  </a:lnTo>
                  <a:lnTo>
                    <a:pt x="354" y="215"/>
                  </a:lnTo>
                  <a:lnTo>
                    <a:pt x="345" y="215"/>
                  </a:lnTo>
                  <a:lnTo>
                    <a:pt x="335" y="218"/>
                  </a:lnTo>
                  <a:lnTo>
                    <a:pt x="331" y="215"/>
                  </a:lnTo>
                  <a:lnTo>
                    <a:pt x="331" y="215"/>
                  </a:lnTo>
                  <a:lnTo>
                    <a:pt x="326" y="215"/>
                  </a:lnTo>
                  <a:lnTo>
                    <a:pt x="326" y="215"/>
                  </a:lnTo>
                  <a:lnTo>
                    <a:pt x="326" y="213"/>
                  </a:lnTo>
                  <a:lnTo>
                    <a:pt x="326" y="213"/>
                  </a:lnTo>
                  <a:lnTo>
                    <a:pt x="321" y="210"/>
                  </a:lnTo>
                  <a:lnTo>
                    <a:pt x="321" y="210"/>
                  </a:lnTo>
                  <a:lnTo>
                    <a:pt x="319" y="206"/>
                  </a:lnTo>
                  <a:lnTo>
                    <a:pt x="319" y="206"/>
                  </a:lnTo>
                  <a:lnTo>
                    <a:pt x="319" y="206"/>
                  </a:lnTo>
                  <a:lnTo>
                    <a:pt x="319" y="206"/>
                  </a:lnTo>
                  <a:lnTo>
                    <a:pt x="316" y="206"/>
                  </a:lnTo>
                  <a:lnTo>
                    <a:pt x="316" y="206"/>
                  </a:lnTo>
                  <a:lnTo>
                    <a:pt x="314" y="208"/>
                  </a:lnTo>
                  <a:lnTo>
                    <a:pt x="314" y="208"/>
                  </a:lnTo>
                  <a:lnTo>
                    <a:pt x="312" y="208"/>
                  </a:lnTo>
                  <a:lnTo>
                    <a:pt x="312" y="208"/>
                  </a:lnTo>
                  <a:lnTo>
                    <a:pt x="309" y="208"/>
                  </a:lnTo>
                  <a:lnTo>
                    <a:pt x="309" y="208"/>
                  </a:lnTo>
                  <a:lnTo>
                    <a:pt x="305" y="210"/>
                  </a:lnTo>
                  <a:lnTo>
                    <a:pt x="300" y="210"/>
                  </a:lnTo>
                  <a:lnTo>
                    <a:pt x="300" y="210"/>
                  </a:lnTo>
                  <a:lnTo>
                    <a:pt x="295" y="210"/>
                  </a:lnTo>
                  <a:lnTo>
                    <a:pt x="295" y="206"/>
                  </a:lnTo>
                  <a:lnTo>
                    <a:pt x="293" y="206"/>
                  </a:lnTo>
                  <a:lnTo>
                    <a:pt x="290" y="203"/>
                  </a:lnTo>
                  <a:lnTo>
                    <a:pt x="290" y="203"/>
                  </a:lnTo>
                  <a:lnTo>
                    <a:pt x="290" y="203"/>
                  </a:lnTo>
                  <a:lnTo>
                    <a:pt x="290" y="201"/>
                  </a:lnTo>
                  <a:lnTo>
                    <a:pt x="290" y="201"/>
                  </a:lnTo>
                  <a:lnTo>
                    <a:pt x="290" y="199"/>
                  </a:lnTo>
                  <a:lnTo>
                    <a:pt x="290" y="194"/>
                  </a:lnTo>
                  <a:lnTo>
                    <a:pt x="290" y="194"/>
                  </a:lnTo>
                  <a:lnTo>
                    <a:pt x="290" y="192"/>
                  </a:lnTo>
                  <a:lnTo>
                    <a:pt x="288" y="189"/>
                  </a:lnTo>
                  <a:lnTo>
                    <a:pt x="283" y="192"/>
                  </a:lnTo>
                  <a:lnTo>
                    <a:pt x="281" y="194"/>
                  </a:lnTo>
                  <a:lnTo>
                    <a:pt x="276" y="192"/>
                  </a:lnTo>
                  <a:lnTo>
                    <a:pt x="271" y="201"/>
                  </a:lnTo>
                  <a:lnTo>
                    <a:pt x="269" y="201"/>
                  </a:lnTo>
                  <a:lnTo>
                    <a:pt x="264" y="199"/>
                  </a:lnTo>
                  <a:lnTo>
                    <a:pt x="262" y="203"/>
                  </a:lnTo>
                  <a:lnTo>
                    <a:pt x="262" y="206"/>
                  </a:lnTo>
                  <a:lnTo>
                    <a:pt x="260" y="210"/>
                  </a:lnTo>
                  <a:lnTo>
                    <a:pt x="260" y="210"/>
                  </a:lnTo>
                  <a:lnTo>
                    <a:pt x="260" y="213"/>
                  </a:lnTo>
                  <a:lnTo>
                    <a:pt x="260" y="215"/>
                  </a:lnTo>
                  <a:lnTo>
                    <a:pt x="260" y="218"/>
                  </a:lnTo>
                  <a:lnTo>
                    <a:pt x="262" y="218"/>
                  </a:lnTo>
                  <a:lnTo>
                    <a:pt x="264" y="220"/>
                  </a:lnTo>
                  <a:lnTo>
                    <a:pt x="264" y="220"/>
                  </a:lnTo>
                  <a:lnTo>
                    <a:pt x="267" y="222"/>
                  </a:lnTo>
                  <a:lnTo>
                    <a:pt x="267" y="225"/>
                  </a:lnTo>
                  <a:lnTo>
                    <a:pt x="269" y="225"/>
                  </a:lnTo>
                  <a:lnTo>
                    <a:pt x="269" y="225"/>
                  </a:lnTo>
                  <a:lnTo>
                    <a:pt x="271" y="225"/>
                  </a:lnTo>
                  <a:lnTo>
                    <a:pt x="271" y="232"/>
                  </a:lnTo>
                  <a:lnTo>
                    <a:pt x="271" y="234"/>
                  </a:lnTo>
                  <a:lnTo>
                    <a:pt x="271" y="234"/>
                  </a:lnTo>
                  <a:lnTo>
                    <a:pt x="269" y="234"/>
                  </a:lnTo>
                  <a:lnTo>
                    <a:pt x="269" y="234"/>
                  </a:lnTo>
                  <a:lnTo>
                    <a:pt x="267" y="232"/>
                  </a:lnTo>
                  <a:lnTo>
                    <a:pt x="262" y="232"/>
                  </a:lnTo>
                  <a:lnTo>
                    <a:pt x="262" y="229"/>
                  </a:lnTo>
                  <a:lnTo>
                    <a:pt x="260" y="232"/>
                  </a:lnTo>
                  <a:lnTo>
                    <a:pt x="262" y="232"/>
                  </a:lnTo>
                  <a:lnTo>
                    <a:pt x="257" y="239"/>
                  </a:lnTo>
                  <a:lnTo>
                    <a:pt x="257" y="244"/>
                  </a:lnTo>
                  <a:lnTo>
                    <a:pt x="255" y="246"/>
                  </a:lnTo>
                  <a:lnTo>
                    <a:pt x="257" y="248"/>
                  </a:lnTo>
                  <a:lnTo>
                    <a:pt x="260" y="248"/>
                  </a:lnTo>
                  <a:lnTo>
                    <a:pt x="260" y="248"/>
                  </a:lnTo>
                  <a:lnTo>
                    <a:pt x="260" y="251"/>
                  </a:lnTo>
                  <a:lnTo>
                    <a:pt x="262" y="251"/>
                  </a:lnTo>
                  <a:lnTo>
                    <a:pt x="262" y="251"/>
                  </a:lnTo>
                  <a:lnTo>
                    <a:pt x="262" y="251"/>
                  </a:lnTo>
                  <a:lnTo>
                    <a:pt x="264" y="255"/>
                  </a:lnTo>
                  <a:lnTo>
                    <a:pt x="262" y="260"/>
                  </a:lnTo>
                  <a:lnTo>
                    <a:pt x="262" y="260"/>
                  </a:lnTo>
                  <a:lnTo>
                    <a:pt x="260" y="260"/>
                  </a:lnTo>
                  <a:lnTo>
                    <a:pt x="257" y="262"/>
                  </a:lnTo>
                  <a:lnTo>
                    <a:pt x="255" y="262"/>
                  </a:lnTo>
                  <a:lnTo>
                    <a:pt x="255" y="265"/>
                  </a:lnTo>
                  <a:lnTo>
                    <a:pt x="255" y="265"/>
                  </a:lnTo>
                  <a:lnTo>
                    <a:pt x="255" y="267"/>
                  </a:lnTo>
                  <a:lnTo>
                    <a:pt x="255" y="267"/>
                  </a:lnTo>
                  <a:lnTo>
                    <a:pt x="250" y="274"/>
                  </a:lnTo>
                  <a:lnTo>
                    <a:pt x="248" y="274"/>
                  </a:lnTo>
                  <a:lnTo>
                    <a:pt x="245" y="274"/>
                  </a:lnTo>
                  <a:lnTo>
                    <a:pt x="243" y="274"/>
                  </a:lnTo>
                  <a:lnTo>
                    <a:pt x="238" y="274"/>
                  </a:lnTo>
                  <a:lnTo>
                    <a:pt x="236" y="281"/>
                  </a:lnTo>
                  <a:lnTo>
                    <a:pt x="236" y="281"/>
                  </a:lnTo>
                  <a:lnTo>
                    <a:pt x="234" y="279"/>
                  </a:lnTo>
                  <a:lnTo>
                    <a:pt x="229" y="274"/>
                  </a:lnTo>
                  <a:lnTo>
                    <a:pt x="231" y="272"/>
                  </a:lnTo>
                  <a:lnTo>
                    <a:pt x="231" y="270"/>
                  </a:lnTo>
                  <a:lnTo>
                    <a:pt x="234" y="267"/>
                  </a:lnTo>
                  <a:lnTo>
                    <a:pt x="234" y="262"/>
                  </a:lnTo>
                  <a:lnTo>
                    <a:pt x="229" y="262"/>
                  </a:lnTo>
                  <a:lnTo>
                    <a:pt x="229" y="255"/>
                  </a:lnTo>
                  <a:lnTo>
                    <a:pt x="219" y="248"/>
                  </a:lnTo>
                  <a:lnTo>
                    <a:pt x="217" y="251"/>
                  </a:lnTo>
                  <a:lnTo>
                    <a:pt x="212" y="251"/>
                  </a:lnTo>
                  <a:lnTo>
                    <a:pt x="210" y="251"/>
                  </a:lnTo>
                  <a:lnTo>
                    <a:pt x="208" y="253"/>
                  </a:lnTo>
                  <a:lnTo>
                    <a:pt x="205" y="255"/>
                  </a:lnTo>
                  <a:lnTo>
                    <a:pt x="205" y="255"/>
                  </a:lnTo>
                  <a:lnTo>
                    <a:pt x="205" y="255"/>
                  </a:lnTo>
                  <a:lnTo>
                    <a:pt x="205" y="255"/>
                  </a:lnTo>
                  <a:lnTo>
                    <a:pt x="205" y="253"/>
                  </a:lnTo>
                  <a:lnTo>
                    <a:pt x="203" y="251"/>
                  </a:lnTo>
                  <a:lnTo>
                    <a:pt x="203" y="251"/>
                  </a:lnTo>
                  <a:lnTo>
                    <a:pt x="203" y="248"/>
                  </a:lnTo>
                  <a:lnTo>
                    <a:pt x="201" y="246"/>
                  </a:lnTo>
                  <a:lnTo>
                    <a:pt x="201" y="246"/>
                  </a:lnTo>
                  <a:lnTo>
                    <a:pt x="196" y="248"/>
                  </a:lnTo>
                  <a:lnTo>
                    <a:pt x="196" y="251"/>
                  </a:lnTo>
                  <a:lnTo>
                    <a:pt x="191" y="251"/>
                  </a:lnTo>
                  <a:lnTo>
                    <a:pt x="191" y="251"/>
                  </a:lnTo>
                  <a:lnTo>
                    <a:pt x="184" y="253"/>
                  </a:lnTo>
                  <a:lnTo>
                    <a:pt x="184" y="253"/>
                  </a:lnTo>
                  <a:lnTo>
                    <a:pt x="182" y="258"/>
                  </a:lnTo>
                  <a:lnTo>
                    <a:pt x="175" y="260"/>
                  </a:lnTo>
                  <a:lnTo>
                    <a:pt x="170" y="260"/>
                  </a:lnTo>
                  <a:lnTo>
                    <a:pt x="168" y="258"/>
                  </a:lnTo>
                  <a:lnTo>
                    <a:pt x="168" y="258"/>
                  </a:lnTo>
                  <a:lnTo>
                    <a:pt x="168" y="255"/>
                  </a:lnTo>
                  <a:lnTo>
                    <a:pt x="168" y="255"/>
                  </a:lnTo>
                  <a:lnTo>
                    <a:pt x="165" y="253"/>
                  </a:lnTo>
                  <a:lnTo>
                    <a:pt x="165" y="251"/>
                  </a:lnTo>
                  <a:lnTo>
                    <a:pt x="165" y="248"/>
                  </a:lnTo>
                  <a:lnTo>
                    <a:pt x="165" y="248"/>
                  </a:lnTo>
                  <a:lnTo>
                    <a:pt x="163" y="246"/>
                  </a:lnTo>
                  <a:lnTo>
                    <a:pt x="163" y="244"/>
                  </a:lnTo>
                  <a:lnTo>
                    <a:pt x="160" y="244"/>
                  </a:lnTo>
                  <a:lnTo>
                    <a:pt x="156" y="244"/>
                  </a:lnTo>
                  <a:lnTo>
                    <a:pt x="151" y="244"/>
                  </a:lnTo>
                  <a:lnTo>
                    <a:pt x="149" y="244"/>
                  </a:lnTo>
                  <a:lnTo>
                    <a:pt x="139" y="246"/>
                  </a:lnTo>
                  <a:lnTo>
                    <a:pt x="142" y="241"/>
                  </a:lnTo>
                  <a:lnTo>
                    <a:pt x="139" y="241"/>
                  </a:lnTo>
                  <a:lnTo>
                    <a:pt x="142" y="239"/>
                  </a:lnTo>
                  <a:lnTo>
                    <a:pt x="139" y="236"/>
                  </a:lnTo>
                  <a:lnTo>
                    <a:pt x="139" y="234"/>
                  </a:lnTo>
                  <a:lnTo>
                    <a:pt x="139" y="232"/>
                  </a:lnTo>
                  <a:lnTo>
                    <a:pt x="139" y="232"/>
                  </a:lnTo>
                  <a:lnTo>
                    <a:pt x="139" y="229"/>
                  </a:lnTo>
                  <a:lnTo>
                    <a:pt x="139" y="227"/>
                  </a:lnTo>
                  <a:lnTo>
                    <a:pt x="139" y="225"/>
                  </a:lnTo>
                  <a:lnTo>
                    <a:pt x="139" y="225"/>
                  </a:lnTo>
                  <a:lnTo>
                    <a:pt x="142" y="222"/>
                  </a:lnTo>
                  <a:lnTo>
                    <a:pt x="142" y="222"/>
                  </a:lnTo>
                  <a:lnTo>
                    <a:pt x="144" y="222"/>
                  </a:lnTo>
                  <a:lnTo>
                    <a:pt x="144" y="222"/>
                  </a:lnTo>
                  <a:lnTo>
                    <a:pt x="146" y="222"/>
                  </a:lnTo>
                  <a:lnTo>
                    <a:pt x="151" y="220"/>
                  </a:lnTo>
                  <a:lnTo>
                    <a:pt x="151" y="213"/>
                  </a:lnTo>
                  <a:lnTo>
                    <a:pt x="151" y="210"/>
                  </a:lnTo>
                  <a:lnTo>
                    <a:pt x="151" y="208"/>
                  </a:lnTo>
                  <a:lnTo>
                    <a:pt x="151" y="206"/>
                  </a:lnTo>
                  <a:lnTo>
                    <a:pt x="151" y="206"/>
                  </a:lnTo>
                  <a:lnTo>
                    <a:pt x="151" y="203"/>
                  </a:lnTo>
                  <a:lnTo>
                    <a:pt x="151" y="203"/>
                  </a:lnTo>
                  <a:lnTo>
                    <a:pt x="151" y="203"/>
                  </a:lnTo>
                  <a:lnTo>
                    <a:pt x="153" y="201"/>
                  </a:lnTo>
                  <a:lnTo>
                    <a:pt x="153" y="196"/>
                  </a:lnTo>
                  <a:lnTo>
                    <a:pt x="153" y="194"/>
                  </a:lnTo>
                  <a:lnTo>
                    <a:pt x="153" y="194"/>
                  </a:lnTo>
                  <a:lnTo>
                    <a:pt x="158" y="194"/>
                  </a:lnTo>
                  <a:lnTo>
                    <a:pt x="158" y="192"/>
                  </a:lnTo>
                  <a:lnTo>
                    <a:pt x="160" y="189"/>
                  </a:lnTo>
                  <a:lnTo>
                    <a:pt x="160" y="189"/>
                  </a:lnTo>
                  <a:lnTo>
                    <a:pt x="163" y="189"/>
                  </a:lnTo>
                  <a:lnTo>
                    <a:pt x="165" y="189"/>
                  </a:lnTo>
                  <a:lnTo>
                    <a:pt x="165" y="184"/>
                  </a:lnTo>
                  <a:lnTo>
                    <a:pt x="168" y="182"/>
                  </a:lnTo>
                  <a:lnTo>
                    <a:pt x="170" y="182"/>
                  </a:lnTo>
                  <a:lnTo>
                    <a:pt x="170" y="182"/>
                  </a:lnTo>
                  <a:lnTo>
                    <a:pt x="172" y="180"/>
                  </a:lnTo>
                  <a:lnTo>
                    <a:pt x="175" y="180"/>
                  </a:lnTo>
                  <a:lnTo>
                    <a:pt x="175" y="177"/>
                  </a:lnTo>
                  <a:lnTo>
                    <a:pt x="175" y="177"/>
                  </a:lnTo>
                  <a:lnTo>
                    <a:pt x="179" y="175"/>
                  </a:lnTo>
                  <a:lnTo>
                    <a:pt x="179" y="175"/>
                  </a:lnTo>
                  <a:lnTo>
                    <a:pt x="179" y="173"/>
                  </a:lnTo>
                  <a:lnTo>
                    <a:pt x="179" y="173"/>
                  </a:lnTo>
                  <a:lnTo>
                    <a:pt x="177" y="173"/>
                  </a:lnTo>
                  <a:lnTo>
                    <a:pt x="179" y="168"/>
                  </a:lnTo>
                  <a:lnTo>
                    <a:pt x="179" y="166"/>
                  </a:lnTo>
                  <a:lnTo>
                    <a:pt x="179" y="163"/>
                  </a:lnTo>
                  <a:lnTo>
                    <a:pt x="177" y="159"/>
                  </a:lnTo>
                  <a:lnTo>
                    <a:pt x="179" y="159"/>
                  </a:lnTo>
                  <a:lnTo>
                    <a:pt x="175" y="159"/>
                  </a:lnTo>
                  <a:lnTo>
                    <a:pt x="175" y="159"/>
                  </a:lnTo>
                  <a:lnTo>
                    <a:pt x="172" y="159"/>
                  </a:lnTo>
                  <a:lnTo>
                    <a:pt x="170" y="156"/>
                  </a:lnTo>
                  <a:lnTo>
                    <a:pt x="170" y="156"/>
                  </a:lnTo>
                  <a:lnTo>
                    <a:pt x="168" y="156"/>
                  </a:lnTo>
                  <a:lnTo>
                    <a:pt x="168" y="156"/>
                  </a:lnTo>
                  <a:lnTo>
                    <a:pt x="165" y="159"/>
                  </a:lnTo>
                  <a:lnTo>
                    <a:pt x="165" y="161"/>
                  </a:lnTo>
                  <a:lnTo>
                    <a:pt x="163" y="161"/>
                  </a:lnTo>
                  <a:lnTo>
                    <a:pt x="163" y="159"/>
                  </a:lnTo>
                  <a:lnTo>
                    <a:pt x="160" y="161"/>
                  </a:lnTo>
                  <a:lnTo>
                    <a:pt x="158" y="161"/>
                  </a:lnTo>
                  <a:lnTo>
                    <a:pt x="156" y="163"/>
                  </a:lnTo>
                  <a:lnTo>
                    <a:pt x="153" y="163"/>
                  </a:lnTo>
                  <a:lnTo>
                    <a:pt x="151" y="163"/>
                  </a:lnTo>
                  <a:lnTo>
                    <a:pt x="151" y="168"/>
                  </a:lnTo>
                  <a:lnTo>
                    <a:pt x="149" y="168"/>
                  </a:lnTo>
                  <a:lnTo>
                    <a:pt x="146" y="168"/>
                  </a:lnTo>
                  <a:lnTo>
                    <a:pt x="144" y="168"/>
                  </a:lnTo>
                  <a:lnTo>
                    <a:pt x="142" y="168"/>
                  </a:lnTo>
                  <a:lnTo>
                    <a:pt x="142" y="173"/>
                  </a:lnTo>
                  <a:lnTo>
                    <a:pt x="139" y="173"/>
                  </a:lnTo>
                  <a:lnTo>
                    <a:pt x="137" y="173"/>
                  </a:lnTo>
                  <a:lnTo>
                    <a:pt x="137" y="173"/>
                  </a:lnTo>
                  <a:lnTo>
                    <a:pt x="137" y="173"/>
                  </a:lnTo>
                  <a:lnTo>
                    <a:pt x="134" y="173"/>
                  </a:lnTo>
                  <a:lnTo>
                    <a:pt x="132" y="173"/>
                  </a:lnTo>
                  <a:lnTo>
                    <a:pt x="132" y="175"/>
                  </a:lnTo>
                  <a:lnTo>
                    <a:pt x="130" y="175"/>
                  </a:lnTo>
                  <a:lnTo>
                    <a:pt x="127" y="173"/>
                  </a:lnTo>
                  <a:lnTo>
                    <a:pt x="125" y="175"/>
                  </a:lnTo>
                  <a:lnTo>
                    <a:pt x="125" y="175"/>
                  </a:lnTo>
                  <a:lnTo>
                    <a:pt x="123" y="175"/>
                  </a:lnTo>
                  <a:lnTo>
                    <a:pt x="118" y="175"/>
                  </a:lnTo>
                  <a:lnTo>
                    <a:pt x="118" y="177"/>
                  </a:lnTo>
                  <a:lnTo>
                    <a:pt x="113" y="177"/>
                  </a:lnTo>
                  <a:lnTo>
                    <a:pt x="111" y="177"/>
                  </a:lnTo>
                  <a:lnTo>
                    <a:pt x="111" y="175"/>
                  </a:lnTo>
                  <a:lnTo>
                    <a:pt x="108" y="175"/>
                  </a:lnTo>
                  <a:lnTo>
                    <a:pt x="106" y="177"/>
                  </a:lnTo>
                  <a:lnTo>
                    <a:pt x="104" y="180"/>
                  </a:lnTo>
                  <a:lnTo>
                    <a:pt x="104" y="182"/>
                  </a:lnTo>
                  <a:lnTo>
                    <a:pt x="104" y="182"/>
                  </a:lnTo>
                  <a:lnTo>
                    <a:pt x="101" y="182"/>
                  </a:lnTo>
                  <a:lnTo>
                    <a:pt x="104" y="184"/>
                  </a:lnTo>
                  <a:lnTo>
                    <a:pt x="101" y="184"/>
                  </a:lnTo>
                  <a:lnTo>
                    <a:pt x="104" y="187"/>
                  </a:lnTo>
                  <a:lnTo>
                    <a:pt x="104" y="187"/>
                  </a:lnTo>
                  <a:lnTo>
                    <a:pt x="104" y="189"/>
                  </a:lnTo>
                  <a:lnTo>
                    <a:pt x="104" y="192"/>
                  </a:lnTo>
                  <a:lnTo>
                    <a:pt x="104" y="192"/>
                  </a:lnTo>
                  <a:lnTo>
                    <a:pt x="101" y="192"/>
                  </a:lnTo>
                  <a:lnTo>
                    <a:pt x="99" y="192"/>
                  </a:lnTo>
                  <a:lnTo>
                    <a:pt x="97" y="192"/>
                  </a:lnTo>
                  <a:lnTo>
                    <a:pt x="97" y="194"/>
                  </a:lnTo>
                  <a:lnTo>
                    <a:pt x="97" y="194"/>
                  </a:lnTo>
                  <a:lnTo>
                    <a:pt x="97" y="194"/>
                  </a:lnTo>
                  <a:lnTo>
                    <a:pt x="94" y="194"/>
                  </a:lnTo>
                  <a:lnTo>
                    <a:pt x="92" y="196"/>
                  </a:lnTo>
                  <a:lnTo>
                    <a:pt x="94" y="196"/>
                  </a:lnTo>
                  <a:lnTo>
                    <a:pt x="92" y="199"/>
                  </a:lnTo>
                  <a:lnTo>
                    <a:pt x="92" y="201"/>
                  </a:lnTo>
                  <a:lnTo>
                    <a:pt x="92" y="201"/>
                  </a:lnTo>
                  <a:lnTo>
                    <a:pt x="90" y="201"/>
                  </a:lnTo>
                  <a:lnTo>
                    <a:pt x="87" y="201"/>
                  </a:lnTo>
                  <a:lnTo>
                    <a:pt x="87" y="203"/>
                  </a:lnTo>
                  <a:lnTo>
                    <a:pt x="87" y="203"/>
                  </a:lnTo>
                  <a:lnTo>
                    <a:pt x="87" y="206"/>
                  </a:lnTo>
                  <a:lnTo>
                    <a:pt x="85" y="206"/>
                  </a:lnTo>
                  <a:lnTo>
                    <a:pt x="82" y="206"/>
                  </a:lnTo>
                  <a:lnTo>
                    <a:pt x="82" y="208"/>
                  </a:lnTo>
                  <a:lnTo>
                    <a:pt x="80" y="208"/>
                  </a:lnTo>
                  <a:lnTo>
                    <a:pt x="78" y="206"/>
                  </a:lnTo>
                  <a:lnTo>
                    <a:pt x="78" y="206"/>
                  </a:lnTo>
                  <a:lnTo>
                    <a:pt x="78" y="206"/>
                  </a:lnTo>
                  <a:lnTo>
                    <a:pt x="78" y="208"/>
                  </a:lnTo>
                  <a:lnTo>
                    <a:pt x="75" y="208"/>
                  </a:lnTo>
                  <a:lnTo>
                    <a:pt x="71" y="208"/>
                  </a:lnTo>
                  <a:lnTo>
                    <a:pt x="73" y="210"/>
                  </a:lnTo>
                  <a:lnTo>
                    <a:pt x="71" y="210"/>
                  </a:lnTo>
                  <a:lnTo>
                    <a:pt x="71" y="213"/>
                  </a:lnTo>
                  <a:lnTo>
                    <a:pt x="71" y="213"/>
                  </a:lnTo>
                  <a:lnTo>
                    <a:pt x="71" y="215"/>
                  </a:lnTo>
                  <a:lnTo>
                    <a:pt x="68" y="215"/>
                  </a:lnTo>
                  <a:lnTo>
                    <a:pt x="68" y="215"/>
                  </a:lnTo>
                  <a:lnTo>
                    <a:pt x="68" y="213"/>
                  </a:lnTo>
                  <a:lnTo>
                    <a:pt x="68" y="213"/>
                  </a:lnTo>
                  <a:lnTo>
                    <a:pt x="68" y="210"/>
                  </a:lnTo>
                  <a:lnTo>
                    <a:pt x="66" y="210"/>
                  </a:lnTo>
                  <a:lnTo>
                    <a:pt x="66" y="213"/>
                  </a:lnTo>
                  <a:lnTo>
                    <a:pt x="66" y="213"/>
                  </a:lnTo>
                  <a:lnTo>
                    <a:pt x="66" y="213"/>
                  </a:lnTo>
                  <a:lnTo>
                    <a:pt x="64" y="213"/>
                  </a:lnTo>
                  <a:lnTo>
                    <a:pt x="64" y="213"/>
                  </a:lnTo>
                  <a:lnTo>
                    <a:pt x="64" y="215"/>
                  </a:lnTo>
                  <a:lnTo>
                    <a:pt x="61" y="218"/>
                  </a:lnTo>
                  <a:lnTo>
                    <a:pt x="61" y="220"/>
                  </a:lnTo>
                  <a:lnTo>
                    <a:pt x="59" y="220"/>
                  </a:lnTo>
                  <a:lnTo>
                    <a:pt x="59" y="220"/>
                  </a:lnTo>
                  <a:lnTo>
                    <a:pt x="56" y="220"/>
                  </a:lnTo>
                  <a:lnTo>
                    <a:pt x="54" y="218"/>
                  </a:lnTo>
                  <a:lnTo>
                    <a:pt x="52" y="218"/>
                  </a:lnTo>
                  <a:lnTo>
                    <a:pt x="49" y="218"/>
                  </a:lnTo>
                  <a:lnTo>
                    <a:pt x="47" y="215"/>
                  </a:lnTo>
                  <a:lnTo>
                    <a:pt x="45" y="215"/>
                  </a:lnTo>
                  <a:lnTo>
                    <a:pt x="42" y="215"/>
                  </a:lnTo>
                  <a:lnTo>
                    <a:pt x="42" y="215"/>
                  </a:lnTo>
                  <a:lnTo>
                    <a:pt x="40" y="215"/>
                  </a:lnTo>
                  <a:lnTo>
                    <a:pt x="35" y="220"/>
                  </a:lnTo>
                  <a:lnTo>
                    <a:pt x="35" y="215"/>
                  </a:lnTo>
                  <a:lnTo>
                    <a:pt x="33" y="215"/>
                  </a:lnTo>
                  <a:lnTo>
                    <a:pt x="33" y="215"/>
                  </a:lnTo>
                  <a:lnTo>
                    <a:pt x="31" y="213"/>
                  </a:lnTo>
                  <a:lnTo>
                    <a:pt x="31" y="213"/>
                  </a:lnTo>
                  <a:lnTo>
                    <a:pt x="31" y="213"/>
                  </a:lnTo>
                  <a:lnTo>
                    <a:pt x="28" y="213"/>
                  </a:lnTo>
                  <a:lnTo>
                    <a:pt x="28" y="213"/>
                  </a:lnTo>
                  <a:lnTo>
                    <a:pt x="26" y="213"/>
                  </a:lnTo>
                  <a:lnTo>
                    <a:pt x="26" y="213"/>
                  </a:lnTo>
                  <a:lnTo>
                    <a:pt x="26" y="210"/>
                  </a:lnTo>
                  <a:lnTo>
                    <a:pt x="26" y="210"/>
                  </a:lnTo>
                  <a:lnTo>
                    <a:pt x="23" y="208"/>
                  </a:lnTo>
                  <a:lnTo>
                    <a:pt x="23" y="206"/>
                  </a:lnTo>
                  <a:lnTo>
                    <a:pt x="23" y="206"/>
                  </a:lnTo>
                  <a:lnTo>
                    <a:pt x="21" y="206"/>
                  </a:lnTo>
                  <a:lnTo>
                    <a:pt x="19" y="206"/>
                  </a:lnTo>
                  <a:lnTo>
                    <a:pt x="16" y="206"/>
                  </a:lnTo>
                  <a:lnTo>
                    <a:pt x="16" y="203"/>
                  </a:lnTo>
                  <a:lnTo>
                    <a:pt x="14" y="203"/>
                  </a:lnTo>
                  <a:lnTo>
                    <a:pt x="12" y="206"/>
                  </a:lnTo>
                  <a:lnTo>
                    <a:pt x="12" y="203"/>
                  </a:lnTo>
                  <a:lnTo>
                    <a:pt x="12" y="201"/>
                  </a:lnTo>
                  <a:lnTo>
                    <a:pt x="14" y="199"/>
                  </a:lnTo>
                  <a:lnTo>
                    <a:pt x="14" y="196"/>
                  </a:lnTo>
                  <a:lnTo>
                    <a:pt x="14" y="196"/>
                  </a:lnTo>
                  <a:lnTo>
                    <a:pt x="12" y="196"/>
                  </a:lnTo>
                  <a:lnTo>
                    <a:pt x="12" y="196"/>
                  </a:lnTo>
                  <a:lnTo>
                    <a:pt x="9" y="199"/>
                  </a:lnTo>
                  <a:lnTo>
                    <a:pt x="7" y="199"/>
                  </a:lnTo>
                  <a:lnTo>
                    <a:pt x="7" y="199"/>
                  </a:lnTo>
                  <a:lnTo>
                    <a:pt x="5" y="196"/>
                  </a:lnTo>
                  <a:lnTo>
                    <a:pt x="5" y="196"/>
                  </a:lnTo>
                  <a:lnTo>
                    <a:pt x="5" y="199"/>
                  </a:lnTo>
                  <a:lnTo>
                    <a:pt x="5" y="199"/>
                  </a:lnTo>
                  <a:lnTo>
                    <a:pt x="2" y="199"/>
                  </a:lnTo>
                  <a:lnTo>
                    <a:pt x="0" y="199"/>
                  </a:lnTo>
                  <a:lnTo>
                    <a:pt x="0" y="196"/>
                  </a:lnTo>
                  <a:lnTo>
                    <a:pt x="0" y="194"/>
                  </a:lnTo>
                  <a:lnTo>
                    <a:pt x="0" y="192"/>
                  </a:lnTo>
                  <a:lnTo>
                    <a:pt x="0" y="192"/>
                  </a:lnTo>
                  <a:lnTo>
                    <a:pt x="0" y="189"/>
                  </a:lnTo>
                  <a:lnTo>
                    <a:pt x="0" y="189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 cap="flat">
              <a:solidFill>
                <a:schemeClr val="bg2">
                  <a:lumMod val="7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>
                <a:solidFill>
                  <a:srgbClr val="000000"/>
                </a:solidFill>
              </a:endParaRPr>
            </a:p>
          </p:txBody>
        </p:sp>
        <p:sp>
          <p:nvSpPr>
            <p:cNvPr id="99" name="Freeform 37"/>
            <p:cNvSpPr>
              <a:spLocks/>
            </p:cNvSpPr>
            <p:nvPr/>
          </p:nvSpPr>
          <p:spPr bwMode="gray">
            <a:xfrm>
              <a:off x="3849533" y="3930993"/>
              <a:ext cx="189082" cy="235477"/>
            </a:xfrm>
            <a:custGeom>
              <a:avLst/>
              <a:gdLst/>
              <a:ahLst/>
              <a:cxnLst>
                <a:cxn ang="0">
                  <a:pos x="5" y="156"/>
                </a:cxn>
                <a:cxn ang="0">
                  <a:pos x="17" y="156"/>
                </a:cxn>
                <a:cxn ang="0">
                  <a:pos x="26" y="158"/>
                </a:cxn>
                <a:cxn ang="0">
                  <a:pos x="52" y="139"/>
                </a:cxn>
                <a:cxn ang="0">
                  <a:pos x="55" y="135"/>
                </a:cxn>
                <a:cxn ang="0">
                  <a:pos x="50" y="118"/>
                </a:cxn>
                <a:cxn ang="0">
                  <a:pos x="55" y="113"/>
                </a:cxn>
                <a:cxn ang="0">
                  <a:pos x="64" y="106"/>
                </a:cxn>
                <a:cxn ang="0">
                  <a:pos x="55" y="71"/>
                </a:cxn>
                <a:cxn ang="0">
                  <a:pos x="40" y="61"/>
                </a:cxn>
                <a:cxn ang="0">
                  <a:pos x="31" y="52"/>
                </a:cxn>
                <a:cxn ang="0">
                  <a:pos x="36" y="40"/>
                </a:cxn>
                <a:cxn ang="0">
                  <a:pos x="26" y="28"/>
                </a:cxn>
                <a:cxn ang="0">
                  <a:pos x="31" y="19"/>
                </a:cxn>
                <a:cxn ang="0">
                  <a:pos x="26" y="12"/>
                </a:cxn>
                <a:cxn ang="0">
                  <a:pos x="29" y="5"/>
                </a:cxn>
                <a:cxn ang="0">
                  <a:pos x="45" y="5"/>
                </a:cxn>
                <a:cxn ang="0">
                  <a:pos x="55" y="12"/>
                </a:cxn>
                <a:cxn ang="0">
                  <a:pos x="74" y="19"/>
                </a:cxn>
                <a:cxn ang="0">
                  <a:pos x="104" y="33"/>
                </a:cxn>
                <a:cxn ang="0">
                  <a:pos x="121" y="40"/>
                </a:cxn>
                <a:cxn ang="0">
                  <a:pos x="133" y="50"/>
                </a:cxn>
                <a:cxn ang="0">
                  <a:pos x="159" y="61"/>
                </a:cxn>
                <a:cxn ang="0">
                  <a:pos x="163" y="71"/>
                </a:cxn>
                <a:cxn ang="0">
                  <a:pos x="173" y="83"/>
                </a:cxn>
                <a:cxn ang="0">
                  <a:pos x="182" y="92"/>
                </a:cxn>
                <a:cxn ang="0">
                  <a:pos x="192" y="97"/>
                </a:cxn>
                <a:cxn ang="0">
                  <a:pos x="203" y="97"/>
                </a:cxn>
                <a:cxn ang="0">
                  <a:pos x="213" y="106"/>
                </a:cxn>
                <a:cxn ang="0">
                  <a:pos x="220" y="118"/>
                </a:cxn>
                <a:cxn ang="0">
                  <a:pos x="229" y="118"/>
                </a:cxn>
                <a:cxn ang="0">
                  <a:pos x="234" y="132"/>
                </a:cxn>
                <a:cxn ang="0">
                  <a:pos x="182" y="156"/>
                </a:cxn>
                <a:cxn ang="0">
                  <a:pos x="152" y="194"/>
                </a:cxn>
                <a:cxn ang="0">
                  <a:pos x="116" y="250"/>
                </a:cxn>
                <a:cxn ang="0">
                  <a:pos x="104" y="260"/>
                </a:cxn>
                <a:cxn ang="0">
                  <a:pos x="88" y="267"/>
                </a:cxn>
                <a:cxn ang="0">
                  <a:pos x="85" y="265"/>
                </a:cxn>
                <a:cxn ang="0">
                  <a:pos x="76" y="262"/>
                </a:cxn>
                <a:cxn ang="0">
                  <a:pos x="74" y="269"/>
                </a:cxn>
                <a:cxn ang="0">
                  <a:pos x="66" y="267"/>
                </a:cxn>
                <a:cxn ang="0">
                  <a:pos x="57" y="262"/>
                </a:cxn>
                <a:cxn ang="0">
                  <a:pos x="50" y="255"/>
                </a:cxn>
                <a:cxn ang="0">
                  <a:pos x="50" y="253"/>
                </a:cxn>
                <a:cxn ang="0">
                  <a:pos x="45" y="253"/>
                </a:cxn>
                <a:cxn ang="0">
                  <a:pos x="40" y="248"/>
                </a:cxn>
                <a:cxn ang="0">
                  <a:pos x="38" y="248"/>
                </a:cxn>
                <a:cxn ang="0">
                  <a:pos x="36" y="243"/>
                </a:cxn>
                <a:cxn ang="0">
                  <a:pos x="31" y="236"/>
                </a:cxn>
                <a:cxn ang="0">
                  <a:pos x="31" y="229"/>
                </a:cxn>
                <a:cxn ang="0">
                  <a:pos x="33" y="224"/>
                </a:cxn>
                <a:cxn ang="0">
                  <a:pos x="31" y="220"/>
                </a:cxn>
                <a:cxn ang="0">
                  <a:pos x="22" y="210"/>
                </a:cxn>
                <a:cxn ang="0">
                  <a:pos x="22" y="203"/>
                </a:cxn>
                <a:cxn ang="0">
                  <a:pos x="19" y="198"/>
                </a:cxn>
                <a:cxn ang="0">
                  <a:pos x="12" y="194"/>
                </a:cxn>
                <a:cxn ang="0">
                  <a:pos x="5" y="184"/>
                </a:cxn>
                <a:cxn ang="0">
                  <a:pos x="3" y="175"/>
                </a:cxn>
              </a:cxnLst>
              <a:rect l="0" t="0" r="r" b="b"/>
              <a:pathLst>
                <a:path w="234" h="269">
                  <a:moveTo>
                    <a:pt x="0" y="168"/>
                  </a:moveTo>
                  <a:lnTo>
                    <a:pt x="3" y="168"/>
                  </a:lnTo>
                  <a:lnTo>
                    <a:pt x="3" y="165"/>
                  </a:lnTo>
                  <a:lnTo>
                    <a:pt x="3" y="163"/>
                  </a:lnTo>
                  <a:lnTo>
                    <a:pt x="3" y="161"/>
                  </a:lnTo>
                  <a:lnTo>
                    <a:pt x="3" y="161"/>
                  </a:lnTo>
                  <a:lnTo>
                    <a:pt x="3" y="158"/>
                  </a:lnTo>
                  <a:lnTo>
                    <a:pt x="5" y="156"/>
                  </a:lnTo>
                  <a:lnTo>
                    <a:pt x="5" y="156"/>
                  </a:lnTo>
                  <a:lnTo>
                    <a:pt x="7" y="156"/>
                  </a:lnTo>
                  <a:lnTo>
                    <a:pt x="10" y="158"/>
                  </a:lnTo>
                  <a:lnTo>
                    <a:pt x="10" y="158"/>
                  </a:lnTo>
                  <a:lnTo>
                    <a:pt x="12" y="158"/>
                  </a:lnTo>
                  <a:lnTo>
                    <a:pt x="12" y="158"/>
                  </a:lnTo>
                  <a:lnTo>
                    <a:pt x="14" y="158"/>
                  </a:lnTo>
                  <a:lnTo>
                    <a:pt x="17" y="156"/>
                  </a:lnTo>
                  <a:lnTo>
                    <a:pt x="17" y="158"/>
                  </a:lnTo>
                  <a:lnTo>
                    <a:pt x="19" y="156"/>
                  </a:lnTo>
                  <a:lnTo>
                    <a:pt x="19" y="156"/>
                  </a:lnTo>
                  <a:lnTo>
                    <a:pt x="22" y="158"/>
                  </a:lnTo>
                  <a:lnTo>
                    <a:pt x="24" y="156"/>
                  </a:lnTo>
                  <a:lnTo>
                    <a:pt x="24" y="156"/>
                  </a:lnTo>
                  <a:lnTo>
                    <a:pt x="26" y="158"/>
                  </a:lnTo>
                  <a:lnTo>
                    <a:pt x="26" y="158"/>
                  </a:lnTo>
                  <a:lnTo>
                    <a:pt x="29" y="161"/>
                  </a:lnTo>
                  <a:lnTo>
                    <a:pt x="29" y="161"/>
                  </a:lnTo>
                  <a:lnTo>
                    <a:pt x="29" y="163"/>
                  </a:lnTo>
                  <a:lnTo>
                    <a:pt x="31" y="163"/>
                  </a:lnTo>
                  <a:lnTo>
                    <a:pt x="36" y="163"/>
                  </a:lnTo>
                  <a:lnTo>
                    <a:pt x="38" y="161"/>
                  </a:lnTo>
                  <a:lnTo>
                    <a:pt x="55" y="154"/>
                  </a:lnTo>
                  <a:lnTo>
                    <a:pt x="52" y="139"/>
                  </a:lnTo>
                  <a:lnTo>
                    <a:pt x="52" y="139"/>
                  </a:lnTo>
                  <a:lnTo>
                    <a:pt x="52" y="137"/>
                  </a:lnTo>
                  <a:lnTo>
                    <a:pt x="52" y="137"/>
                  </a:lnTo>
                  <a:lnTo>
                    <a:pt x="50" y="137"/>
                  </a:lnTo>
                  <a:lnTo>
                    <a:pt x="50" y="135"/>
                  </a:lnTo>
                  <a:lnTo>
                    <a:pt x="52" y="135"/>
                  </a:lnTo>
                  <a:lnTo>
                    <a:pt x="52" y="135"/>
                  </a:lnTo>
                  <a:lnTo>
                    <a:pt x="55" y="135"/>
                  </a:lnTo>
                  <a:lnTo>
                    <a:pt x="55" y="135"/>
                  </a:lnTo>
                  <a:lnTo>
                    <a:pt x="55" y="132"/>
                  </a:lnTo>
                  <a:lnTo>
                    <a:pt x="55" y="132"/>
                  </a:lnTo>
                  <a:lnTo>
                    <a:pt x="55" y="130"/>
                  </a:lnTo>
                  <a:lnTo>
                    <a:pt x="55" y="130"/>
                  </a:lnTo>
                  <a:lnTo>
                    <a:pt x="55" y="128"/>
                  </a:lnTo>
                  <a:lnTo>
                    <a:pt x="50" y="118"/>
                  </a:lnTo>
                  <a:lnTo>
                    <a:pt x="50" y="118"/>
                  </a:lnTo>
                  <a:lnTo>
                    <a:pt x="50" y="116"/>
                  </a:lnTo>
                  <a:lnTo>
                    <a:pt x="52" y="116"/>
                  </a:lnTo>
                  <a:lnTo>
                    <a:pt x="50" y="116"/>
                  </a:lnTo>
                  <a:lnTo>
                    <a:pt x="50" y="116"/>
                  </a:lnTo>
                  <a:lnTo>
                    <a:pt x="52" y="113"/>
                  </a:lnTo>
                  <a:lnTo>
                    <a:pt x="52" y="113"/>
                  </a:lnTo>
                  <a:lnTo>
                    <a:pt x="52" y="113"/>
                  </a:lnTo>
                  <a:lnTo>
                    <a:pt x="55" y="113"/>
                  </a:lnTo>
                  <a:lnTo>
                    <a:pt x="55" y="113"/>
                  </a:lnTo>
                  <a:lnTo>
                    <a:pt x="55" y="111"/>
                  </a:lnTo>
                  <a:lnTo>
                    <a:pt x="55" y="111"/>
                  </a:lnTo>
                  <a:lnTo>
                    <a:pt x="57" y="109"/>
                  </a:lnTo>
                  <a:lnTo>
                    <a:pt x="59" y="109"/>
                  </a:lnTo>
                  <a:lnTo>
                    <a:pt x="62" y="109"/>
                  </a:lnTo>
                  <a:lnTo>
                    <a:pt x="64" y="106"/>
                  </a:lnTo>
                  <a:lnTo>
                    <a:pt x="64" y="106"/>
                  </a:lnTo>
                  <a:lnTo>
                    <a:pt x="64" y="106"/>
                  </a:lnTo>
                  <a:lnTo>
                    <a:pt x="62" y="90"/>
                  </a:lnTo>
                  <a:lnTo>
                    <a:pt x="59" y="87"/>
                  </a:lnTo>
                  <a:lnTo>
                    <a:pt x="59" y="87"/>
                  </a:lnTo>
                  <a:lnTo>
                    <a:pt x="59" y="83"/>
                  </a:lnTo>
                  <a:lnTo>
                    <a:pt x="59" y="80"/>
                  </a:lnTo>
                  <a:lnTo>
                    <a:pt x="57" y="78"/>
                  </a:lnTo>
                  <a:lnTo>
                    <a:pt x="55" y="71"/>
                  </a:lnTo>
                  <a:lnTo>
                    <a:pt x="55" y="69"/>
                  </a:lnTo>
                  <a:lnTo>
                    <a:pt x="55" y="69"/>
                  </a:lnTo>
                  <a:lnTo>
                    <a:pt x="55" y="66"/>
                  </a:lnTo>
                  <a:lnTo>
                    <a:pt x="52" y="64"/>
                  </a:lnTo>
                  <a:lnTo>
                    <a:pt x="48" y="61"/>
                  </a:lnTo>
                  <a:lnTo>
                    <a:pt x="45" y="61"/>
                  </a:lnTo>
                  <a:lnTo>
                    <a:pt x="43" y="61"/>
                  </a:lnTo>
                  <a:lnTo>
                    <a:pt x="40" y="61"/>
                  </a:lnTo>
                  <a:lnTo>
                    <a:pt x="40" y="61"/>
                  </a:lnTo>
                  <a:lnTo>
                    <a:pt x="40" y="59"/>
                  </a:lnTo>
                  <a:lnTo>
                    <a:pt x="38" y="59"/>
                  </a:lnTo>
                  <a:lnTo>
                    <a:pt x="38" y="59"/>
                  </a:lnTo>
                  <a:lnTo>
                    <a:pt x="36" y="59"/>
                  </a:lnTo>
                  <a:lnTo>
                    <a:pt x="36" y="59"/>
                  </a:lnTo>
                  <a:lnTo>
                    <a:pt x="33" y="54"/>
                  </a:lnTo>
                  <a:lnTo>
                    <a:pt x="31" y="52"/>
                  </a:lnTo>
                  <a:lnTo>
                    <a:pt x="31" y="52"/>
                  </a:lnTo>
                  <a:lnTo>
                    <a:pt x="33" y="50"/>
                  </a:lnTo>
                  <a:lnTo>
                    <a:pt x="33" y="47"/>
                  </a:lnTo>
                  <a:lnTo>
                    <a:pt x="36" y="45"/>
                  </a:lnTo>
                  <a:lnTo>
                    <a:pt x="36" y="45"/>
                  </a:lnTo>
                  <a:lnTo>
                    <a:pt x="33" y="43"/>
                  </a:lnTo>
                  <a:lnTo>
                    <a:pt x="36" y="43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3" y="40"/>
                  </a:lnTo>
                  <a:lnTo>
                    <a:pt x="31" y="38"/>
                  </a:lnTo>
                  <a:lnTo>
                    <a:pt x="29" y="35"/>
                  </a:lnTo>
                  <a:lnTo>
                    <a:pt x="29" y="35"/>
                  </a:lnTo>
                  <a:lnTo>
                    <a:pt x="29" y="35"/>
                  </a:lnTo>
                  <a:lnTo>
                    <a:pt x="26" y="31"/>
                  </a:lnTo>
                  <a:lnTo>
                    <a:pt x="26" y="28"/>
                  </a:lnTo>
                  <a:lnTo>
                    <a:pt x="26" y="26"/>
                  </a:lnTo>
                  <a:lnTo>
                    <a:pt x="26" y="24"/>
                  </a:lnTo>
                  <a:lnTo>
                    <a:pt x="26" y="24"/>
                  </a:lnTo>
                  <a:lnTo>
                    <a:pt x="26" y="24"/>
                  </a:lnTo>
                  <a:lnTo>
                    <a:pt x="29" y="21"/>
                  </a:lnTo>
                  <a:lnTo>
                    <a:pt x="29" y="21"/>
                  </a:lnTo>
                  <a:lnTo>
                    <a:pt x="31" y="19"/>
                  </a:lnTo>
                  <a:lnTo>
                    <a:pt x="31" y="19"/>
                  </a:lnTo>
                  <a:lnTo>
                    <a:pt x="31" y="19"/>
                  </a:lnTo>
                  <a:lnTo>
                    <a:pt x="33" y="17"/>
                  </a:lnTo>
                  <a:lnTo>
                    <a:pt x="31" y="17"/>
                  </a:lnTo>
                  <a:lnTo>
                    <a:pt x="31" y="17"/>
                  </a:lnTo>
                  <a:lnTo>
                    <a:pt x="29" y="14"/>
                  </a:lnTo>
                  <a:lnTo>
                    <a:pt x="29" y="14"/>
                  </a:lnTo>
                  <a:lnTo>
                    <a:pt x="26" y="14"/>
                  </a:lnTo>
                  <a:lnTo>
                    <a:pt x="26" y="12"/>
                  </a:lnTo>
                  <a:lnTo>
                    <a:pt x="26" y="9"/>
                  </a:lnTo>
                  <a:lnTo>
                    <a:pt x="26" y="7"/>
                  </a:lnTo>
                  <a:lnTo>
                    <a:pt x="26" y="7"/>
                  </a:lnTo>
                  <a:lnTo>
                    <a:pt x="29" y="7"/>
                  </a:lnTo>
                  <a:lnTo>
                    <a:pt x="29" y="7"/>
                  </a:lnTo>
                  <a:lnTo>
                    <a:pt x="29" y="7"/>
                  </a:lnTo>
                  <a:lnTo>
                    <a:pt x="29" y="5"/>
                  </a:lnTo>
                  <a:lnTo>
                    <a:pt x="29" y="5"/>
                  </a:lnTo>
                  <a:lnTo>
                    <a:pt x="29" y="5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31" y="0"/>
                  </a:lnTo>
                  <a:lnTo>
                    <a:pt x="31" y="2"/>
                  </a:lnTo>
                  <a:lnTo>
                    <a:pt x="36" y="2"/>
                  </a:lnTo>
                  <a:lnTo>
                    <a:pt x="40" y="5"/>
                  </a:lnTo>
                  <a:lnTo>
                    <a:pt x="45" y="5"/>
                  </a:lnTo>
                  <a:lnTo>
                    <a:pt x="45" y="5"/>
                  </a:lnTo>
                  <a:lnTo>
                    <a:pt x="45" y="5"/>
                  </a:lnTo>
                  <a:lnTo>
                    <a:pt x="50" y="9"/>
                  </a:lnTo>
                  <a:lnTo>
                    <a:pt x="52" y="9"/>
                  </a:lnTo>
                  <a:lnTo>
                    <a:pt x="52" y="12"/>
                  </a:lnTo>
                  <a:lnTo>
                    <a:pt x="55" y="12"/>
                  </a:lnTo>
                  <a:lnTo>
                    <a:pt x="55" y="12"/>
                  </a:lnTo>
                  <a:lnTo>
                    <a:pt x="55" y="12"/>
                  </a:lnTo>
                  <a:lnTo>
                    <a:pt x="57" y="14"/>
                  </a:lnTo>
                  <a:lnTo>
                    <a:pt x="57" y="17"/>
                  </a:lnTo>
                  <a:lnTo>
                    <a:pt x="59" y="17"/>
                  </a:lnTo>
                  <a:lnTo>
                    <a:pt x="62" y="14"/>
                  </a:lnTo>
                  <a:lnTo>
                    <a:pt x="64" y="14"/>
                  </a:lnTo>
                  <a:lnTo>
                    <a:pt x="66" y="17"/>
                  </a:lnTo>
                  <a:lnTo>
                    <a:pt x="71" y="17"/>
                  </a:lnTo>
                  <a:lnTo>
                    <a:pt x="74" y="19"/>
                  </a:lnTo>
                  <a:lnTo>
                    <a:pt x="74" y="21"/>
                  </a:lnTo>
                  <a:lnTo>
                    <a:pt x="74" y="21"/>
                  </a:lnTo>
                  <a:lnTo>
                    <a:pt x="74" y="24"/>
                  </a:lnTo>
                  <a:lnTo>
                    <a:pt x="83" y="28"/>
                  </a:lnTo>
                  <a:lnTo>
                    <a:pt x="85" y="31"/>
                  </a:lnTo>
                  <a:lnTo>
                    <a:pt x="88" y="31"/>
                  </a:lnTo>
                  <a:lnTo>
                    <a:pt x="100" y="31"/>
                  </a:lnTo>
                  <a:lnTo>
                    <a:pt x="104" y="33"/>
                  </a:lnTo>
                  <a:lnTo>
                    <a:pt x="104" y="33"/>
                  </a:lnTo>
                  <a:lnTo>
                    <a:pt x="109" y="35"/>
                  </a:lnTo>
                  <a:lnTo>
                    <a:pt x="111" y="35"/>
                  </a:lnTo>
                  <a:lnTo>
                    <a:pt x="111" y="35"/>
                  </a:lnTo>
                  <a:lnTo>
                    <a:pt x="114" y="35"/>
                  </a:lnTo>
                  <a:lnTo>
                    <a:pt x="114" y="38"/>
                  </a:lnTo>
                  <a:lnTo>
                    <a:pt x="118" y="40"/>
                  </a:lnTo>
                  <a:lnTo>
                    <a:pt x="121" y="40"/>
                  </a:lnTo>
                  <a:lnTo>
                    <a:pt x="121" y="43"/>
                  </a:lnTo>
                  <a:lnTo>
                    <a:pt x="123" y="45"/>
                  </a:lnTo>
                  <a:lnTo>
                    <a:pt x="126" y="47"/>
                  </a:lnTo>
                  <a:lnTo>
                    <a:pt x="128" y="50"/>
                  </a:lnTo>
                  <a:lnTo>
                    <a:pt x="128" y="50"/>
                  </a:lnTo>
                  <a:lnTo>
                    <a:pt x="128" y="50"/>
                  </a:lnTo>
                  <a:lnTo>
                    <a:pt x="130" y="50"/>
                  </a:lnTo>
                  <a:lnTo>
                    <a:pt x="133" y="50"/>
                  </a:lnTo>
                  <a:lnTo>
                    <a:pt x="140" y="52"/>
                  </a:lnTo>
                  <a:lnTo>
                    <a:pt x="142" y="52"/>
                  </a:lnTo>
                  <a:lnTo>
                    <a:pt x="149" y="59"/>
                  </a:lnTo>
                  <a:lnTo>
                    <a:pt x="152" y="61"/>
                  </a:lnTo>
                  <a:lnTo>
                    <a:pt x="154" y="61"/>
                  </a:lnTo>
                  <a:lnTo>
                    <a:pt x="154" y="61"/>
                  </a:lnTo>
                  <a:lnTo>
                    <a:pt x="156" y="61"/>
                  </a:lnTo>
                  <a:lnTo>
                    <a:pt x="159" y="61"/>
                  </a:lnTo>
                  <a:lnTo>
                    <a:pt x="159" y="61"/>
                  </a:lnTo>
                  <a:lnTo>
                    <a:pt x="163" y="61"/>
                  </a:lnTo>
                  <a:lnTo>
                    <a:pt x="163" y="64"/>
                  </a:lnTo>
                  <a:lnTo>
                    <a:pt x="163" y="64"/>
                  </a:lnTo>
                  <a:lnTo>
                    <a:pt x="163" y="66"/>
                  </a:lnTo>
                  <a:lnTo>
                    <a:pt x="163" y="69"/>
                  </a:lnTo>
                  <a:lnTo>
                    <a:pt x="163" y="71"/>
                  </a:lnTo>
                  <a:lnTo>
                    <a:pt x="163" y="71"/>
                  </a:lnTo>
                  <a:lnTo>
                    <a:pt x="163" y="71"/>
                  </a:lnTo>
                  <a:lnTo>
                    <a:pt x="163" y="73"/>
                  </a:lnTo>
                  <a:lnTo>
                    <a:pt x="163" y="73"/>
                  </a:lnTo>
                  <a:lnTo>
                    <a:pt x="166" y="76"/>
                  </a:lnTo>
                  <a:lnTo>
                    <a:pt x="166" y="78"/>
                  </a:lnTo>
                  <a:lnTo>
                    <a:pt x="168" y="80"/>
                  </a:lnTo>
                  <a:lnTo>
                    <a:pt x="168" y="83"/>
                  </a:lnTo>
                  <a:lnTo>
                    <a:pt x="173" y="83"/>
                  </a:lnTo>
                  <a:lnTo>
                    <a:pt x="175" y="85"/>
                  </a:lnTo>
                  <a:lnTo>
                    <a:pt x="177" y="85"/>
                  </a:lnTo>
                  <a:lnTo>
                    <a:pt x="177" y="87"/>
                  </a:lnTo>
                  <a:lnTo>
                    <a:pt x="177" y="87"/>
                  </a:lnTo>
                  <a:lnTo>
                    <a:pt x="177" y="87"/>
                  </a:lnTo>
                  <a:lnTo>
                    <a:pt x="177" y="90"/>
                  </a:lnTo>
                  <a:lnTo>
                    <a:pt x="177" y="90"/>
                  </a:lnTo>
                  <a:lnTo>
                    <a:pt x="182" y="92"/>
                  </a:lnTo>
                  <a:lnTo>
                    <a:pt x="182" y="92"/>
                  </a:lnTo>
                  <a:lnTo>
                    <a:pt x="187" y="95"/>
                  </a:lnTo>
                  <a:lnTo>
                    <a:pt x="187" y="95"/>
                  </a:lnTo>
                  <a:lnTo>
                    <a:pt x="189" y="95"/>
                  </a:lnTo>
                  <a:lnTo>
                    <a:pt x="189" y="95"/>
                  </a:lnTo>
                  <a:lnTo>
                    <a:pt x="189" y="97"/>
                  </a:lnTo>
                  <a:lnTo>
                    <a:pt x="189" y="97"/>
                  </a:lnTo>
                  <a:lnTo>
                    <a:pt x="192" y="97"/>
                  </a:lnTo>
                  <a:lnTo>
                    <a:pt x="194" y="99"/>
                  </a:lnTo>
                  <a:lnTo>
                    <a:pt x="194" y="99"/>
                  </a:lnTo>
                  <a:lnTo>
                    <a:pt x="196" y="99"/>
                  </a:lnTo>
                  <a:lnTo>
                    <a:pt x="196" y="99"/>
                  </a:lnTo>
                  <a:lnTo>
                    <a:pt x="199" y="99"/>
                  </a:lnTo>
                  <a:lnTo>
                    <a:pt x="199" y="99"/>
                  </a:lnTo>
                  <a:lnTo>
                    <a:pt x="201" y="99"/>
                  </a:lnTo>
                  <a:lnTo>
                    <a:pt x="203" y="97"/>
                  </a:lnTo>
                  <a:lnTo>
                    <a:pt x="203" y="97"/>
                  </a:lnTo>
                  <a:lnTo>
                    <a:pt x="206" y="97"/>
                  </a:lnTo>
                  <a:lnTo>
                    <a:pt x="206" y="97"/>
                  </a:lnTo>
                  <a:lnTo>
                    <a:pt x="206" y="99"/>
                  </a:lnTo>
                  <a:lnTo>
                    <a:pt x="206" y="99"/>
                  </a:lnTo>
                  <a:lnTo>
                    <a:pt x="211" y="102"/>
                  </a:lnTo>
                  <a:lnTo>
                    <a:pt x="211" y="104"/>
                  </a:lnTo>
                  <a:lnTo>
                    <a:pt x="213" y="106"/>
                  </a:lnTo>
                  <a:lnTo>
                    <a:pt x="213" y="106"/>
                  </a:lnTo>
                  <a:lnTo>
                    <a:pt x="213" y="111"/>
                  </a:lnTo>
                  <a:lnTo>
                    <a:pt x="213" y="116"/>
                  </a:lnTo>
                  <a:lnTo>
                    <a:pt x="213" y="118"/>
                  </a:lnTo>
                  <a:lnTo>
                    <a:pt x="215" y="121"/>
                  </a:lnTo>
                  <a:lnTo>
                    <a:pt x="215" y="118"/>
                  </a:lnTo>
                  <a:lnTo>
                    <a:pt x="220" y="118"/>
                  </a:lnTo>
                  <a:lnTo>
                    <a:pt x="220" y="118"/>
                  </a:lnTo>
                  <a:lnTo>
                    <a:pt x="220" y="121"/>
                  </a:lnTo>
                  <a:lnTo>
                    <a:pt x="220" y="121"/>
                  </a:lnTo>
                  <a:lnTo>
                    <a:pt x="222" y="118"/>
                  </a:lnTo>
                  <a:lnTo>
                    <a:pt x="222" y="118"/>
                  </a:lnTo>
                  <a:lnTo>
                    <a:pt x="222" y="118"/>
                  </a:lnTo>
                  <a:lnTo>
                    <a:pt x="227" y="116"/>
                  </a:lnTo>
                  <a:lnTo>
                    <a:pt x="227" y="118"/>
                  </a:lnTo>
                  <a:lnTo>
                    <a:pt x="229" y="118"/>
                  </a:lnTo>
                  <a:lnTo>
                    <a:pt x="229" y="118"/>
                  </a:lnTo>
                  <a:lnTo>
                    <a:pt x="232" y="123"/>
                  </a:lnTo>
                  <a:lnTo>
                    <a:pt x="234" y="128"/>
                  </a:lnTo>
                  <a:lnTo>
                    <a:pt x="234" y="128"/>
                  </a:lnTo>
                  <a:lnTo>
                    <a:pt x="234" y="130"/>
                  </a:lnTo>
                  <a:lnTo>
                    <a:pt x="234" y="130"/>
                  </a:lnTo>
                  <a:lnTo>
                    <a:pt x="234" y="132"/>
                  </a:lnTo>
                  <a:lnTo>
                    <a:pt x="234" y="132"/>
                  </a:lnTo>
                  <a:lnTo>
                    <a:pt x="229" y="132"/>
                  </a:lnTo>
                  <a:lnTo>
                    <a:pt x="222" y="135"/>
                  </a:lnTo>
                  <a:lnTo>
                    <a:pt x="211" y="137"/>
                  </a:lnTo>
                  <a:lnTo>
                    <a:pt x="206" y="142"/>
                  </a:lnTo>
                  <a:lnTo>
                    <a:pt x="201" y="144"/>
                  </a:lnTo>
                  <a:lnTo>
                    <a:pt x="199" y="146"/>
                  </a:lnTo>
                  <a:lnTo>
                    <a:pt x="192" y="149"/>
                  </a:lnTo>
                  <a:lnTo>
                    <a:pt x="182" y="156"/>
                  </a:lnTo>
                  <a:lnTo>
                    <a:pt x="177" y="161"/>
                  </a:lnTo>
                  <a:lnTo>
                    <a:pt x="177" y="161"/>
                  </a:lnTo>
                  <a:lnTo>
                    <a:pt x="166" y="172"/>
                  </a:lnTo>
                  <a:lnTo>
                    <a:pt x="163" y="177"/>
                  </a:lnTo>
                  <a:lnTo>
                    <a:pt x="159" y="182"/>
                  </a:lnTo>
                  <a:lnTo>
                    <a:pt x="154" y="189"/>
                  </a:lnTo>
                  <a:lnTo>
                    <a:pt x="154" y="189"/>
                  </a:lnTo>
                  <a:lnTo>
                    <a:pt x="152" y="194"/>
                  </a:lnTo>
                  <a:lnTo>
                    <a:pt x="142" y="208"/>
                  </a:lnTo>
                  <a:lnTo>
                    <a:pt x="137" y="215"/>
                  </a:lnTo>
                  <a:lnTo>
                    <a:pt x="140" y="215"/>
                  </a:lnTo>
                  <a:lnTo>
                    <a:pt x="133" y="224"/>
                  </a:lnTo>
                  <a:lnTo>
                    <a:pt x="126" y="232"/>
                  </a:lnTo>
                  <a:lnTo>
                    <a:pt x="121" y="241"/>
                  </a:lnTo>
                  <a:lnTo>
                    <a:pt x="118" y="250"/>
                  </a:lnTo>
                  <a:lnTo>
                    <a:pt x="116" y="250"/>
                  </a:lnTo>
                  <a:lnTo>
                    <a:pt x="116" y="253"/>
                  </a:lnTo>
                  <a:lnTo>
                    <a:pt x="114" y="253"/>
                  </a:lnTo>
                  <a:lnTo>
                    <a:pt x="114" y="253"/>
                  </a:lnTo>
                  <a:lnTo>
                    <a:pt x="111" y="253"/>
                  </a:lnTo>
                  <a:lnTo>
                    <a:pt x="111" y="255"/>
                  </a:lnTo>
                  <a:lnTo>
                    <a:pt x="111" y="255"/>
                  </a:lnTo>
                  <a:lnTo>
                    <a:pt x="109" y="258"/>
                  </a:lnTo>
                  <a:lnTo>
                    <a:pt x="104" y="260"/>
                  </a:lnTo>
                  <a:lnTo>
                    <a:pt x="102" y="262"/>
                  </a:lnTo>
                  <a:lnTo>
                    <a:pt x="100" y="262"/>
                  </a:lnTo>
                  <a:lnTo>
                    <a:pt x="100" y="262"/>
                  </a:lnTo>
                  <a:lnTo>
                    <a:pt x="95" y="262"/>
                  </a:lnTo>
                  <a:lnTo>
                    <a:pt x="95" y="262"/>
                  </a:lnTo>
                  <a:lnTo>
                    <a:pt x="92" y="265"/>
                  </a:lnTo>
                  <a:lnTo>
                    <a:pt x="92" y="267"/>
                  </a:lnTo>
                  <a:lnTo>
                    <a:pt x="88" y="267"/>
                  </a:lnTo>
                  <a:lnTo>
                    <a:pt x="88" y="267"/>
                  </a:lnTo>
                  <a:lnTo>
                    <a:pt x="85" y="265"/>
                  </a:lnTo>
                  <a:lnTo>
                    <a:pt x="85" y="265"/>
                  </a:lnTo>
                  <a:lnTo>
                    <a:pt x="85" y="265"/>
                  </a:lnTo>
                  <a:lnTo>
                    <a:pt x="85" y="267"/>
                  </a:lnTo>
                  <a:lnTo>
                    <a:pt x="85" y="267"/>
                  </a:lnTo>
                  <a:lnTo>
                    <a:pt x="83" y="265"/>
                  </a:lnTo>
                  <a:lnTo>
                    <a:pt x="85" y="265"/>
                  </a:lnTo>
                  <a:lnTo>
                    <a:pt x="83" y="265"/>
                  </a:lnTo>
                  <a:lnTo>
                    <a:pt x="83" y="265"/>
                  </a:lnTo>
                  <a:lnTo>
                    <a:pt x="81" y="265"/>
                  </a:lnTo>
                  <a:lnTo>
                    <a:pt x="81" y="265"/>
                  </a:lnTo>
                  <a:lnTo>
                    <a:pt x="81" y="265"/>
                  </a:lnTo>
                  <a:lnTo>
                    <a:pt x="78" y="265"/>
                  </a:lnTo>
                  <a:lnTo>
                    <a:pt x="78" y="262"/>
                  </a:lnTo>
                  <a:lnTo>
                    <a:pt x="76" y="262"/>
                  </a:lnTo>
                  <a:lnTo>
                    <a:pt x="76" y="262"/>
                  </a:lnTo>
                  <a:lnTo>
                    <a:pt x="76" y="262"/>
                  </a:lnTo>
                  <a:lnTo>
                    <a:pt x="76" y="265"/>
                  </a:lnTo>
                  <a:lnTo>
                    <a:pt x="74" y="265"/>
                  </a:lnTo>
                  <a:lnTo>
                    <a:pt x="74" y="265"/>
                  </a:lnTo>
                  <a:lnTo>
                    <a:pt x="74" y="265"/>
                  </a:lnTo>
                  <a:lnTo>
                    <a:pt x="74" y="267"/>
                  </a:lnTo>
                  <a:lnTo>
                    <a:pt x="74" y="269"/>
                  </a:lnTo>
                  <a:lnTo>
                    <a:pt x="74" y="269"/>
                  </a:lnTo>
                  <a:lnTo>
                    <a:pt x="71" y="269"/>
                  </a:lnTo>
                  <a:lnTo>
                    <a:pt x="69" y="269"/>
                  </a:lnTo>
                  <a:lnTo>
                    <a:pt x="71" y="265"/>
                  </a:lnTo>
                  <a:lnTo>
                    <a:pt x="69" y="265"/>
                  </a:lnTo>
                  <a:lnTo>
                    <a:pt x="66" y="267"/>
                  </a:lnTo>
                  <a:lnTo>
                    <a:pt x="66" y="267"/>
                  </a:lnTo>
                  <a:lnTo>
                    <a:pt x="66" y="267"/>
                  </a:lnTo>
                  <a:lnTo>
                    <a:pt x="66" y="265"/>
                  </a:lnTo>
                  <a:lnTo>
                    <a:pt x="64" y="265"/>
                  </a:lnTo>
                  <a:lnTo>
                    <a:pt x="62" y="262"/>
                  </a:lnTo>
                  <a:lnTo>
                    <a:pt x="62" y="265"/>
                  </a:lnTo>
                  <a:lnTo>
                    <a:pt x="59" y="262"/>
                  </a:lnTo>
                  <a:lnTo>
                    <a:pt x="57" y="262"/>
                  </a:lnTo>
                  <a:lnTo>
                    <a:pt x="57" y="262"/>
                  </a:lnTo>
                  <a:lnTo>
                    <a:pt x="57" y="262"/>
                  </a:lnTo>
                  <a:lnTo>
                    <a:pt x="55" y="262"/>
                  </a:lnTo>
                  <a:lnTo>
                    <a:pt x="55" y="260"/>
                  </a:lnTo>
                  <a:lnTo>
                    <a:pt x="55" y="260"/>
                  </a:lnTo>
                  <a:lnTo>
                    <a:pt x="55" y="260"/>
                  </a:lnTo>
                  <a:lnTo>
                    <a:pt x="55" y="260"/>
                  </a:lnTo>
                  <a:lnTo>
                    <a:pt x="52" y="258"/>
                  </a:lnTo>
                  <a:lnTo>
                    <a:pt x="50" y="258"/>
                  </a:lnTo>
                  <a:lnTo>
                    <a:pt x="50" y="255"/>
                  </a:lnTo>
                  <a:lnTo>
                    <a:pt x="50" y="255"/>
                  </a:lnTo>
                  <a:lnTo>
                    <a:pt x="48" y="255"/>
                  </a:lnTo>
                  <a:lnTo>
                    <a:pt x="48" y="255"/>
                  </a:lnTo>
                  <a:lnTo>
                    <a:pt x="48" y="253"/>
                  </a:lnTo>
                  <a:lnTo>
                    <a:pt x="50" y="253"/>
                  </a:lnTo>
                  <a:lnTo>
                    <a:pt x="50" y="253"/>
                  </a:lnTo>
                  <a:lnTo>
                    <a:pt x="50" y="253"/>
                  </a:lnTo>
                  <a:lnTo>
                    <a:pt x="50" y="253"/>
                  </a:lnTo>
                  <a:lnTo>
                    <a:pt x="48" y="253"/>
                  </a:lnTo>
                  <a:lnTo>
                    <a:pt x="48" y="253"/>
                  </a:lnTo>
                  <a:lnTo>
                    <a:pt x="45" y="250"/>
                  </a:lnTo>
                  <a:lnTo>
                    <a:pt x="48" y="250"/>
                  </a:lnTo>
                  <a:lnTo>
                    <a:pt x="48" y="250"/>
                  </a:lnTo>
                  <a:lnTo>
                    <a:pt x="48" y="250"/>
                  </a:lnTo>
                  <a:lnTo>
                    <a:pt x="45" y="250"/>
                  </a:lnTo>
                  <a:lnTo>
                    <a:pt x="45" y="253"/>
                  </a:lnTo>
                  <a:lnTo>
                    <a:pt x="45" y="250"/>
                  </a:lnTo>
                  <a:lnTo>
                    <a:pt x="45" y="253"/>
                  </a:lnTo>
                  <a:lnTo>
                    <a:pt x="43" y="250"/>
                  </a:lnTo>
                  <a:lnTo>
                    <a:pt x="43" y="250"/>
                  </a:lnTo>
                  <a:lnTo>
                    <a:pt x="43" y="248"/>
                  </a:lnTo>
                  <a:lnTo>
                    <a:pt x="43" y="248"/>
                  </a:lnTo>
                  <a:lnTo>
                    <a:pt x="40" y="248"/>
                  </a:lnTo>
                  <a:lnTo>
                    <a:pt x="40" y="248"/>
                  </a:lnTo>
                  <a:lnTo>
                    <a:pt x="40" y="248"/>
                  </a:lnTo>
                  <a:lnTo>
                    <a:pt x="38" y="248"/>
                  </a:lnTo>
                  <a:lnTo>
                    <a:pt x="38" y="250"/>
                  </a:lnTo>
                  <a:lnTo>
                    <a:pt x="38" y="250"/>
                  </a:lnTo>
                  <a:lnTo>
                    <a:pt x="38" y="250"/>
                  </a:lnTo>
                  <a:lnTo>
                    <a:pt x="38" y="248"/>
                  </a:lnTo>
                  <a:lnTo>
                    <a:pt x="36" y="248"/>
                  </a:lnTo>
                  <a:lnTo>
                    <a:pt x="38" y="248"/>
                  </a:lnTo>
                  <a:lnTo>
                    <a:pt x="38" y="246"/>
                  </a:lnTo>
                  <a:lnTo>
                    <a:pt x="36" y="246"/>
                  </a:lnTo>
                  <a:lnTo>
                    <a:pt x="36" y="248"/>
                  </a:lnTo>
                  <a:lnTo>
                    <a:pt x="36" y="246"/>
                  </a:lnTo>
                  <a:lnTo>
                    <a:pt x="33" y="246"/>
                  </a:lnTo>
                  <a:lnTo>
                    <a:pt x="33" y="246"/>
                  </a:lnTo>
                  <a:lnTo>
                    <a:pt x="36" y="243"/>
                  </a:lnTo>
                  <a:lnTo>
                    <a:pt x="36" y="243"/>
                  </a:lnTo>
                  <a:lnTo>
                    <a:pt x="33" y="243"/>
                  </a:lnTo>
                  <a:lnTo>
                    <a:pt x="33" y="241"/>
                  </a:lnTo>
                  <a:lnTo>
                    <a:pt x="33" y="239"/>
                  </a:lnTo>
                  <a:lnTo>
                    <a:pt x="31" y="241"/>
                  </a:lnTo>
                  <a:lnTo>
                    <a:pt x="31" y="239"/>
                  </a:lnTo>
                  <a:lnTo>
                    <a:pt x="31" y="239"/>
                  </a:lnTo>
                  <a:lnTo>
                    <a:pt x="33" y="239"/>
                  </a:lnTo>
                  <a:lnTo>
                    <a:pt x="31" y="236"/>
                  </a:lnTo>
                  <a:lnTo>
                    <a:pt x="31" y="236"/>
                  </a:lnTo>
                  <a:lnTo>
                    <a:pt x="31" y="236"/>
                  </a:lnTo>
                  <a:lnTo>
                    <a:pt x="31" y="234"/>
                  </a:lnTo>
                  <a:lnTo>
                    <a:pt x="31" y="232"/>
                  </a:lnTo>
                  <a:lnTo>
                    <a:pt x="31" y="232"/>
                  </a:lnTo>
                  <a:lnTo>
                    <a:pt x="31" y="229"/>
                  </a:lnTo>
                  <a:lnTo>
                    <a:pt x="33" y="229"/>
                  </a:lnTo>
                  <a:lnTo>
                    <a:pt x="31" y="229"/>
                  </a:lnTo>
                  <a:lnTo>
                    <a:pt x="33" y="227"/>
                  </a:lnTo>
                  <a:lnTo>
                    <a:pt x="33" y="227"/>
                  </a:lnTo>
                  <a:lnTo>
                    <a:pt x="31" y="227"/>
                  </a:lnTo>
                  <a:lnTo>
                    <a:pt x="31" y="227"/>
                  </a:lnTo>
                  <a:lnTo>
                    <a:pt x="33" y="227"/>
                  </a:lnTo>
                  <a:lnTo>
                    <a:pt x="31" y="224"/>
                  </a:lnTo>
                  <a:lnTo>
                    <a:pt x="33" y="224"/>
                  </a:lnTo>
                  <a:lnTo>
                    <a:pt x="33" y="224"/>
                  </a:lnTo>
                  <a:lnTo>
                    <a:pt x="33" y="222"/>
                  </a:lnTo>
                  <a:lnTo>
                    <a:pt x="33" y="222"/>
                  </a:lnTo>
                  <a:lnTo>
                    <a:pt x="33" y="220"/>
                  </a:lnTo>
                  <a:lnTo>
                    <a:pt x="36" y="220"/>
                  </a:lnTo>
                  <a:lnTo>
                    <a:pt x="33" y="220"/>
                  </a:lnTo>
                  <a:lnTo>
                    <a:pt x="33" y="220"/>
                  </a:lnTo>
                  <a:lnTo>
                    <a:pt x="31" y="220"/>
                  </a:lnTo>
                  <a:lnTo>
                    <a:pt x="31" y="220"/>
                  </a:lnTo>
                  <a:lnTo>
                    <a:pt x="29" y="217"/>
                  </a:lnTo>
                  <a:lnTo>
                    <a:pt x="26" y="217"/>
                  </a:lnTo>
                  <a:lnTo>
                    <a:pt x="26" y="217"/>
                  </a:lnTo>
                  <a:lnTo>
                    <a:pt x="24" y="215"/>
                  </a:lnTo>
                  <a:lnTo>
                    <a:pt x="22" y="215"/>
                  </a:lnTo>
                  <a:lnTo>
                    <a:pt x="22" y="215"/>
                  </a:lnTo>
                  <a:lnTo>
                    <a:pt x="22" y="213"/>
                  </a:lnTo>
                  <a:lnTo>
                    <a:pt x="22" y="210"/>
                  </a:lnTo>
                  <a:lnTo>
                    <a:pt x="22" y="210"/>
                  </a:lnTo>
                  <a:lnTo>
                    <a:pt x="22" y="210"/>
                  </a:lnTo>
                  <a:lnTo>
                    <a:pt x="19" y="210"/>
                  </a:lnTo>
                  <a:lnTo>
                    <a:pt x="19" y="208"/>
                  </a:lnTo>
                  <a:lnTo>
                    <a:pt x="19" y="208"/>
                  </a:lnTo>
                  <a:lnTo>
                    <a:pt x="19" y="208"/>
                  </a:lnTo>
                  <a:lnTo>
                    <a:pt x="22" y="206"/>
                  </a:lnTo>
                  <a:lnTo>
                    <a:pt x="22" y="203"/>
                  </a:lnTo>
                  <a:lnTo>
                    <a:pt x="19" y="203"/>
                  </a:lnTo>
                  <a:lnTo>
                    <a:pt x="19" y="201"/>
                  </a:lnTo>
                  <a:lnTo>
                    <a:pt x="19" y="201"/>
                  </a:lnTo>
                  <a:lnTo>
                    <a:pt x="19" y="201"/>
                  </a:lnTo>
                  <a:lnTo>
                    <a:pt x="19" y="201"/>
                  </a:lnTo>
                  <a:lnTo>
                    <a:pt x="17" y="201"/>
                  </a:lnTo>
                  <a:lnTo>
                    <a:pt x="17" y="198"/>
                  </a:lnTo>
                  <a:lnTo>
                    <a:pt x="19" y="198"/>
                  </a:lnTo>
                  <a:lnTo>
                    <a:pt x="17" y="198"/>
                  </a:lnTo>
                  <a:lnTo>
                    <a:pt x="17" y="196"/>
                  </a:lnTo>
                  <a:lnTo>
                    <a:pt x="17" y="196"/>
                  </a:lnTo>
                  <a:lnTo>
                    <a:pt x="14" y="196"/>
                  </a:lnTo>
                  <a:lnTo>
                    <a:pt x="14" y="196"/>
                  </a:lnTo>
                  <a:lnTo>
                    <a:pt x="14" y="196"/>
                  </a:lnTo>
                  <a:lnTo>
                    <a:pt x="12" y="196"/>
                  </a:lnTo>
                  <a:lnTo>
                    <a:pt x="12" y="194"/>
                  </a:lnTo>
                  <a:lnTo>
                    <a:pt x="10" y="191"/>
                  </a:lnTo>
                  <a:lnTo>
                    <a:pt x="7" y="191"/>
                  </a:lnTo>
                  <a:lnTo>
                    <a:pt x="7" y="189"/>
                  </a:lnTo>
                  <a:lnTo>
                    <a:pt x="7" y="189"/>
                  </a:lnTo>
                  <a:lnTo>
                    <a:pt x="7" y="187"/>
                  </a:lnTo>
                  <a:lnTo>
                    <a:pt x="5" y="187"/>
                  </a:lnTo>
                  <a:lnTo>
                    <a:pt x="5" y="184"/>
                  </a:lnTo>
                  <a:lnTo>
                    <a:pt x="5" y="184"/>
                  </a:lnTo>
                  <a:lnTo>
                    <a:pt x="3" y="187"/>
                  </a:lnTo>
                  <a:lnTo>
                    <a:pt x="3" y="184"/>
                  </a:lnTo>
                  <a:lnTo>
                    <a:pt x="3" y="184"/>
                  </a:lnTo>
                  <a:lnTo>
                    <a:pt x="3" y="182"/>
                  </a:lnTo>
                  <a:lnTo>
                    <a:pt x="0" y="180"/>
                  </a:lnTo>
                  <a:lnTo>
                    <a:pt x="0" y="177"/>
                  </a:lnTo>
                  <a:lnTo>
                    <a:pt x="0" y="175"/>
                  </a:lnTo>
                  <a:lnTo>
                    <a:pt x="3" y="175"/>
                  </a:lnTo>
                  <a:lnTo>
                    <a:pt x="0" y="172"/>
                  </a:lnTo>
                  <a:lnTo>
                    <a:pt x="0" y="172"/>
                  </a:lnTo>
                  <a:lnTo>
                    <a:pt x="0" y="170"/>
                  </a:lnTo>
                  <a:lnTo>
                    <a:pt x="0" y="168"/>
                  </a:lnTo>
                  <a:lnTo>
                    <a:pt x="0" y="168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 cap="flat">
              <a:solidFill>
                <a:schemeClr val="bg2">
                  <a:lumMod val="7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>
                <a:solidFill>
                  <a:srgbClr val="000000"/>
                </a:solidFill>
              </a:endParaRPr>
            </a:p>
          </p:txBody>
        </p:sp>
        <p:sp>
          <p:nvSpPr>
            <p:cNvPr id="100" name="Freeform 11"/>
            <p:cNvSpPr>
              <a:spLocks/>
            </p:cNvSpPr>
            <p:nvPr/>
          </p:nvSpPr>
          <p:spPr bwMode="gray">
            <a:xfrm>
              <a:off x="185052" y="3656165"/>
              <a:ext cx="755522" cy="463077"/>
            </a:xfrm>
            <a:custGeom>
              <a:avLst/>
              <a:gdLst/>
              <a:ahLst/>
              <a:cxnLst>
                <a:cxn ang="0">
                  <a:pos x="460" y="135"/>
                </a:cxn>
                <a:cxn ang="0">
                  <a:pos x="879" y="340"/>
                </a:cxn>
                <a:cxn ang="0">
                  <a:pos x="930" y="371"/>
                </a:cxn>
                <a:cxn ang="0">
                  <a:pos x="914" y="380"/>
                </a:cxn>
                <a:cxn ang="0">
                  <a:pos x="902" y="392"/>
                </a:cxn>
                <a:cxn ang="0">
                  <a:pos x="893" y="401"/>
                </a:cxn>
                <a:cxn ang="0">
                  <a:pos x="886" y="411"/>
                </a:cxn>
                <a:cxn ang="0">
                  <a:pos x="874" y="416"/>
                </a:cxn>
                <a:cxn ang="0">
                  <a:pos x="850" y="420"/>
                </a:cxn>
                <a:cxn ang="0">
                  <a:pos x="838" y="427"/>
                </a:cxn>
                <a:cxn ang="0">
                  <a:pos x="819" y="442"/>
                </a:cxn>
                <a:cxn ang="0">
                  <a:pos x="793" y="470"/>
                </a:cxn>
                <a:cxn ang="0">
                  <a:pos x="779" y="463"/>
                </a:cxn>
                <a:cxn ang="0">
                  <a:pos x="760" y="463"/>
                </a:cxn>
                <a:cxn ang="0">
                  <a:pos x="746" y="475"/>
                </a:cxn>
                <a:cxn ang="0">
                  <a:pos x="734" y="494"/>
                </a:cxn>
                <a:cxn ang="0">
                  <a:pos x="718" y="510"/>
                </a:cxn>
                <a:cxn ang="0">
                  <a:pos x="692" y="522"/>
                </a:cxn>
                <a:cxn ang="0">
                  <a:pos x="666" y="512"/>
                </a:cxn>
                <a:cxn ang="0">
                  <a:pos x="659" y="510"/>
                </a:cxn>
                <a:cxn ang="0">
                  <a:pos x="649" y="510"/>
                </a:cxn>
                <a:cxn ang="0">
                  <a:pos x="635" y="510"/>
                </a:cxn>
                <a:cxn ang="0">
                  <a:pos x="619" y="505"/>
                </a:cxn>
                <a:cxn ang="0">
                  <a:pos x="602" y="501"/>
                </a:cxn>
                <a:cxn ang="0">
                  <a:pos x="590" y="503"/>
                </a:cxn>
                <a:cxn ang="0">
                  <a:pos x="576" y="503"/>
                </a:cxn>
                <a:cxn ang="0">
                  <a:pos x="560" y="501"/>
                </a:cxn>
                <a:cxn ang="0">
                  <a:pos x="538" y="503"/>
                </a:cxn>
                <a:cxn ang="0">
                  <a:pos x="524" y="501"/>
                </a:cxn>
                <a:cxn ang="0">
                  <a:pos x="505" y="505"/>
                </a:cxn>
                <a:cxn ang="0">
                  <a:pos x="493" y="508"/>
                </a:cxn>
                <a:cxn ang="0">
                  <a:pos x="482" y="515"/>
                </a:cxn>
                <a:cxn ang="0">
                  <a:pos x="460" y="517"/>
                </a:cxn>
                <a:cxn ang="0">
                  <a:pos x="441" y="503"/>
                </a:cxn>
                <a:cxn ang="0">
                  <a:pos x="439" y="347"/>
                </a:cxn>
                <a:cxn ang="0">
                  <a:pos x="432" y="323"/>
                </a:cxn>
                <a:cxn ang="0">
                  <a:pos x="437" y="316"/>
                </a:cxn>
                <a:cxn ang="0">
                  <a:pos x="444" y="305"/>
                </a:cxn>
                <a:cxn ang="0">
                  <a:pos x="432" y="305"/>
                </a:cxn>
                <a:cxn ang="0">
                  <a:pos x="425" y="314"/>
                </a:cxn>
                <a:cxn ang="0">
                  <a:pos x="413" y="319"/>
                </a:cxn>
                <a:cxn ang="0">
                  <a:pos x="406" y="331"/>
                </a:cxn>
                <a:cxn ang="0">
                  <a:pos x="390" y="345"/>
                </a:cxn>
                <a:cxn ang="0">
                  <a:pos x="371" y="354"/>
                </a:cxn>
                <a:cxn ang="0">
                  <a:pos x="340" y="375"/>
                </a:cxn>
                <a:cxn ang="0">
                  <a:pos x="231" y="364"/>
                </a:cxn>
                <a:cxn ang="0">
                  <a:pos x="219" y="342"/>
                </a:cxn>
                <a:cxn ang="0">
                  <a:pos x="205" y="316"/>
                </a:cxn>
                <a:cxn ang="0">
                  <a:pos x="193" y="309"/>
                </a:cxn>
                <a:cxn ang="0">
                  <a:pos x="179" y="309"/>
                </a:cxn>
                <a:cxn ang="0">
                  <a:pos x="167" y="307"/>
                </a:cxn>
                <a:cxn ang="0">
                  <a:pos x="99" y="300"/>
                </a:cxn>
                <a:cxn ang="0">
                  <a:pos x="123" y="276"/>
                </a:cxn>
                <a:cxn ang="0">
                  <a:pos x="132" y="248"/>
                </a:cxn>
                <a:cxn ang="0">
                  <a:pos x="111" y="212"/>
                </a:cxn>
                <a:cxn ang="0">
                  <a:pos x="90" y="198"/>
                </a:cxn>
                <a:cxn ang="0">
                  <a:pos x="71" y="170"/>
                </a:cxn>
                <a:cxn ang="0">
                  <a:pos x="52" y="139"/>
                </a:cxn>
                <a:cxn ang="0">
                  <a:pos x="30" y="111"/>
                </a:cxn>
                <a:cxn ang="0">
                  <a:pos x="33" y="83"/>
                </a:cxn>
                <a:cxn ang="0">
                  <a:pos x="9" y="49"/>
                </a:cxn>
                <a:cxn ang="0">
                  <a:pos x="23" y="28"/>
                </a:cxn>
                <a:cxn ang="0">
                  <a:pos x="26" y="2"/>
                </a:cxn>
              </a:cxnLst>
              <a:rect l="0" t="0" r="r" b="b"/>
              <a:pathLst>
                <a:path w="935" h="529">
                  <a:moveTo>
                    <a:pt x="23" y="0"/>
                  </a:moveTo>
                  <a:lnTo>
                    <a:pt x="33" y="5"/>
                  </a:lnTo>
                  <a:lnTo>
                    <a:pt x="85" y="28"/>
                  </a:lnTo>
                  <a:lnTo>
                    <a:pt x="144" y="54"/>
                  </a:lnTo>
                  <a:lnTo>
                    <a:pt x="165" y="66"/>
                  </a:lnTo>
                  <a:lnTo>
                    <a:pt x="170" y="68"/>
                  </a:lnTo>
                  <a:lnTo>
                    <a:pt x="229" y="80"/>
                  </a:lnTo>
                  <a:lnTo>
                    <a:pt x="231" y="80"/>
                  </a:lnTo>
                  <a:lnTo>
                    <a:pt x="250" y="87"/>
                  </a:lnTo>
                  <a:lnTo>
                    <a:pt x="253" y="87"/>
                  </a:lnTo>
                  <a:lnTo>
                    <a:pt x="255" y="87"/>
                  </a:lnTo>
                  <a:lnTo>
                    <a:pt x="307" y="99"/>
                  </a:lnTo>
                  <a:lnTo>
                    <a:pt x="316" y="101"/>
                  </a:lnTo>
                  <a:lnTo>
                    <a:pt x="349" y="109"/>
                  </a:lnTo>
                  <a:lnTo>
                    <a:pt x="387" y="118"/>
                  </a:lnTo>
                  <a:lnTo>
                    <a:pt x="434" y="127"/>
                  </a:lnTo>
                  <a:lnTo>
                    <a:pt x="449" y="132"/>
                  </a:lnTo>
                  <a:lnTo>
                    <a:pt x="460" y="135"/>
                  </a:lnTo>
                  <a:lnTo>
                    <a:pt x="470" y="142"/>
                  </a:lnTo>
                  <a:lnTo>
                    <a:pt x="491" y="151"/>
                  </a:lnTo>
                  <a:lnTo>
                    <a:pt x="538" y="177"/>
                  </a:lnTo>
                  <a:lnTo>
                    <a:pt x="564" y="191"/>
                  </a:lnTo>
                  <a:lnTo>
                    <a:pt x="578" y="201"/>
                  </a:lnTo>
                  <a:lnTo>
                    <a:pt x="612" y="217"/>
                  </a:lnTo>
                  <a:lnTo>
                    <a:pt x="635" y="229"/>
                  </a:lnTo>
                  <a:lnTo>
                    <a:pt x="661" y="243"/>
                  </a:lnTo>
                  <a:lnTo>
                    <a:pt x="666" y="246"/>
                  </a:lnTo>
                  <a:lnTo>
                    <a:pt x="668" y="248"/>
                  </a:lnTo>
                  <a:lnTo>
                    <a:pt x="682" y="253"/>
                  </a:lnTo>
                  <a:lnTo>
                    <a:pt x="737" y="276"/>
                  </a:lnTo>
                  <a:lnTo>
                    <a:pt x="767" y="290"/>
                  </a:lnTo>
                  <a:lnTo>
                    <a:pt x="845" y="326"/>
                  </a:lnTo>
                  <a:lnTo>
                    <a:pt x="867" y="333"/>
                  </a:lnTo>
                  <a:lnTo>
                    <a:pt x="869" y="335"/>
                  </a:lnTo>
                  <a:lnTo>
                    <a:pt x="874" y="338"/>
                  </a:lnTo>
                  <a:lnTo>
                    <a:pt x="879" y="340"/>
                  </a:lnTo>
                  <a:lnTo>
                    <a:pt x="912" y="354"/>
                  </a:lnTo>
                  <a:lnTo>
                    <a:pt x="935" y="364"/>
                  </a:lnTo>
                  <a:lnTo>
                    <a:pt x="935" y="364"/>
                  </a:lnTo>
                  <a:lnTo>
                    <a:pt x="935" y="366"/>
                  </a:lnTo>
                  <a:lnTo>
                    <a:pt x="933" y="366"/>
                  </a:lnTo>
                  <a:lnTo>
                    <a:pt x="935" y="368"/>
                  </a:lnTo>
                  <a:lnTo>
                    <a:pt x="933" y="368"/>
                  </a:lnTo>
                  <a:lnTo>
                    <a:pt x="933" y="368"/>
                  </a:lnTo>
                  <a:lnTo>
                    <a:pt x="935" y="368"/>
                  </a:lnTo>
                  <a:lnTo>
                    <a:pt x="935" y="368"/>
                  </a:lnTo>
                  <a:lnTo>
                    <a:pt x="933" y="368"/>
                  </a:lnTo>
                  <a:lnTo>
                    <a:pt x="933" y="371"/>
                  </a:lnTo>
                  <a:lnTo>
                    <a:pt x="933" y="371"/>
                  </a:lnTo>
                  <a:lnTo>
                    <a:pt x="930" y="368"/>
                  </a:lnTo>
                  <a:lnTo>
                    <a:pt x="930" y="371"/>
                  </a:lnTo>
                  <a:lnTo>
                    <a:pt x="930" y="368"/>
                  </a:lnTo>
                  <a:lnTo>
                    <a:pt x="930" y="371"/>
                  </a:lnTo>
                  <a:lnTo>
                    <a:pt x="930" y="371"/>
                  </a:lnTo>
                  <a:lnTo>
                    <a:pt x="930" y="373"/>
                  </a:lnTo>
                  <a:lnTo>
                    <a:pt x="928" y="373"/>
                  </a:lnTo>
                  <a:lnTo>
                    <a:pt x="928" y="373"/>
                  </a:lnTo>
                  <a:lnTo>
                    <a:pt x="926" y="373"/>
                  </a:lnTo>
                  <a:lnTo>
                    <a:pt x="923" y="375"/>
                  </a:lnTo>
                  <a:lnTo>
                    <a:pt x="923" y="375"/>
                  </a:lnTo>
                  <a:lnTo>
                    <a:pt x="921" y="375"/>
                  </a:lnTo>
                  <a:lnTo>
                    <a:pt x="921" y="375"/>
                  </a:lnTo>
                  <a:lnTo>
                    <a:pt x="921" y="375"/>
                  </a:lnTo>
                  <a:lnTo>
                    <a:pt x="921" y="378"/>
                  </a:lnTo>
                  <a:lnTo>
                    <a:pt x="919" y="378"/>
                  </a:lnTo>
                  <a:lnTo>
                    <a:pt x="919" y="378"/>
                  </a:lnTo>
                  <a:lnTo>
                    <a:pt x="916" y="378"/>
                  </a:lnTo>
                  <a:lnTo>
                    <a:pt x="916" y="378"/>
                  </a:lnTo>
                  <a:lnTo>
                    <a:pt x="916" y="378"/>
                  </a:lnTo>
                  <a:lnTo>
                    <a:pt x="916" y="380"/>
                  </a:lnTo>
                  <a:lnTo>
                    <a:pt x="916" y="380"/>
                  </a:lnTo>
                  <a:lnTo>
                    <a:pt x="914" y="380"/>
                  </a:lnTo>
                  <a:lnTo>
                    <a:pt x="914" y="383"/>
                  </a:lnTo>
                  <a:lnTo>
                    <a:pt x="912" y="383"/>
                  </a:lnTo>
                  <a:lnTo>
                    <a:pt x="912" y="383"/>
                  </a:lnTo>
                  <a:lnTo>
                    <a:pt x="912" y="385"/>
                  </a:lnTo>
                  <a:lnTo>
                    <a:pt x="912" y="385"/>
                  </a:lnTo>
                  <a:lnTo>
                    <a:pt x="909" y="385"/>
                  </a:lnTo>
                  <a:lnTo>
                    <a:pt x="907" y="385"/>
                  </a:lnTo>
                  <a:lnTo>
                    <a:pt x="907" y="387"/>
                  </a:lnTo>
                  <a:lnTo>
                    <a:pt x="907" y="390"/>
                  </a:lnTo>
                  <a:lnTo>
                    <a:pt x="907" y="390"/>
                  </a:lnTo>
                  <a:lnTo>
                    <a:pt x="907" y="390"/>
                  </a:lnTo>
                  <a:lnTo>
                    <a:pt x="904" y="390"/>
                  </a:lnTo>
                  <a:lnTo>
                    <a:pt x="904" y="390"/>
                  </a:lnTo>
                  <a:lnTo>
                    <a:pt x="902" y="390"/>
                  </a:lnTo>
                  <a:lnTo>
                    <a:pt x="904" y="390"/>
                  </a:lnTo>
                  <a:lnTo>
                    <a:pt x="904" y="392"/>
                  </a:lnTo>
                  <a:lnTo>
                    <a:pt x="902" y="390"/>
                  </a:lnTo>
                  <a:lnTo>
                    <a:pt x="902" y="392"/>
                  </a:lnTo>
                  <a:lnTo>
                    <a:pt x="902" y="392"/>
                  </a:lnTo>
                  <a:lnTo>
                    <a:pt x="902" y="392"/>
                  </a:lnTo>
                  <a:lnTo>
                    <a:pt x="902" y="392"/>
                  </a:lnTo>
                  <a:lnTo>
                    <a:pt x="900" y="392"/>
                  </a:lnTo>
                  <a:lnTo>
                    <a:pt x="900" y="394"/>
                  </a:lnTo>
                  <a:lnTo>
                    <a:pt x="900" y="394"/>
                  </a:lnTo>
                  <a:lnTo>
                    <a:pt x="897" y="394"/>
                  </a:lnTo>
                  <a:lnTo>
                    <a:pt x="897" y="394"/>
                  </a:lnTo>
                  <a:lnTo>
                    <a:pt x="897" y="394"/>
                  </a:lnTo>
                  <a:lnTo>
                    <a:pt x="897" y="394"/>
                  </a:lnTo>
                  <a:lnTo>
                    <a:pt x="897" y="397"/>
                  </a:lnTo>
                  <a:lnTo>
                    <a:pt x="897" y="397"/>
                  </a:lnTo>
                  <a:lnTo>
                    <a:pt x="897" y="397"/>
                  </a:lnTo>
                  <a:lnTo>
                    <a:pt x="895" y="397"/>
                  </a:lnTo>
                  <a:lnTo>
                    <a:pt x="895" y="399"/>
                  </a:lnTo>
                  <a:lnTo>
                    <a:pt x="895" y="399"/>
                  </a:lnTo>
                  <a:lnTo>
                    <a:pt x="895" y="399"/>
                  </a:lnTo>
                  <a:lnTo>
                    <a:pt x="893" y="401"/>
                  </a:lnTo>
                  <a:lnTo>
                    <a:pt x="893" y="404"/>
                  </a:lnTo>
                  <a:lnTo>
                    <a:pt x="893" y="401"/>
                  </a:lnTo>
                  <a:lnTo>
                    <a:pt x="893" y="404"/>
                  </a:lnTo>
                  <a:lnTo>
                    <a:pt x="890" y="404"/>
                  </a:lnTo>
                  <a:lnTo>
                    <a:pt x="890" y="401"/>
                  </a:lnTo>
                  <a:lnTo>
                    <a:pt x="890" y="404"/>
                  </a:lnTo>
                  <a:lnTo>
                    <a:pt x="890" y="404"/>
                  </a:lnTo>
                  <a:lnTo>
                    <a:pt x="890" y="404"/>
                  </a:lnTo>
                  <a:lnTo>
                    <a:pt x="888" y="404"/>
                  </a:lnTo>
                  <a:lnTo>
                    <a:pt x="888" y="404"/>
                  </a:lnTo>
                  <a:lnTo>
                    <a:pt x="888" y="406"/>
                  </a:lnTo>
                  <a:lnTo>
                    <a:pt x="888" y="406"/>
                  </a:lnTo>
                  <a:lnTo>
                    <a:pt x="888" y="406"/>
                  </a:lnTo>
                  <a:lnTo>
                    <a:pt x="888" y="409"/>
                  </a:lnTo>
                  <a:lnTo>
                    <a:pt x="888" y="409"/>
                  </a:lnTo>
                  <a:lnTo>
                    <a:pt x="888" y="409"/>
                  </a:lnTo>
                  <a:lnTo>
                    <a:pt x="886" y="409"/>
                  </a:lnTo>
                  <a:lnTo>
                    <a:pt x="886" y="411"/>
                  </a:lnTo>
                  <a:lnTo>
                    <a:pt x="886" y="411"/>
                  </a:lnTo>
                  <a:lnTo>
                    <a:pt x="886" y="411"/>
                  </a:lnTo>
                  <a:lnTo>
                    <a:pt x="886" y="411"/>
                  </a:lnTo>
                  <a:lnTo>
                    <a:pt x="886" y="411"/>
                  </a:lnTo>
                  <a:lnTo>
                    <a:pt x="883" y="411"/>
                  </a:lnTo>
                  <a:lnTo>
                    <a:pt x="883" y="413"/>
                  </a:lnTo>
                  <a:lnTo>
                    <a:pt x="883" y="411"/>
                  </a:lnTo>
                  <a:lnTo>
                    <a:pt x="883" y="413"/>
                  </a:lnTo>
                  <a:lnTo>
                    <a:pt x="881" y="413"/>
                  </a:lnTo>
                  <a:lnTo>
                    <a:pt x="881" y="413"/>
                  </a:lnTo>
                  <a:lnTo>
                    <a:pt x="881" y="413"/>
                  </a:lnTo>
                  <a:lnTo>
                    <a:pt x="879" y="416"/>
                  </a:lnTo>
                  <a:lnTo>
                    <a:pt x="876" y="416"/>
                  </a:lnTo>
                  <a:lnTo>
                    <a:pt x="876" y="416"/>
                  </a:lnTo>
                  <a:lnTo>
                    <a:pt x="876" y="416"/>
                  </a:lnTo>
                  <a:lnTo>
                    <a:pt x="876" y="416"/>
                  </a:lnTo>
                  <a:lnTo>
                    <a:pt x="874" y="416"/>
                  </a:lnTo>
                  <a:lnTo>
                    <a:pt x="874" y="416"/>
                  </a:lnTo>
                  <a:lnTo>
                    <a:pt x="871" y="416"/>
                  </a:lnTo>
                  <a:lnTo>
                    <a:pt x="869" y="418"/>
                  </a:lnTo>
                  <a:lnTo>
                    <a:pt x="869" y="418"/>
                  </a:lnTo>
                  <a:lnTo>
                    <a:pt x="871" y="420"/>
                  </a:lnTo>
                  <a:lnTo>
                    <a:pt x="869" y="420"/>
                  </a:lnTo>
                  <a:lnTo>
                    <a:pt x="869" y="420"/>
                  </a:lnTo>
                  <a:lnTo>
                    <a:pt x="869" y="420"/>
                  </a:lnTo>
                  <a:lnTo>
                    <a:pt x="867" y="420"/>
                  </a:lnTo>
                  <a:lnTo>
                    <a:pt x="867" y="423"/>
                  </a:lnTo>
                  <a:lnTo>
                    <a:pt x="864" y="423"/>
                  </a:lnTo>
                  <a:lnTo>
                    <a:pt x="862" y="420"/>
                  </a:lnTo>
                  <a:lnTo>
                    <a:pt x="860" y="420"/>
                  </a:lnTo>
                  <a:lnTo>
                    <a:pt x="860" y="420"/>
                  </a:lnTo>
                  <a:lnTo>
                    <a:pt x="857" y="420"/>
                  </a:lnTo>
                  <a:lnTo>
                    <a:pt x="857" y="420"/>
                  </a:lnTo>
                  <a:lnTo>
                    <a:pt x="855" y="420"/>
                  </a:lnTo>
                  <a:lnTo>
                    <a:pt x="853" y="420"/>
                  </a:lnTo>
                  <a:lnTo>
                    <a:pt x="850" y="420"/>
                  </a:lnTo>
                  <a:lnTo>
                    <a:pt x="850" y="420"/>
                  </a:lnTo>
                  <a:lnTo>
                    <a:pt x="850" y="420"/>
                  </a:lnTo>
                  <a:lnTo>
                    <a:pt x="850" y="420"/>
                  </a:lnTo>
                  <a:lnTo>
                    <a:pt x="848" y="420"/>
                  </a:lnTo>
                  <a:lnTo>
                    <a:pt x="848" y="420"/>
                  </a:lnTo>
                  <a:lnTo>
                    <a:pt x="845" y="420"/>
                  </a:lnTo>
                  <a:lnTo>
                    <a:pt x="848" y="423"/>
                  </a:lnTo>
                  <a:lnTo>
                    <a:pt x="848" y="425"/>
                  </a:lnTo>
                  <a:lnTo>
                    <a:pt x="848" y="427"/>
                  </a:lnTo>
                  <a:lnTo>
                    <a:pt x="848" y="427"/>
                  </a:lnTo>
                  <a:lnTo>
                    <a:pt x="848" y="427"/>
                  </a:lnTo>
                  <a:lnTo>
                    <a:pt x="845" y="427"/>
                  </a:lnTo>
                  <a:lnTo>
                    <a:pt x="845" y="427"/>
                  </a:lnTo>
                  <a:lnTo>
                    <a:pt x="843" y="427"/>
                  </a:lnTo>
                  <a:lnTo>
                    <a:pt x="843" y="430"/>
                  </a:lnTo>
                  <a:lnTo>
                    <a:pt x="841" y="427"/>
                  </a:lnTo>
                  <a:lnTo>
                    <a:pt x="838" y="427"/>
                  </a:lnTo>
                  <a:lnTo>
                    <a:pt x="838" y="427"/>
                  </a:lnTo>
                  <a:lnTo>
                    <a:pt x="836" y="427"/>
                  </a:lnTo>
                  <a:lnTo>
                    <a:pt x="836" y="427"/>
                  </a:lnTo>
                  <a:lnTo>
                    <a:pt x="834" y="430"/>
                  </a:lnTo>
                  <a:lnTo>
                    <a:pt x="836" y="430"/>
                  </a:lnTo>
                  <a:lnTo>
                    <a:pt x="836" y="435"/>
                  </a:lnTo>
                  <a:lnTo>
                    <a:pt x="834" y="435"/>
                  </a:lnTo>
                  <a:lnTo>
                    <a:pt x="834" y="435"/>
                  </a:lnTo>
                  <a:lnTo>
                    <a:pt x="831" y="435"/>
                  </a:lnTo>
                  <a:lnTo>
                    <a:pt x="831" y="437"/>
                  </a:lnTo>
                  <a:lnTo>
                    <a:pt x="831" y="437"/>
                  </a:lnTo>
                  <a:lnTo>
                    <a:pt x="829" y="439"/>
                  </a:lnTo>
                  <a:lnTo>
                    <a:pt x="827" y="439"/>
                  </a:lnTo>
                  <a:lnTo>
                    <a:pt x="824" y="439"/>
                  </a:lnTo>
                  <a:lnTo>
                    <a:pt x="824" y="439"/>
                  </a:lnTo>
                  <a:lnTo>
                    <a:pt x="822" y="439"/>
                  </a:lnTo>
                  <a:lnTo>
                    <a:pt x="822" y="442"/>
                  </a:lnTo>
                  <a:lnTo>
                    <a:pt x="819" y="442"/>
                  </a:lnTo>
                  <a:lnTo>
                    <a:pt x="819" y="442"/>
                  </a:lnTo>
                  <a:lnTo>
                    <a:pt x="817" y="442"/>
                  </a:lnTo>
                  <a:lnTo>
                    <a:pt x="815" y="444"/>
                  </a:lnTo>
                  <a:lnTo>
                    <a:pt x="812" y="444"/>
                  </a:lnTo>
                  <a:lnTo>
                    <a:pt x="810" y="449"/>
                  </a:lnTo>
                  <a:lnTo>
                    <a:pt x="810" y="451"/>
                  </a:lnTo>
                  <a:lnTo>
                    <a:pt x="808" y="453"/>
                  </a:lnTo>
                  <a:lnTo>
                    <a:pt x="805" y="456"/>
                  </a:lnTo>
                  <a:lnTo>
                    <a:pt x="803" y="458"/>
                  </a:lnTo>
                  <a:lnTo>
                    <a:pt x="801" y="456"/>
                  </a:lnTo>
                  <a:lnTo>
                    <a:pt x="798" y="472"/>
                  </a:lnTo>
                  <a:lnTo>
                    <a:pt x="796" y="470"/>
                  </a:lnTo>
                  <a:lnTo>
                    <a:pt x="796" y="472"/>
                  </a:lnTo>
                  <a:lnTo>
                    <a:pt x="796" y="470"/>
                  </a:lnTo>
                  <a:lnTo>
                    <a:pt x="796" y="472"/>
                  </a:lnTo>
                  <a:lnTo>
                    <a:pt x="793" y="472"/>
                  </a:lnTo>
                  <a:lnTo>
                    <a:pt x="793" y="470"/>
                  </a:lnTo>
                  <a:lnTo>
                    <a:pt x="793" y="472"/>
                  </a:lnTo>
                  <a:lnTo>
                    <a:pt x="793" y="470"/>
                  </a:lnTo>
                  <a:lnTo>
                    <a:pt x="793" y="468"/>
                  </a:lnTo>
                  <a:lnTo>
                    <a:pt x="791" y="468"/>
                  </a:lnTo>
                  <a:lnTo>
                    <a:pt x="791" y="468"/>
                  </a:lnTo>
                  <a:lnTo>
                    <a:pt x="791" y="468"/>
                  </a:lnTo>
                  <a:lnTo>
                    <a:pt x="789" y="468"/>
                  </a:lnTo>
                  <a:lnTo>
                    <a:pt x="789" y="468"/>
                  </a:lnTo>
                  <a:lnTo>
                    <a:pt x="786" y="468"/>
                  </a:lnTo>
                  <a:lnTo>
                    <a:pt x="786" y="465"/>
                  </a:lnTo>
                  <a:lnTo>
                    <a:pt x="786" y="468"/>
                  </a:lnTo>
                  <a:lnTo>
                    <a:pt x="786" y="465"/>
                  </a:lnTo>
                  <a:lnTo>
                    <a:pt x="784" y="465"/>
                  </a:lnTo>
                  <a:lnTo>
                    <a:pt x="784" y="465"/>
                  </a:lnTo>
                  <a:lnTo>
                    <a:pt x="784" y="465"/>
                  </a:lnTo>
                  <a:lnTo>
                    <a:pt x="784" y="465"/>
                  </a:lnTo>
                  <a:lnTo>
                    <a:pt x="784" y="463"/>
                  </a:lnTo>
                  <a:lnTo>
                    <a:pt x="782" y="463"/>
                  </a:lnTo>
                  <a:lnTo>
                    <a:pt x="782" y="463"/>
                  </a:lnTo>
                  <a:lnTo>
                    <a:pt x="779" y="463"/>
                  </a:lnTo>
                  <a:lnTo>
                    <a:pt x="779" y="463"/>
                  </a:lnTo>
                  <a:lnTo>
                    <a:pt x="777" y="460"/>
                  </a:lnTo>
                  <a:lnTo>
                    <a:pt x="777" y="460"/>
                  </a:lnTo>
                  <a:lnTo>
                    <a:pt x="775" y="460"/>
                  </a:lnTo>
                  <a:lnTo>
                    <a:pt x="775" y="463"/>
                  </a:lnTo>
                  <a:lnTo>
                    <a:pt x="775" y="460"/>
                  </a:lnTo>
                  <a:lnTo>
                    <a:pt x="772" y="460"/>
                  </a:lnTo>
                  <a:lnTo>
                    <a:pt x="772" y="463"/>
                  </a:lnTo>
                  <a:lnTo>
                    <a:pt x="770" y="463"/>
                  </a:lnTo>
                  <a:lnTo>
                    <a:pt x="770" y="463"/>
                  </a:lnTo>
                  <a:lnTo>
                    <a:pt x="767" y="463"/>
                  </a:lnTo>
                  <a:lnTo>
                    <a:pt x="767" y="463"/>
                  </a:lnTo>
                  <a:lnTo>
                    <a:pt x="767" y="463"/>
                  </a:lnTo>
                  <a:lnTo>
                    <a:pt x="765" y="463"/>
                  </a:lnTo>
                  <a:lnTo>
                    <a:pt x="763" y="465"/>
                  </a:lnTo>
                  <a:lnTo>
                    <a:pt x="763" y="463"/>
                  </a:lnTo>
                  <a:lnTo>
                    <a:pt x="760" y="463"/>
                  </a:lnTo>
                  <a:lnTo>
                    <a:pt x="760" y="463"/>
                  </a:lnTo>
                  <a:lnTo>
                    <a:pt x="758" y="463"/>
                  </a:lnTo>
                  <a:lnTo>
                    <a:pt x="758" y="463"/>
                  </a:lnTo>
                  <a:lnTo>
                    <a:pt x="758" y="463"/>
                  </a:lnTo>
                  <a:lnTo>
                    <a:pt x="758" y="463"/>
                  </a:lnTo>
                  <a:lnTo>
                    <a:pt x="756" y="463"/>
                  </a:lnTo>
                  <a:lnTo>
                    <a:pt x="756" y="465"/>
                  </a:lnTo>
                  <a:lnTo>
                    <a:pt x="756" y="465"/>
                  </a:lnTo>
                  <a:lnTo>
                    <a:pt x="753" y="465"/>
                  </a:lnTo>
                  <a:lnTo>
                    <a:pt x="753" y="465"/>
                  </a:lnTo>
                  <a:lnTo>
                    <a:pt x="753" y="468"/>
                  </a:lnTo>
                  <a:lnTo>
                    <a:pt x="751" y="468"/>
                  </a:lnTo>
                  <a:lnTo>
                    <a:pt x="751" y="468"/>
                  </a:lnTo>
                  <a:lnTo>
                    <a:pt x="749" y="470"/>
                  </a:lnTo>
                  <a:lnTo>
                    <a:pt x="749" y="470"/>
                  </a:lnTo>
                  <a:lnTo>
                    <a:pt x="749" y="470"/>
                  </a:lnTo>
                  <a:lnTo>
                    <a:pt x="746" y="472"/>
                  </a:lnTo>
                  <a:lnTo>
                    <a:pt x="746" y="472"/>
                  </a:lnTo>
                  <a:lnTo>
                    <a:pt x="746" y="475"/>
                  </a:lnTo>
                  <a:lnTo>
                    <a:pt x="749" y="475"/>
                  </a:lnTo>
                  <a:lnTo>
                    <a:pt x="749" y="475"/>
                  </a:lnTo>
                  <a:lnTo>
                    <a:pt x="749" y="477"/>
                  </a:lnTo>
                  <a:lnTo>
                    <a:pt x="749" y="477"/>
                  </a:lnTo>
                  <a:lnTo>
                    <a:pt x="746" y="477"/>
                  </a:lnTo>
                  <a:lnTo>
                    <a:pt x="749" y="479"/>
                  </a:lnTo>
                  <a:lnTo>
                    <a:pt x="746" y="479"/>
                  </a:lnTo>
                  <a:lnTo>
                    <a:pt x="746" y="482"/>
                  </a:lnTo>
                  <a:lnTo>
                    <a:pt x="744" y="482"/>
                  </a:lnTo>
                  <a:lnTo>
                    <a:pt x="741" y="484"/>
                  </a:lnTo>
                  <a:lnTo>
                    <a:pt x="741" y="484"/>
                  </a:lnTo>
                  <a:lnTo>
                    <a:pt x="741" y="484"/>
                  </a:lnTo>
                  <a:lnTo>
                    <a:pt x="739" y="486"/>
                  </a:lnTo>
                  <a:lnTo>
                    <a:pt x="739" y="486"/>
                  </a:lnTo>
                  <a:lnTo>
                    <a:pt x="737" y="491"/>
                  </a:lnTo>
                  <a:lnTo>
                    <a:pt x="737" y="491"/>
                  </a:lnTo>
                  <a:lnTo>
                    <a:pt x="734" y="494"/>
                  </a:lnTo>
                  <a:lnTo>
                    <a:pt x="734" y="494"/>
                  </a:lnTo>
                  <a:lnTo>
                    <a:pt x="734" y="494"/>
                  </a:lnTo>
                  <a:lnTo>
                    <a:pt x="734" y="496"/>
                  </a:lnTo>
                  <a:lnTo>
                    <a:pt x="732" y="496"/>
                  </a:lnTo>
                  <a:lnTo>
                    <a:pt x="732" y="498"/>
                  </a:lnTo>
                  <a:lnTo>
                    <a:pt x="732" y="501"/>
                  </a:lnTo>
                  <a:lnTo>
                    <a:pt x="732" y="501"/>
                  </a:lnTo>
                  <a:lnTo>
                    <a:pt x="730" y="503"/>
                  </a:lnTo>
                  <a:lnTo>
                    <a:pt x="730" y="503"/>
                  </a:lnTo>
                  <a:lnTo>
                    <a:pt x="727" y="505"/>
                  </a:lnTo>
                  <a:lnTo>
                    <a:pt x="727" y="505"/>
                  </a:lnTo>
                  <a:lnTo>
                    <a:pt x="725" y="508"/>
                  </a:lnTo>
                  <a:lnTo>
                    <a:pt x="725" y="508"/>
                  </a:lnTo>
                  <a:lnTo>
                    <a:pt x="723" y="508"/>
                  </a:lnTo>
                  <a:lnTo>
                    <a:pt x="720" y="508"/>
                  </a:lnTo>
                  <a:lnTo>
                    <a:pt x="720" y="508"/>
                  </a:lnTo>
                  <a:lnTo>
                    <a:pt x="720" y="510"/>
                  </a:lnTo>
                  <a:lnTo>
                    <a:pt x="718" y="510"/>
                  </a:lnTo>
                  <a:lnTo>
                    <a:pt x="718" y="510"/>
                  </a:lnTo>
                  <a:lnTo>
                    <a:pt x="716" y="510"/>
                  </a:lnTo>
                  <a:lnTo>
                    <a:pt x="711" y="510"/>
                  </a:lnTo>
                  <a:lnTo>
                    <a:pt x="711" y="512"/>
                  </a:lnTo>
                  <a:lnTo>
                    <a:pt x="711" y="512"/>
                  </a:lnTo>
                  <a:lnTo>
                    <a:pt x="711" y="515"/>
                  </a:lnTo>
                  <a:lnTo>
                    <a:pt x="711" y="515"/>
                  </a:lnTo>
                  <a:lnTo>
                    <a:pt x="711" y="515"/>
                  </a:lnTo>
                  <a:lnTo>
                    <a:pt x="708" y="515"/>
                  </a:lnTo>
                  <a:lnTo>
                    <a:pt x="708" y="515"/>
                  </a:lnTo>
                  <a:lnTo>
                    <a:pt x="708" y="515"/>
                  </a:lnTo>
                  <a:lnTo>
                    <a:pt x="706" y="512"/>
                  </a:lnTo>
                  <a:lnTo>
                    <a:pt x="704" y="515"/>
                  </a:lnTo>
                  <a:lnTo>
                    <a:pt x="699" y="515"/>
                  </a:lnTo>
                  <a:lnTo>
                    <a:pt x="697" y="517"/>
                  </a:lnTo>
                  <a:lnTo>
                    <a:pt x="697" y="520"/>
                  </a:lnTo>
                  <a:lnTo>
                    <a:pt x="694" y="520"/>
                  </a:lnTo>
                  <a:lnTo>
                    <a:pt x="692" y="522"/>
                  </a:lnTo>
                  <a:lnTo>
                    <a:pt x="692" y="522"/>
                  </a:lnTo>
                  <a:lnTo>
                    <a:pt x="682" y="524"/>
                  </a:lnTo>
                  <a:lnTo>
                    <a:pt x="671" y="529"/>
                  </a:lnTo>
                  <a:lnTo>
                    <a:pt x="671" y="524"/>
                  </a:lnTo>
                  <a:lnTo>
                    <a:pt x="668" y="524"/>
                  </a:lnTo>
                  <a:lnTo>
                    <a:pt x="671" y="522"/>
                  </a:lnTo>
                  <a:lnTo>
                    <a:pt x="668" y="522"/>
                  </a:lnTo>
                  <a:lnTo>
                    <a:pt x="666" y="522"/>
                  </a:lnTo>
                  <a:lnTo>
                    <a:pt x="666" y="522"/>
                  </a:lnTo>
                  <a:lnTo>
                    <a:pt x="666" y="520"/>
                  </a:lnTo>
                  <a:lnTo>
                    <a:pt x="664" y="520"/>
                  </a:lnTo>
                  <a:lnTo>
                    <a:pt x="664" y="520"/>
                  </a:lnTo>
                  <a:lnTo>
                    <a:pt x="664" y="517"/>
                  </a:lnTo>
                  <a:lnTo>
                    <a:pt x="664" y="515"/>
                  </a:lnTo>
                  <a:lnTo>
                    <a:pt x="664" y="515"/>
                  </a:lnTo>
                  <a:lnTo>
                    <a:pt x="664" y="512"/>
                  </a:lnTo>
                  <a:lnTo>
                    <a:pt x="666" y="512"/>
                  </a:lnTo>
                  <a:lnTo>
                    <a:pt x="666" y="512"/>
                  </a:lnTo>
                  <a:lnTo>
                    <a:pt x="666" y="512"/>
                  </a:lnTo>
                  <a:lnTo>
                    <a:pt x="666" y="510"/>
                  </a:lnTo>
                  <a:lnTo>
                    <a:pt x="666" y="510"/>
                  </a:lnTo>
                  <a:lnTo>
                    <a:pt x="664" y="510"/>
                  </a:lnTo>
                  <a:lnTo>
                    <a:pt x="664" y="510"/>
                  </a:lnTo>
                  <a:lnTo>
                    <a:pt x="664" y="510"/>
                  </a:lnTo>
                  <a:lnTo>
                    <a:pt x="664" y="510"/>
                  </a:lnTo>
                  <a:lnTo>
                    <a:pt x="664" y="510"/>
                  </a:lnTo>
                  <a:lnTo>
                    <a:pt x="661" y="510"/>
                  </a:lnTo>
                  <a:lnTo>
                    <a:pt x="661" y="508"/>
                  </a:lnTo>
                  <a:lnTo>
                    <a:pt x="661" y="510"/>
                  </a:lnTo>
                  <a:lnTo>
                    <a:pt x="661" y="510"/>
                  </a:lnTo>
                  <a:lnTo>
                    <a:pt x="661" y="510"/>
                  </a:lnTo>
                  <a:lnTo>
                    <a:pt x="659" y="508"/>
                  </a:lnTo>
                  <a:lnTo>
                    <a:pt x="659" y="508"/>
                  </a:lnTo>
                  <a:lnTo>
                    <a:pt x="659" y="508"/>
                  </a:lnTo>
                  <a:lnTo>
                    <a:pt x="659" y="508"/>
                  </a:lnTo>
                  <a:lnTo>
                    <a:pt x="656" y="508"/>
                  </a:lnTo>
                  <a:lnTo>
                    <a:pt x="659" y="510"/>
                  </a:lnTo>
                  <a:lnTo>
                    <a:pt x="656" y="510"/>
                  </a:lnTo>
                  <a:lnTo>
                    <a:pt x="656" y="510"/>
                  </a:lnTo>
                  <a:lnTo>
                    <a:pt x="656" y="510"/>
                  </a:lnTo>
                  <a:lnTo>
                    <a:pt x="654" y="510"/>
                  </a:lnTo>
                  <a:lnTo>
                    <a:pt x="656" y="508"/>
                  </a:lnTo>
                  <a:lnTo>
                    <a:pt x="654" y="508"/>
                  </a:lnTo>
                  <a:lnTo>
                    <a:pt x="654" y="510"/>
                  </a:lnTo>
                  <a:lnTo>
                    <a:pt x="654" y="508"/>
                  </a:lnTo>
                  <a:lnTo>
                    <a:pt x="654" y="508"/>
                  </a:lnTo>
                  <a:lnTo>
                    <a:pt x="654" y="508"/>
                  </a:lnTo>
                  <a:lnTo>
                    <a:pt x="652" y="510"/>
                  </a:lnTo>
                  <a:lnTo>
                    <a:pt x="652" y="510"/>
                  </a:lnTo>
                  <a:lnTo>
                    <a:pt x="649" y="510"/>
                  </a:lnTo>
                  <a:lnTo>
                    <a:pt x="649" y="510"/>
                  </a:lnTo>
                  <a:lnTo>
                    <a:pt x="649" y="510"/>
                  </a:lnTo>
                  <a:lnTo>
                    <a:pt x="647" y="510"/>
                  </a:lnTo>
                  <a:lnTo>
                    <a:pt x="649" y="510"/>
                  </a:lnTo>
                  <a:lnTo>
                    <a:pt x="649" y="510"/>
                  </a:lnTo>
                  <a:lnTo>
                    <a:pt x="649" y="512"/>
                  </a:lnTo>
                  <a:lnTo>
                    <a:pt x="649" y="512"/>
                  </a:lnTo>
                  <a:lnTo>
                    <a:pt x="647" y="510"/>
                  </a:lnTo>
                  <a:lnTo>
                    <a:pt x="647" y="510"/>
                  </a:lnTo>
                  <a:lnTo>
                    <a:pt x="647" y="510"/>
                  </a:lnTo>
                  <a:lnTo>
                    <a:pt x="645" y="512"/>
                  </a:lnTo>
                  <a:lnTo>
                    <a:pt x="645" y="510"/>
                  </a:lnTo>
                  <a:lnTo>
                    <a:pt x="642" y="510"/>
                  </a:lnTo>
                  <a:lnTo>
                    <a:pt x="640" y="510"/>
                  </a:lnTo>
                  <a:lnTo>
                    <a:pt x="640" y="510"/>
                  </a:lnTo>
                  <a:lnTo>
                    <a:pt x="640" y="510"/>
                  </a:lnTo>
                  <a:lnTo>
                    <a:pt x="640" y="508"/>
                  </a:lnTo>
                  <a:lnTo>
                    <a:pt x="638" y="508"/>
                  </a:lnTo>
                  <a:lnTo>
                    <a:pt x="638" y="508"/>
                  </a:lnTo>
                  <a:lnTo>
                    <a:pt x="635" y="508"/>
                  </a:lnTo>
                  <a:lnTo>
                    <a:pt x="635" y="508"/>
                  </a:lnTo>
                  <a:lnTo>
                    <a:pt x="635" y="510"/>
                  </a:lnTo>
                  <a:lnTo>
                    <a:pt x="635" y="510"/>
                  </a:lnTo>
                  <a:lnTo>
                    <a:pt x="635" y="510"/>
                  </a:lnTo>
                  <a:lnTo>
                    <a:pt x="633" y="510"/>
                  </a:lnTo>
                  <a:lnTo>
                    <a:pt x="633" y="510"/>
                  </a:lnTo>
                  <a:lnTo>
                    <a:pt x="630" y="510"/>
                  </a:lnTo>
                  <a:lnTo>
                    <a:pt x="633" y="508"/>
                  </a:lnTo>
                  <a:lnTo>
                    <a:pt x="633" y="508"/>
                  </a:lnTo>
                  <a:lnTo>
                    <a:pt x="630" y="508"/>
                  </a:lnTo>
                  <a:lnTo>
                    <a:pt x="630" y="505"/>
                  </a:lnTo>
                  <a:lnTo>
                    <a:pt x="630" y="505"/>
                  </a:lnTo>
                  <a:lnTo>
                    <a:pt x="628" y="505"/>
                  </a:lnTo>
                  <a:lnTo>
                    <a:pt x="628" y="505"/>
                  </a:lnTo>
                  <a:lnTo>
                    <a:pt x="628" y="505"/>
                  </a:lnTo>
                  <a:lnTo>
                    <a:pt x="626" y="505"/>
                  </a:lnTo>
                  <a:lnTo>
                    <a:pt x="626" y="503"/>
                  </a:lnTo>
                  <a:lnTo>
                    <a:pt x="623" y="505"/>
                  </a:lnTo>
                  <a:lnTo>
                    <a:pt x="623" y="505"/>
                  </a:lnTo>
                  <a:lnTo>
                    <a:pt x="621" y="505"/>
                  </a:lnTo>
                  <a:lnTo>
                    <a:pt x="619" y="505"/>
                  </a:lnTo>
                  <a:lnTo>
                    <a:pt x="619" y="505"/>
                  </a:lnTo>
                  <a:lnTo>
                    <a:pt x="619" y="505"/>
                  </a:lnTo>
                  <a:lnTo>
                    <a:pt x="616" y="505"/>
                  </a:lnTo>
                  <a:lnTo>
                    <a:pt x="616" y="503"/>
                  </a:lnTo>
                  <a:lnTo>
                    <a:pt x="616" y="505"/>
                  </a:lnTo>
                  <a:lnTo>
                    <a:pt x="614" y="505"/>
                  </a:lnTo>
                  <a:lnTo>
                    <a:pt x="616" y="503"/>
                  </a:lnTo>
                  <a:lnTo>
                    <a:pt x="614" y="503"/>
                  </a:lnTo>
                  <a:lnTo>
                    <a:pt x="614" y="503"/>
                  </a:lnTo>
                  <a:lnTo>
                    <a:pt x="612" y="503"/>
                  </a:lnTo>
                  <a:lnTo>
                    <a:pt x="612" y="503"/>
                  </a:lnTo>
                  <a:lnTo>
                    <a:pt x="609" y="503"/>
                  </a:lnTo>
                  <a:lnTo>
                    <a:pt x="609" y="503"/>
                  </a:lnTo>
                  <a:lnTo>
                    <a:pt x="607" y="503"/>
                  </a:lnTo>
                  <a:lnTo>
                    <a:pt x="607" y="503"/>
                  </a:lnTo>
                  <a:lnTo>
                    <a:pt x="604" y="501"/>
                  </a:lnTo>
                  <a:lnTo>
                    <a:pt x="602" y="503"/>
                  </a:lnTo>
                  <a:lnTo>
                    <a:pt x="602" y="501"/>
                  </a:lnTo>
                  <a:lnTo>
                    <a:pt x="602" y="501"/>
                  </a:lnTo>
                  <a:lnTo>
                    <a:pt x="602" y="501"/>
                  </a:lnTo>
                  <a:lnTo>
                    <a:pt x="600" y="501"/>
                  </a:lnTo>
                  <a:lnTo>
                    <a:pt x="600" y="503"/>
                  </a:lnTo>
                  <a:lnTo>
                    <a:pt x="600" y="503"/>
                  </a:lnTo>
                  <a:lnTo>
                    <a:pt x="600" y="503"/>
                  </a:lnTo>
                  <a:lnTo>
                    <a:pt x="597" y="501"/>
                  </a:lnTo>
                  <a:lnTo>
                    <a:pt x="597" y="501"/>
                  </a:lnTo>
                  <a:lnTo>
                    <a:pt x="597" y="503"/>
                  </a:lnTo>
                  <a:lnTo>
                    <a:pt x="597" y="501"/>
                  </a:lnTo>
                  <a:lnTo>
                    <a:pt x="595" y="503"/>
                  </a:lnTo>
                  <a:lnTo>
                    <a:pt x="593" y="501"/>
                  </a:lnTo>
                  <a:lnTo>
                    <a:pt x="593" y="501"/>
                  </a:lnTo>
                  <a:lnTo>
                    <a:pt x="593" y="503"/>
                  </a:lnTo>
                  <a:lnTo>
                    <a:pt x="590" y="503"/>
                  </a:lnTo>
                  <a:lnTo>
                    <a:pt x="590" y="501"/>
                  </a:lnTo>
                  <a:lnTo>
                    <a:pt x="590" y="503"/>
                  </a:lnTo>
                  <a:lnTo>
                    <a:pt x="590" y="503"/>
                  </a:lnTo>
                  <a:lnTo>
                    <a:pt x="590" y="501"/>
                  </a:lnTo>
                  <a:lnTo>
                    <a:pt x="588" y="501"/>
                  </a:lnTo>
                  <a:lnTo>
                    <a:pt x="588" y="501"/>
                  </a:lnTo>
                  <a:lnTo>
                    <a:pt x="588" y="501"/>
                  </a:lnTo>
                  <a:lnTo>
                    <a:pt x="586" y="503"/>
                  </a:lnTo>
                  <a:lnTo>
                    <a:pt x="586" y="501"/>
                  </a:lnTo>
                  <a:lnTo>
                    <a:pt x="586" y="501"/>
                  </a:lnTo>
                  <a:lnTo>
                    <a:pt x="583" y="501"/>
                  </a:lnTo>
                  <a:lnTo>
                    <a:pt x="583" y="501"/>
                  </a:lnTo>
                  <a:lnTo>
                    <a:pt x="583" y="501"/>
                  </a:lnTo>
                  <a:lnTo>
                    <a:pt x="583" y="501"/>
                  </a:lnTo>
                  <a:lnTo>
                    <a:pt x="583" y="501"/>
                  </a:lnTo>
                  <a:lnTo>
                    <a:pt x="581" y="501"/>
                  </a:lnTo>
                  <a:lnTo>
                    <a:pt x="581" y="498"/>
                  </a:lnTo>
                  <a:lnTo>
                    <a:pt x="581" y="498"/>
                  </a:lnTo>
                  <a:lnTo>
                    <a:pt x="578" y="501"/>
                  </a:lnTo>
                  <a:lnTo>
                    <a:pt x="576" y="501"/>
                  </a:lnTo>
                  <a:lnTo>
                    <a:pt x="576" y="503"/>
                  </a:lnTo>
                  <a:lnTo>
                    <a:pt x="576" y="501"/>
                  </a:lnTo>
                  <a:lnTo>
                    <a:pt x="576" y="503"/>
                  </a:lnTo>
                  <a:lnTo>
                    <a:pt x="574" y="503"/>
                  </a:lnTo>
                  <a:lnTo>
                    <a:pt x="574" y="501"/>
                  </a:lnTo>
                  <a:lnTo>
                    <a:pt x="574" y="503"/>
                  </a:lnTo>
                  <a:lnTo>
                    <a:pt x="574" y="503"/>
                  </a:lnTo>
                  <a:lnTo>
                    <a:pt x="571" y="503"/>
                  </a:lnTo>
                  <a:lnTo>
                    <a:pt x="571" y="503"/>
                  </a:lnTo>
                  <a:lnTo>
                    <a:pt x="571" y="501"/>
                  </a:lnTo>
                  <a:lnTo>
                    <a:pt x="569" y="501"/>
                  </a:lnTo>
                  <a:lnTo>
                    <a:pt x="567" y="501"/>
                  </a:lnTo>
                  <a:lnTo>
                    <a:pt x="564" y="501"/>
                  </a:lnTo>
                  <a:lnTo>
                    <a:pt x="564" y="503"/>
                  </a:lnTo>
                  <a:lnTo>
                    <a:pt x="564" y="503"/>
                  </a:lnTo>
                  <a:lnTo>
                    <a:pt x="564" y="503"/>
                  </a:lnTo>
                  <a:lnTo>
                    <a:pt x="564" y="501"/>
                  </a:lnTo>
                  <a:lnTo>
                    <a:pt x="560" y="501"/>
                  </a:lnTo>
                  <a:lnTo>
                    <a:pt x="560" y="501"/>
                  </a:lnTo>
                  <a:lnTo>
                    <a:pt x="560" y="503"/>
                  </a:lnTo>
                  <a:lnTo>
                    <a:pt x="557" y="501"/>
                  </a:lnTo>
                  <a:lnTo>
                    <a:pt x="555" y="501"/>
                  </a:lnTo>
                  <a:lnTo>
                    <a:pt x="555" y="503"/>
                  </a:lnTo>
                  <a:lnTo>
                    <a:pt x="555" y="503"/>
                  </a:lnTo>
                  <a:lnTo>
                    <a:pt x="553" y="503"/>
                  </a:lnTo>
                  <a:lnTo>
                    <a:pt x="550" y="503"/>
                  </a:lnTo>
                  <a:lnTo>
                    <a:pt x="548" y="503"/>
                  </a:lnTo>
                  <a:lnTo>
                    <a:pt x="548" y="503"/>
                  </a:lnTo>
                  <a:lnTo>
                    <a:pt x="545" y="503"/>
                  </a:lnTo>
                  <a:lnTo>
                    <a:pt x="545" y="505"/>
                  </a:lnTo>
                  <a:lnTo>
                    <a:pt x="545" y="503"/>
                  </a:lnTo>
                  <a:lnTo>
                    <a:pt x="543" y="505"/>
                  </a:lnTo>
                  <a:lnTo>
                    <a:pt x="543" y="503"/>
                  </a:lnTo>
                  <a:lnTo>
                    <a:pt x="541" y="505"/>
                  </a:lnTo>
                  <a:lnTo>
                    <a:pt x="538" y="505"/>
                  </a:lnTo>
                  <a:lnTo>
                    <a:pt x="541" y="503"/>
                  </a:lnTo>
                  <a:lnTo>
                    <a:pt x="538" y="503"/>
                  </a:lnTo>
                  <a:lnTo>
                    <a:pt x="538" y="503"/>
                  </a:lnTo>
                  <a:lnTo>
                    <a:pt x="538" y="501"/>
                  </a:lnTo>
                  <a:lnTo>
                    <a:pt x="536" y="501"/>
                  </a:lnTo>
                  <a:lnTo>
                    <a:pt x="536" y="501"/>
                  </a:lnTo>
                  <a:lnTo>
                    <a:pt x="536" y="501"/>
                  </a:lnTo>
                  <a:lnTo>
                    <a:pt x="536" y="501"/>
                  </a:lnTo>
                  <a:lnTo>
                    <a:pt x="534" y="501"/>
                  </a:lnTo>
                  <a:lnTo>
                    <a:pt x="534" y="501"/>
                  </a:lnTo>
                  <a:lnTo>
                    <a:pt x="534" y="501"/>
                  </a:lnTo>
                  <a:lnTo>
                    <a:pt x="534" y="498"/>
                  </a:lnTo>
                  <a:lnTo>
                    <a:pt x="531" y="498"/>
                  </a:lnTo>
                  <a:lnTo>
                    <a:pt x="531" y="501"/>
                  </a:lnTo>
                  <a:lnTo>
                    <a:pt x="529" y="501"/>
                  </a:lnTo>
                  <a:lnTo>
                    <a:pt x="527" y="501"/>
                  </a:lnTo>
                  <a:lnTo>
                    <a:pt x="527" y="498"/>
                  </a:lnTo>
                  <a:lnTo>
                    <a:pt x="524" y="501"/>
                  </a:lnTo>
                  <a:lnTo>
                    <a:pt x="524" y="498"/>
                  </a:lnTo>
                  <a:lnTo>
                    <a:pt x="524" y="501"/>
                  </a:lnTo>
                  <a:lnTo>
                    <a:pt x="522" y="498"/>
                  </a:lnTo>
                  <a:lnTo>
                    <a:pt x="519" y="498"/>
                  </a:lnTo>
                  <a:lnTo>
                    <a:pt x="517" y="498"/>
                  </a:lnTo>
                  <a:lnTo>
                    <a:pt x="517" y="501"/>
                  </a:lnTo>
                  <a:lnTo>
                    <a:pt x="517" y="498"/>
                  </a:lnTo>
                  <a:lnTo>
                    <a:pt x="515" y="498"/>
                  </a:lnTo>
                  <a:lnTo>
                    <a:pt x="512" y="498"/>
                  </a:lnTo>
                  <a:lnTo>
                    <a:pt x="512" y="501"/>
                  </a:lnTo>
                  <a:lnTo>
                    <a:pt x="512" y="501"/>
                  </a:lnTo>
                  <a:lnTo>
                    <a:pt x="510" y="501"/>
                  </a:lnTo>
                  <a:lnTo>
                    <a:pt x="510" y="503"/>
                  </a:lnTo>
                  <a:lnTo>
                    <a:pt x="510" y="501"/>
                  </a:lnTo>
                  <a:lnTo>
                    <a:pt x="508" y="503"/>
                  </a:lnTo>
                  <a:lnTo>
                    <a:pt x="508" y="503"/>
                  </a:lnTo>
                  <a:lnTo>
                    <a:pt x="508" y="503"/>
                  </a:lnTo>
                  <a:lnTo>
                    <a:pt x="508" y="503"/>
                  </a:lnTo>
                  <a:lnTo>
                    <a:pt x="505" y="503"/>
                  </a:lnTo>
                  <a:lnTo>
                    <a:pt x="505" y="505"/>
                  </a:lnTo>
                  <a:lnTo>
                    <a:pt x="503" y="505"/>
                  </a:lnTo>
                  <a:lnTo>
                    <a:pt x="503" y="505"/>
                  </a:lnTo>
                  <a:lnTo>
                    <a:pt x="503" y="505"/>
                  </a:lnTo>
                  <a:lnTo>
                    <a:pt x="503" y="505"/>
                  </a:lnTo>
                  <a:lnTo>
                    <a:pt x="501" y="505"/>
                  </a:lnTo>
                  <a:lnTo>
                    <a:pt x="501" y="505"/>
                  </a:lnTo>
                  <a:lnTo>
                    <a:pt x="501" y="505"/>
                  </a:lnTo>
                  <a:lnTo>
                    <a:pt x="501" y="505"/>
                  </a:lnTo>
                  <a:lnTo>
                    <a:pt x="498" y="505"/>
                  </a:lnTo>
                  <a:lnTo>
                    <a:pt x="498" y="508"/>
                  </a:lnTo>
                  <a:lnTo>
                    <a:pt x="498" y="508"/>
                  </a:lnTo>
                  <a:lnTo>
                    <a:pt x="498" y="508"/>
                  </a:lnTo>
                  <a:lnTo>
                    <a:pt x="496" y="508"/>
                  </a:lnTo>
                  <a:lnTo>
                    <a:pt x="496" y="505"/>
                  </a:lnTo>
                  <a:lnTo>
                    <a:pt x="496" y="508"/>
                  </a:lnTo>
                  <a:lnTo>
                    <a:pt x="496" y="505"/>
                  </a:lnTo>
                  <a:lnTo>
                    <a:pt x="496" y="508"/>
                  </a:lnTo>
                  <a:lnTo>
                    <a:pt x="493" y="508"/>
                  </a:lnTo>
                  <a:lnTo>
                    <a:pt x="496" y="508"/>
                  </a:lnTo>
                  <a:lnTo>
                    <a:pt x="493" y="508"/>
                  </a:lnTo>
                  <a:lnTo>
                    <a:pt x="493" y="510"/>
                  </a:lnTo>
                  <a:lnTo>
                    <a:pt x="493" y="510"/>
                  </a:lnTo>
                  <a:lnTo>
                    <a:pt x="491" y="510"/>
                  </a:lnTo>
                  <a:lnTo>
                    <a:pt x="491" y="510"/>
                  </a:lnTo>
                  <a:lnTo>
                    <a:pt x="491" y="510"/>
                  </a:lnTo>
                  <a:lnTo>
                    <a:pt x="491" y="512"/>
                  </a:lnTo>
                  <a:lnTo>
                    <a:pt x="489" y="512"/>
                  </a:lnTo>
                  <a:lnTo>
                    <a:pt x="489" y="512"/>
                  </a:lnTo>
                  <a:lnTo>
                    <a:pt x="486" y="512"/>
                  </a:lnTo>
                  <a:lnTo>
                    <a:pt x="486" y="515"/>
                  </a:lnTo>
                  <a:lnTo>
                    <a:pt x="486" y="512"/>
                  </a:lnTo>
                  <a:lnTo>
                    <a:pt x="486" y="515"/>
                  </a:lnTo>
                  <a:lnTo>
                    <a:pt x="484" y="515"/>
                  </a:lnTo>
                  <a:lnTo>
                    <a:pt x="484" y="512"/>
                  </a:lnTo>
                  <a:lnTo>
                    <a:pt x="484" y="515"/>
                  </a:lnTo>
                  <a:lnTo>
                    <a:pt x="482" y="515"/>
                  </a:lnTo>
                  <a:lnTo>
                    <a:pt x="482" y="515"/>
                  </a:lnTo>
                  <a:lnTo>
                    <a:pt x="482" y="515"/>
                  </a:lnTo>
                  <a:lnTo>
                    <a:pt x="479" y="515"/>
                  </a:lnTo>
                  <a:lnTo>
                    <a:pt x="479" y="515"/>
                  </a:lnTo>
                  <a:lnTo>
                    <a:pt x="477" y="515"/>
                  </a:lnTo>
                  <a:lnTo>
                    <a:pt x="477" y="515"/>
                  </a:lnTo>
                  <a:lnTo>
                    <a:pt x="475" y="515"/>
                  </a:lnTo>
                  <a:lnTo>
                    <a:pt x="472" y="515"/>
                  </a:lnTo>
                  <a:lnTo>
                    <a:pt x="472" y="517"/>
                  </a:lnTo>
                  <a:lnTo>
                    <a:pt x="472" y="515"/>
                  </a:lnTo>
                  <a:lnTo>
                    <a:pt x="470" y="515"/>
                  </a:lnTo>
                  <a:lnTo>
                    <a:pt x="470" y="517"/>
                  </a:lnTo>
                  <a:lnTo>
                    <a:pt x="467" y="517"/>
                  </a:lnTo>
                  <a:lnTo>
                    <a:pt x="465" y="517"/>
                  </a:lnTo>
                  <a:lnTo>
                    <a:pt x="463" y="517"/>
                  </a:lnTo>
                  <a:lnTo>
                    <a:pt x="463" y="517"/>
                  </a:lnTo>
                  <a:lnTo>
                    <a:pt x="463" y="515"/>
                  </a:lnTo>
                  <a:lnTo>
                    <a:pt x="460" y="517"/>
                  </a:lnTo>
                  <a:lnTo>
                    <a:pt x="458" y="515"/>
                  </a:lnTo>
                  <a:lnTo>
                    <a:pt x="458" y="515"/>
                  </a:lnTo>
                  <a:lnTo>
                    <a:pt x="458" y="515"/>
                  </a:lnTo>
                  <a:lnTo>
                    <a:pt x="456" y="515"/>
                  </a:lnTo>
                  <a:lnTo>
                    <a:pt x="456" y="515"/>
                  </a:lnTo>
                  <a:lnTo>
                    <a:pt x="456" y="515"/>
                  </a:lnTo>
                  <a:lnTo>
                    <a:pt x="453" y="512"/>
                  </a:lnTo>
                  <a:lnTo>
                    <a:pt x="453" y="515"/>
                  </a:lnTo>
                  <a:lnTo>
                    <a:pt x="451" y="512"/>
                  </a:lnTo>
                  <a:lnTo>
                    <a:pt x="451" y="512"/>
                  </a:lnTo>
                  <a:lnTo>
                    <a:pt x="451" y="512"/>
                  </a:lnTo>
                  <a:lnTo>
                    <a:pt x="451" y="510"/>
                  </a:lnTo>
                  <a:lnTo>
                    <a:pt x="446" y="508"/>
                  </a:lnTo>
                  <a:lnTo>
                    <a:pt x="446" y="505"/>
                  </a:lnTo>
                  <a:lnTo>
                    <a:pt x="444" y="503"/>
                  </a:lnTo>
                  <a:lnTo>
                    <a:pt x="444" y="503"/>
                  </a:lnTo>
                  <a:lnTo>
                    <a:pt x="444" y="503"/>
                  </a:lnTo>
                  <a:lnTo>
                    <a:pt x="441" y="503"/>
                  </a:lnTo>
                  <a:lnTo>
                    <a:pt x="441" y="501"/>
                  </a:lnTo>
                  <a:lnTo>
                    <a:pt x="439" y="501"/>
                  </a:lnTo>
                  <a:lnTo>
                    <a:pt x="427" y="508"/>
                  </a:lnTo>
                  <a:lnTo>
                    <a:pt x="427" y="472"/>
                  </a:lnTo>
                  <a:lnTo>
                    <a:pt x="427" y="439"/>
                  </a:lnTo>
                  <a:lnTo>
                    <a:pt x="427" y="425"/>
                  </a:lnTo>
                  <a:lnTo>
                    <a:pt x="427" y="387"/>
                  </a:lnTo>
                  <a:lnTo>
                    <a:pt x="427" y="373"/>
                  </a:lnTo>
                  <a:lnTo>
                    <a:pt x="427" y="354"/>
                  </a:lnTo>
                  <a:lnTo>
                    <a:pt x="427" y="354"/>
                  </a:lnTo>
                  <a:lnTo>
                    <a:pt x="430" y="352"/>
                  </a:lnTo>
                  <a:lnTo>
                    <a:pt x="432" y="352"/>
                  </a:lnTo>
                  <a:lnTo>
                    <a:pt x="432" y="352"/>
                  </a:lnTo>
                  <a:lnTo>
                    <a:pt x="432" y="349"/>
                  </a:lnTo>
                  <a:lnTo>
                    <a:pt x="434" y="349"/>
                  </a:lnTo>
                  <a:lnTo>
                    <a:pt x="437" y="349"/>
                  </a:lnTo>
                  <a:lnTo>
                    <a:pt x="437" y="349"/>
                  </a:lnTo>
                  <a:lnTo>
                    <a:pt x="439" y="347"/>
                  </a:lnTo>
                  <a:lnTo>
                    <a:pt x="439" y="345"/>
                  </a:lnTo>
                  <a:lnTo>
                    <a:pt x="439" y="345"/>
                  </a:lnTo>
                  <a:lnTo>
                    <a:pt x="439" y="342"/>
                  </a:lnTo>
                  <a:lnTo>
                    <a:pt x="441" y="342"/>
                  </a:lnTo>
                  <a:lnTo>
                    <a:pt x="439" y="340"/>
                  </a:lnTo>
                  <a:lnTo>
                    <a:pt x="441" y="340"/>
                  </a:lnTo>
                  <a:lnTo>
                    <a:pt x="439" y="340"/>
                  </a:lnTo>
                  <a:lnTo>
                    <a:pt x="437" y="335"/>
                  </a:lnTo>
                  <a:lnTo>
                    <a:pt x="437" y="335"/>
                  </a:lnTo>
                  <a:lnTo>
                    <a:pt x="437" y="335"/>
                  </a:lnTo>
                  <a:lnTo>
                    <a:pt x="434" y="335"/>
                  </a:lnTo>
                  <a:lnTo>
                    <a:pt x="434" y="333"/>
                  </a:lnTo>
                  <a:lnTo>
                    <a:pt x="434" y="331"/>
                  </a:lnTo>
                  <a:lnTo>
                    <a:pt x="432" y="331"/>
                  </a:lnTo>
                  <a:lnTo>
                    <a:pt x="432" y="326"/>
                  </a:lnTo>
                  <a:lnTo>
                    <a:pt x="432" y="326"/>
                  </a:lnTo>
                  <a:lnTo>
                    <a:pt x="432" y="323"/>
                  </a:lnTo>
                  <a:lnTo>
                    <a:pt x="432" y="323"/>
                  </a:lnTo>
                  <a:lnTo>
                    <a:pt x="432" y="323"/>
                  </a:lnTo>
                  <a:lnTo>
                    <a:pt x="432" y="321"/>
                  </a:lnTo>
                  <a:lnTo>
                    <a:pt x="432" y="321"/>
                  </a:lnTo>
                  <a:lnTo>
                    <a:pt x="432" y="319"/>
                  </a:lnTo>
                  <a:lnTo>
                    <a:pt x="432" y="319"/>
                  </a:lnTo>
                  <a:lnTo>
                    <a:pt x="432" y="321"/>
                  </a:lnTo>
                  <a:lnTo>
                    <a:pt x="432" y="321"/>
                  </a:lnTo>
                  <a:lnTo>
                    <a:pt x="434" y="321"/>
                  </a:lnTo>
                  <a:lnTo>
                    <a:pt x="434" y="321"/>
                  </a:lnTo>
                  <a:lnTo>
                    <a:pt x="437" y="321"/>
                  </a:lnTo>
                  <a:lnTo>
                    <a:pt x="437" y="321"/>
                  </a:lnTo>
                  <a:lnTo>
                    <a:pt x="437" y="319"/>
                  </a:lnTo>
                  <a:lnTo>
                    <a:pt x="434" y="319"/>
                  </a:lnTo>
                  <a:lnTo>
                    <a:pt x="434" y="319"/>
                  </a:lnTo>
                  <a:lnTo>
                    <a:pt x="434" y="319"/>
                  </a:lnTo>
                  <a:lnTo>
                    <a:pt x="434" y="316"/>
                  </a:lnTo>
                  <a:lnTo>
                    <a:pt x="434" y="316"/>
                  </a:lnTo>
                  <a:lnTo>
                    <a:pt x="437" y="316"/>
                  </a:lnTo>
                  <a:lnTo>
                    <a:pt x="437" y="316"/>
                  </a:lnTo>
                  <a:lnTo>
                    <a:pt x="439" y="316"/>
                  </a:lnTo>
                  <a:lnTo>
                    <a:pt x="439" y="316"/>
                  </a:lnTo>
                  <a:lnTo>
                    <a:pt x="437" y="316"/>
                  </a:lnTo>
                  <a:lnTo>
                    <a:pt x="437" y="314"/>
                  </a:lnTo>
                  <a:lnTo>
                    <a:pt x="439" y="314"/>
                  </a:lnTo>
                  <a:lnTo>
                    <a:pt x="439" y="312"/>
                  </a:lnTo>
                  <a:lnTo>
                    <a:pt x="441" y="312"/>
                  </a:lnTo>
                  <a:lnTo>
                    <a:pt x="441" y="312"/>
                  </a:lnTo>
                  <a:lnTo>
                    <a:pt x="444" y="312"/>
                  </a:lnTo>
                  <a:lnTo>
                    <a:pt x="444" y="312"/>
                  </a:lnTo>
                  <a:lnTo>
                    <a:pt x="441" y="309"/>
                  </a:lnTo>
                  <a:lnTo>
                    <a:pt x="441" y="307"/>
                  </a:lnTo>
                  <a:lnTo>
                    <a:pt x="441" y="307"/>
                  </a:lnTo>
                  <a:lnTo>
                    <a:pt x="441" y="307"/>
                  </a:lnTo>
                  <a:lnTo>
                    <a:pt x="444" y="307"/>
                  </a:lnTo>
                  <a:lnTo>
                    <a:pt x="441" y="305"/>
                  </a:lnTo>
                  <a:lnTo>
                    <a:pt x="444" y="305"/>
                  </a:lnTo>
                  <a:lnTo>
                    <a:pt x="444" y="305"/>
                  </a:lnTo>
                  <a:lnTo>
                    <a:pt x="444" y="302"/>
                  </a:lnTo>
                  <a:lnTo>
                    <a:pt x="444" y="302"/>
                  </a:lnTo>
                  <a:lnTo>
                    <a:pt x="444" y="302"/>
                  </a:lnTo>
                  <a:lnTo>
                    <a:pt x="441" y="302"/>
                  </a:lnTo>
                  <a:lnTo>
                    <a:pt x="441" y="305"/>
                  </a:lnTo>
                  <a:lnTo>
                    <a:pt x="441" y="305"/>
                  </a:lnTo>
                  <a:lnTo>
                    <a:pt x="441" y="302"/>
                  </a:lnTo>
                  <a:lnTo>
                    <a:pt x="439" y="305"/>
                  </a:lnTo>
                  <a:lnTo>
                    <a:pt x="439" y="302"/>
                  </a:lnTo>
                  <a:lnTo>
                    <a:pt x="437" y="302"/>
                  </a:lnTo>
                  <a:lnTo>
                    <a:pt x="437" y="305"/>
                  </a:lnTo>
                  <a:lnTo>
                    <a:pt x="437" y="305"/>
                  </a:lnTo>
                  <a:lnTo>
                    <a:pt x="437" y="302"/>
                  </a:lnTo>
                  <a:lnTo>
                    <a:pt x="434" y="302"/>
                  </a:lnTo>
                  <a:lnTo>
                    <a:pt x="434" y="302"/>
                  </a:lnTo>
                  <a:lnTo>
                    <a:pt x="434" y="305"/>
                  </a:lnTo>
                  <a:lnTo>
                    <a:pt x="432" y="305"/>
                  </a:lnTo>
                  <a:lnTo>
                    <a:pt x="432" y="305"/>
                  </a:lnTo>
                  <a:lnTo>
                    <a:pt x="432" y="307"/>
                  </a:lnTo>
                  <a:lnTo>
                    <a:pt x="430" y="307"/>
                  </a:lnTo>
                  <a:lnTo>
                    <a:pt x="430" y="307"/>
                  </a:lnTo>
                  <a:lnTo>
                    <a:pt x="430" y="309"/>
                  </a:lnTo>
                  <a:lnTo>
                    <a:pt x="430" y="309"/>
                  </a:lnTo>
                  <a:lnTo>
                    <a:pt x="427" y="309"/>
                  </a:lnTo>
                  <a:lnTo>
                    <a:pt x="427" y="309"/>
                  </a:lnTo>
                  <a:lnTo>
                    <a:pt x="427" y="309"/>
                  </a:lnTo>
                  <a:lnTo>
                    <a:pt x="427" y="312"/>
                  </a:lnTo>
                  <a:lnTo>
                    <a:pt x="427" y="312"/>
                  </a:lnTo>
                  <a:lnTo>
                    <a:pt x="427" y="312"/>
                  </a:lnTo>
                  <a:lnTo>
                    <a:pt x="425" y="312"/>
                  </a:lnTo>
                  <a:lnTo>
                    <a:pt x="425" y="312"/>
                  </a:lnTo>
                  <a:lnTo>
                    <a:pt x="425" y="312"/>
                  </a:lnTo>
                  <a:lnTo>
                    <a:pt x="425" y="314"/>
                  </a:lnTo>
                  <a:lnTo>
                    <a:pt x="425" y="314"/>
                  </a:lnTo>
                  <a:lnTo>
                    <a:pt x="425" y="314"/>
                  </a:lnTo>
                  <a:lnTo>
                    <a:pt x="423" y="314"/>
                  </a:lnTo>
                  <a:lnTo>
                    <a:pt x="425" y="314"/>
                  </a:lnTo>
                  <a:lnTo>
                    <a:pt x="423" y="314"/>
                  </a:lnTo>
                  <a:lnTo>
                    <a:pt x="423" y="316"/>
                  </a:lnTo>
                  <a:lnTo>
                    <a:pt x="423" y="314"/>
                  </a:lnTo>
                  <a:lnTo>
                    <a:pt x="423" y="316"/>
                  </a:lnTo>
                  <a:lnTo>
                    <a:pt x="420" y="316"/>
                  </a:lnTo>
                  <a:lnTo>
                    <a:pt x="420" y="316"/>
                  </a:lnTo>
                  <a:lnTo>
                    <a:pt x="420" y="316"/>
                  </a:lnTo>
                  <a:lnTo>
                    <a:pt x="418" y="319"/>
                  </a:lnTo>
                  <a:lnTo>
                    <a:pt x="418" y="319"/>
                  </a:lnTo>
                  <a:lnTo>
                    <a:pt x="416" y="319"/>
                  </a:lnTo>
                  <a:lnTo>
                    <a:pt x="416" y="319"/>
                  </a:lnTo>
                  <a:lnTo>
                    <a:pt x="416" y="319"/>
                  </a:lnTo>
                  <a:lnTo>
                    <a:pt x="416" y="319"/>
                  </a:lnTo>
                  <a:lnTo>
                    <a:pt x="416" y="321"/>
                  </a:lnTo>
                  <a:lnTo>
                    <a:pt x="416" y="321"/>
                  </a:lnTo>
                  <a:lnTo>
                    <a:pt x="413" y="319"/>
                  </a:lnTo>
                  <a:lnTo>
                    <a:pt x="413" y="321"/>
                  </a:lnTo>
                  <a:lnTo>
                    <a:pt x="411" y="321"/>
                  </a:lnTo>
                  <a:lnTo>
                    <a:pt x="413" y="321"/>
                  </a:lnTo>
                  <a:lnTo>
                    <a:pt x="411" y="321"/>
                  </a:lnTo>
                  <a:lnTo>
                    <a:pt x="411" y="323"/>
                  </a:lnTo>
                  <a:lnTo>
                    <a:pt x="411" y="321"/>
                  </a:lnTo>
                  <a:lnTo>
                    <a:pt x="411" y="323"/>
                  </a:lnTo>
                  <a:lnTo>
                    <a:pt x="411" y="323"/>
                  </a:lnTo>
                  <a:lnTo>
                    <a:pt x="411" y="323"/>
                  </a:lnTo>
                  <a:lnTo>
                    <a:pt x="411" y="326"/>
                  </a:lnTo>
                  <a:lnTo>
                    <a:pt x="411" y="326"/>
                  </a:lnTo>
                  <a:lnTo>
                    <a:pt x="408" y="326"/>
                  </a:lnTo>
                  <a:lnTo>
                    <a:pt x="408" y="326"/>
                  </a:lnTo>
                  <a:lnTo>
                    <a:pt x="406" y="328"/>
                  </a:lnTo>
                  <a:lnTo>
                    <a:pt x="406" y="328"/>
                  </a:lnTo>
                  <a:lnTo>
                    <a:pt x="408" y="328"/>
                  </a:lnTo>
                  <a:lnTo>
                    <a:pt x="406" y="328"/>
                  </a:lnTo>
                  <a:lnTo>
                    <a:pt x="406" y="331"/>
                  </a:lnTo>
                  <a:lnTo>
                    <a:pt x="406" y="331"/>
                  </a:lnTo>
                  <a:lnTo>
                    <a:pt x="404" y="331"/>
                  </a:lnTo>
                  <a:lnTo>
                    <a:pt x="401" y="331"/>
                  </a:lnTo>
                  <a:lnTo>
                    <a:pt x="401" y="331"/>
                  </a:lnTo>
                  <a:lnTo>
                    <a:pt x="401" y="331"/>
                  </a:lnTo>
                  <a:lnTo>
                    <a:pt x="401" y="331"/>
                  </a:lnTo>
                  <a:lnTo>
                    <a:pt x="401" y="333"/>
                  </a:lnTo>
                  <a:lnTo>
                    <a:pt x="399" y="333"/>
                  </a:lnTo>
                  <a:lnTo>
                    <a:pt x="399" y="333"/>
                  </a:lnTo>
                  <a:lnTo>
                    <a:pt x="397" y="335"/>
                  </a:lnTo>
                  <a:lnTo>
                    <a:pt x="394" y="335"/>
                  </a:lnTo>
                  <a:lnTo>
                    <a:pt x="394" y="338"/>
                  </a:lnTo>
                  <a:lnTo>
                    <a:pt x="394" y="338"/>
                  </a:lnTo>
                  <a:lnTo>
                    <a:pt x="392" y="340"/>
                  </a:lnTo>
                  <a:lnTo>
                    <a:pt x="392" y="340"/>
                  </a:lnTo>
                  <a:lnTo>
                    <a:pt x="392" y="342"/>
                  </a:lnTo>
                  <a:lnTo>
                    <a:pt x="390" y="342"/>
                  </a:lnTo>
                  <a:lnTo>
                    <a:pt x="390" y="345"/>
                  </a:lnTo>
                  <a:lnTo>
                    <a:pt x="387" y="345"/>
                  </a:lnTo>
                  <a:lnTo>
                    <a:pt x="387" y="345"/>
                  </a:lnTo>
                  <a:lnTo>
                    <a:pt x="387" y="345"/>
                  </a:lnTo>
                  <a:lnTo>
                    <a:pt x="385" y="345"/>
                  </a:lnTo>
                  <a:lnTo>
                    <a:pt x="385" y="345"/>
                  </a:lnTo>
                  <a:lnTo>
                    <a:pt x="385" y="345"/>
                  </a:lnTo>
                  <a:lnTo>
                    <a:pt x="382" y="347"/>
                  </a:lnTo>
                  <a:lnTo>
                    <a:pt x="382" y="349"/>
                  </a:lnTo>
                  <a:lnTo>
                    <a:pt x="380" y="349"/>
                  </a:lnTo>
                  <a:lnTo>
                    <a:pt x="380" y="352"/>
                  </a:lnTo>
                  <a:lnTo>
                    <a:pt x="380" y="354"/>
                  </a:lnTo>
                  <a:lnTo>
                    <a:pt x="380" y="354"/>
                  </a:lnTo>
                  <a:lnTo>
                    <a:pt x="378" y="354"/>
                  </a:lnTo>
                  <a:lnTo>
                    <a:pt x="375" y="354"/>
                  </a:lnTo>
                  <a:lnTo>
                    <a:pt x="375" y="354"/>
                  </a:lnTo>
                  <a:lnTo>
                    <a:pt x="373" y="354"/>
                  </a:lnTo>
                  <a:lnTo>
                    <a:pt x="373" y="354"/>
                  </a:lnTo>
                  <a:lnTo>
                    <a:pt x="371" y="354"/>
                  </a:lnTo>
                  <a:lnTo>
                    <a:pt x="368" y="357"/>
                  </a:lnTo>
                  <a:lnTo>
                    <a:pt x="366" y="359"/>
                  </a:lnTo>
                  <a:lnTo>
                    <a:pt x="361" y="359"/>
                  </a:lnTo>
                  <a:lnTo>
                    <a:pt x="359" y="361"/>
                  </a:lnTo>
                  <a:lnTo>
                    <a:pt x="359" y="364"/>
                  </a:lnTo>
                  <a:lnTo>
                    <a:pt x="359" y="364"/>
                  </a:lnTo>
                  <a:lnTo>
                    <a:pt x="356" y="366"/>
                  </a:lnTo>
                  <a:lnTo>
                    <a:pt x="356" y="368"/>
                  </a:lnTo>
                  <a:lnTo>
                    <a:pt x="354" y="368"/>
                  </a:lnTo>
                  <a:lnTo>
                    <a:pt x="354" y="371"/>
                  </a:lnTo>
                  <a:lnTo>
                    <a:pt x="354" y="373"/>
                  </a:lnTo>
                  <a:lnTo>
                    <a:pt x="352" y="373"/>
                  </a:lnTo>
                  <a:lnTo>
                    <a:pt x="349" y="373"/>
                  </a:lnTo>
                  <a:lnTo>
                    <a:pt x="347" y="373"/>
                  </a:lnTo>
                  <a:lnTo>
                    <a:pt x="347" y="375"/>
                  </a:lnTo>
                  <a:lnTo>
                    <a:pt x="345" y="375"/>
                  </a:lnTo>
                  <a:lnTo>
                    <a:pt x="340" y="375"/>
                  </a:lnTo>
                  <a:lnTo>
                    <a:pt x="340" y="375"/>
                  </a:lnTo>
                  <a:lnTo>
                    <a:pt x="338" y="373"/>
                  </a:lnTo>
                  <a:lnTo>
                    <a:pt x="335" y="375"/>
                  </a:lnTo>
                  <a:lnTo>
                    <a:pt x="335" y="375"/>
                  </a:lnTo>
                  <a:lnTo>
                    <a:pt x="335" y="375"/>
                  </a:lnTo>
                  <a:lnTo>
                    <a:pt x="333" y="375"/>
                  </a:lnTo>
                  <a:lnTo>
                    <a:pt x="333" y="378"/>
                  </a:lnTo>
                  <a:lnTo>
                    <a:pt x="297" y="378"/>
                  </a:lnTo>
                  <a:lnTo>
                    <a:pt x="227" y="378"/>
                  </a:lnTo>
                  <a:lnTo>
                    <a:pt x="227" y="375"/>
                  </a:lnTo>
                  <a:lnTo>
                    <a:pt x="231" y="375"/>
                  </a:lnTo>
                  <a:lnTo>
                    <a:pt x="231" y="373"/>
                  </a:lnTo>
                  <a:lnTo>
                    <a:pt x="231" y="373"/>
                  </a:lnTo>
                  <a:lnTo>
                    <a:pt x="231" y="371"/>
                  </a:lnTo>
                  <a:lnTo>
                    <a:pt x="229" y="368"/>
                  </a:lnTo>
                  <a:lnTo>
                    <a:pt x="229" y="368"/>
                  </a:lnTo>
                  <a:lnTo>
                    <a:pt x="229" y="366"/>
                  </a:lnTo>
                  <a:lnTo>
                    <a:pt x="231" y="366"/>
                  </a:lnTo>
                  <a:lnTo>
                    <a:pt x="231" y="364"/>
                  </a:lnTo>
                  <a:lnTo>
                    <a:pt x="234" y="364"/>
                  </a:lnTo>
                  <a:lnTo>
                    <a:pt x="234" y="361"/>
                  </a:lnTo>
                  <a:lnTo>
                    <a:pt x="231" y="359"/>
                  </a:lnTo>
                  <a:lnTo>
                    <a:pt x="231" y="357"/>
                  </a:lnTo>
                  <a:lnTo>
                    <a:pt x="231" y="357"/>
                  </a:lnTo>
                  <a:lnTo>
                    <a:pt x="231" y="354"/>
                  </a:lnTo>
                  <a:lnTo>
                    <a:pt x="234" y="352"/>
                  </a:lnTo>
                  <a:lnTo>
                    <a:pt x="234" y="352"/>
                  </a:lnTo>
                  <a:lnTo>
                    <a:pt x="231" y="349"/>
                  </a:lnTo>
                  <a:lnTo>
                    <a:pt x="227" y="347"/>
                  </a:lnTo>
                  <a:lnTo>
                    <a:pt x="227" y="347"/>
                  </a:lnTo>
                  <a:lnTo>
                    <a:pt x="224" y="347"/>
                  </a:lnTo>
                  <a:lnTo>
                    <a:pt x="224" y="347"/>
                  </a:lnTo>
                  <a:lnTo>
                    <a:pt x="222" y="347"/>
                  </a:lnTo>
                  <a:lnTo>
                    <a:pt x="222" y="345"/>
                  </a:lnTo>
                  <a:lnTo>
                    <a:pt x="219" y="345"/>
                  </a:lnTo>
                  <a:lnTo>
                    <a:pt x="219" y="345"/>
                  </a:lnTo>
                  <a:lnTo>
                    <a:pt x="219" y="342"/>
                  </a:lnTo>
                  <a:lnTo>
                    <a:pt x="219" y="340"/>
                  </a:lnTo>
                  <a:lnTo>
                    <a:pt x="222" y="338"/>
                  </a:lnTo>
                  <a:lnTo>
                    <a:pt x="222" y="335"/>
                  </a:lnTo>
                  <a:lnTo>
                    <a:pt x="222" y="333"/>
                  </a:lnTo>
                  <a:lnTo>
                    <a:pt x="219" y="331"/>
                  </a:lnTo>
                  <a:lnTo>
                    <a:pt x="222" y="328"/>
                  </a:lnTo>
                  <a:lnTo>
                    <a:pt x="219" y="328"/>
                  </a:lnTo>
                  <a:lnTo>
                    <a:pt x="219" y="328"/>
                  </a:lnTo>
                  <a:lnTo>
                    <a:pt x="217" y="326"/>
                  </a:lnTo>
                  <a:lnTo>
                    <a:pt x="217" y="319"/>
                  </a:lnTo>
                  <a:lnTo>
                    <a:pt x="215" y="316"/>
                  </a:lnTo>
                  <a:lnTo>
                    <a:pt x="212" y="319"/>
                  </a:lnTo>
                  <a:lnTo>
                    <a:pt x="212" y="316"/>
                  </a:lnTo>
                  <a:lnTo>
                    <a:pt x="210" y="319"/>
                  </a:lnTo>
                  <a:lnTo>
                    <a:pt x="208" y="319"/>
                  </a:lnTo>
                  <a:lnTo>
                    <a:pt x="208" y="316"/>
                  </a:lnTo>
                  <a:lnTo>
                    <a:pt x="208" y="316"/>
                  </a:lnTo>
                  <a:lnTo>
                    <a:pt x="205" y="316"/>
                  </a:lnTo>
                  <a:lnTo>
                    <a:pt x="205" y="314"/>
                  </a:lnTo>
                  <a:lnTo>
                    <a:pt x="205" y="312"/>
                  </a:lnTo>
                  <a:lnTo>
                    <a:pt x="205" y="312"/>
                  </a:lnTo>
                  <a:lnTo>
                    <a:pt x="205" y="312"/>
                  </a:lnTo>
                  <a:lnTo>
                    <a:pt x="203" y="312"/>
                  </a:lnTo>
                  <a:lnTo>
                    <a:pt x="203" y="312"/>
                  </a:lnTo>
                  <a:lnTo>
                    <a:pt x="203" y="312"/>
                  </a:lnTo>
                  <a:lnTo>
                    <a:pt x="201" y="312"/>
                  </a:lnTo>
                  <a:lnTo>
                    <a:pt x="201" y="312"/>
                  </a:lnTo>
                  <a:lnTo>
                    <a:pt x="198" y="312"/>
                  </a:lnTo>
                  <a:lnTo>
                    <a:pt x="198" y="309"/>
                  </a:lnTo>
                  <a:lnTo>
                    <a:pt x="196" y="309"/>
                  </a:lnTo>
                  <a:lnTo>
                    <a:pt x="196" y="309"/>
                  </a:lnTo>
                  <a:lnTo>
                    <a:pt x="196" y="309"/>
                  </a:lnTo>
                  <a:lnTo>
                    <a:pt x="193" y="309"/>
                  </a:lnTo>
                  <a:lnTo>
                    <a:pt x="193" y="309"/>
                  </a:lnTo>
                  <a:lnTo>
                    <a:pt x="193" y="309"/>
                  </a:lnTo>
                  <a:lnTo>
                    <a:pt x="193" y="309"/>
                  </a:lnTo>
                  <a:lnTo>
                    <a:pt x="193" y="309"/>
                  </a:lnTo>
                  <a:lnTo>
                    <a:pt x="191" y="312"/>
                  </a:lnTo>
                  <a:lnTo>
                    <a:pt x="189" y="309"/>
                  </a:lnTo>
                  <a:lnTo>
                    <a:pt x="189" y="312"/>
                  </a:lnTo>
                  <a:lnTo>
                    <a:pt x="189" y="309"/>
                  </a:lnTo>
                  <a:lnTo>
                    <a:pt x="186" y="309"/>
                  </a:lnTo>
                  <a:lnTo>
                    <a:pt x="184" y="312"/>
                  </a:lnTo>
                  <a:lnTo>
                    <a:pt x="184" y="312"/>
                  </a:lnTo>
                  <a:lnTo>
                    <a:pt x="182" y="309"/>
                  </a:lnTo>
                  <a:lnTo>
                    <a:pt x="184" y="309"/>
                  </a:lnTo>
                  <a:lnTo>
                    <a:pt x="182" y="309"/>
                  </a:lnTo>
                  <a:lnTo>
                    <a:pt x="182" y="309"/>
                  </a:lnTo>
                  <a:lnTo>
                    <a:pt x="182" y="309"/>
                  </a:lnTo>
                  <a:lnTo>
                    <a:pt x="182" y="309"/>
                  </a:lnTo>
                  <a:lnTo>
                    <a:pt x="182" y="309"/>
                  </a:lnTo>
                  <a:lnTo>
                    <a:pt x="179" y="309"/>
                  </a:lnTo>
                  <a:lnTo>
                    <a:pt x="179" y="309"/>
                  </a:lnTo>
                  <a:lnTo>
                    <a:pt x="179" y="309"/>
                  </a:lnTo>
                  <a:lnTo>
                    <a:pt x="179" y="309"/>
                  </a:lnTo>
                  <a:lnTo>
                    <a:pt x="179" y="307"/>
                  </a:lnTo>
                  <a:lnTo>
                    <a:pt x="177" y="309"/>
                  </a:lnTo>
                  <a:lnTo>
                    <a:pt x="177" y="307"/>
                  </a:lnTo>
                  <a:lnTo>
                    <a:pt x="177" y="307"/>
                  </a:lnTo>
                  <a:lnTo>
                    <a:pt x="177" y="307"/>
                  </a:lnTo>
                  <a:lnTo>
                    <a:pt x="177" y="307"/>
                  </a:lnTo>
                  <a:lnTo>
                    <a:pt x="175" y="307"/>
                  </a:lnTo>
                  <a:lnTo>
                    <a:pt x="172" y="307"/>
                  </a:lnTo>
                  <a:lnTo>
                    <a:pt x="172" y="307"/>
                  </a:lnTo>
                  <a:lnTo>
                    <a:pt x="170" y="307"/>
                  </a:lnTo>
                  <a:lnTo>
                    <a:pt x="170" y="307"/>
                  </a:lnTo>
                  <a:lnTo>
                    <a:pt x="170" y="307"/>
                  </a:lnTo>
                  <a:lnTo>
                    <a:pt x="170" y="305"/>
                  </a:lnTo>
                  <a:lnTo>
                    <a:pt x="170" y="307"/>
                  </a:lnTo>
                  <a:lnTo>
                    <a:pt x="167" y="305"/>
                  </a:lnTo>
                  <a:lnTo>
                    <a:pt x="167" y="307"/>
                  </a:lnTo>
                  <a:lnTo>
                    <a:pt x="167" y="307"/>
                  </a:lnTo>
                  <a:lnTo>
                    <a:pt x="165" y="307"/>
                  </a:lnTo>
                  <a:lnTo>
                    <a:pt x="165" y="305"/>
                  </a:lnTo>
                  <a:lnTo>
                    <a:pt x="165" y="305"/>
                  </a:lnTo>
                  <a:lnTo>
                    <a:pt x="163" y="305"/>
                  </a:lnTo>
                  <a:lnTo>
                    <a:pt x="163" y="305"/>
                  </a:lnTo>
                  <a:lnTo>
                    <a:pt x="163" y="305"/>
                  </a:lnTo>
                  <a:lnTo>
                    <a:pt x="160" y="305"/>
                  </a:lnTo>
                  <a:lnTo>
                    <a:pt x="160" y="305"/>
                  </a:lnTo>
                  <a:lnTo>
                    <a:pt x="160" y="305"/>
                  </a:lnTo>
                  <a:lnTo>
                    <a:pt x="160" y="302"/>
                  </a:lnTo>
                  <a:lnTo>
                    <a:pt x="160" y="305"/>
                  </a:lnTo>
                  <a:lnTo>
                    <a:pt x="158" y="302"/>
                  </a:lnTo>
                  <a:lnTo>
                    <a:pt x="158" y="302"/>
                  </a:lnTo>
                  <a:lnTo>
                    <a:pt x="158" y="302"/>
                  </a:lnTo>
                  <a:lnTo>
                    <a:pt x="158" y="300"/>
                  </a:lnTo>
                  <a:lnTo>
                    <a:pt x="158" y="300"/>
                  </a:lnTo>
                  <a:lnTo>
                    <a:pt x="149" y="300"/>
                  </a:lnTo>
                  <a:lnTo>
                    <a:pt x="99" y="300"/>
                  </a:lnTo>
                  <a:lnTo>
                    <a:pt x="101" y="300"/>
                  </a:lnTo>
                  <a:lnTo>
                    <a:pt x="101" y="295"/>
                  </a:lnTo>
                  <a:lnTo>
                    <a:pt x="101" y="295"/>
                  </a:lnTo>
                  <a:lnTo>
                    <a:pt x="104" y="293"/>
                  </a:lnTo>
                  <a:lnTo>
                    <a:pt x="106" y="293"/>
                  </a:lnTo>
                  <a:lnTo>
                    <a:pt x="106" y="290"/>
                  </a:lnTo>
                  <a:lnTo>
                    <a:pt x="108" y="290"/>
                  </a:lnTo>
                  <a:lnTo>
                    <a:pt x="111" y="288"/>
                  </a:lnTo>
                  <a:lnTo>
                    <a:pt x="113" y="286"/>
                  </a:lnTo>
                  <a:lnTo>
                    <a:pt x="113" y="286"/>
                  </a:lnTo>
                  <a:lnTo>
                    <a:pt x="113" y="283"/>
                  </a:lnTo>
                  <a:lnTo>
                    <a:pt x="111" y="283"/>
                  </a:lnTo>
                  <a:lnTo>
                    <a:pt x="113" y="283"/>
                  </a:lnTo>
                  <a:lnTo>
                    <a:pt x="115" y="279"/>
                  </a:lnTo>
                  <a:lnTo>
                    <a:pt x="120" y="276"/>
                  </a:lnTo>
                  <a:lnTo>
                    <a:pt x="120" y="279"/>
                  </a:lnTo>
                  <a:lnTo>
                    <a:pt x="120" y="279"/>
                  </a:lnTo>
                  <a:lnTo>
                    <a:pt x="123" y="276"/>
                  </a:lnTo>
                  <a:lnTo>
                    <a:pt x="123" y="276"/>
                  </a:lnTo>
                  <a:lnTo>
                    <a:pt x="125" y="274"/>
                  </a:lnTo>
                  <a:lnTo>
                    <a:pt x="125" y="274"/>
                  </a:lnTo>
                  <a:lnTo>
                    <a:pt x="127" y="274"/>
                  </a:lnTo>
                  <a:lnTo>
                    <a:pt x="127" y="272"/>
                  </a:lnTo>
                  <a:lnTo>
                    <a:pt x="125" y="272"/>
                  </a:lnTo>
                  <a:lnTo>
                    <a:pt x="123" y="272"/>
                  </a:lnTo>
                  <a:lnTo>
                    <a:pt x="125" y="269"/>
                  </a:lnTo>
                  <a:lnTo>
                    <a:pt x="130" y="267"/>
                  </a:lnTo>
                  <a:lnTo>
                    <a:pt x="132" y="264"/>
                  </a:lnTo>
                  <a:lnTo>
                    <a:pt x="132" y="262"/>
                  </a:lnTo>
                  <a:lnTo>
                    <a:pt x="132" y="257"/>
                  </a:lnTo>
                  <a:lnTo>
                    <a:pt x="134" y="255"/>
                  </a:lnTo>
                  <a:lnTo>
                    <a:pt x="132" y="255"/>
                  </a:lnTo>
                  <a:lnTo>
                    <a:pt x="132" y="250"/>
                  </a:lnTo>
                  <a:lnTo>
                    <a:pt x="132" y="248"/>
                  </a:lnTo>
                  <a:lnTo>
                    <a:pt x="132" y="248"/>
                  </a:lnTo>
                  <a:lnTo>
                    <a:pt x="132" y="248"/>
                  </a:lnTo>
                  <a:lnTo>
                    <a:pt x="134" y="246"/>
                  </a:lnTo>
                  <a:lnTo>
                    <a:pt x="130" y="246"/>
                  </a:lnTo>
                  <a:lnTo>
                    <a:pt x="127" y="236"/>
                  </a:lnTo>
                  <a:lnTo>
                    <a:pt x="125" y="236"/>
                  </a:lnTo>
                  <a:lnTo>
                    <a:pt x="123" y="236"/>
                  </a:lnTo>
                  <a:lnTo>
                    <a:pt x="123" y="234"/>
                  </a:lnTo>
                  <a:lnTo>
                    <a:pt x="123" y="236"/>
                  </a:lnTo>
                  <a:lnTo>
                    <a:pt x="123" y="236"/>
                  </a:lnTo>
                  <a:lnTo>
                    <a:pt x="120" y="234"/>
                  </a:lnTo>
                  <a:lnTo>
                    <a:pt x="120" y="231"/>
                  </a:lnTo>
                  <a:lnTo>
                    <a:pt x="120" y="229"/>
                  </a:lnTo>
                  <a:lnTo>
                    <a:pt x="118" y="229"/>
                  </a:lnTo>
                  <a:lnTo>
                    <a:pt x="118" y="227"/>
                  </a:lnTo>
                  <a:lnTo>
                    <a:pt x="115" y="227"/>
                  </a:lnTo>
                  <a:lnTo>
                    <a:pt x="115" y="224"/>
                  </a:lnTo>
                  <a:lnTo>
                    <a:pt x="115" y="220"/>
                  </a:lnTo>
                  <a:lnTo>
                    <a:pt x="113" y="217"/>
                  </a:lnTo>
                  <a:lnTo>
                    <a:pt x="111" y="212"/>
                  </a:lnTo>
                  <a:lnTo>
                    <a:pt x="111" y="210"/>
                  </a:lnTo>
                  <a:lnTo>
                    <a:pt x="108" y="208"/>
                  </a:lnTo>
                  <a:lnTo>
                    <a:pt x="106" y="205"/>
                  </a:lnTo>
                  <a:lnTo>
                    <a:pt x="106" y="205"/>
                  </a:lnTo>
                  <a:lnTo>
                    <a:pt x="104" y="205"/>
                  </a:lnTo>
                  <a:lnTo>
                    <a:pt x="101" y="205"/>
                  </a:lnTo>
                  <a:lnTo>
                    <a:pt x="99" y="205"/>
                  </a:lnTo>
                  <a:lnTo>
                    <a:pt x="99" y="205"/>
                  </a:lnTo>
                  <a:lnTo>
                    <a:pt x="97" y="205"/>
                  </a:lnTo>
                  <a:lnTo>
                    <a:pt x="97" y="203"/>
                  </a:lnTo>
                  <a:lnTo>
                    <a:pt x="97" y="203"/>
                  </a:lnTo>
                  <a:lnTo>
                    <a:pt x="94" y="201"/>
                  </a:lnTo>
                  <a:lnTo>
                    <a:pt x="94" y="198"/>
                  </a:lnTo>
                  <a:lnTo>
                    <a:pt x="94" y="198"/>
                  </a:lnTo>
                  <a:lnTo>
                    <a:pt x="92" y="198"/>
                  </a:lnTo>
                  <a:lnTo>
                    <a:pt x="92" y="198"/>
                  </a:lnTo>
                  <a:lnTo>
                    <a:pt x="92" y="196"/>
                  </a:lnTo>
                  <a:lnTo>
                    <a:pt x="90" y="198"/>
                  </a:lnTo>
                  <a:lnTo>
                    <a:pt x="90" y="194"/>
                  </a:lnTo>
                  <a:lnTo>
                    <a:pt x="90" y="194"/>
                  </a:lnTo>
                  <a:lnTo>
                    <a:pt x="92" y="189"/>
                  </a:lnTo>
                  <a:lnTo>
                    <a:pt x="90" y="182"/>
                  </a:lnTo>
                  <a:lnTo>
                    <a:pt x="87" y="179"/>
                  </a:lnTo>
                  <a:lnTo>
                    <a:pt x="85" y="179"/>
                  </a:lnTo>
                  <a:lnTo>
                    <a:pt x="85" y="177"/>
                  </a:lnTo>
                  <a:lnTo>
                    <a:pt x="82" y="177"/>
                  </a:lnTo>
                  <a:lnTo>
                    <a:pt x="80" y="177"/>
                  </a:lnTo>
                  <a:lnTo>
                    <a:pt x="78" y="177"/>
                  </a:lnTo>
                  <a:lnTo>
                    <a:pt x="78" y="177"/>
                  </a:lnTo>
                  <a:lnTo>
                    <a:pt x="78" y="177"/>
                  </a:lnTo>
                  <a:lnTo>
                    <a:pt x="75" y="175"/>
                  </a:lnTo>
                  <a:lnTo>
                    <a:pt x="75" y="172"/>
                  </a:lnTo>
                  <a:lnTo>
                    <a:pt x="73" y="170"/>
                  </a:lnTo>
                  <a:lnTo>
                    <a:pt x="73" y="170"/>
                  </a:lnTo>
                  <a:lnTo>
                    <a:pt x="73" y="170"/>
                  </a:lnTo>
                  <a:lnTo>
                    <a:pt x="71" y="170"/>
                  </a:lnTo>
                  <a:lnTo>
                    <a:pt x="68" y="168"/>
                  </a:lnTo>
                  <a:lnTo>
                    <a:pt x="66" y="168"/>
                  </a:lnTo>
                  <a:lnTo>
                    <a:pt x="64" y="168"/>
                  </a:lnTo>
                  <a:lnTo>
                    <a:pt x="64" y="165"/>
                  </a:lnTo>
                  <a:lnTo>
                    <a:pt x="61" y="165"/>
                  </a:lnTo>
                  <a:lnTo>
                    <a:pt x="61" y="165"/>
                  </a:lnTo>
                  <a:lnTo>
                    <a:pt x="59" y="161"/>
                  </a:lnTo>
                  <a:lnTo>
                    <a:pt x="59" y="156"/>
                  </a:lnTo>
                  <a:lnTo>
                    <a:pt x="56" y="156"/>
                  </a:lnTo>
                  <a:lnTo>
                    <a:pt x="59" y="151"/>
                  </a:lnTo>
                  <a:lnTo>
                    <a:pt x="56" y="149"/>
                  </a:lnTo>
                  <a:lnTo>
                    <a:pt x="56" y="149"/>
                  </a:lnTo>
                  <a:lnTo>
                    <a:pt x="56" y="146"/>
                  </a:lnTo>
                  <a:lnTo>
                    <a:pt x="54" y="146"/>
                  </a:lnTo>
                  <a:lnTo>
                    <a:pt x="52" y="144"/>
                  </a:lnTo>
                  <a:lnTo>
                    <a:pt x="52" y="144"/>
                  </a:lnTo>
                  <a:lnTo>
                    <a:pt x="52" y="142"/>
                  </a:lnTo>
                  <a:lnTo>
                    <a:pt x="52" y="139"/>
                  </a:lnTo>
                  <a:lnTo>
                    <a:pt x="52" y="135"/>
                  </a:lnTo>
                  <a:lnTo>
                    <a:pt x="52" y="132"/>
                  </a:lnTo>
                  <a:lnTo>
                    <a:pt x="52" y="130"/>
                  </a:lnTo>
                  <a:lnTo>
                    <a:pt x="49" y="127"/>
                  </a:lnTo>
                  <a:lnTo>
                    <a:pt x="47" y="125"/>
                  </a:lnTo>
                  <a:lnTo>
                    <a:pt x="47" y="125"/>
                  </a:lnTo>
                  <a:lnTo>
                    <a:pt x="47" y="120"/>
                  </a:lnTo>
                  <a:lnTo>
                    <a:pt x="47" y="118"/>
                  </a:lnTo>
                  <a:lnTo>
                    <a:pt x="45" y="116"/>
                  </a:lnTo>
                  <a:lnTo>
                    <a:pt x="42" y="118"/>
                  </a:lnTo>
                  <a:lnTo>
                    <a:pt x="40" y="118"/>
                  </a:lnTo>
                  <a:lnTo>
                    <a:pt x="40" y="113"/>
                  </a:lnTo>
                  <a:lnTo>
                    <a:pt x="38" y="111"/>
                  </a:lnTo>
                  <a:lnTo>
                    <a:pt x="35" y="111"/>
                  </a:lnTo>
                  <a:lnTo>
                    <a:pt x="33" y="111"/>
                  </a:lnTo>
                  <a:lnTo>
                    <a:pt x="33" y="111"/>
                  </a:lnTo>
                  <a:lnTo>
                    <a:pt x="33" y="111"/>
                  </a:lnTo>
                  <a:lnTo>
                    <a:pt x="30" y="111"/>
                  </a:lnTo>
                  <a:lnTo>
                    <a:pt x="30" y="109"/>
                  </a:lnTo>
                  <a:lnTo>
                    <a:pt x="30" y="106"/>
                  </a:lnTo>
                  <a:lnTo>
                    <a:pt x="28" y="104"/>
                  </a:lnTo>
                  <a:lnTo>
                    <a:pt x="28" y="101"/>
                  </a:lnTo>
                  <a:lnTo>
                    <a:pt x="30" y="101"/>
                  </a:lnTo>
                  <a:lnTo>
                    <a:pt x="28" y="99"/>
                  </a:lnTo>
                  <a:lnTo>
                    <a:pt x="30" y="97"/>
                  </a:lnTo>
                  <a:lnTo>
                    <a:pt x="30" y="97"/>
                  </a:lnTo>
                  <a:lnTo>
                    <a:pt x="33" y="99"/>
                  </a:lnTo>
                  <a:lnTo>
                    <a:pt x="35" y="99"/>
                  </a:lnTo>
                  <a:lnTo>
                    <a:pt x="38" y="99"/>
                  </a:lnTo>
                  <a:lnTo>
                    <a:pt x="38" y="97"/>
                  </a:lnTo>
                  <a:lnTo>
                    <a:pt x="40" y="97"/>
                  </a:lnTo>
                  <a:lnTo>
                    <a:pt x="40" y="92"/>
                  </a:lnTo>
                  <a:lnTo>
                    <a:pt x="40" y="90"/>
                  </a:lnTo>
                  <a:lnTo>
                    <a:pt x="40" y="87"/>
                  </a:lnTo>
                  <a:lnTo>
                    <a:pt x="38" y="85"/>
                  </a:lnTo>
                  <a:lnTo>
                    <a:pt x="33" y="83"/>
                  </a:lnTo>
                  <a:lnTo>
                    <a:pt x="33" y="83"/>
                  </a:lnTo>
                  <a:lnTo>
                    <a:pt x="26" y="80"/>
                  </a:lnTo>
                  <a:lnTo>
                    <a:pt x="23" y="80"/>
                  </a:lnTo>
                  <a:lnTo>
                    <a:pt x="21" y="80"/>
                  </a:lnTo>
                  <a:lnTo>
                    <a:pt x="21" y="78"/>
                  </a:lnTo>
                  <a:lnTo>
                    <a:pt x="19" y="73"/>
                  </a:lnTo>
                  <a:lnTo>
                    <a:pt x="16" y="73"/>
                  </a:lnTo>
                  <a:lnTo>
                    <a:pt x="14" y="71"/>
                  </a:lnTo>
                  <a:lnTo>
                    <a:pt x="14" y="68"/>
                  </a:lnTo>
                  <a:lnTo>
                    <a:pt x="12" y="68"/>
                  </a:lnTo>
                  <a:lnTo>
                    <a:pt x="9" y="64"/>
                  </a:lnTo>
                  <a:lnTo>
                    <a:pt x="2" y="59"/>
                  </a:lnTo>
                  <a:lnTo>
                    <a:pt x="2" y="59"/>
                  </a:lnTo>
                  <a:lnTo>
                    <a:pt x="0" y="54"/>
                  </a:lnTo>
                  <a:lnTo>
                    <a:pt x="2" y="54"/>
                  </a:lnTo>
                  <a:lnTo>
                    <a:pt x="2" y="54"/>
                  </a:lnTo>
                  <a:lnTo>
                    <a:pt x="4" y="54"/>
                  </a:lnTo>
                  <a:lnTo>
                    <a:pt x="9" y="49"/>
                  </a:lnTo>
                  <a:lnTo>
                    <a:pt x="9" y="49"/>
                  </a:lnTo>
                  <a:lnTo>
                    <a:pt x="9" y="47"/>
                  </a:lnTo>
                  <a:lnTo>
                    <a:pt x="9" y="45"/>
                  </a:lnTo>
                  <a:lnTo>
                    <a:pt x="9" y="40"/>
                  </a:lnTo>
                  <a:lnTo>
                    <a:pt x="7" y="40"/>
                  </a:lnTo>
                  <a:lnTo>
                    <a:pt x="4" y="33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7" y="33"/>
                  </a:lnTo>
                  <a:lnTo>
                    <a:pt x="7" y="33"/>
                  </a:lnTo>
                  <a:lnTo>
                    <a:pt x="9" y="33"/>
                  </a:lnTo>
                  <a:lnTo>
                    <a:pt x="12" y="35"/>
                  </a:lnTo>
                  <a:lnTo>
                    <a:pt x="16" y="35"/>
                  </a:lnTo>
                  <a:lnTo>
                    <a:pt x="16" y="33"/>
                  </a:lnTo>
                  <a:lnTo>
                    <a:pt x="19" y="31"/>
                  </a:lnTo>
                  <a:lnTo>
                    <a:pt x="21" y="28"/>
                  </a:lnTo>
                  <a:lnTo>
                    <a:pt x="23" y="28"/>
                  </a:lnTo>
                  <a:lnTo>
                    <a:pt x="26" y="31"/>
                  </a:lnTo>
                  <a:lnTo>
                    <a:pt x="28" y="28"/>
                  </a:lnTo>
                  <a:lnTo>
                    <a:pt x="30" y="28"/>
                  </a:lnTo>
                  <a:lnTo>
                    <a:pt x="30" y="28"/>
                  </a:lnTo>
                  <a:lnTo>
                    <a:pt x="30" y="31"/>
                  </a:lnTo>
                  <a:lnTo>
                    <a:pt x="30" y="31"/>
                  </a:lnTo>
                  <a:lnTo>
                    <a:pt x="35" y="28"/>
                  </a:lnTo>
                  <a:lnTo>
                    <a:pt x="38" y="26"/>
                  </a:lnTo>
                  <a:lnTo>
                    <a:pt x="38" y="23"/>
                  </a:lnTo>
                  <a:lnTo>
                    <a:pt x="35" y="21"/>
                  </a:lnTo>
                  <a:lnTo>
                    <a:pt x="35" y="16"/>
                  </a:lnTo>
                  <a:lnTo>
                    <a:pt x="33" y="14"/>
                  </a:lnTo>
                  <a:lnTo>
                    <a:pt x="30" y="14"/>
                  </a:lnTo>
                  <a:lnTo>
                    <a:pt x="30" y="12"/>
                  </a:lnTo>
                  <a:lnTo>
                    <a:pt x="30" y="7"/>
                  </a:lnTo>
                  <a:lnTo>
                    <a:pt x="28" y="7"/>
                  </a:lnTo>
                  <a:lnTo>
                    <a:pt x="28" y="5"/>
                  </a:lnTo>
                  <a:lnTo>
                    <a:pt x="26" y="2"/>
                  </a:lnTo>
                  <a:lnTo>
                    <a:pt x="26" y="2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 cap="flat">
              <a:solidFill>
                <a:schemeClr val="bg2">
                  <a:lumMod val="7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>
                <a:solidFill>
                  <a:srgbClr val="000000"/>
                </a:solidFill>
              </a:endParaRPr>
            </a:p>
          </p:txBody>
        </p:sp>
        <p:sp>
          <p:nvSpPr>
            <p:cNvPr id="101" name="Freeform 13"/>
            <p:cNvSpPr>
              <a:spLocks/>
            </p:cNvSpPr>
            <p:nvPr/>
          </p:nvSpPr>
          <p:spPr bwMode="gray">
            <a:xfrm>
              <a:off x="2145368" y="2334340"/>
              <a:ext cx="511493" cy="649532"/>
            </a:xfrm>
            <a:custGeom>
              <a:avLst/>
              <a:gdLst/>
              <a:ahLst/>
              <a:cxnLst>
                <a:cxn ang="0">
                  <a:pos x="120" y="284"/>
                </a:cxn>
                <a:cxn ang="0">
                  <a:pos x="130" y="277"/>
                </a:cxn>
                <a:cxn ang="0">
                  <a:pos x="144" y="270"/>
                </a:cxn>
                <a:cxn ang="0">
                  <a:pos x="151" y="279"/>
                </a:cxn>
                <a:cxn ang="0">
                  <a:pos x="175" y="284"/>
                </a:cxn>
                <a:cxn ang="0">
                  <a:pos x="191" y="272"/>
                </a:cxn>
                <a:cxn ang="0">
                  <a:pos x="205" y="289"/>
                </a:cxn>
                <a:cxn ang="0">
                  <a:pos x="210" y="293"/>
                </a:cxn>
                <a:cxn ang="0">
                  <a:pos x="245" y="293"/>
                </a:cxn>
                <a:cxn ang="0">
                  <a:pos x="264" y="277"/>
                </a:cxn>
                <a:cxn ang="0">
                  <a:pos x="288" y="258"/>
                </a:cxn>
                <a:cxn ang="0">
                  <a:pos x="295" y="234"/>
                </a:cxn>
                <a:cxn ang="0">
                  <a:pos x="316" y="199"/>
                </a:cxn>
                <a:cxn ang="0">
                  <a:pos x="319" y="173"/>
                </a:cxn>
                <a:cxn ang="0">
                  <a:pos x="333" y="156"/>
                </a:cxn>
                <a:cxn ang="0">
                  <a:pos x="366" y="100"/>
                </a:cxn>
                <a:cxn ang="0">
                  <a:pos x="387" y="74"/>
                </a:cxn>
                <a:cxn ang="0">
                  <a:pos x="413" y="38"/>
                </a:cxn>
                <a:cxn ang="0">
                  <a:pos x="463" y="36"/>
                </a:cxn>
                <a:cxn ang="0">
                  <a:pos x="482" y="85"/>
                </a:cxn>
                <a:cxn ang="0">
                  <a:pos x="486" y="166"/>
                </a:cxn>
                <a:cxn ang="0">
                  <a:pos x="498" y="208"/>
                </a:cxn>
                <a:cxn ang="0">
                  <a:pos x="510" y="241"/>
                </a:cxn>
                <a:cxn ang="0">
                  <a:pos x="520" y="265"/>
                </a:cxn>
                <a:cxn ang="0">
                  <a:pos x="529" y="300"/>
                </a:cxn>
                <a:cxn ang="0">
                  <a:pos x="574" y="308"/>
                </a:cxn>
                <a:cxn ang="0">
                  <a:pos x="619" y="350"/>
                </a:cxn>
                <a:cxn ang="0">
                  <a:pos x="631" y="421"/>
                </a:cxn>
                <a:cxn ang="0">
                  <a:pos x="612" y="468"/>
                </a:cxn>
                <a:cxn ang="0">
                  <a:pos x="597" y="487"/>
                </a:cxn>
                <a:cxn ang="0">
                  <a:pos x="545" y="544"/>
                </a:cxn>
                <a:cxn ang="0">
                  <a:pos x="484" y="586"/>
                </a:cxn>
                <a:cxn ang="0">
                  <a:pos x="437" y="636"/>
                </a:cxn>
                <a:cxn ang="0">
                  <a:pos x="404" y="714"/>
                </a:cxn>
                <a:cxn ang="0">
                  <a:pos x="366" y="726"/>
                </a:cxn>
                <a:cxn ang="0">
                  <a:pos x="349" y="737"/>
                </a:cxn>
                <a:cxn ang="0">
                  <a:pos x="309" y="716"/>
                </a:cxn>
                <a:cxn ang="0">
                  <a:pos x="305" y="690"/>
                </a:cxn>
                <a:cxn ang="0">
                  <a:pos x="300" y="667"/>
                </a:cxn>
                <a:cxn ang="0">
                  <a:pos x="279" y="636"/>
                </a:cxn>
                <a:cxn ang="0">
                  <a:pos x="245" y="598"/>
                </a:cxn>
                <a:cxn ang="0">
                  <a:pos x="224" y="551"/>
                </a:cxn>
                <a:cxn ang="0">
                  <a:pos x="217" y="511"/>
                </a:cxn>
                <a:cxn ang="0">
                  <a:pos x="212" y="478"/>
                </a:cxn>
                <a:cxn ang="0">
                  <a:pos x="182" y="442"/>
                </a:cxn>
                <a:cxn ang="0">
                  <a:pos x="184" y="416"/>
                </a:cxn>
                <a:cxn ang="0">
                  <a:pos x="168" y="404"/>
                </a:cxn>
                <a:cxn ang="0">
                  <a:pos x="151" y="397"/>
                </a:cxn>
                <a:cxn ang="0">
                  <a:pos x="134" y="395"/>
                </a:cxn>
                <a:cxn ang="0">
                  <a:pos x="125" y="393"/>
                </a:cxn>
                <a:cxn ang="0">
                  <a:pos x="111" y="385"/>
                </a:cxn>
                <a:cxn ang="0">
                  <a:pos x="99" y="376"/>
                </a:cxn>
                <a:cxn ang="0">
                  <a:pos x="92" y="367"/>
                </a:cxn>
                <a:cxn ang="0">
                  <a:pos x="78" y="357"/>
                </a:cxn>
                <a:cxn ang="0">
                  <a:pos x="66" y="352"/>
                </a:cxn>
                <a:cxn ang="0">
                  <a:pos x="45" y="350"/>
                </a:cxn>
                <a:cxn ang="0">
                  <a:pos x="16" y="348"/>
                </a:cxn>
                <a:cxn ang="0">
                  <a:pos x="14" y="324"/>
                </a:cxn>
                <a:cxn ang="0">
                  <a:pos x="7" y="303"/>
                </a:cxn>
                <a:cxn ang="0">
                  <a:pos x="9" y="282"/>
                </a:cxn>
              </a:cxnLst>
              <a:rect l="0" t="0" r="r" b="b"/>
              <a:pathLst>
                <a:path w="633" h="742">
                  <a:moveTo>
                    <a:pt x="0" y="260"/>
                  </a:moveTo>
                  <a:lnTo>
                    <a:pt x="9" y="260"/>
                  </a:lnTo>
                  <a:lnTo>
                    <a:pt x="16" y="258"/>
                  </a:lnTo>
                  <a:lnTo>
                    <a:pt x="23" y="260"/>
                  </a:lnTo>
                  <a:lnTo>
                    <a:pt x="23" y="272"/>
                  </a:lnTo>
                  <a:lnTo>
                    <a:pt x="28" y="277"/>
                  </a:lnTo>
                  <a:lnTo>
                    <a:pt x="33" y="274"/>
                  </a:lnTo>
                  <a:lnTo>
                    <a:pt x="56" y="291"/>
                  </a:lnTo>
                  <a:lnTo>
                    <a:pt x="87" y="296"/>
                  </a:lnTo>
                  <a:lnTo>
                    <a:pt x="111" y="289"/>
                  </a:lnTo>
                  <a:lnTo>
                    <a:pt x="113" y="286"/>
                  </a:lnTo>
                  <a:lnTo>
                    <a:pt x="113" y="289"/>
                  </a:lnTo>
                  <a:lnTo>
                    <a:pt x="116" y="286"/>
                  </a:lnTo>
                  <a:lnTo>
                    <a:pt x="116" y="286"/>
                  </a:lnTo>
                  <a:lnTo>
                    <a:pt x="118" y="286"/>
                  </a:lnTo>
                  <a:lnTo>
                    <a:pt x="118" y="286"/>
                  </a:lnTo>
                  <a:lnTo>
                    <a:pt x="118" y="286"/>
                  </a:lnTo>
                  <a:lnTo>
                    <a:pt x="120" y="284"/>
                  </a:lnTo>
                  <a:lnTo>
                    <a:pt x="118" y="282"/>
                  </a:lnTo>
                  <a:lnTo>
                    <a:pt x="118" y="282"/>
                  </a:lnTo>
                  <a:lnTo>
                    <a:pt x="118" y="282"/>
                  </a:lnTo>
                  <a:lnTo>
                    <a:pt x="120" y="279"/>
                  </a:lnTo>
                  <a:lnTo>
                    <a:pt x="120" y="282"/>
                  </a:lnTo>
                  <a:lnTo>
                    <a:pt x="120" y="282"/>
                  </a:lnTo>
                  <a:lnTo>
                    <a:pt x="120" y="282"/>
                  </a:lnTo>
                  <a:lnTo>
                    <a:pt x="123" y="284"/>
                  </a:lnTo>
                  <a:lnTo>
                    <a:pt x="123" y="282"/>
                  </a:lnTo>
                  <a:lnTo>
                    <a:pt x="125" y="282"/>
                  </a:lnTo>
                  <a:lnTo>
                    <a:pt x="125" y="282"/>
                  </a:lnTo>
                  <a:lnTo>
                    <a:pt x="125" y="279"/>
                  </a:lnTo>
                  <a:lnTo>
                    <a:pt x="125" y="279"/>
                  </a:lnTo>
                  <a:lnTo>
                    <a:pt x="125" y="277"/>
                  </a:lnTo>
                  <a:lnTo>
                    <a:pt x="127" y="277"/>
                  </a:lnTo>
                  <a:lnTo>
                    <a:pt x="127" y="277"/>
                  </a:lnTo>
                  <a:lnTo>
                    <a:pt x="130" y="277"/>
                  </a:lnTo>
                  <a:lnTo>
                    <a:pt x="130" y="277"/>
                  </a:lnTo>
                  <a:lnTo>
                    <a:pt x="130" y="277"/>
                  </a:lnTo>
                  <a:lnTo>
                    <a:pt x="132" y="277"/>
                  </a:lnTo>
                  <a:lnTo>
                    <a:pt x="134" y="277"/>
                  </a:lnTo>
                  <a:lnTo>
                    <a:pt x="132" y="274"/>
                  </a:lnTo>
                  <a:lnTo>
                    <a:pt x="132" y="274"/>
                  </a:lnTo>
                  <a:lnTo>
                    <a:pt x="132" y="274"/>
                  </a:lnTo>
                  <a:lnTo>
                    <a:pt x="134" y="274"/>
                  </a:lnTo>
                  <a:lnTo>
                    <a:pt x="134" y="272"/>
                  </a:lnTo>
                  <a:lnTo>
                    <a:pt x="134" y="272"/>
                  </a:lnTo>
                  <a:lnTo>
                    <a:pt x="137" y="272"/>
                  </a:lnTo>
                  <a:lnTo>
                    <a:pt x="137" y="272"/>
                  </a:lnTo>
                  <a:lnTo>
                    <a:pt x="139" y="270"/>
                  </a:lnTo>
                  <a:lnTo>
                    <a:pt x="139" y="270"/>
                  </a:lnTo>
                  <a:lnTo>
                    <a:pt x="139" y="270"/>
                  </a:lnTo>
                  <a:lnTo>
                    <a:pt x="142" y="270"/>
                  </a:lnTo>
                  <a:lnTo>
                    <a:pt x="144" y="270"/>
                  </a:lnTo>
                  <a:lnTo>
                    <a:pt x="144" y="270"/>
                  </a:lnTo>
                  <a:lnTo>
                    <a:pt x="144" y="270"/>
                  </a:lnTo>
                  <a:lnTo>
                    <a:pt x="142" y="272"/>
                  </a:lnTo>
                  <a:lnTo>
                    <a:pt x="144" y="272"/>
                  </a:lnTo>
                  <a:lnTo>
                    <a:pt x="144" y="272"/>
                  </a:lnTo>
                  <a:lnTo>
                    <a:pt x="144" y="272"/>
                  </a:lnTo>
                  <a:lnTo>
                    <a:pt x="146" y="272"/>
                  </a:lnTo>
                  <a:lnTo>
                    <a:pt x="144" y="274"/>
                  </a:lnTo>
                  <a:lnTo>
                    <a:pt x="144" y="274"/>
                  </a:lnTo>
                  <a:lnTo>
                    <a:pt x="144" y="277"/>
                  </a:lnTo>
                  <a:lnTo>
                    <a:pt x="144" y="277"/>
                  </a:lnTo>
                  <a:lnTo>
                    <a:pt x="142" y="277"/>
                  </a:lnTo>
                  <a:lnTo>
                    <a:pt x="142" y="277"/>
                  </a:lnTo>
                  <a:lnTo>
                    <a:pt x="144" y="277"/>
                  </a:lnTo>
                  <a:lnTo>
                    <a:pt x="144" y="277"/>
                  </a:lnTo>
                  <a:lnTo>
                    <a:pt x="149" y="277"/>
                  </a:lnTo>
                  <a:lnTo>
                    <a:pt x="149" y="277"/>
                  </a:lnTo>
                  <a:lnTo>
                    <a:pt x="151" y="279"/>
                  </a:lnTo>
                  <a:lnTo>
                    <a:pt x="151" y="279"/>
                  </a:lnTo>
                  <a:lnTo>
                    <a:pt x="151" y="279"/>
                  </a:lnTo>
                  <a:lnTo>
                    <a:pt x="153" y="279"/>
                  </a:lnTo>
                  <a:lnTo>
                    <a:pt x="153" y="279"/>
                  </a:lnTo>
                  <a:lnTo>
                    <a:pt x="153" y="279"/>
                  </a:lnTo>
                  <a:lnTo>
                    <a:pt x="153" y="282"/>
                  </a:lnTo>
                  <a:lnTo>
                    <a:pt x="158" y="282"/>
                  </a:lnTo>
                  <a:lnTo>
                    <a:pt x="158" y="282"/>
                  </a:lnTo>
                  <a:lnTo>
                    <a:pt x="158" y="282"/>
                  </a:lnTo>
                  <a:lnTo>
                    <a:pt x="160" y="282"/>
                  </a:lnTo>
                  <a:lnTo>
                    <a:pt x="160" y="282"/>
                  </a:lnTo>
                  <a:lnTo>
                    <a:pt x="160" y="282"/>
                  </a:lnTo>
                  <a:lnTo>
                    <a:pt x="163" y="284"/>
                  </a:lnTo>
                  <a:lnTo>
                    <a:pt x="163" y="284"/>
                  </a:lnTo>
                  <a:lnTo>
                    <a:pt x="165" y="284"/>
                  </a:lnTo>
                  <a:lnTo>
                    <a:pt x="168" y="284"/>
                  </a:lnTo>
                  <a:lnTo>
                    <a:pt x="170" y="284"/>
                  </a:lnTo>
                  <a:lnTo>
                    <a:pt x="172" y="284"/>
                  </a:lnTo>
                  <a:lnTo>
                    <a:pt x="172" y="284"/>
                  </a:lnTo>
                  <a:lnTo>
                    <a:pt x="175" y="284"/>
                  </a:lnTo>
                  <a:lnTo>
                    <a:pt x="177" y="284"/>
                  </a:lnTo>
                  <a:lnTo>
                    <a:pt x="177" y="284"/>
                  </a:lnTo>
                  <a:lnTo>
                    <a:pt x="179" y="284"/>
                  </a:lnTo>
                  <a:lnTo>
                    <a:pt x="179" y="284"/>
                  </a:lnTo>
                  <a:lnTo>
                    <a:pt x="179" y="282"/>
                  </a:lnTo>
                  <a:lnTo>
                    <a:pt x="177" y="282"/>
                  </a:lnTo>
                  <a:lnTo>
                    <a:pt x="179" y="282"/>
                  </a:lnTo>
                  <a:lnTo>
                    <a:pt x="182" y="282"/>
                  </a:lnTo>
                  <a:lnTo>
                    <a:pt x="182" y="282"/>
                  </a:lnTo>
                  <a:lnTo>
                    <a:pt x="184" y="282"/>
                  </a:lnTo>
                  <a:lnTo>
                    <a:pt x="184" y="279"/>
                  </a:lnTo>
                  <a:lnTo>
                    <a:pt x="186" y="279"/>
                  </a:lnTo>
                  <a:lnTo>
                    <a:pt x="186" y="277"/>
                  </a:lnTo>
                  <a:lnTo>
                    <a:pt x="189" y="277"/>
                  </a:lnTo>
                  <a:lnTo>
                    <a:pt x="189" y="277"/>
                  </a:lnTo>
                  <a:lnTo>
                    <a:pt x="191" y="277"/>
                  </a:lnTo>
                  <a:lnTo>
                    <a:pt x="191" y="274"/>
                  </a:lnTo>
                  <a:lnTo>
                    <a:pt x="191" y="272"/>
                  </a:lnTo>
                  <a:lnTo>
                    <a:pt x="194" y="272"/>
                  </a:lnTo>
                  <a:lnTo>
                    <a:pt x="196" y="272"/>
                  </a:lnTo>
                  <a:lnTo>
                    <a:pt x="196" y="274"/>
                  </a:lnTo>
                  <a:lnTo>
                    <a:pt x="196" y="272"/>
                  </a:lnTo>
                  <a:lnTo>
                    <a:pt x="198" y="274"/>
                  </a:lnTo>
                  <a:lnTo>
                    <a:pt x="198" y="277"/>
                  </a:lnTo>
                  <a:lnTo>
                    <a:pt x="198" y="277"/>
                  </a:lnTo>
                  <a:lnTo>
                    <a:pt x="201" y="277"/>
                  </a:lnTo>
                  <a:lnTo>
                    <a:pt x="203" y="277"/>
                  </a:lnTo>
                  <a:lnTo>
                    <a:pt x="203" y="279"/>
                  </a:lnTo>
                  <a:lnTo>
                    <a:pt x="205" y="282"/>
                  </a:lnTo>
                  <a:lnTo>
                    <a:pt x="205" y="282"/>
                  </a:lnTo>
                  <a:lnTo>
                    <a:pt x="205" y="284"/>
                  </a:lnTo>
                  <a:lnTo>
                    <a:pt x="208" y="282"/>
                  </a:lnTo>
                  <a:lnTo>
                    <a:pt x="208" y="284"/>
                  </a:lnTo>
                  <a:lnTo>
                    <a:pt x="205" y="286"/>
                  </a:lnTo>
                  <a:lnTo>
                    <a:pt x="205" y="286"/>
                  </a:lnTo>
                  <a:lnTo>
                    <a:pt x="205" y="289"/>
                  </a:lnTo>
                  <a:lnTo>
                    <a:pt x="203" y="289"/>
                  </a:lnTo>
                  <a:lnTo>
                    <a:pt x="203" y="289"/>
                  </a:lnTo>
                  <a:lnTo>
                    <a:pt x="203" y="291"/>
                  </a:lnTo>
                  <a:lnTo>
                    <a:pt x="203" y="291"/>
                  </a:lnTo>
                  <a:lnTo>
                    <a:pt x="201" y="293"/>
                  </a:lnTo>
                  <a:lnTo>
                    <a:pt x="201" y="293"/>
                  </a:lnTo>
                  <a:lnTo>
                    <a:pt x="203" y="293"/>
                  </a:lnTo>
                  <a:lnTo>
                    <a:pt x="203" y="293"/>
                  </a:lnTo>
                  <a:lnTo>
                    <a:pt x="203" y="293"/>
                  </a:lnTo>
                  <a:lnTo>
                    <a:pt x="203" y="293"/>
                  </a:lnTo>
                  <a:lnTo>
                    <a:pt x="203" y="293"/>
                  </a:lnTo>
                  <a:lnTo>
                    <a:pt x="205" y="293"/>
                  </a:lnTo>
                  <a:lnTo>
                    <a:pt x="205" y="293"/>
                  </a:lnTo>
                  <a:lnTo>
                    <a:pt x="205" y="293"/>
                  </a:lnTo>
                  <a:lnTo>
                    <a:pt x="208" y="291"/>
                  </a:lnTo>
                  <a:lnTo>
                    <a:pt x="208" y="291"/>
                  </a:lnTo>
                  <a:lnTo>
                    <a:pt x="208" y="293"/>
                  </a:lnTo>
                  <a:lnTo>
                    <a:pt x="210" y="293"/>
                  </a:lnTo>
                  <a:lnTo>
                    <a:pt x="210" y="293"/>
                  </a:lnTo>
                  <a:lnTo>
                    <a:pt x="210" y="293"/>
                  </a:lnTo>
                  <a:lnTo>
                    <a:pt x="212" y="293"/>
                  </a:lnTo>
                  <a:lnTo>
                    <a:pt x="215" y="293"/>
                  </a:lnTo>
                  <a:lnTo>
                    <a:pt x="215" y="291"/>
                  </a:lnTo>
                  <a:lnTo>
                    <a:pt x="219" y="291"/>
                  </a:lnTo>
                  <a:lnTo>
                    <a:pt x="224" y="291"/>
                  </a:lnTo>
                  <a:lnTo>
                    <a:pt x="227" y="291"/>
                  </a:lnTo>
                  <a:lnTo>
                    <a:pt x="229" y="293"/>
                  </a:lnTo>
                  <a:lnTo>
                    <a:pt x="229" y="293"/>
                  </a:lnTo>
                  <a:lnTo>
                    <a:pt x="231" y="296"/>
                  </a:lnTo>
                  <a:lnTo>
                    <a:pt x="231" y="296"/>
                  </a:lnTo>
                  <a:lnTo>
                    <a:pt x="236" y="296"/>
                  </a:lnTo>
                  <a:lnTo>
                    <a:pt x="241" y="298"/>
                  </a:lnTo>
                  <a:lnTo>
                    <a:pt x="245" y="296"/>
                  </a:lnTo>
                  <a:lnTo>
                    <a:pt x="245" y="293"/>
                  </a:lnTo>
                  <a:lnTo>
                    <a:pt x="245" y="293"/>
                  </a:lnTo>
                  <a:lnTo>
                    <a:pt x="245" y="293"/>
                  </a:lnTo>
                  <a:lnTo>
                    <a:pt x="245" y="293"/>
                  </a:lnTo>
                  <a:lnTo>
                    <a:pt x="245" y="293"/>
                  </a:lnTo>
                  <a:lnTo>
                    <a:pt x="248" y="293"/>
                  </a:lnTo>
                  <a:lnTo>
                    <a:pt x="250" y="293"/>
                  </a:lnTo>
                  <a:lnTo>
                    <a:pt x="250" y="293"/>
                  </a:lnTo>
                  <a:lnTo>
                    <a:pt x="250" y="291"/>
                  </a:lnTo>
                  <a:lnTo>
                    <a:pt x="253" y="291"/>
                  </a:lnTo>
                  <a:lnTo>
                    <a:pt x="253" y="289"/>
                  </a:lnTo>
                  <a:lnTo>
                    <a:pt x="253" y="286"/>
                  </a:lnTo>
                  <a:lnTo>
                    <a:pt x="253" y="284"/>
                  </a:lnTo>
                  <a:lnTo>
                    <a:pt x="255" y="284"/>
                  </a:lnTo>
                  <a:lnTo>
                    <a:pt x="255" y="284"/>
                  </a:lnTo>
                  <a:lnTo>
                    <a:pt x="255" y="282"/>
                  </a:lnTo>
                  <a:lnTo>
                    <a:pt x="257" y="282"/>
                  </a:lnTo>
                  <a:lnTo>
                    <a:pt x="257" y="282"/>
                  </a:lnTo>
                  <a:lnTo>
                    <a:pt x="260" y="282"/>
                  </a:lnTo>
                  <a:lnTo>
                    <a:pt x="262" y="279"/>
                  </a:lnTo>
                  <a:lnTo>
                    <a:pt x="264" y="277"/>
                  </a:lnTo>
                  <a:lnTo>
                    <a:pt x="264" y="279"/>
                  </a:lnTo>
                  <a:lnTo>
                    <a:pt x="264" y="277"/>
                  </a:lnTo>
                  <a:lnTo>
                    <a:pt x="267" y="277"/>
                  </a:lnTo>
                  <a:lnTo>
                    <a:pt x="267" y="277"/>
                  </a:lnTo>
                  <a:lnTo>
                    <a:pt x="269" y="277"/>
                  </a:lnTo>
                  <a:lnTo>
                    <a:pt x="271" y="274"/>
                  </a:lnTo>
                  <a:lnTo>
                    <a:pt x="271" y="274"/>
                  </a:lnTo>
                  <a:lnTo>
                    <a:pt x="274" y="274"/>
                  </a:lnTo>
                  <a:lnTo>
                    <a:pt x="274" y="274"/>
                  </a:lnTo>
                  <a:lnTo>
                    <a:pt x="281" y="267"/>
                  </a:lnTo>
                  <a:lnTo>
                    <a:pt x="281" y="267"/>
                  </a:lnTo>
                  <a:lnTo>
                    <a:pt x="281" y="265"/>
                  </a:lnTo>
                  <a:lnTo>
                    <a:pt x="283" y="263"/>
                  </a:lnTo>
                  <a:lnTo>
                    <a:pt x="283" y="260"/>
                  </a:lnTo>
                  <a:lnTo>
                    <a:pt x="283" y="260"/>
                  </a:lnTo>
                  <a:lnTo>
                    <a:pt x="283" y="260"/>
                  </a:lnTo>
                  <a:lnTo>
                    <a:pt x="286" y="260"/>
                  </a:lnTo>
                  <a:lnTo>
                    <a:pt x="288" y="258"/>
                  </a:lnTo>
                  <a:lnTo>
                    <a:pt x="286" y="258"/>
                  </a:lnTo>
                  <a:lnTo>
                    <a:pt x="288" y="256"/>
                  </a:lnTo>
                  <a:lnTo>
                    <a:pt x="290" y="256"/>
                  </a:lnTo>
                  <a:lnTo>
                    <a:pt x="290" y="253"/>
                  </a:lnTo>
                  <a:lnTo>
                    <a:pt x="293" y="251"/>
                  </a:lnTo>
                  <a:lnTo>
                    <a:pt x="295" y="251"/>
                  </a:lnTo>
                  <a:lnTo>
                    <a:pt x="295" y="248"/>
                  </a:lnTo>
                  <a:lnTo>
                    <a:pt x="293" y="246"/>
                  </a:lnTo>
                  <a:lnTo>
                    <a:pt x="295" y="246"/>
                  </a:lnTo>
                  <a:lnTo>
                    <a:pt x="295" y="246"/>
                  </a:lnTo>
                  <a:lnTo>
                    <a:pt x="295" y="246"/>
                  </a:lnTo>
                  <a:lnTo>
                    <a:pt x="297" y="244"/>
                  </a:lnTo>
                  <a:lnTo>
                    <a:pt x="297" y="244"/>
                  </a:lnTo>
                  <a:lnTo>
                    <a:pt x="297" y="241"/>
                  </a:lnTo>
                  <a:lnTo>
                    <a:pt x="295" y="239"/>
                  </a:lnTo>
                  <a:lnTo>
                    <a:pt x="295" y="237"/>
                  </a:lnTo>
                  <a:lnTo>
                    <a:pt x="293" y="237"/>
                  </a:lnTo>
                  <a:lnTo>
                    <a:pt x="295" y="234"/>
                  </a:lnTo>
                  <a:lnTo>
                    <a:pt x="295" y="232"/>
                  </a:lnTo>
                  <a:lnTo>
                    <a:pt x="297" y="234"/>
                  </a:lnTo>
                  <a:lnTo>
                    <a:pt x="297" y="230"/>
                  </a:lnTo>
                  <a:lnTo>
                    <a:pt x="300" y="227"/>
                  </a:lnTo>
                  <a:lnTo>
                    <a:pt x="300" y="225"/>
                  </a:lnTo>
                  <a:lnTo>
                    <a:pt x="302" y="220"/>
                  </a:lnTo>
                  <a:lnTo>
                    <a:pt x="302" y="220"/>
                  </a:lnTo>
                  <a:lnTo>
                    <a:pt x="305" y="218"/>
                  </a:lnTo>
                  <a:lnTo>
                    <a:pt x="302" y="218"/>
                  </a:lnTo>
                  <a:lnTo>
                    <a:pt x="305" y="215"/>
                  </a:lnTo>
                  <a:lnTo>
                    <a:pt x="307" y="211"/>
                  </a:lnTo>
                  <a:lnTo>
                    <a:pt x="307" y="208"/>
                  </a:lnTo>
                  <a:lnTo>
                    <a:pt x="309" y="204"/>
                  </a:lnTo>
                  <a:lnTo>
                    <a:pt x="312" y="201"/>
                  </a:lnTo>
                  <a:lnTo>
                    <a:pt x="314" y="201"/>
                  </a:lnTo>
                  <a:lnTo>
                    <a:pt x="314" y="201"/>
                  </a:lnTo>
                  <a:lnTo>
                    <a:pt x="316" y="199"/>
                  </a:lnTo>
                  <a:lnTo>
                    <a:pt x="316" y="199"/>
                  </a:lnTo>
                  <a:lnTo>
                    <a:pt x="314" y="199"/>
                  </a:lnTo>
                  <a:lnTo>
                    <a:pt x="314" y="199"/>
                  </a:lnTo>
                  <a:lnTo>
                    <a:pt x="314" y="197"/>
                  </a:lnTo>
                  <a:lnTo>
                    <a:pt x="314" y="194"/>
                  </a:lnTo>
                  <a:lnTo>
                    <a:pt x="314" y="194"/>
                  </a:lnTo>
                  <a:lnTo>
                    <a:pt x="316" y="194"/>
                  </a:lnTo>
                  <a:lnTo>
                    <a:pt x="316" y="189"/>
                  </a:lnTo>
                  <a:lnTo>
                    <a:pt x="316" y="189"/>
                  </a:lnTo>
                  <a:lnTo>
                    <a:pt x="316" y="187"/>
                  </a:lnTo>
                  <a:lnTo>
                    <a:pt x="319" y="185"/>
                  </a:lnTo>
                  <a:lnTo>
                    <a:pt x="319" y="185"/>
                  </a:lnTo>
                  <a:lnTo>
                    <a:pt x="321" y="180"/>
                  </a:lnTo>
                  <a:lnTo>
                    <a:pt x="323" y="178"/>
                  </a:lnTo>
                  <a:lnTo>
                    <a:pt x="319" y="175"/>
                  </a:lnTo>
                  <a:lnTo>
                    <a:pt x="321" y="173"/>
                  </a:lnTo>
                  <a:lnTo>
                    <a:pt x="321" y="173"/>
                  </a:lnTo>
                  <a:lnTo>
                    <a:pt x="321" y="171"/>
                  </a:lnTo>
                  <a:lnTo>
                    <a:pt x="319" y="173"/>
                  </a:lnTo>
                  <a:lnTo>
                    <a:pt x="319" y="171"/>
                  </a:lnTo>
                  <a:lnTo>
                    <a:pt x="319" y="168"/>
                  </a:lnTo>
                  <a:lnTo>
                    <a:pt x="321" y="171"/>
                  </a:lnTo>
                  <a:lnTo>
                    <a:pt x="321" y="168"/>
                  </a:lnTo>
                  <a:lnTo>
                    <a:pt x="321" y="168"/>
                  </a:lnTo>
                  <a:lnTo>
                    <a:pt x="321" y="166"/>
                  </a:lnTo>
                  <a:lnTo>
                    <a:pt x="323" y="166"/>
                  </a:lnTo>
                  <a:lnTo>
                    <a:pt x="323" y="163"/>
                  </a:lnTo>
                  <a:lnTo>
                    <a:pt x="326" y="166"/>
                  </a:lnTo>
                  <a:lnTo>
                    <a:pt x="326" y="161"/>
                  </a:lnTo>
                  <a:lnTo>
                    <a:pt x="326" y="159"/>
                  </a:lnTo>
                  <a:lnTo>
                    <a:pt x="326" y="156"/>
                  </a:lnTo>
                  <a:lnTo>
                    <a:pt x="328" y="156"/>
                  </a:lnTo>
                  <a:lnTo>
                    <a:pt x="331" y="156"/>
                  </a:lnTo>
                  <a:lnTo>
                    <a:pt x="331" y="154"/>
                  </a:lnTo>
                  <a:lnTo>
                    <a:pt x="331" y="154"/>
                  </a:lnTo>
                  <a:lnTo>
                    <a:pt x="333" y="154"/>
                  </a:lnTo>
                  <a:lnTo>
                    <a:pt x="333" y="156"/>
                  </a:lnTo>
                  <a:lnTo>
                    <a:pt x="335" y="156"/>
                  </a:lnTo>
                  <a:lnTo>
                    <a:pt x="335" y="154"/>
                  </a:lnTo>
                  <a:lnTo>
                    <a:pt x="338" y="149"/>
                  </a:lnTo>
                  <a:lnTo>
                    <a:pt x="340" y="149"/>
                  </a:lnTo>
                  <a:lnTo>
                    <a:pt x="340" y="147"/>
                  </a:lnTo>
                  <a:lnTo>
                    <a:pt x="345" y="142"/>
                  </a:lnTo>
                  <a:lnTo>
                    <a:pt x="345" y="140"/>
                  </a:lnTo>
                  <a:lnTo>
                    <a:pt x="349" y="128"/>
                  </a:lnTo>
                  <a:lnTo>
                    <a:pt x="352" y="128"/>
                  </a:lnTo>
                  <a:lnTo>
                    <a:pt x="352" y="123"/>
                  </a:lnTo>
                  <a:lnTo>
                    <a:pt x="354" y="123"/>
                  </a:lnTo>
                  <a:lnTo>
                    <a:pt x="354" y="121"/>
                  </a:lnTo>
                  <a:lnTo>
                    <a:pt x="354" y="121"/>
                  </a:lnTo>
                  <a:lnTo>
                    <a:pt x="357" y="119"/>
                  </a:lnTo>
                  <a:lnTo>
                    <a:pt x="361" y="109"/>
                  </a:lnTo>
                  <a:lnTo>
                    <a:pt x="364" y="107"/>
                  </a:lnTo>
                  <a:lnTo>
                    <a:pt x="364" y="107"/>
                  </a:lnTo>
                  <a:lnTo>
                    <a:pt x="366" y="100"/>
                  </a:lnTo>
                  <a:lnTo>
                    <a:pt x="366" y="100"/>
                  </a:lnTo>
                  <a:lnTo>
                    <a:pt x="366" y="97"/>
                  </a:lnTo>
                  <a:lnTo>
                    <a:pt x="368" y="93"/>
                  </a:lnTo>
                  <a:lnTo>
                    <a:pt x="371" y="93"/>
                  </a:lnTo>
                  <a:lnTo>
                    <a:pt x="373" y="93"/>
                  </a:lnTo>
                  <a:lnTo>
                    <a:pt x="373" y="90"/>
                  </a:lnTo>
                  <a:lnTo>
                    <a:pt x="373" y="85"/>
                  </a:lnTo>
                  <a:lnTo>
                    <a:pt x="373" y="85"/>
                  </a:lnTo>
                  <a:lnTo>
                    <a:pt x="375" y="83"/>
                  </a:lnTo>
                  <a:lnTo>
                    <a:pt x="378" y="83"/>
                  </a:lnTo>
                  <a:lnTo>
                    <a:pt x="378" y="83"/>
                  </a:lnTo>
                  <a:lnTo>
                    <a:pt x="380" y="83"/>
                  </a:lnTo>
                  <a:lnTo>
                    <a:pt x="382" y="81"/>
                  </a:lnTo>
                  <a:lnTo>
                    <a:pt x="382" y="78"/>
                  </a:lnTo>
                  <a:lnTo>
                    <a:pt x="382" y="78"/>
                  </a:lnTo>
                  <a:lnTo>
                    <a:pt x="382" y="76"/>
                  </a:lnTo>
                  <a:lnTo>
                    <a:pt x="387" y="76"/>
                  </a:lnTo>
                  <a:lnTo>
                    <a:pt x="387" y="74"/>
                  </a:lnTo>
                  <a:lnTo>
                    <a:pt x="387" y="74"/>
                  </a:lnTo>
                  <a:lnTo>
                    <a:pt x="390" y="71"/>
                  </a:lnTo>
                  <a:lnTo>
                    <a:pt x="392" y="69"/>
                  </a:lnTo>
                  <a:lnTo>
                    <a:pt x="392" y="67"/>
                  </a:lnTo>
                  <a:lnTo>
                    <a:pt x="392" y="64"/>
                  </a:lnTo>
                  <a:lnTo>
                    <a:pt x="392" y="62"/>
                  </a:lnTo>
                  <a:lnTo>
                    <a:pt x="392" y="62"/>
                  </a:lnTo>
                  <a:lnTo>
                    <a:pt x="397" y="57"/>
                  </a:lnTo>
                  <a:lnTo>
                    <a:pt x="397" y="57"/>
                  </a:lnTo>
                  <a:lnTo>
                    <a:pt x="401" y="57"/>
                  </a:lnTo>
                  <a:lnTo>
                    <a:pt x="401" y="55"/>
                  </a:lnTo>
                  <a:lnTo>
                    <a:pt x="404" y="55"/>
                  </a:lnTo>
                  <a:lnTo>
                    <a:pt x="406" y="52"/>
                  </a:lnTo>
                  <a:lnTo>
                    <a:pt x="408" y="52"/>
                  </a:lnTo>
                  <a:lnTo>
                    <a:pt x="408" y="48"/>
                  </a:lnTo>
                  <a:lnTo>
                    <a:pt x="408" y="48"/>
                  </a:lnTo>
                  <a:lnTo>
                    <a:pt x="411" y="45"/>
                  </a:lnTo>
                  <a:lnTo>
                    <a:pt x="413" y="38"/>
                  </a:lnTo>
                  <a:lnTo>
                    <a:pt x="416" y="36"/>
                  </a:lnTo>
                  <a:lnTo>
                    <a:pt x="416" y="31"/>
                  </a:lnTo>
                  <a:lnTo>
                    <a:pt x="416" y="26"/>
                  </a:lnTo>
                  <a:lnTo>
                    <a:pt x="416" y="26"/>
                  </a:lnTo>
                  <a:lnTo>
                    <a:pt x="418" y="24"/>
                  </a:lnTo>
                  <a:lnTo>
                    <a:pt x="418" y="12"/>
                  </a:lnTo>
                  <a:lnTo>
                    <a:pt x="420" y="3"/>
                  </a:lnTo>
                  <a:lnTo>
                    <a:pt x="420" y="0"/>
                  </a:lnTo>
                  <a:lnTo>
                    <a:pt x="423" y="0"/>
                  </a:lnTo>
                  <a:lnTo>
                    <a:pt x="425" y="0"/>
                  </a:lnTo>
                  <a:lnTo>
                    <a:pt x="427" y="0"/>
                  </a:lnTo>
                  <a:lnTo>
                    <a:pt x="430" y="0"/>
                  </a:lnTo>
                  <a:lnTo>
                    <a:pt x="434" y="5"/>
                  </a:lnTo>
                  <a:lnTo>
                    <a:pt x="437" y="8"/>
                  </a:lnTo>
                  <a:lnTo>
                    <a:pt x="446" y="19"/>
                  </a:lnTo>
                  <a:lnTo>
                    <a:pt x="460" y="31"/>
                  </a:lnTo>
                  <a:lnTo>
                    <a:pt x="460" y="34"/>
                  </a:lnTo>
                  <a:lnTo>
                    <a:pt x="463" y="36"/>
                  </a:lnTo>
                  <a:lnTo>
                    <a:pt x="463" y="38"/>
                  </a:lnTo>
                  <a:lnTo>
                    <a:pt x="465" y="41"/>
                  </a:lnTo>
                  <a:lnTo>
                    <a:pt x="468" y="48"/>
                  </a:lnTo>
                  <a:lnTo>
                    <a:pt x="468" y="50"/>
                  </a:lnTo>
                  <a:lnTo>
                    <a:pt x="468" y="50"/>
                  </a:lnTo>
                  <a:lnTo>
                    <a:pt x="468" y="55"/>
                  </a:lnTo>
                  <a:lnTo>
                    <a:pt x="470" y="57"/>
                  </a:lnTo>
                  <a:lnTo>
                    <a:pt x="470" y="62"/>
                  </a:lnTo>
                  <a:lnTo>
                    <a:pt x="470" y="64"/>
                  </a:lnTo>
                  <a:lnTo>
                    <a:pt x="470" y="64"/>
                  </a:lnTo>
                  <a:lnTo>
                    <a:pt x="475" y="69"/>
                  </a:lnTo>
                  <a:lnTo>
                    <a:pt x="479" y="69"/>
                  </a:lnTo>
                  <a:lnTo>
                    <a:pt x="482" y="71"/>
                  </a:lnTo>
                  <a:lnTo>
                    <a:pt x="482" y="71"/>
                  </a:lnTo>
                  <a:lnTo>
                    <a:pt x="482" y="71"/>
                  </a:lnTo>
                  <a:lnTo>
                    <a:pt x="482" y="76"/>
                  </a:lnTo>
                  <a:lnTo>
                    <a:pt x="482" y="78"/>
                  </a:lnTo>
                  <a:lnTo>
                    <a:pt x="482" y="85"/>
                  </a:lnTo>
                  <a:lnTo>
                    <a:pt x="482" y="85"/>
                  </a:lnTo>
                  <a:lnTo>
                    <a:pt x="482" y="88"/>
                  </a:lnTo>
                  <a:lnTo>
                    <a:pt x="479" y="90"/>
                  </a:lnTo>
                  <a:lnTo>
                    <a:pt x="482" y="93"/>
                  </a:lnTo>
                  <a:lnTo>
                    <a:pt x="479" y="93"/>
                  </a:lnTo>
                  <a:lnTo>
                    <a:pt x="479" y="95"/>
                  </a:lnTo>
                  <a:lnTo>
                    <a:pt x="479" y="100"/>
                  </a:lnTo>
                  <a:lnTo>
                    <a:pt x="482" y="104"/>
                  </a:lnTo>
                  <a:lnTo>
                    <a:pt x="482" y="123"/>
                  </a:lnTo>
                  <a:lnTo>
                    <a:pt x="482" y="128"/>
                  </a:lnTo>
                  <a:lnTo>
                    <a:pt x="482" y="128"/>
                  </a:lnTo>
                  <a:lnTo>
                    <a:pt x="479" y="128"/>
                  </a:lnTo>
                  <a:lnTo>
                    <a:pt x="479" y="128"/>
                  </a:lnTo>
                  <a:lnTo>
                    <a:pt x="479" y="137"/>
                  </a:lnTo>
                  <a:lnTo>
                    <a:pt x="482" y="140"/>
                  </a:lnTo>
                  <a:lnTo>
                    <a:pt x="489" y="161"/>
                  </a:lnTo>
                  <a:lnTo>
                    <a:pt x="489" y="163"/>
                  </a:lnTo>
                  <a:lnTo>
                    <a:pt x="486" y="166"/>
                  </a:lnTo>
                  <a:lnTo>
                    <a:pt x="486" y="168"/>
                  </a:lnTo>
                  <a:lnTo>
                    <a:pt x="486" y="168"/>
                  </a:lnTo>
                  <a:lnTo>
                    <a:pt x="489" y="173"/>
                  </a:lnTo>
                  <a:lnTo>
                    <a:pt x="491" y="175"/>
                  </a:lnTo>
                  <a:lnTo>
                    <a:pt x="491" y="178"/>
                  </a:lnTo>
                  <a:lnTo>
                    <a:pt x="489" y="178"/>
                  </a:lnTo>
                  <a:lnTo>
                    <a:pt x="489" y="182"/>
                  </a:lnTo>
                  <a:lnTo>
                    <a:pt x="491" y="182"/>
                  </a:lnTo>
                  <a:lnTo>
                    <a:pt x="491" y="185"/>
                  </a:lnTo>
                  <a:lnTo>
                    <a:pt x="494" y="187"/>
                  </a:lnTo>
                  <a:lnTo>
                    <a:pt x="494" y="192"/>
                  </a:lnTo>
                  <a:lnTo>
                    <a:pt x="494" y="192"/>
                  </a:lnTo>
                  <a:lnTo>
                    <a:pt x="494" y="197"/>
                  </a:lnTo>
                  <a:lnTo>
                    <a:pt x="494" y="199"/>
                  </a:lnTo>
                  <a:lnTo>
                    <a:pt x="496" y="201"/>
                  </a:lnTo>
                  <a:lnTo>
                    <a:pt x="498" y="204"/>
                  </a:lnTo>
                  <a:lnTo>
                    <a:pt x="498" y="206"/>
                  </a:lnTo>
                  <a:lnTo>
                    <a:pt x="498" y="208"/>
                  </a:lnTo>
                  <a:lnTo>
                    <a:pt x="498" y="211"/>
                  </a:lnTo>
                  <a:lnTo>
                    <a:pt x="498" y="213"/>
                  </a:lnTo>
                  <a:lnTo>
                    <a:pt x="501" y="213"/>
                  </a:lnTo>
                  <a:lnTo>
                    <a:pt x="503" y="213"/>
                  </a:lnTo>
                  <a:lnTo>
                    <a:pt x="503" y="213"/>
                  </a:lnTo>
                  <a:lnTo>
                    <a:pt x="503" y="215"/>
                  </a:lnTo>
                  <a:lnTo>
                    <a:pt x="503" y="218"/>
                  </a:lnTo>
                  <a:lnTo>
                    <a:pt x="503" y="220"/>
                  </a:lnTo>
                  <a:lnTo>
                    <a:pt x="505" y="220"/>
                  </a:lnTo>
                  <a:lnTo>
                    <a:pt x="505" y="222"/>
                  </a:lnTo>
                  <a:lnTo>
                    <a:pt x="505" y="230"/>
                  </a:lnTo>
                  <a:lnTo>
                    <a:pt x="508" y="230"/>
                  </a:lnTo>
                  <a:lnTo>
                    <a:pt x="510" y="232"/>
                  </a:lnTo>
                  <a:lnTo>
                    <a:pt x="510" y="234"/>
                  </a:lnTo>
                  <a:lnTo>
                    <a:pt x="510" y="234"/>
                  </a:lnTo>
                  <a:lnTo>
                    <a:pt x="510" y="239"/>
                  </a:lnTo>
                  <a:lnTo>
                    <a:pt x="510" y="241"/>
                  </a:lnTo>
                  <a:lnTo>
                    <a:pt x="510" y="241"/>
                  </a:lnTo>
                  <a:lnTo>
                    <a:pt x="512" y="244"/>
                  </a:lnTo>
                  <a:lnTo>
                    <a:pt x="512" y="248"/>
                  </a:lnTo>
                  <a:lnTo>
                    <a:pt x="512" y="251"/>
                  </a:lnTo>
                  <a:lnTo>
                    <a:pt x="510" y="253"/>
                  </a:lnTo>
                  <a:lnTo>
                    <a:pt x="510" y="256"/>
                  </a:lnTo>
                  <a:lnTo>
                    <a:pt x="510" y="256"/>
                  </a:lnTo>
                  <a:lnTo>
                    <a:pt x="510" y="253"/>
                  </a:lnTo>
                  <a:lnTo>
                    <a:pt x="510" y="253"/>
                  </a:lnTo>
                  <a:lnTo>
                    <a:pt x="512" y="253"/>
                  </a:lnTo>
                  <a:lnTo>
                    <a:pt x="515" y="251"/>
                  </a:lnTo>
                  <a:lnTo>
                    <a:pt x="517" y="251"/>
                  </a:lnTo>
                  <a:lnTo>
                    <a:pt x="517" y="253"/>
                  </a:lnTo>
                  <a:lnTo>
                    <a:pt x="520" y="256"/>
                  </a:lnTo>
                  <a:lnTo>
                    <a:pt x="520" y="256"/>
                  </a:lnTo>
                  <a:lnTo>
                    <a:pt x="520" y="258"/>
                  </a:lnTo>
                  <a:lnTo>
                    <a:pt x="522" y="260"/>
                  </a:lnTo>
                  <a:lnTo>
                    <a:pt x="522" y="263"/>
                  </a:lnTo>
                  <a:lnTo>
                    <a:pt x="520" y="265"/>
                  </a:lnTo>
                  <a:lnTo>
                    <a:pt x="522" y="267"/>
                  </a:lnTo>
                  <a:lnTo>
                    <a:pt x="522" y="267"/>
                  </a:lnTo>
                  <a:lnTo>
                    <a:pt x="522" y="272"/>
                  </a:lnTo>
                  <a:lnTo>
                    <a:pt x="522" y="272"/>
                  </a:lnTo>
                  <a:lnTo>
                    <a:pt x="524" y="274"/>
                  </a:lnTo>
                  <a:lnTo>
                    <a:pt x="524" y="277"/>
                  </a:lnTo>
                  <a:lnTo>
                    <a:pt x="524" y="279"/>
                  </a:lnTo>
                  <a:lnTo>
                    <a:pt x="527" y="282"/>
                  </a:lnTo>
                  <a:lnTo>
                    <a:pt x="527" y="284"/>
                  </a:lnTo>
                  <a:lnTo>
                    <a:pt x="527" y="286"/>
                  </a:lnTo>
                  <a:lnTo>
                    <a:pt x="527" y="286"/>
                  </a:lnTo>
                  <a:lnTo>
                    <a:pt x="529" y="289"/>
                  </a:lnTo>
                  <a:lnTo>
                    <a:pt x="529" y="291"/>
                  </a:lnTo>
                  <a:lnTo>
                    <a:pt x="531" y="293"/>
                  </a:lnTo>
                  <a:lnTo>
                    <a:pt x="531" y="296"/>
                  </a:lnTo>
                  <a:lnTo>
                    <a:pt x="531" y="298"/>
                  </a:lnTo>
                  <a:lnTo>
                    <a:pt x="531" y="300"/>
                  </a:lnTo>
                  <a:lnTo>
                    <a:pt x="529" y="300"/>
                  </a:lnTo>
                  <a:lnTo>
                    <a:pt x="529" y="300"/>
                  </a:lnTo>
                  <a:lnTo>
                    <a:pt x="534" y="298"/>
                  </a:lnTo>
                  <a:lnTo>
                    <a:pt x="543" y="296"/>
                  </a:lnTo>
                  <a:lnTo>
                    <a:pt x="545" y="293"/>
                  </a:lnTo>
                  <a:lnTo>
                    <a:pt x="553" y="291"/>
                  </a:lnTo>
                  <a:lnTo>
                    <a:pt x="557" y="291"/>
                  </a:lnTo>
                  <a:lnTo>
                    <a:pt x="560" y="291"/>
                  </a:lnTo>
                  <a:lnTo>
                    <a:pt x="562" y="293"/>
                  </a:lnTo>
                  <a:lnTo>
                    <a:pt x="562" y="293"/>
                  </a:lnTo>
                  <a:lnTo>
                    <a:pt x="562" y="293"/>
                  </a:lnTo>
                  <a:lnTo>
                    <a:pt x="564" y="296"/>
                  </a:lnTo>
                  <a:lnTo>
                    <a:pt x="564" y="298"/>
                  </a:lnTo>
                  <a:lnTo>
                    <a:pt x="569" y="303"/>
                  </a:lnTo>
                  <a:lnTo>
                    <a:pt x="569" y="303"/>
                  </a:lnTo>
                  <a:lnTo>
                    <a:pt x="569" y="303"/>
                  </a:lnTo>
                  <a:lnTo>
                    <a:pt x="571" y="305"/>
                  </a:lnTo>
                  <a:lnTo>
                    <a:pt x="571" y="305"/>
                  </a:lnTo>
                  <a:lnTo>
                    <a:pt x="574" y="308"/>
                  </a:lnTo>
                  <a:lnTo>
                    <a:pt x="574" y="308"/>
                  </a:lnTo>
                  <a:lnTo>
                    <a:pt x="574" y="310"/>
                  </a:lnTo>
                  <a:lnTo>
                    <a:pt x="574" y="310"/>
                  </a:lnTo>
                  <a:lnTo>
                    <a:pt x="574" y="312"/>
                  </a:lnTo>
                  <a:lnTo>
                    <a:pt x="576" y="315"/>
                  </a:lnTo>
                  <a:lnTo>
                    <a:pt x="576" y="315"/>
                  </a:lnTo>
                  <a:lnTo>
                    <a:pt x="579" y="317"/>
                  </a:lnTo>
                  <a:lnTo>
                    <a:pt x="579" y="322"/>
                  </a:lnTo>
                  <a:lnTo>
                    <a:pt x="579" y="322"/>
                  </a:lnTo>
                  <a:lnTo>
                    <a:pt x="581" y="324"/>
                  </a:lnTo>
                  <a:lnTo>
                    <a:pt x="583" y="334"/>
                  </a:lnTo>
                  <a:lnTo>
                    <a:pt x="588" y="343"/>
                  </a:lnTo>
                  <a:lnTo>
                    <a:pt x="595" y="343"/>
                  </a:lnTo>
                  <a:lnTo>
                    <a:pt x="605" y="345"/>
                  </a:lnTo>
                  <a:lnTo>
                    <a:pt x="607" y="345"/>
                  </a:lnTo>
                  <a:lnTo>
                    <a:pt x="612" y="348"/>
                  </a:lnTo>
                  <a:lnTo>
                    <a:pt x="614" y="348"/>
                  </a:lnTo>
                  <a:lnTo>
                    <a:pt x="619" y="350"/>
                  </a:lnTo>
                  <a:lnTo>
                    <a:pt x="628" y="357"/>
                  </a:lnTo>
                  <a:lnTo>
                    <a:pt x="628" y="357"/>
                  </a:lnTo>
                  <a:lnTo>
                    <a:pt x="628" y="360"/>
                  </a:lnTo>
                  <a:lnTo>
                    <a:pt x="628" y="360"/>
                  </a:lnTo>
                  <a:lnTo>
                    <a:pt x="628" y="362"/>
                  </a:lnTo>
                  <a:lnTo>
                    <a:pt x="631" y="362"/>
                  </a:lnTo>
                  <a:lnTo>
                    <a:pt x="631" y="367"/>
                  </a:lnTo>
                  <a:lnTo>
                    <a:pt x="633" y="378"/>
                  </a:lnTo>
                  <a:lnTo>
                    <a:pt x="633" y="385"/>
                  </a:lnTo>
                  <a:lnTo>
                    <a:pt x="633" y="388"/>
                  </a:lnTo>
                  <a:lnTo>
                    <a:pt x="633" y="390"/>
                  </a:lnTo>
                  <a:lnTo>
                    <a:pt x="633" y="397"/>
                  </a:lnTo>
                  <a:lnTo>
                    <a:pt x="633" y="397"/>
                  </a:lnTo>
                  <a:lnTo>
                    <a:pt x="631" y="407"/>
                  </a:lnTo>
                  <a:lnTo>
                    <a:pt x="628" y="411"/>
                  </a:lnTo>
                  <a:lnTo>
                    <a:pt x="631" y="414"/>
                  </a:lnTo>
                  <a:lnTo>
                    <a:pt x="631" y="419"/>
                  </a:lnTo>
                  <a:lnTo>
                    <a:pt x="631" y="421"/>
                  </a:lnTo>
                  <a:lnTo>
                    <a:pt x="631" y="423"/>
                  </a:lnTo>
                  <a:lnTo>
                    <a:pt x="628" y="428"/>
                  </a:lnTo>
                  <a:lnTo>
                    <a:pt x="628" y="430"/>
                  </a:lnTo>
                  <a:lnTo>
                    <a:pt x="626" y="435"/>
                  </a:lnTo>
                  <a:lnTo>
                    <a:pt x="626" y="435"/>
                  </a:lnTo>
                  <a:lnTo>
                    <a:pt x="626" y="435"/>
                  </a:lnTo>
                  <a:lnTo>
                    <a:pt x="626" y="435"/>
                  </a:lnTo>
                  <a:lnTo>
                    <a:pt x="626" y="445"/>
                  </a:lnTo>
                  <a:lnTo>
                    <a:pt x="626" y="445"/>
                  </a:lnTo>
                  <a:lnTo>
                    <a:pt x="626" y="449"/>
                  </a:lnTo>
                  <a:lnTo>
                    <a:pt x="626" y="449"/>
                  </a:lnTo>
                  <a:lnTo>
                    <a:pt x="626" y="452"/>
                  </a:lnTo>
                  <a:lnTo>
                    <a:pt x="621" y="454"/>
                  </a:lnTo>
                  <a:lnTo>
                    <a:pt x="621" y="454"/>
                  </a:lnTo>
                  <a:lnTo>
                    <a:pt x="619" y="459"/>
                  </a:lnTo>
                  <a:lnTo>
                    <a:pt x="619" y="461"/>
                  </a:lnTo>
                  <a:lnTo>
                    <a:pt x="614" y="466"/>
                  </a:lnTo>
                  <a:lnTo>
                    <a:pt x="612" y="468"/>
                  </a:lnTo>
                  <a:lnTo>
                    <a:pt x="612" y="468"/>
                  </a:lnTo>
                  <a:lnTo>
                    <a:pt x="612" y="468"/>
                  </a:lnTo>
                  <a:lnTo>
                    <a:pt x="612" y="468"/>
                  </a:lnTo>
                  <a:lnTo>
                    <a:pt x="612" y="468"/>
                  </a:lnTo>
                  <a:lnTo>
                    <a:pt x="612" y="471"/>
                  </a:lnTo>
                  <a:lnTo>
                    <a:pt x="612" y="471"/>
                  </a:lnTo>
                  <a:lnTo>
                    <a:pt x="609" y="473"/>
                  </a:lnTo>
                  <a:lnTo>
                    <a:pt x="612" y="473"/>
                  </a:lnTo>
                  <a:lnTo>
                    <a:pt x="612" y="475"/>
                  </a:lnTo>
                  <a:lnTo>
                    <a:pt x="612" y="475"/>
                  </a:lnTo>
                  <a:lnTo>
                    <a:pt x="609" y="475"/>
                  </a:lnTo>
                  <a:lnTo>
                    <a:pt x="609" y="475"/>
                  </a:lnTo>
                  <a:lnTo>
                    <a:pt x="609" y="478"/>
                  </a:lnTo>
                  <a:lnTo>
                    <a:pt x="607" y="478"/>
                  </a:lnTo>
                  <a:lnTo>
                    <a:pt x="607" y="478"/>
                  </a:lnTo>
                  <a:lnTo>
                    <a:pt x="607" y="478"/>
                  </a:lnTo>
                  <a:lnTo>
                    <a:pt x="605" y="487"/>
                  </a:lnTo>
                  <a:lnTo>
                    <a:pt x="597" y="487"/>
                  </a:lnTo>
                  <a:lnTo>
                    <a:pt x="593" y="487"/>
                  </a:lnTo>
                  <a:lnTo>
                    <a:pt x="588" y="489"/>
                  </a:lnTo>
                  <a:lnTo>
                    <a:pt x="586" y="489"/>
                  </a:lnTo>
                  <a:lnTo>
                    <a:pt x="579" y="492"/>
                  </a:lnTo>
                  <a:lnTo>
                    <a:pt x="574" y="494"/>
                  </a:lnTo>
                  <a:lnTo>
                    <a:pt x="567" y="497"/>
                  </a:lnTo>
                  <a:lnTo>
                    <a:pt x="567" y="499"/>
                  </a:lnTo>
                  <a:lnTo>
                    <a:pt x="567" y="499"/>
                  </a:lnTo>
                  <a:lnTo>
                    <a:pt x="562" y="501"/>
                  </a:lnTo>
                  <a:lnTo>
                    <a:pt x="562" y="506"/>
                  </a:lnTo>
                  <a:lnTo>
                    <a:pt x="557" y="511"/>
                  </a:lnTo>
                  <a:lnTo>
                    <a:pt x="557" y="518"/>
                  </a:lnTo>
                  <a:lnTo>
                    <a:pt x="557" y="520"/>
                  </a:lnTo>
                  <a:lnTo>
                    <a:pt x="555" y="522"/>
                  </a:lnTo>
                  <a:lnTo>
                    <a:pt x="553" y="532"/>
                  </a:lnTo>
                  <a:lnTo>
                    <a:pt x="550" y="534"/>
                  </a:lnTo>
                  <a:lnTo>
                    <a:pt x="548" y="539"/>
                  </a:lnTo>
                  <a:lnTo>
                    <a:pt x="545" y="544"/>
                  </a:lnTo>
                  <a:lnTo>
                    <a:pt x="543" y="548"/>
                  </a:lnTo>
                  <a:lnTo>
                    <a:pt x="538" y="551"/>
                  </a:lnTo>
                  <a:lnTo>
                    <a:pt x="536" y="553"/>
                  </a:lnTo>
                  <a:lnTo>
                    <a:pt x="534" y="556"/>
                  </a:lnTo>
                  <a:lnTo>
                    <a:pt x="524" y="563"/>
                  </a:lnTo>
                  <a:lnTo>
                    <a:pt x="520" y="565"/>
                  </a:lnTo>
                  <a:lnTo>
                    <a:pt x="515" y="567"/>
                  </a:lnTo>
                  <a:lnTo>
                    <a:pt x="503" y="570"/>
                  </a:lnTo>
                  <a:lnTo>
                    <a:pt x="501" y="570"/>
                  </a:lnTo>
                  <a:lnTo>
                    <a:pt x="501" y="570"/>
                  </a:lnTo>
                  <a:lnTo>
                    <a:pt x="494" y="574"/>
                  </a:lnTo>
                  <a:lnTo>
                    <a:pt x="494" y="577"/>
                  </a:lnTo>
                  <a:lnTo>
                    <a:pt x="491" y="579"/>
                  </a:lnTo>
                  <a:lnTo>
                    <a:pt x="491" y="579"/>
                  </a:lnTo>
                  <a:lnTo>
                    <a:pt x="491" y="579"/>
                  </a:lnTo>
                  <a:lnTo>
                    <a:pt x="489" y="584"/>
                  </a:lnTo>
                  <a:lnTo>
                    <a:pt x="486" y="584"/>
                  </a:lnTo>
                  <a:lnTo>
                    <a:pt x="484" y="586"/>
                  </a:lnTo>
                  <a:lnTo>
                    <a:pt x="482" y="589"/>
                  </a:lnTo>
                  <a:lnTo>
                    <a:pt x="479" y="591"/>
                  </a:lnTo>
                  <a:lnTo>
                    <a:pt x="479" y="591"/>
                  </a:lnTo>
                  <a:lnTo>
                    <a:pt x="477" y="593"/>
                  </a:lnTo>
                  <a:lnTo>
                    <a:pt x="470" y="593"/>
                  </a:lnTo>
                  <a:lnTo>
                    <a:pt x="463" y="596"/>
                  </a:lnTo>
                  <a:lnTo>
                    <a:pt x="460" y="603"/>
                  </a:lnTo>
                  <a:lnTo>
                    <a:pt x="458" y="605"/>
                  </a:lnTo>
                  <a:lnTo>
                    <a:pt x="453" y="610"/>
                  </a:lnTo>
                  <a:lnTo>
                    <a:pt x="453" y="612"/>
                  </a:lnTo>
                  <a:lnTo>
                    <a:pt x="449" y="615"/>
                  </a:lnTo>
                  <a:lnTo>
                    <a:pt x="449" y="617"/>
                  </a:lnTo>
                  <a:lnTo>
                    <a:pt x="446" y="619"/>
                  </a:lnTo>
                  <a:lnTo>
                    <a:pt x="446" y="622"/>
                  </a:lnTo>
                  <a:lnTo>
                    <a:pt x="446" y="622"/>
                  </a:lnTo>
                  <a:lnTo>
                    <a:pt x="446" y="629"/>
                  </a:lnTo>
                  <a:lnTo>
                    <a:pt x="439" y="634"/>
                  </a:lnTo>
                  <a:lnTo>
                    <a:pt x="437" y="636"/>
                  </a:lnTo>
                  <a:lnTo>
                    <a:pt x="437" y="643"/>
                  </a:lnTo>
                  <a:lnTo>
                    <a:pt x="434" y="648"/>
                  </a:lnTo>
                  <a:lnTo>
                    <a:pt x="430" y="652"/>
                  </a:lnTo>
                  <a:lnTo>
                    <a:pt x="425" y="655"/>
                  </a:lnTo>
                  <a:lnTo>
                    <a:pt x="425" y="655"/>
                  </a:lnTo>
                  <a:lnTo>
                    <a:pt x="418" y="662"/>
                  </a:lnTo>
                  <a:lnTo>
                    <a:pt x="416" y="664"/>
                  </a:lnTo>
                  <a:lnTo>
                    <a:pt x="406" y="681"/>
                  </a:lnTo>
                  <a:lnTo>
                    <a:pt x="406" y="681"/>
                  </a:lnTo>
                  <a:lnTo>
                    <a:pt x="406" y="683"/>
                  </a:lnTo>
                  <a:lnTo>
                    <a:pt x="404" y="683"/>
                  </a:lnTo>
                  <a:lnTo>
                    <a:pt x="404" y="683"/>
                  </a:lnTo>
                  <a:lnTo>
                    <a:pt x="404" y="688"/>
                  </a:lnTo>
                  <a:lnTo>
                    <a:pt x="404" y="697"/>
                  </a:lnTo>
                  <a:lnTo>
                    <a:pt x="404" y="700"/>
                  </a:lnTo>
                  <a:lnTo>
                    <a:pt x="401" y="700"/>
                  </a:lnTo>
                  <a:lnTo>
                    <a:pt x="404" y="709"/>
                  </a:lnTo>
                  <a:lnTo>
                    <a:pt x="404" y="714"/>
                  </a:lnTo>
                  <a:lnTo>
                    <a:pt x="404" y="716"/>
                  </a:lnTo>
                  <a:lnTo>
                    <a:pt x="404" y="716"/>
                  </a:lnTo>
                  <a:lnTo>
                    <a:pt x="401" y="719"/>
                  </a:lnTo>
                  <a:lnTo>
                    <a:pt x="392" y="728"/>
                  </a:lnTo>
                  <a:lnTo>
                    <a:pt x="390" y="733"/>
                  </a:lnTo>
                  <a:lnTo>
                    <a:pt x="378" y="733"/>
                  </a:lnTo>
                  <a:lnTo>
                    <a:pt x="378" y="733"/>
                  </a:lnTo>
                  <a:lnTo>
                    <a:pt x="373" y="728"/>
                  </a:lnTo>
                  <a:lnTo>
                    <a:pt x="373" y="728"/>
                  </a:lnTo>
                  <a:lnTo>
                    <a:pt x="371" y="733"/>
                  </a:lnTo>
                  <a:lnTo>
                    <a:pt x="371" y="733"/>
                  </a:lnTo>
                  <a:lnTo>
                    <a:pt x="371" y="733"/>
                  </a:lnTo>
                  <a:lnTo>
                    <a:pt x="368" y="733"/>
                  </a:lnTo>
                  <a:lnTo>
                    <a:pt x="368" y="733"/>
                  </a:lnTo>
                  <a:lnTo>
                    <a:pt x="368" y="728"/>
                  </a:lnTo>
                  <a:lnTo>
                    <a:pt x="368" y="728"/>
                  </a:lnTo>
                  <a:lnTo>
                    <a:pt x="366" y="726"/>
                  </a:lnTo>
                  <a:lnTo>
                    <a:pt x="366" y="726"/>
                  </a:lnTo>
                  <a:lnTo>
                    <a:pt x="366" y="728"/>
                  </a:lnTo>
                  <a:lnTo>
                    <a:pt x="366" y="733"/>
                  </a:lnTo>
                  <a:lnTo>
                    <a:pt x="366" y="733"/>
                  </a:lnTo>
                  <a:lnTo>
                    <a:pt x="366" y="733"/>
                  </a:lnTo>
                  <a:lnTo>
                    <a:pt x="364" y="733"/>
                  </a:lnTo>
                  <a:lnTo>
                    <a:pt x="359" y="733"/>
                  </a:lnTo>
                  <a:lnTo>
                    <a:pt x="357" y="735"/>
                  </a:lnTo>
                  <a:lnTo>
                    <a:pt x="357" y="735"/>
                  </a:lnTo>
                  <a:lnTo>
                    <a:pt x="357" y="735"/>
                  </a:lnTo>
                  <a:lnTo>
                    <a:pt x="357" y="737"/>
                  </a:lnTo>
                  <a:lnTo>
                    <a:pt x="359" y="737"/>
                  </a:lnTo>
                  <a:lnTo>
                    <a:pt x="359" y="740"/>
                  </a:lnTo>
                  <a:lnTo>
                    <a:pt x="357" y="742"/>
                  </a:lnTo>
                  <a:lnTo>
                    <a:pt x="354" y="742"/>
                  </a:lnTo>
                  <a:lnTo>
                    <a:pt x="352" y="740"/>
                  </a:lnTo>
                  <a:lnTo>
                    <a:pt x="352" y="740"/>
                  </a:lnTo>
                  <a:lnTo>
                    <a:pt x="349" y="740"/>
                  </a:lnTo>
                  <a:lnTo>
                    <a:pt x="349" y="737"/>
                  </a:lnTo>
                  <a:lnTo>
                    <a:pt x="352" y="735"/>
                  </a:lnTo>
                  <a:lnTo>
                    <a:pt x="349" y="730"/>
                  </a:lnTo>
                  <a:lnTo>
                    <a:pt x="349" y="730"/>
                  </a:lnTo>
                  <a:lnTo>
                    <a:pt x="345" y="730"/>
                  </a:lnTo>
                  <a:lnTo>
                    <a:pt x="345" y="728"/>
                  </a:lnTo>
                  <a:lnTo>
                    <a:pt x="342" y="728"/>
                  </a:lnTo>
                  <a:lnTo>
                    <a:pt x="335" y="728"/>
                  </a:lnTo>
                  <a:lnTo>
                    <a:pt x="335" y="728"/>
                  </a:lnTo>
                  <a:lnTo>
                    <a:pt x="328" y="728"/>
                  </a:lnTo>
                  <a:lnTo>
                    <a:pt x="326" y="726"/>
                  </a:lnTo>
                  <a:lnTo>
                    <a:pt x="323" y="726"/>
                  </a:lnTo>
                  <a:lnTo>
                    <a:pt x="319" y="719"/>
                  </a:lnTo>
                  <a:lnTo>
                    <a:pt x="319" y="719"/>
                  </a:lnTo>
                  <a:lnTo>
                    <a:pt x="316" y="719"/>
                  </a:lnTo>
                  <a:lnTo>
                    <a:pt x="314" y="716"/>
                  </a:lnTo>
                  <a:lnTo>
                    <a:pt x="312" y="719"/>
                  </a:lnTo>
                  <a:lnTo>
                    <a:pt x="309" y="716"/>
                  </a:lnTo>
                  <a:lnTo>
                    <a:pt x="309" y="716"/>
                  </a:lnTo>
                  <a:lnTo>
                    <a:pt x="312" y="714"/>
                  </a:lnTo>
                  <a:lnTo>
                    <a:pt x="312" y="711"/>
                  </a:lnTo>
                  <a:lnTo>
                    <a:pt x="312" y="711"/>
                  </a:lnTo>
                  <a:lnTo>
                    <a:pt x="312" y="707"/>
                  </a:lnTo>
                  <a:lnTo>
                    <a:pt x="309" y="704"/>
                  </a:lnTo>
                  <a:lnTo>
                    <a:pt x="309" y="702"/>
                  </a:lnTo>
                  <a:lnTo>
                    <a:pt x="309" y="702"/>
                  </a:lnTo>
                  <a:lnTo>
                    <a:pt x="309" y="700"/>
                  </a:lnTo>
                  <a:lnTo>
                    <a:pt x="309" y="700"/>
                  </a:lnTo>
                  <a:lnTo>
                    <a:pt x="312" y="700"/>
                  </a:lnTo>
                  <a:lnTo>
                    <a:pt x="314" y="700"/>
                  </a:lnTo>
                  <a:lnTo>
                    <a:pt x="314" y="697"/>
                  </a:lnTo>
                  <a:lnTo>
                    <a:pt x="314" y="695"/>
                  </a:lnTo>
                  <a:lnTo>
                    <a:pt x="312" y="693"/>
                  </a:lnTo>
                  <a:lnTo>
                    <a:pt x="309" y="690"/>
                  </a:lnTo>
                  <a:lnTo>
                    <a:pt x="307" y="690"/>
                  </a:lnTo>
                  <a:lnTo>
                    <a:pt x="307" y="688"/>
                  </a:lnTo>
                  <a:lnTo>
                    <a:pt x="305" y="690"/>
                  </a:lnTo>
                  <a:lnTo>
                    <a:pt x="305" y="690"/>
                  </a:lnTo>
                  <a:lnTo>
                    <a:pt x="302" y="690"/>
                  </a:lnTo>
                  <a:lnTo>
                    <a:pt x="300" y="693"/>
                  </a:lnTo>
                  <a:lnTo>
                    <a:pt x="297" y="693"/>
                  </a:lnTo>
                  <a:lnTo>
                    <a:pt x="295" y="693"/>
                  </a:lnTo>
                  <a:lnTo>
                    <a:pt x="297" y="690"/>
                  </a:lnTo>
                  <a:lnTo>
                    <a:pt x="300" y="685"/>
                  </a:lnTo>
                  <a:lnTo>
                    <a:pt x="297" y="685"/>
                  </a:lnTo>
                  <a:lnTo>
                    <a:pt x="297" y="683"/>
                  </a:lnTo>
                  <a:lnTo>
                    <a:pt x="297" y="681"/>
                  </a:lnTo>
                  <a:lnTo>
                    <a:pt x="300" y="678"/>
                  </a:lnTo>
                  <a:lnTo>
                    <a:pt x="300" y="676"/>
                  </a:lnTo>
                  <a:lnTo>
                    <a:pt x="300" y="674"/>
                  </a:lnTo>
                  <a:lnTo>
                    <a:pt x="300" y="674"/>
                  </a:lnTo>
                  <a:lnTo>
                    <a:pt x="300" y="674"/>
                  </a:lnTo>
                  <a:lnTo>
                    <a:pt x="300" y="671"/>
                  </a:lnTo>
                  <a:lnTo>
                    <a:pt x="300" y="669"/>
                  </a:lnTo>
                  <a:lnTo>
                    <a:pt x="300" y="667"/>
                  </a:lnTo>
                  <a:lnTo>
                    <a:pt x="300" y="667"/>
                  </a:lnTo>
                  <a:lnTo>
                    <a:pt x="300" y="664"/>
                  </a:lnTo>
                  <a:lnTo>
                    <a:pt x="300" y="662"/>
                  </a:lnTo>
                  <a:lnTo>
                    <a:pt x="297" y="657"/>
                  </a:lnTo>
                  <a:lnTo>
                    <a:pt x="297" y="655"/>
                  </a:lnTo>
                  <a:lnTo>
                    <a:pt x="293" y="655"/>
                  </a:lnTo>
                  <a:lnTo>
                    <a:pt x="288" y="655"/>
                  </a:lnTo>
                  <a:lnTo>
                    <a:pt x="286" y="657"/>
                  </a:lnTo>
                  <a:lnTo>
                    <a:pt x="283" y="657"/>
                  </a:lnTo>
                  <a:lnTo>
                    <a:pt x="283" y="657"/>
                  </a:lnTo>
                  <a:lnTo>
                    <a:pt x="279" y="652"/>
                  </a:lnTo>
                  <a:lnTo>
                    <a:pt x="279" y="650"/>
                  </a:lnTo>
                  <a:lnTo>
                    <a:pt x="279" y="650"/>
                  </a:lnTo>
                  <a:lnTo>
                    <a:pt x="279" y="648"/>
                  </a:lnTo>
                  <a:lnTo>
                    <a:pt x="276" y="645"/>
                  </a:lnTo>
                  <a:lnTo>
                    <a:pt x="276" y="643"/>
                  </a:lnTo>
                  <a:lnTo>
                    <a:pt x="274" y="641"/>
                  </a:lnTo>
                  <a:lnTo>
                    <a:pt x="279" y="636"/>
                  </a:lnTo>
                  <a:lnTo>
                    <a:pt x="279" y="634"/>
                  </a:lnTo>
                  <a:lnTo>
                    <a:pt x="276" y="631"/>
                  </a:lnTo>
                  <a:lnTo>
                    <a:pt x="276" y="629"/>
                  </a:lnTo>
                  <a:lnTo>
                    <a:pt x="279" y="624"/>
                  </a:lnTo>
                  <a:lnTo>
                    <a:pt x="279" y="622"/>
                  </a:lnTo>
                  <a:lnTo>
                    <a:pt x="276" y="619"/>
                  </a:lnTo>
                  <a:lnTo>
                    <a:pt x="274" y="617"/>
                  </a:lnTo>
                  <a:lnTo>
                    <a:pt x="274" y="617"/>
                  </a:lnTo>
                  <a:lnTo>
                    <a:pt x="271" y="617"/>
                  </a:lnTo>
                  <a:lnTo>
                    <a:pt x="269" y="615"/>
                  </a:lnTo>
                  <a:lnTo>
                    <a:pt x="269" y="612"/>
                  </a:lnTo>
                  <a:lnTo>
                    <a:pt x="260" y="605"/>
                  </a:lnTo>
                  <a:lnTo>
                    <a:pt x="257" y="603"/>
                  </a:lnTo>
                  <a:lnTo>
                    <a:pt x="257" y="600"/>
                  </a:lnTo>
                  <a:lnTo>
                    <a:pt x="255" y="600"/>
                  </a:lnTo>
                  <a:lnTo>
                    <a:pt x="253" y="598"/>
                  </a:lnTo>
                  <a:lnTo>
                    <a:pt x="250" y="600"/>
                  </a:lnTo>
                  <a:lnTo>
                    <a:pt x="245" y="598"/>
                  </a:lnTo>
                  <a:lnTo>
                    <a:pt x="245" y="598"/>
                  </a:lnTo>
                  <a:lnTo>
                    <a:pt x="243" y="589"/>
                  </a:lnTo>
                  <a:lnTo>
                    <a:pt x="241" y="586"/>
                  </a:lnTo>
                  <a:lnTo>
                    <a:pt x="241" y="582"/>
                  </a:lnTo>
                  <a:lnTo>
                    <a:pt x="241" y="577"/>
                  </a:lnTo>
                  <a:lnTo>
                    <a:pt x="241" y="577"/>
                  </a:lnTo>
                  <a:lnTo>
                    <a:pt x="236" y="574"/>
                  </a:lnTo>
                  <a:lnTo>
                    <a:pt x="236" y="572"/>
                  </a:lnTo>
                  <a:lnTo>
                    <a:pt x="236" y="567"/>
                  </a:lnTo>
                  <a:lnTo>
                    <a:pt x="234" y="567"/>
                  </a:lnTo>
                  <a:lnTo>
                    <a:pt x="234" y="565"/>
                  </a:lnTo>
                  <a:lnTo>
                    <a:pt x="234" y="563"/>
                  </a:lnTo>
                  <a:lnTo>
                    <a:pt x="231" y="560"/>
                  </a:lnTo>
                  <a:lnTo>
                    <a:pt x="231" y="560"/>
                  </a:lnTo>
                  <a:lnTo>
                    <a:pt x="229" y="558"/>
                  </a:lnTo>
                  <a:lnTo>
                    <a:pt x="227" y="556"/>
                  </a:lnTo>
                  <a:lnTo>
                    <a:pt x="224" y="553"/>
                  </a:lnTo>
                  <a:lnTo>
                    <a:pt x="224" y="551"/>
                  </a:lnTo>
                  <a:lnTo>
                    <a:pt x="224" y="548"/>
                  </a:lnTo>
                  <a:lnTo>
                    <a:pt x="227" y="546"/>
                  </a:lnTo>
                  <a:lnTo>
                    <a:pt x="224" y="541"/>
                  </a:lnTo>
                  <a:lnTo>
                    <a:pt x="222" y="541"/>
                  </a:lnTo>
                  <a:lnTo>
                    <a:pt x="219" y="537"/>
                  </a:lnTo>
                  <a:lnTo>
                    <a:pt x="219" y="534"/>
                  </a:lnTo>
                  <a:lnTo>
                    <a:pt x="217" y="532"/>
                  </a:lnTo>
                  <a:lnTo>
                    <a:pt x="215" y="530"/>
                  </a:lnTo>
                  <a:lnTo>
                    <a:pt x="217" y="527"/>
                  </a:lnTo>
                  <a:lnTo>
                    <a:pt x="217" y="527"/>
                  </a:lnTo>
                  <a:lnTo>
                    <a:pt x="217" y="525"/>
                  </a:lnTo>
                  <a:lnTo>
                    <a:pt x="217" y="522"/>
                  </a:lnTo>
                  <a:lnTo>
                    <a:pt x="217" y="518"/>
                  </a:lnTo>
                  <a:lnTo>
                    <a:pt x="217" y="515"/>
                  </a:lnTo>
                  <a:lnTo>
                    <a:pt x="215" y="515"/>
                  </a:lnTo>
                  <a:lnTo>
                    <a:pt x="217" y="513"/>
                  </a:lnTo>
                  <a:lnTo>
                    <a:pt x="217" y="513"/>
                  </a:lnTo>
                  <a:lnTo>
                    <a:pt x="217" y="511"/>
                  </a:lnTo>
                  <a:lnTo>
                    <a:pt x="219" y="508"/>
                  </a:lnTo>
                  <a:lnTo>
                    <a:pt x="219" y="508"/>
                  </a:lnTo>
                  <a:lnTo>
                    <a:pt x="217" y="506"/>
                  </a:lnTo>
                  <a:lnTo>
                    <a:pt x="217" y="504"/>
                  </a:lnTo>
                  <a:lnTo>
                    <a:pt x="219" y="501"/>
                  </a:lnTo>
                  <a:lnTo>
                    <a:pt x="222" y="497"/>
                  </a:lnTo>
                  <a:lnTo>
                    <a:pt x="224" y="492"/>
                  </a:lnTo>
                  <a:lnTo>
                    <a:pt x="224" y="492"/>
                  </a:lnTo>
                  <a:lnTo>
                    <a:pt x="224" y="489"/>
                  </a:lnTo>
                  <a:lnTo>
                    <a:pt x="222" y="489"/>
                  </a:lnTo>
                  <a:lnTo>
                    <a:pt x="219" y="489"/>
                  </a:lnTo>
                  <a:lnTo>
                    <a:pt x="219" y="489"/>
                  </a:lnTo>
                  <a:lnTo>
                    <a:pt x="217" y="487"/>
                  </a:lnTo>
                  <a:lnTo>
                    <a:pt x="217" y="485"/>
                  </a:lnTo>
                  <a:lnTo>
                    <a:pt x="215" y="482"/>
                  </a:lnTo>
                  <a:lnTo>
                    <a:pt x="212" y="480"/>
                  </a:lnTo>
                  <a:lnTo>
                    <a:pt x="212" y="478"/>
                  </a:lnTo>
                  <a:lnTo>
                    <a:pt x="212" y="478"/>
                  </a:lnTo>
                  <a:lnTo>
                    <a:pt x="210" y="478"/>
                  </a:lnTo>
                  <a:lnTo>
                    <a:pt x="205" y="475"/>
                  </a:lnTo>
                  <a:lnTo>
                    <a:pt x="203" y="473"/>
                  </a:lnTo>
                  <a:lnTo>
                    <a:pt x="201" y="468"/>
                  </a:lnTo>
                  <a:lnTo>
                    <a:pt x="198" y="468"/>
                  </a:lnTo>
                  <a:lnTo>
                    <a:pt x="191" y="463"/>
                  </a:lnTo>
                  <a:lnTo>
                    <a:pt x="191" y="463"/>
                  </a:lnTo>
                  <a:lnTo>
                    <a:pt x="186" y="459"/>
                  </a:lnTo>
                  <a:lnTo>
                    <a:pt x="184" y="456"/>
                  </a:lnTo>
                  <a:lnTo>
                    <a:pt x="186" y="456"/>
                  </a:lnTo>
                  <a:lnTo>
                    <a:pt x="186" y="452"/>
                  </a:lnTo>
                  <a:lnTo>
                    <a:pt x="184" y="452"/>
                  </a:lnTo>
                  <a:lnTo>
                    <a:pt x="184" y="449"/>
                  </a:lnTo>
                  <a:lnTo>
                    <a:pt x="182" y="447"/>
                  </a:lnTo>
                  <a:lnTo>
                    <a:pt x="182" y="447"/>
                  </a:lnTo>
                  <a:lnTo>
                    <a:pt x="184" y="447"/>
                  </a:lnTo>
                  <a:lnTo>
                    <a:pt x="184" y="445"/>
                  </a:lnTo>
                  <a:lnTo>
                    <a:pt x="182" y="442"/>
                  </a:lnTo>
                  <a:lnTo>
                    <a:pt x="182" y="442"/>
                  </a:lnTo>
                  <a:lnTo>
                    <a:pt x="182" y="442"/>
                  </a:lnTo>
                  <a:lnTo>
                    <a:pt x="179" y="440"/>
                  </a:lnTo>
                  <a:lnTo>
                    <a:pt x="179" y="440"/>
                  </a:lnTo>
                  <a:lnTo>
                    <a:pt x="179" y="435"/>
                  </a:lnTo>
                  <a:lnTo>
                    <a:pt x="179" y="433"/>
                  </a:lnTo>
                  <a:lnTo>
                    <a:pt x="179" y="430"/>
                  </a:lnTo>
                  <a:lnTo>
                    <a:pt x="182" y="430"/>
                  </a:lnTo>
                  <a:lnTo>
                    <a:pt x="182" y="430"/>
                  </a:lnTo>
                  <a:lnTo>
                    <a:pt x="184" y="430"/>
                  </a:lnTo>
                  <a:lnTo>
                    <a:pt x="186" y="430"/>
                  </a:lnTo>
                  <a:lnTo>
                    <a:pt x="186" y="430"/>
                  </a:lnTo>
                  <a:lnTo>
                    <a:pt x="186" y="428"/>
                  </a:lnTo>
                  <a:lnTo>
                    <a:pt x="186" y="426"/>
                  </a:lnTo>
                  <a:lnTo>
                    <a:pt x="186" y="423"/>
                  </a:lnTo>
                  <a:lnTo>
                    <a:pt x="184" y="423"/>
                  </a:lnTo>
                  <a:lnTo>
                    <a:pt x="184" y="421"/>
                  </a:lnTo>
                  <a:lnTo>
                    <a:pt x="184" y="416"/>
                  </a:lnTo>
                  <a:lnTo>
                    <a:pt x="182" y="416"/>
                  </a:lnTo>
                  <a:lnTo>
                    <a:pt x="182" y="419"/>
                  </a:lnTo>
                  <a:lnTo>
                    <a:pt x="182" y="419"/>
                  </a:lnTo>
                  <a:lnTo>
                    <a:pt x="177" y="419"/>
                  </a:lnTo>
                  <a:lnTo>
                    <a:pt x="170" y="421"/>
                  </a:lnTo>
                  <a:lnTo>
                    <a:pt x="170" y="421"/>
                  </a:lnTo>
                  <a:lnTo>
                    <a:pt x="168" y="421"/>
                  </a:lnTo>
                  <a:lnTo>
                    <a:pt x="168" y="419"/>
                  </a:lnTo>
                  <a:lnTo>
                    <a:pt x="170" y="416"/>
                  </a:lnTo>
                  <a:lnTo>
                    <a:pt x="170" y="414"/>
                  </a:lnTo>
                  <a:lnTo>
                    <a:pt x="170" y="414"/>
                  </a:lnTo>
                  <a:lnTo>
                    <a:pt x="168" y="411"/>
                  </a:lnTo>
                  <a:lnTo>
                    <a:pt x="168" y="411"/>
                  </a:lnTo>
                  <a:lnTo>
                    <a:pt x="168" y="409"/>
                  </a:lnTo>
                  <a:lnTo>
                    <a:pt x="168" y="407"/>
                  </a:lnTo>
                  <a:lnTo>
                    <a:pt x="170" y="407"/>
                  </a:lnTo>
                  <a:lnTo>
                    <a:pt x="170" y="404"/>
                  </a:lnTo>
                  <a:lnTo>
                    <a:pt x="168" y="404"/>
                  </a:lnTo>
                  <a:lnTo>
                    <a:pt x="165" y="404"/>
                  </a:lnTo>
                  <a:lnTo>
                    <a:pt x="165" y="404"/>
                  </a:lnTo>
                  <a:lnTo>
                    <a:pt x="165" y="404"/>
                  </a:lnTo>
                  <a:lnTo>
                    <a:pt x="163" y="402"/>
                  </a:lnTo>
                  <a:lnTo>
                    <a:pt x="158" y="404"/>
                  </a:lnTo>
                  <a:lnTo>
                    <a:pt x="156" y="404"/>
                  </a:lnTo>
                  <a:lnTo>
                    <a:pt x="153" y="404"/>
                  </a:lnTo>
                  <a:lnTo>
                    <a:pt x="153" y="404"/>
                  </a:lnTo>
                  <a:lnTo>
                    <a:pt x="156" y="402"/>
                  </a:lnTo>
                  <a:lnTo>
                    <a:pt x="156" y="402"/>
                  </a:lnTo>
                  <a:lnTo>
                    <a:pt x="156" y="400"/>
                  </a:lnTo>
                  <a:lnTo>
                    <a:pt x="156" y="397"/>
                  </a:lnTo>
                  <a:lnTo>
                    <a:pt x="156" y="395"/>
                  </a:lnTo>
                  <a:lnTo>
                    <a:pt x="153" y="397"/>
                  </a:lnTo>
                  <a:lnTo>
                    <a:pt x="153" y="400"/>
                  </a:lnTo>
                  <a:lnTo>
                    <a:pt x="151" y="400"/>
                  </a:lnTo>
                  <a:lnTo>
                    <a:pt x="151" y="400"/>
                  </a:lnTo>
                  <a:lnTo>
                    <a:pt x="151" y="397"/>
                  </a:lnTo>
                  <a:lnTo>
                    <a:pt x="149" y="400"/>
                  </a:lnTo>
                  <a:lnTo>
                    <a:pt x="149" y="400"/>
                  </a:lnTo>
                  <a:lnTo>
                    <a:pt x="146" y="397"/>
                  </a:lnTo>
                  <a:lnTo>
                    <a:pt x="149" y="395"/>
                  </a:lnTo>
                  <a:lnTo>
                    <a:pt x="149" y="395"/>
                  </a:lnTo>
                  <a:lnTo>
                    <a:pt x="146" y="393"/>
                  </a:lnTo>
                  <a:lnTo>
                    <a:pt x="146" y="393"/>
                  </a:lnTo>
                  <a:lnTo>
                    <a:pt x="146" y="395"/>
                  </a:lnTo>
                  <a:lnTo>
                    <a:pt x="146" y="395"/>
                  </a:lnTo>
                  <a:lnTo>
                    <a:pt x="144" y="397"/>
                  </a:lnTo>
                  <a:lnTo>
                    <a:pt x="144" y="397"/>
                  </a:lnTo>
                  <a:lnTo>
                    <a:pt x="142" y="397"/>
                  </a:lnTo>
                  <a:lnTo>
                    <a:pt x="142" y="395"/>
                  </a:lnTo>
                  <a:lnTo>
                    <a:pt x="139" y="397"/>
                  </a:lnTo>
                  <a:lnTo>
                    <a:pt x="139" y="397"/>
                  </a:lnTo>
                  <a:lnTo>
                    <a:pt x="139" y="397"/>
                  </a:lnTo>
                  <a:lnTo>
                    <a:pt x="137" y="395"/>
                  </a:lnTo>
                  <a:lnTo>
                    <a:pt x="134" y="395"/>
                  </a:lnTo>
                  <a:lnTo>
                    <a:pt x="134" y="395"/>
                  </a:lnTo>
                  <a:lnTo>
                    <a:pt x="132" y="395"/>
                  </a:lnTo>
                  <a:lnTo>
                    <a:pt x="134" y="397"/>
                  </a:lnTo>
                  <a:lnTo>
                    <a:pt x="134" y="397"/>
                  </a:lnTo>
                  <a:lnTo>
                    <a:pt x="134" y="397"/>
                  </a:lnTo>
                  <a:lnTo>
                    <a:pt x="132" y="397"/>
                  </a:lnTo>
                  <a:lnTo>
                    <a:pt x="132" y="397"/>
                  </a:lnTo>
                  <a:lnTo>
                    <a:pt x="130" y="397"/>
                  </a:lnTo>
                  <a:lnTo>
                    <a:pt x="130" y="397"/>
                  </a:lnTo>
                  <a:lnTo>
                    <a:pt x="130" y="397"/>
                  </a:lnTo>
                  <a:lnTo>
                    <a:pt x="130" y="395"/>
                  </a:lnTo>
                  <a:lnTo>
                    <a:pt x="130" y="397"/>
                  </a:lnTo>
                  <a:lnTo>
                    <a:pt x="125" y="395"/>
                  </a:lnTo>
                  <a:lnTo>
                    <a:pt x="125" y="397"/>
                  </a:lnTo>
                  <a:lnTo>
                    <a:pt x="125" y="395"/>
                  </a:lnTo>
                  <a:lnTo>
                    <a:pt x="125" y="393"/>
                  </a:lnTo>
                  <a:lnTo>
                    <a:pt x="125" y="393"/>
                  </a:lnTo>
                  <a:lnTo>
                    <a:pt x="125" y="393"/>
                  </a:lnTo>
                  <a:lnTo>
                    <a:pt x="123" y="390"/>
                  </a:lnTo>
                  <a:lnTo>
                    <a:pt x="120" y="390"/>
                  </a:lnTo>
                  <a:lnTo>
                    <a:pt x="120" y="393"/>
                  </a:lnTo>
                  <a:lnTo>
                    <a:pt x="120" y="393"/>
                  </a:lnTo>
                  <a:lnTo>
                    <a:pt x="118" y="393"/>
                  </a:lnTo>
                  <a:lnTo>
                    <a:pt x="118" y="393"/>
                  </a:lnTo>
                  <a:lnTo>
                    <a:pt x="120" y="390"/>
                  </a:lnTo>
                  <a:lnTo>
                    <a:pt x="120" y="390"/>
                  </a:lnTo>
                  <a:lnTo>
                    <a:pt x="120" y="388"/>
                  </a:lnTo>
                  <a:lnTo>
                    <a:pt x="120" y="388"/>
                  </a:lnTo>
                  <a:lnTo>
                    <a:pt x="118" y="388"/>
                  </a:lnTo>
                  <a:lnTo>
                    <a:pt x="116" y="388"/>
                  </a:lnTo>
                  <a:lnTo>
                    <a:pt x="116" y="385"/>
                  </a:lnTo>
                  <a:lnTo>
                    <a:pt x="116" y="385"/>
                  </a:lnTo>
                  <a:lnTo>
                    <a:pt x="113" y="388"/>
                  </a:lnTo>
                  <a:lnTo>
                    <a:pt x="113" y="385"/>
                  </a:lnTo>
                  <a:lnTo>
                    <a:pt x="111" y="388"/>
                  </a:lnTo>
                  <a:lnTo>
                    <a:pt x="111" y="385"/>
                  </a:lnTo>
                  <a:lnTo>
                    <a:pt x="111" y="383"/>
                  </a:lnTo>
                  <a:lnTo>
                    <a:pt x="108" y="381"/>
                  </a:lnTo>
                  <a:lnTo>
                    <a:pt x="108" y="383"/>
                  </a:lnTo>
                  <a:lnTo>
                    <a:pt x="106" y="383"/>
                  </a:lnTo>
                  <a:lnTo>
                    <a:pt x="108" y="383"/>
                  </a:lnTo>
                  <a:lnTo>
                    <a:pt x="106" y="383"/>
                  </a:lnTo>
                  <a:lnTo>
                    <a:pt x="106" y="383"/>
                  </a:lnTo>
                  <a:lnTo>
                    <a:pt x="104" y="385"/>
                  </a:lnTo>
                  <a:lnTo>
                    <a:pt x="104" y="385"/>
                  </a:lnTo>
                  <a:lnTo>
                    <a:pt x="101" y="383"/>
                  </a:lnTo>
                  <a:lnTo>
                    <a:pt x="99" y="385"/>
                  </a:lnTo>
                  <a:lnTo>
                    <a:pt x="101" y="385"/>
                  </a:lnTo>
                  <a:lnTo>
                    <a:pt x="99" y="385"/>
                  </a:lnTo>
                  <a:lnTo>
                    <a:pt x="99" y="385"/>
                  </a:lnTo>
                  <a:lnTo>
                    <a:pt x="99" y="383"/>
                  </a:lnTo>
                  <a:lnTo>
                    <a:pt x="99" y="383"/>
                  </a:lnTo>
                  <a:lnTo>
                    <a:pt x="99" y="381"/>
                  </a:lnTo>
                  <a:lnTo>
                    <a:pt x="99" y="376"/>
                  </a:lnTo>
                  <a:lnTo>
                    <a:pt x="97" y="376"/>
                  </a:lnTo>
                  <a:lnTo>
                    <a:pt x="97" y="376"/>
                  </a:lnTo>
                  <a:lnTo>
                    <a:pt x="97" y="374"/>
                  </a:lnTo>
                  <a:lnTo>
                    <a:pt x="97" y="374"/>
                  </a:lnTo>
                  <a:lnTo>
                    <a:pt x="97" y="371"/>
                  </a:lnTo>
                  <a:lnTo>
                    <a:pt x="97" y="374"/>
                  </a:lnTo>
                  <a:lnTo>
                    <a:pt x="97" y="374"/>
                  </a:lnTo>
                  <a:lnTo>
                    <a:pt x="94" y="371"/>
                  </a:lnTo>
                  <a:lnTo>
                    <a:pt x="94" y="371"/>
                  </a:lnTo>
                  <a:lnTo>
                    <a:pt x="94" y="371"/>
                  </a:lnTo>
                  <a:lnTo>
                    <a:pt x="94" y="371"/>
                  </a:lnTo>
                  <a:lnTo>
                    <a:pt x="94" y="369"/>
                  </a:lnTo>
                  <a:lnTo>
                    <a:pt x="94" y="369"/>
                  </a:lnTo>
                  <a:lnTo>
                    <a:pt x="94" y="367"/>
                  </a:lnTo>
                  <a:lnTo>
                    <a:pt x="92" y="367"/>
                  </a:lnTo>
                  <a:lnTo>
                    <a:pt x="92" y="367"/>
                  </a:lnTo>
                  <a:lnTo>
                    <a:pt x="92" y="364"/>
                  </a:lnTo>
                  <a:lnTo>
                    <a:pt x="92" y="367"/>
                  </a:lnTo>
                  <a:lnTo>
                    <a:pt x="90" y="364"/>
                  </a:lnTo>
                  <a:lnTo>
                    <a:pt x="90" y="364"/>
                  </a:lnTo>
                  <a:lnTo>
                    <a:pt x="87" y="364"/>
                  </a:lnTo>
                  <a:lnTo>
                    <a:pt x="87" y="364"/>
                  </a:lnTo>
                  <a:lnTo>
                    <a:pt x="87" y="364"/>
                  </a:lnTo>
                  <a:lnTo>
                    <a:pt x="87" y="364"/>
                  </a:lnTo>
                  <a:lnTo>
                    <a:pt x="87" y="367"/>
                  </a:lnTo>
                  <a:lnTo>
                    <a:pt x="85" y="367"/>
                  </a:lnTo>
                  <a:lnTo>
                    <a:pt x="85" y="364"/>
                  </a:lnTo>
                  <a:lnTo>
                    <a:pt x="82" y="364"/>
                  </a:lnTo>
                  <a:lnTo>
                    <a:pt x="80" y="362"/>
                  </a:lnTo>
                  <a:lnTo>
                    <a:pt x="80" y="360"/>
                  </a:lnTo>
                  <a:lnTo>
                    <a:pt x="80" y="360"/>
                  </a:lnTo>
                  <a:lnTo>
                    <a:pt x="78" y="360"/>
                  </a:lnTo>
                  <a:lnTo>
                    <a:pt x="78" y="360"/>
                  </a:lnTo>
                  <a:lnTo>
                    <a:pt x="78" y="360"/>
                  </a:lnTo>
                  <a:lnTo>
                    <a:pt x="75" y="360"/>
                  </a:lnTo>
                  <a:lnTo>
                    <a:pt x="78" y="357"/>
                  </a:lnTo>
                  <a:lnTo>
                    <a:pt x="75" y="357"/>
                  </a:lnTo>
                  <a:lnTo>
                    <a:pt x="78" y="357"/>
                  </a:lnTo>
                  <a:lnTo>
                    <a:pt x="75" y="357"/>
                  </a:lnTo>
                  <a:lnTo>
                    <a:pt x="75" y="357"/>
                  </a:lnTo>
                  <a:lnTo>
                    <a:pt x="73" y="357"/>
                  </a:lnTo>
                  <a:lnTo>
                    <a:pt x="75" y="355"/>
                  </a:lnTo>
                  <a:lnTo>
                    <a:pt x="75" y="355"/>
                  </a:lnTo>
                  <a:lnTo>
                    <a:pt x="73" y="355"/>
                  </a:lnTo>
                  <a:lnTo>
                    <a:pt x="73" y="355"/>
                  </a:lnTo>
                  <a:lnTo>
                    <a:pt x="73" y="355"/>
                  </a:lnTo>
                  <a:lnTo>
                    <a:pt x="71" y="355"/>
                  </a:lnTo>
                  <a:lnTo>
                    <a:pt x="71" y="355"/>
                  </a:lnTo>
                  <a:lnTo>
                    <a:pt x="71" y="352"/>
                  </a:lnTo>
                  <a:lnTo>
                    <a:pt x="71" y="352"/>
                  </a:lnTo>
                  <a:lnTo>
                    <a:pt x="68" y="352"/>
                  </a:lnTo>
                  <a:lnTo>
                    <a:pt x="68" y="352"/>
                  </a:lnTo>
                  <a:lnTo>
                    <a:pt x="68" y="352"/>
                  </a:lnTo>
                  <a:lnTo>
                    <a:pt x="66" y="352"/>
                  </a:lnTo>
                  <a:lnTo>
                    <a:pt x="66" y="352"/>
                  </a:lnTo>
                  <a:lnTo>
                    <a:pt x="66" y="352"/>
                  </a:lnTo>
                  <a:lnTo>
                    <a:pt x="66" y="350"/>
                  </a:lnTo>
                  <a:lnTo>
                    <a:pt x="61" y="350"/>
                  </a:lnTo>
                  <a:lnTo>
                    <a:pt x="61" y="352"/>
                  </a:lnTo>
                  <a:lnTo>
                    <a:pt x="59" y="350"/>
                  </a:lnTo>
                  <a:lnTo>
                    <a:pt x="59" y="350"/>
                  </a:lnTo>
                  <a:lnTo>
                    <a:pt x="56" y="350"/>
                  </a:lnTo>
                  <a:lnTo>
                    <a:pt x="56" y="350"/>
                  </a:lnTo>
                  <a:lnTo>
                    <a:pt x="52" y="350"/>
                  </a:lnTo>
                  <a:lnTo>
                    <a:pt x="52" y="350"/>
                  </a:lnTo>
                  <a:lnTo>
                    <a:pt x="52" y="350"/>
                  </a:lnTo>
                  <a:lnTo>
                    <a:pt x="49" y="350"/>
                  </a:lnTo>
                  <a:lnTo>
                    <a:pt x="49" y="350"/>
                  </a:lnTo>
                  <a:lnTo>
                    <a:pt x="47" y="352"/>
                  </a:lnTo>
                  <a:lnTo>
                    <a:pt x="47" y="350"/>
                  </a:lnTo>
                  <a:lnTo>
                    <a:pt x="47" y="350"/>
                  </a:lnTo>
                  <a:lnTo>
                    <a:pt x="45" y="350"/>
                  </a:lnTo>
                  <a:lnTo>
                    <a:pt x="42" y="350"/>
                  </a:lnTo>
                  <a:lnTo>
                    <a:pt x="42" y="348"/>
                  </a:lnTo>
                  <a:lnTo>
                    <a:pt x="38" y="348"/>
                  </a:lnTo>
                  <a:lnTo>
                    <a:pt x="38" y="348"/>
                  </a:lnTo>
                  <a:lnTo>
                    <a:pt x="38" y="348"/>
                  </a:lnTo>
                  <a:lnTo>
                    <a:pt x="33" y="348"/>
                  </a:lnTo>
                  <a:lnTo>
                    <a:pt x="33" y="348"/>
                  </a:lnTo>
                  <a:lnTo>
                    <a:pt x="31" y="348"/>
                  </a:lnTo>
                  <a:lnTo>
                    <a:pt x="28" y="348"/>
                  </a:lnTo>
                  <a:lnTo>
                    <a:pt x="28" y="348"/>
                  </a:lnTo>
                  <a:lnTo>
                    <a:pt x="26" y="350"/>
                  </a:lnTo>
                  <a:lnTo>
                    <a:pt x="23" y="348"/>
                  </a:lnTo>
                  <a:lnTo>
                    <a:pt x="23" y="348"/>
                  </a:lnTo>
                  <a:lnTo>
                    <a:pt x="21" y="348"/>
                  </a:lnTo>
                  <a:lnTo>
                    <a:pt x="21" y="348"/>
                  </a:lnTo>
                  <a:lnTo>
                    <a:pt x="19" y="348"/>
                  </a:lnTo>
                  <a:lnTo>
                    <a:pt x="16" y="348"/>
                  </a:lnTo>
                  <a:lnTo>
                    <a:pt x="16" y="348"/>
                  </a:lnTo>
                  <a:lnTo>
                    <a:pt x="14" y="345"/>
                  </a:lnTo>
                  <a:lnTo>
                    <a:pt x="14" y="345"/>
                  </a:lnTo>
                  <a:lnTo>
                    <a:pt x="16" y="343"/>
                  </a:lnTo>
                  <a:lnTo>
                    <a:pt x="14" y="343"/>
                  </a:lnTo>
                  <a:lnTo>
                    <a:pt x="16" y="341"/>
                  </a:lnTo>
                  <a:lnTo>
                    <a:pt x="16" y="341"/>
                  </a:lnTo>
                  <a:lnTo>
                    <a:pt x="16" y="341"/>
                  </a:lnTo>
                  <a:lnTo>
                    <a:pt x="16" y="338"/>
                  </a:lnTo>
                  <a:lnTo>
                    <a:pt x="14" y="338"/>
                  </a:lnTo>
                  <a:lnTo>
                    <a:pt x="14" y="334"/>
                  </a:lnTo>
                  <a:lnTo>
                    <a:pt x="14" y="334"/>
                  </a:lnTo>
                  <a:lnTo>
                    <a:pt x="14" y="331"/>
                  </a:lnTo>
                  <a:lnTo>
                    <a:pt x="14" y="331"/>
                  </a:lnTo>
                  <a:lnTo>
                    <a:pt x="14" y="331"/>
                  </a:lnTo>
                  <a:lnTo>
                    <a:pt x="12" y="326"/>
                  </a:lnTo>
                  <a:lnTo>
                    <a:pt x="14" y="326"/>
                  </a:lnTo>
                  <a:lnTo>
                    <a:pt x="14" y="324"/>
                  </a:lnTo>
                  <a:lnTo>
                    <a:pt x="14" y="324"/>
                  </a:lnTo>
                  <a:lnTo>
                    <a:pt x="14" y="324"/>
                  </a:lnTo>
                  <a:lnTo>
                    <a:pt x="14" y="322"/>
                  </a:lnTo>
                  <a:lnTo>
                    <a:pt x="14" y="322"/>
                  </a:lnTo>
                  <a:lnTo>
                    <a:pt x="14" y="322"/>
                  </a:lnTo>
                  <a:lnTo>
                    <a:pt x="12" y="322"/>
                  </a:lnTo>
                  <a:lnTo>
                    <a:pt x="14" y="319"/>
                  </a:lnTo>
                  <a:lnTo>
                    <a:pt x="12" y="319"/>
                  </a:lnTo>
                  <a:lnTo>
                    <a:pt x="12" y="317"/>
                  </a:lnTo>
                  <a:lnTo>
                    <a:pt x="9" y="317"/>
                  </a:lnTo>
                  <a:lnTo>
                    <a:pt x="9" y="315"/>
                  </a:lnTo>
                  <a:lnTo>
                    <a:pt x="7" y="312"/>
                  </a:lnTo>
                  <a:lnTo>
                    <a:pt x="7" y="312"/>
                  </a:lnTo>
                  <a:lnTo>
                    <a:pt x="7" y="310"/>
                  </a:lnTo>
                  <a:lnTo>
                    <a:pt x="7" y="310"/>
                  </a:lnTo>
                  <a:lnTo>
                    <a:pt x="7" y="310"/>
                  </a:lnTo>
                  <a:lnTo>
                    <a:pt x="7" y="305"/>
                  </a:lnTo>
                  <a:lnTo>
                    <a:pt x="9" y="305"/>
                  </a:lnTo>
                  <a:lnTo>
                    <a:pt x="7" y="303"/>
                  </a:lnTo>
                  <a:lnTo>
                    <a:pt x="9" y="300"/>
                  </a:lnTo>
                  <a:lnTo>
                    <a:pt x="7" y="300"/>
                  </a:lnTo>
                  <a:lnTo>
                    <a:pt x="9" y="300"/>
                  </a:lnTo>
                  <a:lnTo>
                    <a:pt x="9" y="298"/>
                  </a:lnTo>
                  <a:lnTo>
                    <a:pt x="12" y="298"/>
                  </a:lnTo>
                  <a:lnTo>
                    <a:pt x="12" y="296"/>
                  </a:lnTo>
                  <a:lnTo>
                    <a:pt x="12" y="296"/>
                  </a:lnTo>
                  <a:lnTo>
                    <a:pt x="14" y="296"/>
                  </a:lnTo>
                  <a:lnTo>
                    <a:pt x="14" y="293"/>
                  </a:lnTo>
                  <a:lnTo>
                    <a:pt x="14" y="293"/>
                  </a:lnTo>
                  <a:lnTo>
                    <a:pt x="14" y="291"/>
                  </a:lnTo>
                  <a:lnTo>
                    <a:pt x="14" y="291"/>
                  </a:lnTo>
                  <a:lnTo>
                    <a:pt x="12" y="291"/>
                  </a:lnTo>
                  <a:lnTo>
                    <a:pt x="12" y="289"/>
                  </a:lnTo>
                  <a:lnTo>
                    <a:pt x="9" y="286"/>
                  </a:lnTo>
                  <a:lnTo>
                    <a:pt x="7" y="284"/>
                  </a:lnTo>
                  <a:lnTo>
                    <a:pt x="7" y="282"/>
                  </a:lnTo>
                  <a:lnTo>
                    <a:pt x="9" y="282"/>
                  </a:lnTo>
                  <a:lnTo>
                    <a:pt x="7" y="279"/>
                  </a:lnTo>
                  <a:lnTo>
                    <a:pt x="9" y="277"/>
                  </a:lnTo>
                  <a:lnTo>
                    <a:pt x="9" y="277"/>
                  </a:lnTo>
                  <a:lnTo>
                    <a:pt x="9" y="274"/>
                  </a:lnTo>
                  <a:lnTo>
                    <a:pt x="7" y="274"/>
                  </a:lnTo>
                  <a:lnTo>
                    <a:pt x="2" y="265"/>
                  </a:lnTo>
                  <a:lnTo>
                    <a:pt x="0" y="265"/>
                  </a:lnTo>
                  <a:lnTo>
                    <a:pt x="0" y="265"/>
                  </a:lnTo>
                  <a:lnTo>
                    <a:pt x="0" y="263"/>
                  </a:lnTo>
                  <a:lnTo>
                    <a:pt x="0" y="26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 cap="flat">
              <a:solidFill>
                <a:schemeClr val="bg2">
                  <a:lumMod val="7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>
                <a:solidFill>
                  <a:srgbClr val="000000"/>
                </a:solidFill>
              </a:endParaRPr>
            </a:p>
          </p:txBody>
        </p:sp>
        <p:sp>
          <p:nvSpPr>
            <p:cNvPr id="102" name="Freeform 14"/>
            <p:cNvSpPr>
              <a:spLocks/>
            </p:cNvSpPr>
            <p:nvPr/>
          </p:nvSpPr>
          <p:spPr bwMode="gray">
            <a:xfrm>
              <a:off x="203637" y="2584699"/>
              <a:ext cx="1815677" cy="1381350"/>
            </a:xfrm>
            <a:custGeom>
              <a:avLst/>
              <a:gdLst/>
              <a:ahLst/>
              <a:cxnLst>
                <a:cxn ang="0">
                  <a:pos x="64" y="1155"/>
                </a:cxn>
                <a:cxn ang="0">
                  <a:pos x="76" y="1106"/>
                </a:cxn>
                <a:cxn ang="0">
                  <a:pos x="102" y="1040"/>
                </a:cxn>
                <a:cxn ang="0">
                  <a:pos x="121" y="978"/>
                </a:cxn>
                <a:cxn ang="0">
                  <a:pos x="154" y="948"/>
                </a:cxn>
                <a:cxn ang="0">
                  <a:pos x="194" y="919"/>
                </a:cxn>
                <a:cxn ang="0">
                  <a:pos x="241" y="888"/>
                </a:cxn>
                <a:cxn ang="0">
                  <a:pos x="289" y="879"/>
                </a:cxn>
                <a:cxn ang="0">
                  <a:pos x="329" y="867"/>
                </a:cxn>
                <a:cxn ang="0">
                  <a:pos x="369" y="860"/>
                </a:cxn>
                <a:cxn ang="0">
                  <a:pos x="414" y="834"/>
                </a:cxn>
                <a:cxn ang="0">
                  <a:pos x="459" y="865"/>
                </a:cxn>
                <a:cxn ang="0">
                  <a:pos x="555" y="475"/>
                </a:cxn>
                <a:cxn ang="0">
                  <a:pos x="532" y="392"/>
                </a:cxn>
                <a:cxn ang="0">
                  <a:pos x="492" y="336"/>
                </a:cxn>
                <a:cxn ang="0">
                  <a:pos x="520" y="211"/>
                </a:cxn>
                <a:cxn ang="0">
                  <a:pos x="577" y="215"/>
                </a:cxn>
                <a:cxn ang="0">
                  <a:pos x="586" y="163"/>
                </a:cxn>
                <a:cxn ang="0">
                  <a:pos x="506" y="69"/>
                </a:cxn>
                <a:cxn ang="0">
                  <a:pos x="709" y="62"/>
                </a:cxn>
                <a:cxn ang="0">
                  <a:pos x="787" y="29"/>
                </a:cxn>
                <a:cxn ang="0">
                  <a:pos x="971" y="196"/>
                </a:cxn>
                <a:cxn ang="0">
                  <a:pos x="1030" y="163"/>
                </a:cxn>
                <a:cxn ang="0">
                  <a:pos x="1049" y="208"/>
                </a:cxn>
                <a:cxn ang="0">
                  <a:pos x="1096" y="170"/>
                </a:cxn>
                <a:cxn ang="0">
                  <a:pos x="1137" y="128"/>
                </a:cxn>
                <a:cxn ang="0">
                  <a:pos x="1196" y="95"/>
                </a:cxn>
                <a:cxn ang="0">
                  <a:pos x="1229" y="88"/>
                </a:cxn>
                <a:cxn ang="0">
                  <a:pos x="1264" y="36"/>
                </a:cxn>
                <a:cxn ang="0">
                  <a:pos x="1319" y="14"/>
                </a:cxn>
                <a:cxn ang="0">
                  <a:pos x="1396" y="88"/>
                </a:cxn>
                <a:cxn ang="0">
                  <a:pos x="1432" y="222"/>
                </a:cxn>
                <a:cxn ang="0">
                  <a:pos x="1467" y="326"/>
                </a:cxn>
                <a:cxn ang="0">
                  <a:pos x="1463" y="378"/>
                </a:cxn>
                <a:cxn ang="0">
                  <a:pos x="1448" y="402"/>
                </a:cxn>
                <a:cxn ang="0">
                  <a:pos x="1512" y="477"/>
                </a:cxn>
                <a:cxn ang="0">
                  <a:pos x="1552" y="447"/>
                </a:cxn>
                <a:cxn ang="0">
                  <a:pos x="1585" y="373"/>
                </a:cxn>
                <a:cxn ang="0">
                  <a:pos x="1649" y="385"/>
                </a:cxn>
                <a:cxn ang="0">
                  <a:pos x="1689" y="397"/>
                </a:cxn>
                <a:cxn ang="0">
                  <a:pos x="1708" y="348"/>
                </a:cxn>
                <a:cxn ang="0">
                  <a:pos x="1737" y="277"/>
                </a:cxn>
                <a:cxn ang="0">
                  <a:pos x="1914" y="369"/>
                </a:cxn>
                <a:cxn ang="0">
                  <a:pos x="1954" y="423"/>
                </a:cxn>
                <a:cxn ang="0">
                  <a:pos x="2011" y="456"/>
                </a:cxn>
                <a:cxn ang="0">
                  <a:pos x="2051" y="501"/>
                </a:cxn>
                <a:cxn ang="0">
                  <a:pos x="2103" y="520"/>
                </a:cxn>
                <a:cxn ang="0">
                  <a:pos x="2169" y="565"/>
                </a:cxn>
                <a:cxn ang="0">
                  <a:pos x="2233" y="562"/>
                </a:cxn>
                <a:cxn ang="0">
                  <a:pos x="1973" y="1139"/>
                </a:cxn>
                <a:cxn ang="0">
                  <a:pos x="1980" y="1285"/>
                </a:cxn>
                <a:cxn ang="0">
                  <a:pos x="1954" y="1408"/>
                </a:cxn>
                <a:cxn ang="0">
                  <a:pos x="1533" y="1432"/>
                </a:cxn>
                <a:cxn ang="0">
                  <a:pos x="1477" y="1425"/>
                </a:cxn>
                <a:cxn ang="0">
                  <a:pos x="1430" y="1387"/>
                </a:cxn>
                <a:cxn ang="0">
                  <a:pos x="1293" y="1344"/>
                </a:cxn>
                <a:cxn ang="0">
                  <a:pos x="1248" y="1415"/>
                </a:cxn>
                <a:cxn ang="0">
                  <a:pos x="1177" y="1467"/>
                </a:cxn>
                <a:cxn ang="0">
                  <a:pos x="1122" y="1510"/>
                </a:cxn>
                <a:cxn ang="0">
                  <a:pos x="1063" y="1512"/>
                </a:cxn>
                <a:cxn ang="0">
                  <a:pos x="1011" y="1540"/>
                </a:cxn>
                <a:cxn ang="0">
                  <a:pos x="941" y="1529"/>
                </a:cxn>
                <a:cxn ang="0">
                  <a:pos x="411" y="1351"/>
                </a:cxn>
              </a:cxnLst>
              <a:rect l="0" t="0" r="r" b="b"/>
              <a:pathLst>
                <a:path w="2247" h="1578">
                  <a:moveTo>
                    <a:pt x="0" y="1224"/>
                  </a:moveTo>
                  <a:lnTo>
                    <a:pt x="3" y="1224"/>
                  </a:lnTo>
                  <a:lnTo>
                    <a:pt x="5" y="1222"/>
                  </a:lnTo>
                  <a:lnTo>
                    <a:pt x="10" y="1214"/>
                  </a:lnTo>
                  <a:lnTo>
                    <a:pt x="10" y="1212"/>
                  </a:lnTo>
                  <a:lnTo>
                    <a:pt x="10" y="1210"/>
                  </a:lnTo>
                  <a:lnTo>
                    <a:pt x="10" y="1210"/>
                  </a:lnTo>
                  <a:lnTo>
                    <a:pt x="10" y="1207"/>
                  </a:lnTo>
                  <a:lnTo>
                    <a:pt x="10" y="1205"/>
                  </a:lnTo>
                  <a:lnTo>
                    <a:pt x="7" y="1203"/>
                  </a:lnTo>
                  <a:lnTo>
                    <a:pt x="7" y="1200"/>
                  </a:lnTo>
                  <a:lnTo>
                    <a:pt x="10" y="1198"/>
                  </a:lnTo>
                  <a:lnTo>
                    <a:pt x="12" y="1196"/>
                  </a:lnTo>
                  <a:lnTo>
                    <a:pt x="12" y="1193"/>
                  </a:lnTo>
                  <a:lnTo>
                    <a:pt x="12" y="1191"/>
                  </a:lnTo>
                  <a:lnTo>
                    <a:pt x="15" y="1188"/>
                  </a:lnTo>
                  <a:lnTo>
                    <a:pt x="15" y="1188"/>
                  </a:lnTo>
                  <a:lnTo>
                    <a:pt x="15" y="1188"/>
                  </a:lnTo>
                  <a:lnTo>
                    <a:pt x="17" y="1186"/>
                  </a:lnTo>
                  <a:lnTo>
                    <a:pt x="19" y="1184"/>
                  </a:lnTo>
                  <a:lnTo>
                    <a:pt x="22" y="1181"/>
                  </a:lnTo>
                  <a:lnTo>
                    <a:pt x="22" y="1179"/>
                  </a:lnTo>
                  <a:lnTo>
                    <a:pt x="26" y="1177"/>
                  </a:lnTo>
                  <a:lnTo>
                    <a:pt x="26" y="1174"/>
                  </a:lnTo>
                  <a:lnTo>
                    <a:pt x="29" y="1174"/>
                  </a:lnTo>
                  <a:lnTo>
                    <a:pt x="29" y="1174"/>
                  </a:lnTo>
                  <a:lnTo>
                    <a:pt x="33" y="1174"/>
                  </a:lnTo>
                  <a:lnTo>
                    <a:pt x="33" y="1170"/>
                  </a:lnTo>
                  <a:lnTo>
                    <a:pt x="38" y="1167"/>
                  </a:lnTo>
                  <a:lnTo>
                    <a:pt x="41" y="1167"/>
                  </a:lnTo>
                  <a:lnTo>
                    <a:pt x="43" y="1167"/>
                  </a:lnTo>
                  <a:lnTo>
                    <a:pt x="43" y="1165"/>
                  </a:lnTo>
                  <a:lnTo>
                    <a:pt x="45" y="1165"/>
                  </a:lnTo>
                  <a:lnTo>
                    <a:pt x="48" y="1165"/>
                  </a:lnTo>
                  <a:lnTo>
                    <a:pt x="50" y="1165"/>
                  </a:lnTo>
                  <a:lnTo>
                    <a:pt x="50" y="1162"/>
                  </a:lnTo>
                  <a:lnTo>
                    <a:pt x="52" y="1162"/>
                  </a:lnTo>
                  <a:lnTo>
                    <a:pt x="55" y="1162"/>
                  </a:lnTo>
                  <a:lnTo>
                    <a:pt x="55" y="1160"/>
                  </a:lnTo>
                  <a:lnTo>
                    <a:pt x="55" y="1158"/>
                  </a:lnTo>
                  <a:lnTo>
                    <a:pt x="57" y="1158"/>
                  </a:lnTo>
                  <a:lnTo>
                    <a:pt x="59" y="1155"/>
                  </a:lnTo>
                  <a:lnTo>
                    <a:pt x="59" y="1155"/>
                  </a:lnTo>
                  <a:lnTo>
                    <a:pt x="62" y="1158"/>
                  </a:lnTo>
                  <a:lnTo>
                    <a:pt x="62" y="1155"/>
                  </a:lnTo>
                  <a:lnTo>
                    <a:pt x="64" y="1155"/>
                  </a:lnTo>
                  <a:lnTo>
                    <a:pt x="64" y="1155"/>
                  </a:lnTo>
                  <a:lnTo>
                    <a:pt x="69" y="1155"/>
                  </a:lnTo>
                  <a:lnTo>
                    <a:pt x="71" y="1155"/>
                  </a:lnTo>
                  <a:lnTo>
                    <a:pt x="74" y="1155"/>
                  </a:lnTo>
                  <a:lnTo>
                    <a:pt x="74" y="1153"/>
                  </a:lnTo>
                  <a:lnTo>
                    <a:pt x="76" y="1153"/>
                  </a:lnTo>
                  <a:lnTo>
                    <a:pt x="76" y="1153"/>
                  </a:lnTo>
                  <a:lnTo>
                    <a:pt x="76" y="1155"/>
                  </a:lnTo>
                  <a:lnTo>
                    <a:pt x="78" y="1153"/>
                  </a:lnTo>
                  <a:lnTo>
                    <a:pt x="78" y="1151"/>
                  </a:lnTo>
                  <a:lnTo>
                    <a:pt x="78" y="1151"/>
                  </a:lnTo>
                  <a:lnTo>
                    <a:pt x="78" y="1151"/>
                  </a:lnTo>
                  <a:lnTo>
                    <a:pt x="78" y="1151"/>
                  </a:lnTo>
                  <a:lnTo>
                    <a:pt x="81" y="1148"/>
                  </a:lnTo>
                  <a:lnTo>
                    <a:pt x="81" y="1148"/>
                  </a:lnTo>
                  <a:lnTo>
                    <a:pt x="81" y="1146"/>
                  </a:lnTo>
                  <a:lnTo>
                    <a:pt x="83" y="1148"/>
                  </a:lnTo>
                  <a:lnTo>
                    <a:pt x="83" y="1148"/>
                  </a:lnTo>
                  <a:lnTo>
                    <a:pt x="85" y="1146"/>
                  </a:lnTo>
                  <a:lnTo>
                    <a:pt x="85" y="1144"/>
                  </a:lnTo>
                  <a:lnTo>
                    <a:pt x="85" y="1144"/>
                  </a:lnTo>
                  <a:lnTo>
                    <a:pt x="85" y="1141"/>
                  </a:lnTo>
                  <a:lnTo>
                    <a:pt x="88" y="1139"/>
                  </a:lnTo>
                  <a:lnTo>
                    <a:pt x="88" y="1139"/>
                  </a:lnTo>
                  <a:lnTo>
                    <a:pt x="88" y="1139"/>
                  </a:lnTo>
                  <a:lnTo>
                    <a:pt x="88" y="1136"/>
                  </a:lnTo>
                  <a:lnTo>
                    <a:pt x="88" y="1134"/>
                  </a:lnTo>
                  <a:lnTo>
                    <a:pt x="88" y="1134"/>
                  </a:lnTo>
                  <a:lnTo>
                    <a:pt x="90" y="1134"/>
                  </a:lnTo>
                  <a:lnTo>
                    <a:pt x="90" y="1132"/>
                  </a:lnTo>
                  <a:lnTo>
                    <a:pt x="88" y="1129"/>
                  </a:lnTo>
                  <a:lnTo>
                    <a:pt x="88" y="1129"/>
                  </a:lnTo>
                  <a:lnTo>
                    <a:pt x="85" y="1127"/>
                  </a:lnTo>
                  <a:lnTo>
                    <a:pt x="85" y="1125"/>
                  </a:lnTo>
                  <a:lnTo>
                    <a:pt x="83" y="1120"/>
                  </a:lnTo>
                  <a:lnTo>
                    <a:pt x="83" y="1122"/>
                  </a:lnTo>
                  <a:lnTo>
                    <a:pt x="83" y="1120"/>
                  </a:lnTo>
                  <a:lnTo>
                    <a:pt x="83" y="1118"/>
                  </a:lnTo>
                  <a:lnTo>
                    <a:pt x="83" y="1118"/>
                  </a:lnTo>
                  <a:lnTo>
                    <a:pt x="83" y="1115"/>
                  </a:lnTo>
                  <a:lnTo>
                    <a:pt x="83" y="1115"/>
                  </a:lnTo>
                  <a:lnTo>
                    <a:pt x="81" y="1113"/>
                  </a:lnTo>
                  <a:lnTo>
                    <a:pt x="78" y="1113"/>
                  </a:lnTo>
                  <a:lnTo>
                    <a:pt x="78" y="1110"/>
                  </a:lnTo>
                  <a:lnTo>
                    <a:pt x="76" y="1108"/>
                  </a:lnTo>
                  <a:lnTo>
                    <a:pt x="76" y="1108"/>
                  </a:lnTo>
                  <a:lnTo>
                    <a:pt x="76" y="1106"/>
                  </a:lnTo>
                  <a:lnTo>
                    <a:pt x="76" y="1106"/>
                  </a:lnTo>
                  <a:lnTo>
                    <a:pt x="76" y="1101"/>
                  </a:lnTo>
                  <a:lnTo>
                    <a:pt x="71" y="1099"/>
                  </a:lnTo>
                  <a:lnTo>
                    <a:pt x="71" y="1096"/>
                  </a:lnTo>
                  <a:lnTo>
                    <a:pt x="71" y="1092"/>
                  </a:lnTo>
                  <a:lnTo>
                    <a:pt x="74" y="1089"/>
                  </a:lnTo>
                  <a:lnTo>
                    <a:pt x="74" y="1089"/>
                  </a:lnTo>
                  <a:lnTo>
                    <a:pt x="74" y="1087"/>
                  </a:lnTo>
                  <a:lnTo>
                    <a:pt x="74" y="1082"/>
                  </a:lnTo>
                  <a:lnTo>
                    <a:pt x="74" y="1082"/>
                  </a:lnTo>
                  <a:lnTo>
                    <a:pt x="76" y="1082"/>
                  </a:lnTo>
                  <a:lnTo>
                    <a:pt x="76" y="1080"/>
                  </a:lnTo>
                  <a:lnTo>
                    <a:pt x="76" y="1080"/>
                  </a:lnTo>
                  <a:lnTo>
                    <a:pt x="78" y="1080"/>
                  </a:lnTo>
                  <a:lnTo>
                    <a:pt x="78" y="1077"/>
                  </a:lnTo>
                  <a:lnTo>
                    <a:pt x="78" y="1077"/>
                  </a:lnTo>
                  <a:lnTo>
                    <a:pt x="81" y="1073"/>
                  </a:lnTo>
                  <a:lnTo>
                    <a:pt x="81" y="1073"/>
                  </a:lnTo>
                  <a:lnTo>
                    <a:pt x="81" y="1070"/>
                  </a:lnTo>
                  <a:lnTo>
                    <a:pt x="81" y="1070"/>
                  </a:lnTo>
                  <a:lnTo>
                    <a:pt x="81" y="1068"/>
                  </a:lnTo>
                  <a:lnTo>
                    <a:pt x="81" y="1068"/>
                  </a:lnTo>
                  <a:lnTo>
                    <a:pt x="81" y="1068"/>
                  </a:lnTo>
                  <a:lnTo>
                    <a:pt x="81" y="1066"/>
                  </a:lnTo>
                  <a:lnTo>
                    <a:pt x="81" y="1066"/>
                  </a:lnTo>
                  <a:lnTo>
                    <a:pt x="83" y="1063"/>
                  </a:lnTo>
                  <a:lnTo>
                    <a:pt x="83" y="1063"/>
                  </a:lnTo>
                  <a:lnTo>
                    <a:pt x="83" y="1061"/>
                  </a:lnTo>
                  <a:lnTo>
                    <a:pt x="83" y="1061"/>
                  </a:lnTo>
                  <a:lnTo>
                    <a:pt x="85" y="1061"/>
                  </a:lnTo>
                  <a:lnTo>
                    <a:pt x="85" y="1061"/>
                  </a:lnTo>
                  <a:lnTo>
                    <a:pt x="88" y="1059"/>
                  </a:lnTo>
                  <a:lnTo>
                    <a:pt x="88" y="1056"/>
                  </a:lnTo>
                  <a:lnTo>
                    <a:pt x="90" y="1056"/>
                  </a:lnTo>
                  <a:lnTo>
                    <a:pt x="90" y="1056"/>
                  </a:lnTo>
                  <a:lnTo>
                    <a:pt x="90" y="1054"/>
                  </a:lnTo>
                  <a:lnTo>
                    <a:pt x="92" y="1054"/>
                  </a:lnTo>
                  <a:lnTo>
                    <a:pt x="95" y="1051"/>
                  </a:lnTo>
                  <a:lnTo>
                    <a:pt x="97" y="1051"/>
                  </a:lnTo>
                  <a:lnTo>
                    <a:pt x="97" y="1049"/>
                  </a:lnTo>
                  <a:lnTo>
                    <a:pt x="97" y="1049"/>
                  </a:lnTo>
                  <a:lnTo>
                    <a:pt x="97" y="1047"/>
                  </a:lnTo>
                  <a:lnTo>
                    <a:pt x="100" y="1047"/>
                  </a:lnTo>
                  <a:lnTo>
                    <a:pt x="100" y="1044"/>
                  </a:lnTo>
                  <a:lnTo>
                    <a:pt x="100" y="1044"/>
                  </a:lnTo>
                  <a:lnTo>
                    <a:pt x="102" y="1042"/>
                  </a:lnTo>
                  <a:lnTo>
                    <a:pt x="102" y="1042"/>
                  </a:lnTo>
                  <a:lnTo>
                    <a:pt x="102" y="1040"/>
                  </a:lnTo>
                  <a:lnTo>
                    <a:pt x="104" y="1040"/>
                  </a:lnTo>
                  <a:lnTo>
                    <a:pt x="104" y="1040"/>
                  </a:lnTo>
                  <a:lnTo>
                    <a:pt x="104" y="1040"/>
                  </a:lnTo>
                  <a:lnTo>
                    <a:pt x="104" y="1037"/>
                  </a:lnTo>
                  <a:lnTo>
                    <a:pt x="104" y="1037"/>
                  </a:lnTo>
                  <a:lnTo>
                    <a:pt x="104" y="1035"/>
                  </a:lnTo>
                  <a:lnTo>
                    <a:pt x="104" y="1035"/>
                  </a:lnTo>
                  <a:lnTo>
                    <a:pt x="107" y="1035"/>
                  </a:lnTo>
                  <a:lnTo>
                    <a:pt x="107" y="1035"/>
                  </a:lnTo>
                  <a:lnTo>
                    <a:pt x="109" y="1035"/>
                  </a:lnTo>
                  <a:lnTo>
                    <a:pt x="107" y="1033"/>
                  </a:lnTo>
                  <a:lnTo>
                    <a:pt x="107" y="1030"/>
                  </a:lnTo>
                  <a:lnTo>
                    <a:pt x="107" y="1030"/>
                  </a:lnTo>
                  <a:lnTo>
                    <a:pt x="107" y="1028"/>
                  </a:lnTo>
                  <a:lnTo>
                    <a:pt x="107" y="1025"/>
                  </a:lnTo>
                  <a:lnTo>
                    <a:pt x="109" y="1025"/>
                  </a:lnTo>
                  <a:lnTo>
                    <a:pt x="109" y="1023"/>
                  </a:lnTo>
                  <a:lnTo>
                    <a:pt x="109" y="1021"/>
                  </a:lnTo>
                  <a:lnTo>
                    <a:pt x="109" y="1021"/>
                  </a:lnTo>
                  <a:lnTo>
                    <a:pt x="109" y="1018"/>
                  </a:lnTo>
                  <a:lnTo>
                    <a:pt x="109" y="1016"/>
                  </a:lnTo>
                  <a:lnTo>
                    <a:pt x="109" y="1014"/>
                  </a:lnTo>
                  <a:lnTo>
                    <a:pt x="109" y="1011"/>
                  </a:lnTo>
                  <a:lnTo>
                    <a:pt x="109" y="1009"/>
                  </a:lnTo>
                  <a:lnTo>
                    <a:pt x="109" y="1007"/>
                  </a:lnTo>
                  <a:lnTo>
                    <a:pt x="109" y="1007"/>
                  </a:lnTo>
                  <a:lnTo>
                    <a:pt x="111" y="1007"/>
                  </a:lnTo>
                  <a:lnTo>
                    <a:pt x="111" y="1002"/>
                  </a:lnTo>
                  <a:lnTo>
                    <a:pt x="111" y="1002"/>
                  </a:lnTo>
                  <a:lnTo>
                    <a:pt x="111" y="1002"/>
                  </a:lnTo>
                  <a:lnTo>
                    <a:pt x="114" y="999"/>
                  </a:lnTo>
                  <a:lnTo>
                    <a:pt x="114" y="997"/>
                  </a:lnTo>
                  <a:lnTo>
                    <a:pt x="116" y="997"/>
                  </a:lnTo>
                  <a:lnTo>
                    <a:pt x="116" y="995"/>
                  </a:lnTo>
                  <a:lnTo>
                    <a:pt x="116" y="992"/>
                  </a:lnTo>
                  <a:lnTo>
                    <a:pt x="116" y="992"/>
                  </a:lnTo>
                  <a:lnTo>
                    <a:pt x="118" y="990"/>
                  </a:lnTo>
                  <a:lnTo>
                    <a:pt x="118" y="990"/>
                  </a:lnTo>
                  <a:lnTo>
                    <a:pt x="118" y="988"/>
                  </a:lnTo>
                  <a:lnTo>
                    <a:pt x="118" y="988"/>
                  </a:lnTo>
                  <a:lnTo>
                    <a:pt x="118" y="985"/>
                  </a:lnTo>
                  <a:lnTo>
                    <a:pt x="121" y="985"/>
                  </a:lnTo>
                  <a:lnTo>
                    <a:pt x="121" y="983"/>
                  </a:lnTo>
                  <a:lnTo>
                    <a:pt x="121" y="983"/>
                  </a:lnTo>
                  <a:lnTo>
                    <a:pt x="118" y="981"/>
                  </a:lnTo>
                  <a:lnTo>
                    <a:pt x="121" y="981"/>
                  </a:lnTo>
                  <a:lnTo>
                    <a:pt x="121" y="978"/>
                  </a:lnTo>
                  <a:lnTo>
                    <a:pt x="121" y="976"/>
                  </a:lnTo>
                  <a:lnTo>
                    <a:pt x="121" y="976"/>
                  </a:lnTo>
                  <a:lnTo>
                    <a:pt x="118" y="976"/>
                  </a:lnTo>
                  <a:lnTo>
                    <a:pt x="121" y="973"/>
                  </a:lnTo>
                  <a:lnTo>
                    <a:pt x="118" y="971"/>
                  </a:lnTo>
                  <a:lnTo>
                    <a:pt x="118" y="971"/>
                  </a:lnTo>
                  <a:lnTo>
                    <a:pt x="118" y="971"/>
                  </a:lnTo>
                  <a:lnTo>
                    <a:pt x="118" y="971"/>
                  </a:lnTo>
                  <a:lnTo>
                    <a:pt x="118" y="969"/>
                  </a:lnTo>
                  <a:lnTo>
                    <a:pt x="118" y="969"/>
                  </a:lnTo>
                  <a:lnTo>
                    <a:pt x="121" y="969"/>
                  </a:lnTo>
                  <a:lnTo>
                    <a:pt x="121" y="966"/>
                  </a:lnTo>
                  <a:lnTo>
                    <a:pt x="123" y="966"/>
                  </a:lnTo>
                  <a:lnTo>
                    <a:pt x="123" y="966"/>
                  </a:lnTo>
                  <a:lnTo>
                    <a:pt x="126" y="966"/>
                  </a:lnTo>
                  <a:lnTo>
                    <a:pt x="126" y="966"/>
                  </a:lnTo>
                  <a:lnTo>
                    <a:pt x="128" y="962"/>
                  </a:lnTo>
                  <a:lnTo>
                    <a:pt x="128" y="964"/>
                  </a:lnTo>
                  <a:lnTo>
                    <a:pt x="130" y="962"/>
                  </a:lnTo>
                  <a:lnTo>
                    <a:pt x="130" y="962"/>
                  </a:lnTo>
                  <a:lnTo>
                    <a:pt x="133" y="962"/>
                  </a:lnTo>
                  <a:lnTo>
                    <a:pt x="133" y="962"/>
                  </a:lnTo>
                  <a:lnTo>
                    <a:pt x="135" y="962"/>
                  </a:lnTo>
                  <a:lnTo>
                    <a:pt x="135" y="959"/>
                  </a:lnTo>
                  <a:lnTo>
                    <a:pt x="137" y="959"/>
                  </a:lnTo>
                  <a:lnTo>
                    <a:pt x="137" y="959"/>
                  </a:lnTo>
                  <a:lnTo>
                    <a:pt x="137" y="957"/>
                  </a:lnTo>
                  <a:lnTo>
                    <a:pt x="137" y="957"/>
                  </a:lnTo>
                  <a:lnTo>
                    <a:pt x="137" y="957"/>
                  </a:lnTo>
                  <a:lnTo>
                    <a:pt x="137" y="957"/>
                  </a:lnTo>
                  <a:lnTo>
                    <a:pt x="137" y="955"/>
                  </a:lnTo>
                  <a:lnTo>
                    <a:pt x="140" y="955"/>
                  </a:lnTo>
                  <a:lnTo>
                    <a:pt x="140" y="955"/>
                  </a:lnTo>
                  <a:lnTo>
                    <a:pt x="142" y="957"/>
                  </a:lnTo>
                  <a:lnTo>
                    <a:pt x="144" y="955"/>
                  </a:lnTo>
                  <a:lnTo>
                    <a:pt x="144" y="955"/>
                  </a:lnTo>
                  <a:lnTo>
                    <a:pt x="147" y="957"/>
                  </a:lnTo>
                  <a:lnTo>
                    <a:pt x="147" y="955"/>
                  </a:lnTo>
                  <a:lnTo>
                    <a:pt x="149" y="955"/>
                  </a:lnTo>
                  <a:lnTo>
                    <a:pt x="149" y="955"/>
                  </a:lnTo>
                  <a:lnTo>
                    <a:pt x="152" y="955"/>
                  </a:lnTo>
                  <a:lnTo>
                    <a:pt x="154" y="952"/>
                  </a:lnTo>
                  <a:lnTo>
                    <a:pt x="154" y="950"/>
                  </a:lnTo>
                  <a:lnTo>
                    <a:pt x="154" y="950"/>
                  </a:lnTo>
                  <a:lnTo>
                    <a:pt x="154" y="948"/>
                  </a:lnTo>
                  <a:lnTo>
                    <a:pt x="154" y="948"/>
                  </a:lnTo>
                  <a:lnTo>
                    <a:pt x="154" y="948"/>
                  </a:lnTo>
                  <a:lnTo>
                    <a:pt x="156" y="945"/>
                  </a:lnTo>
                  <a:lnTo>
                    <a:pt x="156" y="945"/>
                  </a:lnTo>
                  <a:lnTo>
                    <a:pt x="159" y="945"/>
                  </a:lnTo>
                  <a:lnTo>
                    <a:pt x="161" y="943"/>
                  </a:lnTo>
                  <a:lnTo>
                    <a:pt x="161" y="943"/>
                  </a:lnTo>
                  <a:lnTo>
                    <a:pt x="163" y="943"/>
                  </a:lnTo>
                  <a:lnTo>
                    <a:pt x="163" y="940"/>
                  </a:lnTo>
                  <a:lnTo>
                    <a:pt x="166" y="940"/>
                  </a:lnTo>
                  <a:lnTo>
                    <a:pt x="166" y="943"/>
                  </a:lnTo>
                  <a:lnTo>
                    <a:pt x="166" y="943"/>
                  </a:lnTo>
                  <a:lnTo>
                    <a:pt x="168" y="940"/>
                  </a:lnTo>
                  <a:lnTo>
                    <a:pt x="168" y="940"/>
                  </a:lnTo>
                  <a:lnTo>
                    <a:pt x="168" y="943"/>
                  </a:lnTo>
                  <a:lnTo>
                    <a:pt x="170" y="943"/>
                  </a:lnTo>
                  <a:lnTo>
                    <a:pt x="170" y="940"/>
                  </a:lnTo>
                  <a:lnTo>
                    <a:pt x="170" y="938"/>
                  </a:lnTo>
                  <a:lnTo>
                    <a:pt x="173" y="938"/>
                  </a:lnTo>
                  <a:lnTo>
                    <a:pt x="173" y="936"/>
                  </a:lnTo>
                  <a:lnTo>
                    <a:pt x="170" y="936"/>
                  </a:lnTo>
                  <a:lnTo>
                    <a:pt x="170" y="936"/>
                  </a:lnTo>
                  <a:lnTo>
                    <a:pt x="173" y="933"/>
                  </a:lnTo>
                  <a:lnTo>
                    <a:pt x="173" y="936"/>
                  </a:lnTo>
                  <a:lnTo>
                    <a:pt x="173" y="936"/>
                  </a:lnTo>
                  <a:lnTo>
                    <a:pt x="175" y="936"/>
                  </a:lnTo>
                  <a:lnTo>
                    <a:pt x="175" y="936"/>
                  </a:lnTo>
                  <a:lnTo>
                    <a:pt x="175" y="936"/>
                  </a:lnTo>
                  <a:lnTo>
                    <a:pt x="178" y="936"/>
                  </a:lnTo>
                  <a:lnTo>
                    <a:pt x="178" y="933"/>
                  </a:lnTo>
                  <a:lnTo>
                    <a:pt x="175" y="933"/>
                  </a:lnTo>
                  <a:lnTo>
                    <a:pt x="178" y="933"/>
                  </a:lnTo>
                  <a:lnTo>
                    <a:pt x="178" y="933"/>
                  </a:lnTo>
                  <a:lnTo>
                    <a:pt x="180" y="931"/>
                  </a:lnTo>
                  <a:lnTo>
                    <a:pt x="182" y="931"/>
                  </a:lnTo>
                  <a:lnTo>
                    <a:pt x="182" y="929"/>
                  </a:lnTo>
                  <a:lnTo>
                    <a:pt x="182" y="929"/>
                  </a:lnTo>
                  <a:lnTo>
                    <a:pt x="182" y="926"/>
                  </a:lnTo>
                  <a:lnTo>
                    <a:pt x="182" y="926"/>
                  </a:lnTo>
                  <a:lnTo>
                    <a:pt x="182" y="924"/>
                  </a:lnTo>
                  <a:lnTo>
                    <a:pt x="185" y="924"/>
                  </a:lnTo>
                  <a:lnTo>
                    <a:pt x="187" y="922"/>
                  </a:lnTo>
                  <a:lnTo>
                    <a:pt x="189" y="922"/>
                  </a:lnTo>
                  <a:lnTo>
                    <a:pt x="189" y="919"/>
                  </a:lnTo>
                  <a:lnTo>
                    <a:pt x="189" y="919"/>
                  </a:lnTo>
                  <a:lnTo>
                    <a:pt x="189" y="919"/>
                  </a:lnTo>
                  <a:lnTo>
                    <a:pt x="192" y="919"/>
                  </a:lnTo>
                  <a:lnTo>
                    <a:pt x="192" y="919"/>
                  </a:lnTo>
                  <a:lnTo>
                    <a:pt x="194" y="919"/>
                  </a:lnTo>
                  <a:lnTo>
                    <a:pt x="194" y="919"/>
                  </a:lnTo>
                  <a:lnTo>
                    <a:pt x="194" y="922"/>
                  </a:lnTo>
                  <a:lnTo>
                    <a:pt x="196" y="922"/>
                  </a:lnTo>
                  <a:lnTo>
                    <a:pt x="199" y="917"/>
                  </a:lnTo>
                  <a:lnTo>
                    <a:pt x="199" y="919"/>
                  </a:lnTo>
                  <a:lnTo>
                    <a:pt x="201" y="919"/>
                  </a:lnTo>
                  <a:lnTo>
                    <a:pt x="204" y="917"/>
                  </a:lnTo>
                  <a:lnTo>
                    <a:pt x="204" y="917"/>
                  </a:lnTo>
                  <a:lnTo>
                    <a:pt x="204" y="914"/>
                  </a:lnTo>
                  <a:lnTo>
                    <a:pt x="206" y="917"/>
                  </a:lnTo>
                  <a:lnTo>
                    <a:pt x="206" y="917"/>
                  </a:lnTo>
                  <a:lnTo>
                    <a:pt x="206" y="914"/>
                  </a:lnTo>
                  <a:lnTo>
                    <a:pt x="208" y="912"/>
                  </a:lnTo>
                  <a:lnTo>
                    <a:pt x="211" y="912"/>
                  </a:lnTo>
                  <a:lnTo>
                    <a:pt x="211" y="912"/>
                  </a:lnTo>
                  <a:lnTo>
                    <a:pt x="211" y="912"/>
                  </a:lnTo>
                  <a:lnTo>
                    <a:pt x="213" y="910"/>
                  </a:lnTo>
                  <a:lnTo>
                    <a:pt x="213" y="912"/>
                  </a:lnTo>
                  <a:lnTo>
                    <a:pt x="218" y="910"/>
                  </a:lnTo>
                  <a:lnTo>
                    <a:pt x="218" y="907"/>
                  </a:lnTo>
                  <a:lnTo>
                    <a:pt x="220" y="907"/>
                  </a:lnTo>
                  <a:lnTo>
                    <a:pt x="220" y="905"/>
                  </a:lnTo>
                  <a:lnTo>
                    <a:pt x="222" y="903"/>
                  </a:lnTo>
                  <a:lnTo>
                    <a:pt x="225" y="903"/>
                  </a:lnTo>
                  <a:lnTo>
                    <a:pt x="225" y="900"/>
                  </a:lnTo>
                  <a:lnTo>
                    <a:pt x="225" y="898"/>
                  </a:lnTo>
                  <a:lnTo>
                    <a:pt x="227" y="900"/>
                  </a:lnTo>
                  <a:lnTo>
                    <a:pt x="230" y="900"/>
                  </a:lnTo>
                  <a:lnTo>
                    <a:pt x="230" y="900"/>
                  </a:lnTo>
                  <a:lnTo>
                    <a:pt x="230" y="900"/>
                  </a:lnTo>
                  <a:lnTo>
                    <a:pt x="230" y="898"/>
                  </a:lnTo>
                  <a:lnTo>
                    <a:pt x="232" y="898"/>
                  </a:lnTo>
                  <a:lnTo>
                    <a:pt x="234" y="898"/>
                  </a:lnTo>
                  <a:lnTo>
                    <a:pt x="234" y="896"/>
                  </a:lnTo>
                  <a:lnTo>
                    <a:pt x="234" y="898"/>
                  </a:lnTo>
                  <a:lnTo>
                    <a:pt x="237" y="896"/>
                  </a:lnTo>
                  <a:lnTo>
                    <a:pt x="237" y="896"/>
                  </a:lnTo>
                  <a:lnTo>
                    <a:pt x="237" y="893"/>
                  </a:lnTo>
                  <a:lnTo>
                    <a:pt x="237" y="893"/>
                  </a:lnTo>
                  <a:lnTo>
                    <a:pt x="237" y="893"/>
                  </a:lnTo>
                  <a:lnTo>
                    <a:pt x="239" y="893"/>
                  </a:lnTo>
                  <a:lnTo>
                    <a:pt x="239" y="891"/>
                  </a:lnTo>
                  <a:lnTo>
                    <a:pt x="239" y="891"/>
                  </a:lnTo>
                  <a:lnTo>
                    <a:pt x="239" y="891"/>
                  </a:lnTo>
                  <a:lnTo>
                    <a:pt x="239" y="891"/>
                  </a:lnTo>
                  <a:lnTo>
                    <a:pt x="239" y="888"/>
                  </a:lnTo>
                  <a:lnTo>
                    <a:pt x="241" y="888"/>
                  </a:lnTo>
                  <a:lnTo>
                    <a:pt x="241" y="888"/>
                  </a:lnTo>
                  <a:lnTo>
                    <a:pt x="244" y="888"/>
                  </a:lnTo>
                  <a:lnTo>
                    <a:pt x="244" y="886"/>
                  </a:lnTo>
                  <a:lnTo>
                    <a:pt x="244" y="888"/>
                  </a:lnTo>
                  <a:lnTo>
                    <a:pt x="244" y="886"/>
                  </a:lnTo>
                  <a:lnTo>
                    <a:pt x="244" y="886"/>
                  </a:lnTo>
                  <a:lnTo>
                    <a:pt x="246" y="884"/>
                  </a:lnTo>
                  <a:lnTo>
                    <a:pt x="246" y="886"/>
                  </a:lnTo>
                  <a:lnTo>
                    <a:pt x="248" y="884"/>
                  </a:lnTo>
                  <a:lnTo>
                    <a:pt x="251" y="884"/>
                  </a:lnTo>
                  <a:lnTo>
                    <a:pt x="253" y="881"/>
                  </a:lnTo>
                  <a:lnTo>
                    <a:pt x="255" y="881"/>
                  </a:lnTo>
                  <a:lnTo>
                    <a:pt x="258" y="881"/>
                  </a:lnTo>
                  <a:lnTo>
                    <a:pt x="258" y="881"/>
                  </a:lnTo>
                  <a:lnTo>
                    <a:pt x="258" y="881"/>
                  </a:lnTo>
                  <a:lnTo>
                    <a:pt x="258" y="884"/>
                  </a:lnTo>
                  <a:lnTo>
                    <a:pt x="260" y="884"/>
                  </a:lnTo>
                  <a:lnTo>
                    <a:pt x="263" y="881"/>
                  </a:lnTo>
                  <a:lnTo>
                    <a:pt x="263" y="881"/>
                  </a:lnTo>
                  <a:lnTo>
                    <a:pt x="263" y="879"/>
                  </a:lnTo>
                  <a:lnTo>
                    <a:pt x="263" y="879"/>
                  </a:lnTo>
                  <a:lnTo>
                    <a:pt x="263" y="881"/>
                  </a:lnTo>
                  <a:lnTo>
                    <a:pt x="263" y="881"/>
                  </a:lnTo>
                  <a:lnTo>
                    <a:pt x="265" y="881"/>
                  </a:lnTo>
                  <a:lnTo>
                    <a:pt x="267" y="884"/>
                  </a:lnTo>
                  <a:lnTo>
                    <a:pt x="267" y="884"/>
                  </a:lnTo>
                  <a:lnTo>
                    <a:pt x="270" y="884"/>
                  </a:lnTo>
                  <a:lnTo>
                    <a:pt x="272" y="884"/>
                  </a:lnTo>
                  <a:lnTo>
                    <a:pt x="274" y="881"/>
                  </a:lnTo>
                  <a:lnTo>
                    <a:pt x="274" y="884"/>
                  </a:lnTo>
                  <a:lnTo>
                    <a:pt x="277" y="881"/>
                  </a:lnTo>
                  <a:lnTo>
                    <a:pt x="277" y="881"/>
                  </a:lnTo>
                  <a:lnTo>
                    <a:pt x="277" y="879"/>
                  </a:lnTo>
                  <a:lnTo>
                    <a:pt x="279" y="879"/>
                  </a:lnTo>
                  <a:lnTo>
                    <a:pt x="279" y="879"/>
                  </a:lnTo>
                  <a:lnTo>
                    <a:pt x="279" y="881"/>
                  </a:lnTo>
                  <a:lnTo>
                    <a:pt x="277" y="884"/>
                  </a:lnTo>
                  <a:lnTo>
                    <a:pt x="277" y="884"/>
                  </a:lnTo>
                  <a:lnTo>
                    <a:pt x="277" y="884"/>
                  </a:lnTo>
                  <a:lnTo>
                    <a:pt x="277" y="886"/>
                  </a:lnTo>
                  <a:lnTo>
                    <a:pt x="279" y="886"/>
                  </a:lnTo>
                  <a:lnTo>
                    <a:pt x="281" y="886"/>
                  </a:lnTo>
                  <a:lnTo>
                    <a:pt x="284" y="884"/>
                  </a:lnTo>
                  <a:lnTo>
                    <a:pt x="284" y="884"/>
                  </a:lnTo>
                  <a:lnTo>
                    <a:pt x="286" y="879"/>
                  </a:lnTo>
                  <a:lnTo>
                    <a:pt x="289" y="881"/>
                  </a:lnTo>
                  <a:lnTo>
                    <a:pt x="289" y="879"/>
                  </a:lnTo>
                  <a:lnTo>
                    <a:pt x="289" y="879"/>
                  </a:lnTo>
                  <a:lnTo>
                    <a:pt x="291" y="879"/>
                  </a:lnTo>
                  <a:lnTo>
                    <a:pt x="293" y="881"/>
                  </a:lnTo>
                  <a:lnTo>
                    <a:pt x="293" y="881"/>
                  </a:lnTo>
                  <a:lnTo>
                    <a:pt x="293" y="879"/>
                  </a:lnTo>
                  <a:lnTo>
                    <a:pt x="293" y="879"/>
                  </a:lnTo>
                  <a:lnTo>
                    <a:pt x="293" y="874"/>
                  </a:lnTo>
                  <a:lnTo>
                    <a:pt x="293" y="877"/>
                  </a:lnTo>
                  <a:lnTo>
                    <a:pt x="296" y="877"/>
                  </a:lnTo>
                  <a:lnTo>
                    <a:pt x="296" y="877"/>
                  </a:lnTo>
                  <a:lnTo>
                    <a:pt x="296" y="874"/>
                  </a:lnTo>
                  <a:lnTo>
                    <a:pt x="296" y="874"/>
                  </a:lnTo>
                  <a:lnTo>
                    <a:pt x="298" y="874"/>
                  </a:lnTo>
                  <a:lnTo>
                    <a:pt x="300" y="877"/>
                  </a:lnTo>
                  <a:lnTo>
                    <a:pt x="300" y="877"/>
                  </a:lnTo>
                  <a:lnTo>
                    <a:pt x="303" y="877"/>
                  </a:lnTo>
                  <a:lnTo>
                    <a:pt x="303" y="879"/>
                  </a:lnTo>
                  <a:lnTo>
                    <a:pt x="303" y="879"/>
                  </a:lnTo>
                  <a:lnTo>
                    <a:pt x="307" y="874"/>
                  </a:lnTo>
                  <a:lnTo>
                    <a:pt x="307" y="872"/>
                  </a:lnTo>
                  <a:lnTo>
                    <a:pt x="310" y="874"/>
                  </a:lnTo>
                  <a:lnTo>
                    <a:pt x="312" y="874"/>
                  </a:lnTo>
                  <a:lnTo>
                    <a:pt x="312" y="872"/>
                  </a:lnTo>
                  <a:lnTo>
                    <a:pt x="312" y="874"/>
                  </a:lnTo>
                  <a:lnTo>
                    <a:pt x="312" y="874"/>
                  </a:lnTo>
                  <a:lnTo>
                    <a:pt x="315" y="874"/>
                  </a:lnTo>
                  <a:lnTo>
                    <a:pt x="317" y="874"/>
                  </a:lnTo>
                  <a:lnTo>
                    <a:pt x="317" y="877"/>
                  </a:lnTo>
                  <a:lnTo>
                    <a:pt x="317" y="877"/>
                  </a:lnTo>
                  <a:lnTo>
                    <a:pt x="319" y="877"/>
                  </a:lnTo>
                  <a:lnTo>
                    <a:pt x="319" y="874"/>
                  </a:lnTo>
                  <a:lnTo>
                    <a:pt x="317" y="874"/>
                  </a:lnTo>
                  <a:lnTo>
                    <a:pt x="317" y="872"/>
                  </a:lnTo>
                  <a:lnTo>
                    <a:pt x="317" y="872"/>
                  </a:lnTo>
                  <a:lnTo>
                    <a:pt x="319" y="874"/>
                  </a:lnTo>
                  <a:lnTo>
                    <a:pt x="322" y="874"/>
                  </a:lnTo>
                  <a:lnTo>
                    <a:pt x="322" y="874"/>
                  </a:lnTo>
                  <a:lnTo>
                    <a:pt x="324" y="872"/>
                  </a:lnTo>
                  <a:lnTo>
                    <a:pt x="322" y="870"/>
                  </a:lnTo>
                  <a:lnTo>
                    <a:pt x="322" y="867"/>
                  </a:lnTo>
                  <a:lnTo>
                    <a:pt x="322" y="867"/>
                  </a:lnTo>
                  <a:lnTo>
                    <a:pt x="326" y="870"/>
                  </a:lnTo>
                  <a:lnTo>
                    <a:pt x="326" y="867"/>
                  </a:lnTo>
                  <a:lnTo>
                    <a:pt x="329" y="867"/>
                  </a:lnTo>
                  <a:lnTo>
                    <a:pt x="329" y="870"/>
                  </a:lnTo>
                  <a:lnTo>
                    <a:pt x="329" y="870"/>
                  </a:lnTo>
                  <a:lnTo>
                    <a:pt x="329" y="867"/>
                  </a:lnTo>
                  <a:lnTo>
                    <a:pt x="331" y="867"/>
                  </a:lnTo>
                  <a:lnTo>
                    <a:pt x="331" y="867"/>
                  </a:lnTo>
                  <a:lnTo>
                    <a:pt x="331" y="870"/>
                  </a:lnTo>
                  <a:lnTo>
                    <a:pt x="331" y="872"/>
                  </a:lnTo>
                  <a:lnTo>
                    <a:pt x="333" y="872"/>
                  </a:lnTo>
                  <a:lnTo>
                    <a:pt x="333" y="870"/>
                  </a:lnTo>
                  <a:lnTo>
                    <a:pt x="333" y="870"/>
                  </a:lnTo>
                  <a:lnTo>
                    <a:pt x="336" y="870"/>
                  </a:lnTo>
                  <a:lnTo>
                    <a:pt x="336" y="870"/>
                  </a:lnTo>
                  <a:lnTo>
                    <a:pt x="336" y="870"/>
                  </a:lnTo>
                  <a:lnTo>
                    <a:pt x="336" y="870"/>
                  </a:lnTo>
                  <a:lnTo>
                    <a:pt x="338" y="870"/>
                  </a:lnTo>
                  <a:lnTo>
                    <a:pt x="338" y="867"/>
                  </a:lnTo>
                  <a:lnTo>
                    <a:pt x="341" y="867"/>
                  </a:lnTo>
                  <a:lnTo>
                    <a:pt x="343" y="872"/>
                  </a:lnTo>
                  <a:lnTo>
                    <a:pt x="343" y="870"/>
                  </a:lnTo>
                  <a:lnTo>
                    <a:pt x="343" y="867"/>
                  </a:lnTo>
                  <a:lnTo>
                    <a:pt x="345" y="867"/>
                  </a:lnTo>
                  <a:lnTo>
                    <a:pt x="345" y="865"/>
                  </a:lnTo>
                  <a:lnTo>
                    <a:pt x="348" y="867"/>
                  </a:lnTo>
                  <a:lnTo>
                    <a:pt x="345" y="870"/>
                  </a:lnTo>
                  <a:lnTo>
                    <a:pt x="348" y="870"/>
                  </a:lnTo>
                  <a:lnTo>
                    <a:pt x="350" y="867"/>
                  </a:lnTo>
                  <a:lnTo>
                    <a:pt x="350" y="865"/>
                  </a:lnTo>
                  <a:lnTo>
                    <a:pt x="350" y="865"/>
                  </a:lnTo>
                  <a:lnTo>
                    <a:pt x="350" y="870"/>
                  </a:lnTo>
                  <a:lnTo>
                    <a:pt x="352" y="870"/>
                  </a:lnTo>
                  <a:lnTo>
                    <a:pt x="352" y="870"/>
                  </a:lnTo>
                  <a:lnTo>
                    <a:pt x="355" y="867"/>
                  </a:lnTo>
                  <a:lnTo>
                    <a:pt x="355" y="867"/>
                  </a:lnTo>
                  <a:lnTo>
                    <a:pt x="357" y="867"/>
                  </a:lnTo>
                  <a:lnTo>
                    <a:pt x="357" y="867"/>
                  </a:lnTo>
                  <a:lnTo>
                    <a:pt x="359" y="865"/>
                  </a:lnTo>
                  <a:lnTo>
                    <a:pt x="357" y="865"/>
                  </a:lnTo>
                  <a:lnTo>
                    <a:pt x="357" y="862"/>
                  </a:lnTo>
                  <a:lnTo>
                    <a:pt x="357" y="862"/>
                  </a:lnTo>
                  <a:lnTo>
                    <a:pt x="359" y="862"/>
                  </a:lnTo>
                  <a:lnTo>
                    <a:pt x="359" y="865"/>
                  </a:lnTo>
                  <a:lnTo>
                    <a:pt x="359" y="865"/>
                  </a:lnTo>
                  <a:lnTo>
                    <a:pt x="364" y="867"/>
                  </a:lnTo>
                  <a:lnTo>
                    <a:pt x="364" y="867"/>
                  </a:lnTo>
                  <a:lnTo>
                    <a:pt x="364" y="865"/>
                  </a:lnTo>
                  <a:lnTo>
                    <a:pt x="364" y="865"/>
                  </a:lnTo>
                  <a:lnTo>
                    <a:pt x="367" y="865"/>
                  </a:lnTo>
                  <a:lnTo>
                    <a:pt x="367" y="865"/>
                  </a:lnTo>
                  <a:lnTo>
                    <a:pt x="367" y="862"/>
                  </a:lnTo>
                  <a:lnTo>
                    <a:pt x="369" y="860"/>
                  </a:lnTo>
                  <a:lnTo>
                    <a:pt x="369" y="860"/>
                  </a:lnTo>
                  <a:lnTo>
                    <a:pt x="374" y="860"/>
                  </a:lnTo>
                  <a:lnTo>
                    <a:pt x="371" y="855"/>
                  </a:lnTo>
                  <a:lnTo>
                    <a:pt x="374" y="855"/>
                  </a:lnTo>
                  <a:lnTo>
                    <a:pt x="376" y="853"/>
                  </a:lnTo>
                  <a:lnTo>
                    <a:pt x="374" y="851"/>
                  </a:lnTo>
                  <a:lnTo>
                    <a:pt x="374" y="851"/>
                  </a:lnTo>
                  <a:lnTo>
                    <a:pt x="376" y="851"/>
                  </a:lnTo>
                  <a:lnTo>
                    <a:pt x="376" y="851"/>
                  </a:lnTo>
                  <a:lnTo>
                    <a:pt x="378" y="851"/>
                  </a:lnTo>
                  <a:lnTo>
                    <a:pt x="378" y="848"/>
                  </a:lnTo>
                  <a:lnTo>
                    <a:pt x="378" y="848"/>
                  </a:lnTo>
                  <a:lnTo>
                    <a:pt x="378" y="846"/>
                  </a:lnTo>
                  <a:lnTo>
                    <a:pt x="378" y="844"/>
                  </a:lnTo>
                  <a:lnTo>
                    <a:pt x="381" y="844"/>
                  </a:lnTo>
                  <a:lnTo>
                    <a:pt x="381" y="841"/>
                  </a:lnTo>
                  <a:lnTo>
                    <a:pt x="383" y="841"/>
                  </a:lnTo>
                  <a:lnTo>
                    <a:pt x="385" y="839"/>
                  </a:lnTo>
                  <a:lnTo>
                    <a:pt x="385" y="839"/>
                  </a:lnTo>
                  <a:lnTo>
                    <a:pt x="388" y="839"/>
                  </a:lnTo>
                  <a:lnTo>
                    <a:pt x="390" y="839"/>
                  </a:lnTo>
                  <a:lnTo>
                    <a:pt x="393" y="841"/>
                  </a:lnTo>
                  <a:lnTo>
                    <a:pt x="395" y="841"/>
                  </a:lnTo>
                  <a:lnTo>
                    <a:pt x="395" y="841"/>
                  </a:lnTo>
                  <a:lnTo>
                    <a:pt x="395" y="844"/>
                  </a:lnTo>
                  <a:lnTo>
                    <a:pt x="397" y="844"/>
                  </a:lnTo>
                  <a:lnTo>
                    <a:pt x="400" y="841"/>
                  </a:lnTo>
                  <a:lnTo>
                    <a:pt x="400" y="839"/>
                  </a:lnTo>
                  <a:lnTo>
                    <a:pt x="400" y="836"/>
                  </a:lnTo>
                  <a:lnTo>
                    <a:pt x="400" y="836"/>
                  </a:lnTo>
                  <a:lnTo>
                    <a:pt x="400" y="836"/>
                  </a:lnTo>
                  <a:lnTo>
                    <a:pt x="402" y="839"/>
                  </a:lnTo>
                  <a:lnTo>
                    <a:pt x="402" y="834"/>
                  </a:lnTo>
                  <a:lnTo>
                    <a:pt x="404" y="834"/>
                  </a:lnTo>
                  <a:lnTo>
                    <a:pt x="404" y="834"/>
                  </a:lnTo>
                  <a:lnTo>
                    <a:pt x="404" y="836"/>
                  </a:lnTo>
                  <a:lnTo>
                    <a:pt x="402" y="839"/>
                  </a:lnTo>
                  <a:lnTo>
                    <a:pt x="402" y="841"/>
                  </a:lnTo>
                  <a:lnTo>
                    <a:pt x="404" y="841"/>
                  </a:lnTo>
                  <a:lnTo>
                    <a:pt x="404" y="844"/>
                  </a:lnTo>
                  <a:lnTo>
                    <a:pt x="407" y="841"/>
                  </a:lnTo>
                  <a:lnTo>
                    <a:pt x="409" y="841"/>
                  </a:lnTo>
                  <a:lnTo>
                    <a:pt x="411" y="841"/>
                  </a:lnTo>
                  <a:lnTo>
                    <a:pt x="411" y="839"/>
                  </a:lnTo>
                  <a:lnTo>
                    <a:pt x="414" y="839"/>
                  </a:lnTo>
                  <a:lnTo>
                    <a:pt x="414" y="836"/>
                  </a:lnTo>
                  <a:lnTo>
                    <a:pt x="414" y="834"/>
                  </a:lnTo>
                  <a:lnTo>
                    <a:pt x="418" y="836"/>
                  </a:lnTo>
                  <a:lnTo>
                    <a:pt x="418" y="839"/>
                  </a:lnTo>
                  <a:lnTo>
                    <a:pt x="418" y="841"/>
                  </a:lnTo>
                  <a:lnTo>
                    <a:pt x="418" y="844"/>
                  </a:lnTo>
                  <a:lnTo>
                    <a:pt x="421" y="844"/>
                  </a:lnTo>
                  <a:lnTo>
                    <a:pt x="421" y="839"/>
                  </a:lnTo>
                  <a:lnTo>
                    <a:pt x="421" y="839"/>
                  </a:lnTo>
                  <a:lnTo>
                    <a:pt x="423" y="841"/>
                  </a:lnTo>
                  <a:lnTo>
                    <a:pt x="426" y="841"/>
                  </a:lnTo>
                  <a:lnTo>
                    <a:pt x="426" y="839"/>
                  </a:lnTo>
                  <a:lnTo>
                    <a:pt x="428" y="839"/>
                  </a:lnTo>
                  <a:lnTo>
                    <a:pt x="428" y="836"/>
                  </a:lnTo>
                  <a:lnTo>
                    <a:pt x="428" y="836"/>
                  </a:lnTo>
                  <a:lnTo>
                    <a:pt x="428" y="834"/>
                  </a:lnTo>
                  <a:lnTo>
                    <a:pt x="430" y="836"/>
                  </a:lnTo>
                  <a:lnTo>
                    <a:pt x="433" y="836"/>
                  </a:lnTo>
                  <a:lnTo>
                    <a:pt x="435" y="834"/>
                  </a:lnTo>
                  <a:lnTo>
                    <a:pt x="437" y="836"/>
                  </a:lnTo>
                  <a:lnTo>
                    <a:pt x="437" y="839"/>
                  </a:lnTo>
                  <a:lnTo>
                    <a:pt x="440" y="841"/>
                  </a:lnTo>
                  <a:lnTo>
                    <a:pt x="440" y="841"/>
                  </a:lnTo>
                  <a:lnTo>
                    <a:pt x="442" y="841"/>
                  </a:lnTo>
                  <a:lnTo>
                    <a:pt x="442" y="839"/>
                  </a:lnTo>
                  <a:lnTo>
                    <a:pt x="442" y="836"/>
                  </a:lnTo>
                  <a:lnTo>
                    <a:pt x="442" y="836"/>
                  </a:lnTo>
                  <a:lnTo>
                    <a:pt x="444" y="839"/>
                  </a:lnTo>
                  <a:lnTo>
                    <a:pt x="447" y="839"/>
                  </a:lnTo>
                  <a:lnTo>
                    <a:pt x="447" y="841"/>
                  </a:lnTo>
                  <a:lnTo>
                    <a:pt x="447" y="844"/>
                  </a:lnTo>
                  <a:lnTo>
                    <a:pt x="447" y="848"/>
                  </a:lnTo>
                  <a:lnTo>
                    <a:pt x="447" y="848"/>
                  </a:lnTo>
                  <a:lnTo>
                    <a:pt x="444" y="851"/>
                  </a:lnTo>
                  <a:lnTo>
                    <a:pt x="444" y="851"/>
                  </a:lnTo>
                  <a:lnTo>
                    <a:pt x="447" y="853"/>
                  </a:lnTo>
                  <a:lnTo>
                    <a:pt x="447" y="855"/>
                  </a:lnTo>
                  <a:lnTo>
                    <a:pt x="447" y="855"/>
                  </a:lnTo>
                  <a:lnTo>
                    <a:pt x="452" y="853"/>
                  </a:lnTo>
                  <a:lnTo>
                    <a:pt x="452" y="855"/>
                  </a:lnTo>
                  <a:lnTo>
                    <a:pt x="452" y="855"/>
                  </a:lnTo>
                  <a:lnTo>
                    <a:pt x="449" y="855"/>
                  </a:lnTo>
                  <a:lnTo>
                    <a:pt x="449" y="858"/>
                  </a:lnTo>
                  <a:lnTo>
                    <a:pt x="452" y="860"/>
                  </a:lnTo>
                  <a:lnTo>
                    <a:pt x="454" y="860"/>
                  </a:lnTo>
                  <a:lnTo>
                    <a:pt x="456" y="860"/>
                  </a:lnTo>
                  <a:lnTo>
                    <a:pt x="456" y="860"/>
                  </a:lnTo>
                  <a:lnTo>
                    <a:pt x="456" y="860"/>
                  </a:lnTo>
                  <a:lnTo>
                    <a:pt x="459" y="865"/>
                  </a:lnTo>
                  <a:lnTo>
                    <a:pt x="459" y="865"/>
                  </a:lnTo>
                  <a:lnTo>
                    <a:pt x="459" y="865"/>
                  </a:lnTo>
                  <a:lnTo>
                    <a:pt x="461" y="865"/>
                  </a:lnTo>
                  <a:lnTo>
                    <a:pt x="461" y="862"/>
                  </a:lnTo>
                  <a:lnTo>
                    <a:pt x="461" y="862"/>
                  </a:lnTo>
                  <a:lnTo>
                    <a:pt x="466" y="860"/>
                  </a:lnTo>
                  <a:lnTo>
                    <a:pt x="466" y="860"/>
                  </a:lnTo>
                  <a:lnTo>
                    <a:pt x="461" y="858"/>
                  </a:lnTo>
                  <a:lnTo>
                    <a:pt x="463" y="855"/>
                  </a:lnTo>
                  <a:lnTo>
                    <a:pt x="466" y="853"/>
                  </a:lnTo>
                  <a:lnTo>
                    <a:pt x="466" y="855"/>
                  </a:lnTo>
                  <a:lnTo>
                    <a:pt x="468" y="855"/>
                  </a:lnTo>
                  <a:lnTo>
                    <a:pt x="468" y="855"/>
                  </a:lnTo>
                  <a:lnTo>
                    <a:pt x="470" y="853"/>
                  </a:lnTo>
                  <a:lnTo>
                    <a:pt x="470" y="853"/>
                  </a:lnTo>
                  <a:lnTo>
                    <a:pt x="470" y="853"/>
                  </a:lnTo>
                  <a:lnTo>
                    <a:pt x="470" y="855"/>
                  </a:lnTo>
                  <a:lnTo>
                    <a:pt x="473" y="855"/>
                  </a:lnTo>
                  <a:lnTo>
                    <a:pt x="473" y="855"/>
                  </a:lnTo>
                  <a:lnTo>
                    <a:pt x="475" y="855"/>
                  </a:lnTo>
                  <a:lnTo>
                    <a:pt x="473" y="858"/>
                  </a:lnTo>
                  <a:lnTo>
                    <a:pt x="475" y="860"/>
                  </a:lnTo>
                  <a:lnTo>
                    <a:pt x="475" y="860"/>
                  </a:lnTo>
                  <a:lnTo>
                    <a:pt x="478" y="860"/>
                  </a:lnTo>
                  <a:lnTo>
                    <a:pt x="478" y="862"/>
                  </a:lnTo>
                  <a:lnTo>
                    <a:pt x="478" y="862"/>
                  </a:lnTo>
                  <a:lnTo>
                    <a:pt x="480" y="862"/>
                  </a:lnTo>
                  <a:lnTo>
                    <a:pt x="482" y="862"/>
                  </a:lnTo>
                  <a:lnTo>
                    <a:pt x="487" y="860"/>
                  </a:lnTo>
                  <a:lnTo>
                    <a:pt x="489" y="855"/>
                  </a:lnTo>
                  <a:lnTo>
                    <a:pt x="489" y="853"/>
                  </a:lnTo>
                  <a:lnTo>
                    <a:pt x="489" y="846"/>
                  </a:lnTo>
                  <a:lnTo>
                    <a:pt x="492" y="846"/>
                  </a:lnTo>
                  <a:lnTo>
                    <a:pt x="492" y="846"/>
                  </a:lnTo>
                  <a:lnTo>
                    <a:pt x="499" y="810"/>
                  </a:lnTo>
                  <a:lnTo>
                    <a:pt x="504" y="777"/>
                  </a:lnTo>
                  <a:lnTo>
                    <a:pt x="522" y="669"/>
                  </a:lnTo>
                  <a:lnTo>
                    <a:pt x="532" y="614"/>
                  </a:lnTo>
                  <a:lnTo>
                    <a:pt x="544" y="541"/>
                  </a:lnTo>
                  <a:lnTo>
                    <a:pt x="553" y="494"/>
                  </a:lnTo>
                  <a:lnTo>
                    <a:pt x="553" y="489"/>
                  </a:lnTo>
                  <a:lnTo>
                    <a:pt x="553" y="487"/>
                  </a:lnTo>
                  <a:lnTo>
                    <a:pt x="555" y="487"/>
                  </a:lnTo>
                  <a:lnTo>
                    <a:pt x="555" y="485"/>
                  </a:lnTo>
                  <a:lnTo>
                    <a:pt x="555" y="480"/>
                  </a:lnTo>
                  <a:lnTo>
                    <a:pt x="555" y="477"/>
                  </a:lnTo>
                  <a:lnTo>
                    <a:pt x="555" y="475"/>
                  </a:lnTo>
                  <a:lnTo>
                    <a:pt x="558" y="475"/>
                  </a:lnTo>
                  <a:lnTo>
                    <a:pt x="560" y="473"/>
                  </a:lnTo>
                  <a:lnTo>
                    <a:pt x="560" y="470"/>
                  </a:lnTo>
                  <a:lnTo>
                    <a:pt x="558" y="468"/>
                  </a:lnTo>
                  <a:lnTo>
                    <a:pt x="558" y="463"/>
                  </a:lnTo>
                  <a:lnTo>
                    <a:pt x="558" y="461"/>
                  </a:lnTo>
                  <a:lnTo>
                    <a:pt x="558" y="459"/>
                  </a:lnTo>
                  <a:lnTo>
                    <a:pt x="555" y="456"/>
                  </a:lnTo>
                  <a:lnTo>
                    <a:pt x="558" y="451"/>
                  </a:lnTo>
                  <a:lnTo>
                    <a:pt x="558" y="449"/>
                  </a:lnTo>
                  <a:lnTo>
                    <a:pt x="558" y="447"/>
                  </a:lnTo>
                  <a:lnTo>
                    <a:pt x="560" y="444"/>
                  </a:lnTo>
                  <a:lnTo>
                    <a:pt x="560" y="442"/>
                  </a:lnTo>
                  <a:lnTo>
                    <a:pt x="560" y="440"/>
                  </a:lnTo>
                  <a:lnTo>
                    <a:pt x="558" y="435"/>
                  </a:lnTo>
                  <a:lnTo>
                    <a:pt x="555" y="435"/>
                  </a:lnTo>
                  <a:lnTo>
                    <a:pt x="558" y="430"/>
                  </a:lnTo>
                  <a:lnTo>
                    <a:pt x="555" y="430"/>
                  </a:lnTo>
                  <a:lnTo>
                    <a:pt x="555" y="430"/>
                  </a:lnTo>
                  <a:lnTo>
                    <a:pt x="555" y="428"/>
                  </a:lnTo>
                  <a:lnTo>
                    <a:pt x="555" y="428"/>
                  </a:lnTo>
                  <a:lnTo>
                    <a:pt x="555" y="428"/>
                  </a:lnTo>
                  <a:lnTo>
                    <a:pt x="558" y="428"/>
                  </a:lnTo>
                  <a:lnTo>
                    <a:pt x="558" y="425"/>
                  </a:lnTo>
                  <a:lnTo>
                    <a:pt x="555" y="423"/>
                  </a:lnTo>
                  <a:lnTo>
                    <a:pt x="553" y="425"/>
                  </a:lnTo>
                  <a:lnTo>
                    <a:pt x="551" y="423"/>
                  </a:lnTo>
                  <a:lnTo>
                    <a:pt x="551" y="421"/>
                  </a:lnTo>
                  <a:lnTo>
                    <a:pt x="548" y="418"/>
                  </a:lnTo>
                  <a:lnTo>
                    <a:pt x="548" y="418"/>
                  </a:lnTo>
                  <a:lnTo>
                    <a:pt x="546" y="416"/>
                  </a:lnTo>
                  <a:lnTo>
                    <a:pt x="544" y="416"/>
                  </a:lnTo>
                  <a:lnTo>
                    <a:pt x="544" y="416"/>
                  </a:lnTo>
                  <a:lnTo>
                    <a:pt x="544" y="414"/>
                  </a:lnTo>
                  <a:lnTo>
                    <a:pt x="544" y="411"/>
                  </a:lnTo>
                  <a:lnTo>
                    <a:pt x="544" y="409"/>
                  </a:lnTo>
                  <a:lnTo>
                    <a:pt x="541" y="407"/>
                  </a:lnTo>
                  <a:lnTo>
                    <a:pt x="541" y="407"/>
                  </a:lnTo>
                  <a:lnTo>
                    <a:pt x="539" y="404"/>
                  </a:lnTo>
                  <a:lnTo>
                    <a:pt x="539" y="402"/>
                  </a:lnTo>
                  <a:lnTo>
                    <a:pt x="539" y="399"/>
                  </a:lnTo>
                  <a:lnTo>
                    <a:pt x="539" y="399"/>
                  </a:lnTo>
                  <a:lnTo>
                    <a:pt x="537" y="399"/>
                  </a:lnTo>
                  <a:lnTo>
                    <a:pt x="537" y="397"/>
                  </a:lnTo>
                  <a:lnTo>
                    <a:pt x="532" y="395"/>
                  </a:lnTo>
                  <a:lnTo>
                    <a:pt x="534" y="395"/>
                  </a:lnTo>
                  <a:lnTo>
                    <a:pt x="532" y="392"/>
                  </a:lnTo>
                  <a:lnTo>
                    <a:pt x="532" y="392"/>
                  </a:lnTo>
                  <a:lnTo>
                    <a:pt x="532" y="392"/>
                  </a:lnTo>
                  <a:lnTo>
                    <a:pt x="532" y="390"/>
                  </a:lnTo>
                  <a:lnTo>
                    <a:pt x="532" y="390"/>
                  </a:lnTo>
                  <a:lnTo>
                    <a:pt x="532" y="388"/>
                  </a:lnTo>
                  <a:lnTo>
                    <a:pt x="534" y="388"/>
                  </a:lnTo>
                  <a:lnTo>
                    <a:pt x="534" y="388"/>
                  </a:lnTo>
                  <a:lnTo>
                    <a:pt x="534" y="385"/>
                  </a:lnTo>
                  <a:lnTo>
                    <a:pt x="537" y="383"/>
                  </a:lnTo>
                  <a:lnTo>
                    <a:pt x="537" y="381"/>
                  </a:lnTo>
                  <a:lnTo>
                    <a:pt x="539" y="378"/>
                  </a:lnTo>
                  <a:lnTo>
                    <a:pt x="539" y="378"/>
                  </a:lnTo>
                  <a:lnTo>
                    <a:pt x="539" y="378"/>
                  </a:lnTo>
                  <a:lnTo>
                    <a:pt x="539" y="376"/>
                  </a:lnTo>
                  <a:lnTo>
                    <a:pt x="537" y="376"/>
                  </a:lnTo>
                  <a:lnTo>
                    <a:pt x="537" y="376"/>
                  </a:lnTo>
                  <a:lnTo>
                    <a:pt x="534" y="373"/>
                  </a:lnTo>
                  <a:lnTo>
                    <a:pt x="534" y="373"/>
                  </a:lnTo>
                  <a:lnTo>
                    <a:pt x="534" y="371"/>
                  </a:lnTo>
                  <a:lnTo>
                    <a:pt x="534" y="369"/>
                  </a:lnTo>
                  <a:lnTo>
                    <a:pt x="534" y="366"/>
                  </a:lnTo>
                  <a:lnTo>
                    <a:pt x="532" y="364"/>
                  </a:lnTo>
                  <a:lnTo>
                    <a:pt x="534" y="362"/>
                  </a:lnTo>
                  <a:lnTo>
                    <a:pt x="532" y="359"/>
                  </a:lnTo>
                  <a:lnTo>
                    <a:pt x="530" y="359"/>
                  </a:lnTo>
                  <a:lnTo>
                    <a:pt x="530" y="359"/>
                  </a:lnTo>
                  <a:lnTo>
                    <a:pt x="530" y="357"/>
                  </a:lnTo>
                  <a:lnTo>
                    <a:pt x="525" y="357"/>
                  </a:lnTo>
                  <a:lnTo>
                    <a:pt x="522" y="355"/>
                  </a:lnTo>
                  <a:lnTo>
                    <a:pt x="522" y="355"/>
                  </a:lnTo>
                  <a:lnTo>
                    <a:pt x="520" y="355"/>
                  </a:lnTo>
                  <a:lnTo>
                    <a:pt x="518" y="352"/>
                  </a:lnTo>
                  <a:lnTo>
                    <a:pt x="518" y="352"/>
                  </a:lnTo>
                  <a:lnTo>
                    <a:pt x="515" y="350"/>
                  </a:lnTo>
                  <a:lnTo>
                    <a:pt x="515" y="350"/>
                  </a:lnTo>
                  <a:lnTo>
                    <a:pt x="513" y="348"/>
                  </a:lnTo>
                  <a:lnTo>
                    <a:pt x="513" y="348"/>
                  </a:lnTo>
                  <a:lnTo>
                    <a:pt x="511" y="348"/>
                  </a:lnTo>
                  <a:lnTo>
                    <a:pt x="511" y="345"/>
                  </a:lnTo>
                  <a:lnTo>
                    <a:pt x="508" y="345"/>
                  </a:lnTo>
                  <a:lnTo>
                    <a:pt x="506" y="345"/>
                  </a:lnTo>
                  <a:lnTo>
                    <a:pt x="504" y="338"/>
                  </a:lnTo>
                  <a:lnTo>
                    <a:pt x="501" y="340"/>
                  </a:lnTo>
                  <a:lnTo>
                    <a:pt x="499" y="338"/>
                  </a:lnTo>
                  <a:lnTo>
                    <a:pt x="496" y="340"/>
                  </a:lnTo>
                  <a:lnTo>
                    <a:pt x="494" y="338"/>
                  </a:lnTo>
                  <a:lnTo>
                    <a:pt x="492" y="336"/>
                  </a:lnTo>
                  <a:lnTo>
                    <a:pt x="492" y="333"/>
                  </a:lnTo>
                  <a:lnTo>
                    <a:pt x="492" y="333"/>
                  </a:lnTo>
                  <a:lnTo>
                    <a:pt x="489" y="331"/>
                  </a:lnTo>
                  <a:lnTo>
                    <a:pt x="489" y="331"/>
                  </a:lnTo>
                  <a:lnTo>
                    <a:pt x="487" y="329"/>
                  </a:lnTo>
                  <a:lnTo>
                    <a:pt x="485" y="326"/>
                  </a:lnTo>
                  <a:lnTo>
                    <a:pt x="485" y="326"/>
                  </a:lnTo>
                  <a:lnTo>
                    <a:pt x="478" y="319"/>
                  </a:lnTo>
                  <a:lnTo>
                    <a:pt x="478" y="319"/>
                  </a:lnTo>
                  <a:lnTo>
                    <a:pt x="478" y="314"/>
                  </a:lnTo>
                  <a:lnTo>
                    <a:pt x="478" y="312"/>
                  </a:lnTo>
                  <a:lnTo>
                    <a:pt x="478" y="310"/>
                  </a:lnTo>
                  <a:lnTo>
                    <a:pt x="478" y="296"/>
                  </a:lnTo>
                  <a:lnTo>
                    <a:pt x="478" y="286"/>
                  </a:lnTo>
                  <a:lnTo>
                    <a:pt x="478" y="262"/>
                  </a:lnTo>
                  <a:lnTo>
                    <a:pt x="478" y="232"/>
                  </a:lnTo>
                  <a:lnTo>
                    <a:pt x="478" y="220"/>
                  </a:lnTo>
                  <a:lnTo>
                    <a:pt x="480" y="220"/>
                  </a:lnTo>
                  <a:lnTo>
                    <a:pt x="480" y="220"/>
                  </a:lnTo>
                  <a:lnTo>
                    <a:pt x="482" y="222"/>
                  </a:lnTo>
                  <a:lnTo>
                    <a:pt x="482" y="222"/>
                  </a:lnTo>
                  <a:lnTo>
                    <a:pt x="485" y="222"/>
                  </a:lnTo>
                  <a:lnTo>
                    <a:pt x="485" y="222"/>
                  </a:lnTo>
                  <a:lnTo>
                    <a:pt x="485" y="220"/>
                  </a:lnTo>
                  <a:lnTo>
                    <a:pt x="485" y="220"/>
                  </a:lnTo>
                  <a:lnTo>
                    <a:pt x="487" y="220"/>
                  </a:lnTo>
                  <a:lnTo>
                    <a:pt x="487" y="220"/>
                  </a:lnTo>
                  <a:lnTo>
                    <a:pt x="492" y="222"/>
                  </a:lnTo>
                  <a:lnTo>
                    <a:pt x="494" y="220"/>
                  </a:lnTo>
                  <a:lnTo>
                    <a:pt x="494" y="218"/>
                  </a:lnTo>
                  <a:lnTo>
                    <a:pt x="496" y="218"/>
                  </a:lnTo>
                  <a:lnTo>
                    <a:pt x="496" y="218"/>
                  </a:lnTo>
                  <a:lnTo>
                    <a:pt x="499" y="220"/>
                  </a:lnTo>
                  <a:lnTo>
                    <a:pt x="501" y="218"/>
                  </a:lnTo>
                  <a:lnTo>
                    <a:pt x="504" y="218"/>
                  </a:lnTo>
                  <a:lnTo>
                    <a:pt x="504" y="218"/>
                  </a:lnTo>
                  <a:lnTo>
                    <a:pt x="506" y="218"/>
                  </a:lnTo>
                  <a:lnTo>
                    <a:pt x="506" y="218"/>
                  </a:lnTo>
                  <a:lnTo>
                    <a:pt x="508" y="218"/>
                  </a:lnTo>
                  <a:lnTo>
                    <a:pt x="508" y="220"/>
                  </a:lnTo>
                  <a:lnTo>
                    <a:pt x="511" y="218"/>
                  </a:lnTo>
                  <a:lnTo>
                    <a:pt x="511" y="215"/>
                  </a:lnTo>
                  <a:lnTo>
                    <a:pt x="513" y="215"/>
                  </a:lnTo>
                  <a:lnTo>
                    <a:pt x="515" y="213"/>
                  </a:lnTo>
                  <a:lnTo>
                    <a:pt x="518" y="213"/>
                  </a:lnTo>
                  <a:lnTo>
                    <a:pt x="520" y="213"/>
                  </a:lnTo>
                  <a:lnTo>
                    <a:pt x="520" y="211"/>
                  </a:lnTo>
                  <a:lnTo>
                    <a:pt x="522" y="208"/>
                  </a:lnTo>
                  <a:lnTo>
                    <a:pt x="522" y="208"/>
                  </a:lnTo>
                  <a:lnTo>
                    <a:pt x="522" y="208"/>
                  </a:lnTo>
                  <a:lnTo>
                    <a:pt x="525" y="206"/>
                  </a:lnTo>
                  <a:lnTo>
                    <a:pt x="527" y="208"/>
                  </a:lnTo>
                  <a:lnTo>
                    <a:pt x="530" y="208"/>
                  </a:lnTo>
                  <a:lnTo>
                    <a:pt x="530" y="211"/>
                  </a:lnTo>
                  <a:lnTo>
                    <a:pt x="532" y="211"/>
                  </a:lnTo>
                  <a:lnTo>
                    <a:pt x="532" y="211"/>
                  </a:lnTo>
                  <a:lnTo>
                    <a:pt x="534" y="211"/>
                  </a:lnTo>
                  <a:lnTo>
                    <a:pt x="534" y="211"/>
                  </a:lnTo>
                  <a:lnTo>
                    <a:pt x="534" y="211"/>
                  </a:lnTo>
                  <a:lnTo>
                    <a:pt x="534" y="208"/>
                  </a:lnTo>
                  <a:lnTo>
                    <a:pt x="539" y="206"/>
                  </a:lnTo>
                  <a:lnTo>
                    <a:pt x="539" y="203"/>
                  </a:lnTo>
                  <a:lnTo>
                    <a:pt x="541" y="203"/>
                  </a:lnTo>
                  <a:lnTo>
                    <a:pt x="544" y="203"/>
                  </a:lnTo>
                  <a:lnTo>
                    <a:pt x="544" y="203"/>
                  </a:lnTo>
                  <a:lnTo>
                    <a:pt x="544" y="201"/>
                  </a:lnTo>
                  <a:lnTo>
                    <a:pt x="544" y="201"/>
                  </a:lnTo>
                  <a:lnTo>
                    <a:pt x="546" y="201"/>
                  </a:lnTo>
                  <a:lnTo>
                    <a:pt x="546" y="199"/>
                  </a:lnTo>
                  <a:lnTo>
                    <a:pt x="548" y="199"/>
                  </a:lnTo>
                  <a:lnTo>
                    <a:pt x="551" y="199"/>
                  </a:lnTo>
                  <a:lnTo>
                    <a:pt x="551" y="199"/>
                  </a:lnTo>
                  <a:lnTo>
                    <a:pt x="551" y="199"/>
                  </a:lnTo>
                  <a:lnTo>
                    <a:pt x="553" y="201"/>
                  </a:lnTo>
                  <a:lnTo>
                    <a:pt x="555" y="201"/>
                  </a:lnTo>
                  <a:lnTo>
                    <a:pt x="555" y="201"/>
                  </a:lnTo>
                  <a:lnTo>
                    <a:pt x="555" y="203"/>
                  </a:lnTo>
                  <a:lnTo>
                    <a:pt x="555" y="203"/>
                  </a:lnTo>
                  <a:lnTo>
                    <a:pt x="558" y="206"/>
                  </a:lnTo>
                  <a:lnTo>
                    <a:pt x="558" y="208"/>
                  </a:lnTo>
                  <a:lnTo>
                    <a:pt x="565" y="213"/>
                  </a:lnTo>
                  <a:lnTo>
                    <a:pt x="565" y="213"/>
                  </a:lnTo>
                  <a:lnTo>
                    <a:pt x="567" y="213"/>
                  </a:lnTo>
                  <a:lnTo>
                    <a:pt x="567" y="213"/>
                  </a:lnTo>
                  <a:lnTo>
                    <a:pt x="567" y="211"/>
                  </a:lnTo>
                  <a:lnTo>
                    <a:pt x="570" y="211"/>
                  </a:lnTo>
                  <a:lnTo>
                    <a:pt x="572" y="211"/>
                  </a:lnTo>
                  <a:lnTo>
                    <a:pt x="572" y="208"/>
                  </a:lnTo>
                  <a:lnTo>
                    <a:pt x="574" y="211"/>
                  </a:lnTo>
                  <a:lnTo>
                    <a:pt x="574" y="211"/>
                  </a:lnTo>
                  <a:lnTo>
                    <a:pt x="574" y="213"/>
                  </a:lnTo>
                  <a:lnTo>
                    <a:pt x="574" y="215"/>
                  </a:lnTo>
                  <a:lnTo>
                    <a:pt x="577" y="215"/>
                  </a:lnTo>
                  <a:lnTo>
                    <a:pt x="577" y="215"/>
                  </a:lnTo>
                  <a:lnTo>
                    <a:pt x="579" y="215"/>
                  </a:lnTo>
                  <a:lnTo>
                    <a:pt x="579" y="213"/>
                  </a:lnTo>
                  <a:lnTo>
                    <a:pt x="579" y="215"/>
                  </a:lnTo>
                  <a:lnTo>
                    <a:pt x="584" y="213"/>
                  </a:lnTo>
                  <a:lnTo>
                    <a:pt x="586" y="215"/>
                  </a:lnTo>
                  <a:lnTo>
                    <a:pt x="586" y="213"/>
                  </a:lnTo>
                  <a:lnTo>
                    <a:pt x="586" y="211"/>
                  </a:lnTo>
                  <a:lnTo>
                    <a:pt x="586" y="211"/>
                  </a:lnTo>
                  <a:lnTo>
                    <a:pt x="586" y="208"/>
                  </a:lnTo>
                  <a:lnTo>
                    <a:pt x="589" y="208"/>
                  </a:lnTo>
                  <a:lnTo>
                    <a:pt x="589" y="208"/>
                  </a:lnTo>
                  <a:lnTo>
                    <a:pt x="591" y="208"/>
                  </a:lnTo>
                  <a:lnTo>
                    <a:pt x="593" y="211"/>
                  </a:lnTo>
                  <a:lnTo>
                    <a:pt x="593" y="211"/>
                  </a:lnTo>
                  <a:lnTo>
                    <a:pt x="596" y="211"/>
                  </a:lnTo>
                  <a:lnTo>
                    <a:pt x="596" y="211"/>
                  </a:lnTo>
                  <a:lnTo>
                    <a:pt x="596" y="208"/>
                  </a:lnTo>
                  <a:lnTo>
                    <a:pt x="593" y="201"/>
                  </a:lnTo>
                  <a:lnTo>
                    <a:pt x="589" y="201"/>
                  </a:lnTo>
                  <a:lnTo>
                    <a:pt x="589" y="199"/>
                  </a:lnTo>
                  <a:lnTo>
                    <a:pt x="586" y="199"/>
                  </a:lnTo>
                  <a:lnTo>
                    <a:pt x="586" y="196"/>
                  </a:lnTo>
                  <a:lnTo>
                    <a:pt x="589" y="194"/>
                  </a:lnTo>
                  <a:lnTo>
                    <a:pt x="591" y="194"/>
                  </a:lnTo>
                  <a:lnTo>
                    <a:pt x="591" y="194"/>
                  </a:lnTo>
                  <a:lnTo>
                    <a:pt x="593" y="192"/>
                  </a:lnTo>
                  <a:lnTo>
                    <a:pt x="591" y="189"/>
                  </a:lnTo>
                  <a:lnTo>
                    <a:pt x="591" y="187"/>
                  </a:lnTo>
                  <a:lnTo>
                    <a:pt x="589" y="185"/>
                  </a:lnTo>
                  <a:lnTo>
                    <a:pt x="589" y="182"/>
                  </a:lnTo>
                  <a:lnTo>
                    <a:pt x="591" y="182"/>
                  </a:lnTo>
                  <a:lnTo>
                    <a:pt x="593" y="182"/>
                  </a:lnTo>
                  <a:lnTo>
                    <a:pt x="593" y="182"/>
                  </a:lnTo>
                  <a:lnTo>
                    <a:pt x="593" y="180"/>
                  </a:lnTo>
                  <a:lnTo>
                    <a:pt x="593" y="177"/>
                  </a:lnTo>
                  <a:lnTo>
                    <a:pt x="591" y="177"/>
                  </a:lnTo>
                  <a:lnTo>
                    <a:pt x="589" y="175"/>
                  </a:lnTo>
                  <a:lnTo>
                    <a:pt x="586" y="175"/>
                  </a:lnTo>
                  <a:lnTo>
                    <a:pt x="586" y="175"/>
                  </a:lnTo>
                  <a:lnTo>
                    <a:pt x="586" y="173"/>
                  </a:lnTo>
                  <a:lnTo>
                    <a:pt x="586" y="173"/>
                  </a:lnTo>
                  <a:lnTo>
                    <a:pt x="586" y="170"/>
                  </a:lnTo>
                  <a:lnTo>
                    <a:pt x="589" y="170"/>
                  </a:lnTo>
                  <a:lnTo>
                    <a:pt x="589" y="168"/>
                  </a:lnTo>
                  <a:lnTo>
                    <a:pt x="584" y="166"/>
                  </a:lnTo>
                  <a:lnTo>
                    <a:pt x="584" y="166"/>
                  </a:lnTo>
                  <a:lnTo>
                    <a:pt x="586" y="163"/>
                  </a:lnTo>
                  <a:lnTo>
                    <a:pt x="584" y="161"/>
                  </a:lnTo>
                  <a:lnTo>
                    <a:pt x="584" y="161"/>
                  </a:lnTo>
                  <a:lnTo>
                    <a:pt x="577" y="154"/>
                  </a:lnTo>
                  <a:lnTo>
                    <a:pt x="577" y="154"/>
                  </a:lnTo>
                  <a:lnTo>
                    <a:pt x="574" y="156"/>
                  </a:lnTo>
                  <a:lnTo>
                    <a:pt x="574" y="154"/>
                  </a:lnTo>
                  <a:lnTo>
                    <a:pt x="572" y="154"/>
                  </a:lnTo>
                  <a:lnTo>
                    <a:pt x="572" y="154"/>
                  </a:lnTo>
                  <a:lnTo>
                    <a:pt x="570" y="151"/>
                  </a:lnTo>
                  <a:lnTo>
                    <a:pt x="567" y="151"/>
                  </a:lnTo>
                  <a:lnTo>
                    <a:pt x="565" y="151"/>
                  </a:lnTo>
                  <a:lnTo>
                    <a:pt x="563" y="151"/>
                  </a:lnTo>
                  <a:lnTo>
                    <a:pt x="563" y="151"/>
                  </a:lnTo>
                  <a:lnTo>
                    <a:pt x="558" y="156"/>
                  </a:lnTo>
                  <a:lnTo>
                    <a:pt x="555" y="156"/>
                  </a:lnTo>
                  <a:lnTo>
                    <a:pt x="555" y="154"/>
                  </a:lnTo>
                  <a:lnTo>
                    <a:pt x="555" y="154"/>
                  </a:lnTo>
                  <a:lnTo>
                    <a:pt x="555" y="151"/>
                  </a:lnTo>
                  <a:lnTo>
                    <a:pt x="553" y="154"/>
                  </a:lnTo>
                  <a:lnTo>
                    <a:pt x="548" y="151"/>
                  </a:lnTo>
                  <a:lnTo>
                    <a:pt x="544" y="154"/>
                  </a:lnTo>
                  <a:lnTo>
                    <a:pt x="539" y="154"/>
                  </a:lnTo>
                  <a:lnTo>
                    <a:pt x="537" y="151"/>
                  </a:lnTo>
                  <a:lnTo>
                    <a:pt x="534" y="149"/>
                  </a:lnTo>
                  <a:lnTo>
                    <a:pt x="532" y="149"/>
                  </a:lnTo>
                  <a:lnTo>
                    <a:pt x="532" y="151"/>
                  </a:lnTo>
                  <a:lnTo>
                    <a:pt x="530" y="151"/>
                  </a:lnTo>
                  <a:lnTo>
                    <a:pt x="525" y="151"/>
                  </a:lnTo>
                  <a:lnTo>
                    <a:pt x="525" y="154"/>
                  </a:lnTo>
                  <a:lnTo>
                    <a:pt x="522" y="151"/>
                  </a:lnTo>
                  <a:lnTo>
                    <a:pt x="522" y="154"/>
                  </a:lnTo>
                  <a:lnTo>
                    <a:pt x="520" y="151"/>
                  </a:lnTo>
                  <a:lnTo>
                    <a:pt x="520" y="149"/>
                  </a:lnTo>
                  <a:lnTo>
                    <a:pt x="520" y="147"/>
                  </a:lnTo>
                  <a:lnTo>
                    <a:pt x="518" y="147"/>
                  </a:lnTo>
                  <a:lnTo>
                    <a:pt x="518" y="147"/>
                  </a:lnTo>
                  <a:lnTo>
                    <a:pt x="515" y="147"/>
                  </a:lnTo>
                  <a:lnTo>
                    <a:pt x="511" y="151"/>
                  </a:lnTo>
                  <a:lnTo>
                    <a:pt x="511" y="151"/>
                  </a:lnTo>
                  <a:lnTo>
                    <a:pt x="508" y="154"/>
                  </a:lnTo>
                  <a:lnTo>
                    <a:pt x="508" y="154"/>
                  </a:lnTo>
                  <a:lnTo>
                    <a:pt x="506" y="154"/>
                  </a:lnTo>
                  <a:lnTo>
                    <a:pt x="504" y="151"/>
                  </a:lnTo>
                  <a:lnTo>
                    <a:pt x="504" y="125"/>
                  </a:lnTo>
                  <a:lnTo>
                    <a:pt x="504" y="88"/>
                  </a:lnTo>
                  <a:lnTo>
                    <a:pt x="504" y="69"/>
                  </a:lnTo>
                  <a:lnTo>
                    <a:pt x="506" y="69"/>
                  </a:lnTo>
                  <a:lnTo>
                    <a:pt x="506" y="71"/>
                  </a:lnTo>
                  <a:lnTo>
                    <a:pt x="506" y="71"/>
                  </a:lnTo>
                  <a:lnTo>
                    <a:pt x="511" y="71"/>
                  </a:lnTo>
                  <a:lnTo>
                    <a:pt x="511" y="71"/>
                  </a:lnTo>
                  <a:lnTo>
                    <a:pt x="511" y="71"/>
                  </a:lnTo>
                  <a:lnTo>
                    <a:pt x="513" y="69"/>
                  </a:lnTo>
                  <a:lnTo>
                    <a:pt x="513" y="69"/>
                  </a:lnTo>
                  <a:lnTo>
                    <a:pt x="515" y="66"/>
                  </a:lnTo>
                  <a:lnTo>
                    <a:pt x="518" y="66"/>
                  </a:lnTo>
                  <a:lnTo>
                    <a:pt x="520" y="66"/>
                  </a:lnTo>
                  <a:lnTo>
                    <a:pt x="520" y="64"/>
                  </a:lnTo>
                  <a:lnTo>
                    <a:pt x="522" y="66"/>
                  </a:lnTo>
                  <a:lnTo>
                    <a:pt x="525" y="66"/>
                  </a:lnTo>
                  <a:lnTo>
                    <a:pt x="525" y="66"/>
                  </a:lnTo>
                  <a:lnTo>
                    <a:pt x="525" y="66"/>
                  </a:lnTo>
                  <a:lnTo>
                    <a:pt x="527" y="66"/>
                  </a:lnTo>
                  <a:lnTo>
                    <a:pt x="530" y="66"/>
                  </a:lnTo>
                  <a:lnTo>
                    <a:pt x="530" y="66"/>
                  </a:lnTo>
                  <a:lnTo>
                    <a:pt x="532" y="64"/>
                  </a:lnTo>
                  <a:lnTo>
                    <a:pt x="532" y="64"/>
                  </a:lnTo>
                  <a:lnTo>
                    <a:pt x="534" y="64"/>
                  </a:lnTo>
                  <a:lnTo>
                    <a:pt x="539" y="62"/>
                  </a:lnTo>
                  <a:lnTo>
                    <a:pt x="541" y="59"/>
                  </a:lnTo>
                  <a:lnTo>
                    <a:pt x="548" y="64"/>
                  </a:lnTo>
                  <a:lnTo>
                    <a:pt x="548" y="62"/>
                  </a:lnTo>
                  <a:lnTo>
                    <a:pt x="548" y="64"/>
                  </a:lnTo>
                  <a:lnTo>
                    <a:pt x="551" y="64"/>
                  </a:lnTo>
                  <a:lnTo>
                    <a:pt x="551" y="62"/>
                  </a:lnTo>
                  <a:lnTo>
                    <a:pt x="551" y="64"/>
                  </a:lnTo>
                  <a:lnTo>
                    <a:pt x="553" y="64"/>
                  </a:lnTo>
                  <a:lnTo>
                    <a:pt x="553" y="64"/>
                  </a:lnTo>
                  <a:lnTo>
                    <a:pt x="558" y="64"/>
                  </a:lnTo>
                  <a:lnTo>
                    <a:pt x="560" y="66"/>
                  </a:lnTo>
                  <a:lnTo>
                    <a:pt x="560" y="69"/>
                  </a:lnTo>
                  <a:lnTo>
                    <a:pt x="563" y="69"/>
                  </a:lnTo>
                  <a:lnTo>
                    <a:pt x="589" y="69"/>
                  </a:lnTo>
                  <a:lnTo>
                    <a:pt x="650" y="69"/>
                  </a:lnTo>
                  <a:lnTo>
                    <a:pt x="716" y="69"/>
                  </a:lnTo>
                  <a:lnTo>
                    <a:pt x="718" y="69"/>
                  </a:lnTo>
                  <a:lnTo>
                    <a:pt x="718" y="66"/>
                  </a:lnTo>
                  <a:lnTo>
                    <a:pt x="716" y="64"/>
                  </a:lnTo>
                  <a:lnTo>
                    <a:pt x="714" y="64"/>
                  </a:lnTo>
                  <a:lnTo>
                    <a:pt x="716" y="62"/>
                  </a:lnTo>
                  <a:lnTo>
                    <a:pt x="714" y="62"/>
                  </a:lnTo>
                  <a:lnTo>
                    <a:pt x="711" y="62"/>
                  </a:lnTo>
                  <a:lnTo>
                    <a:pt x="711" y="62"/>
                  </a:lnTo>
                  <a:lnTo>
                    <a:pt x="709" y="62"/>
                  </a:lnTo>
                  <a:lnTo>
                    <a:pt x="707" y="62"/>
                  </a:lnTo>
                  <a:lnTo>
                    <a:pt x="707" y="59"/>
                  </a:lnTo>
                  <a:lnTo>
                    <a:pt x="707" y="55"/>
                  </a:lnTo>
                  <a:lnTo>
                    <a:pt x="707" y="55"/>
                  </a:lnTo>
                  <a:lnTo>
                    <a:pt x="704" y="55"/>
                  </a:lnTo>
                  <a:lnTo>
                    <a:pt x="704" y="52"/>
                  </a:lnTo>
                  <a:lnTo>
                    <a:pt x="704" y="50"/>
                  </a:lnTo>
                  <a:lnTo>
                    <a:pt x="707" y="48"/>
                  </a:lnTo>
                  <a:lnTo>
                    <a:pt x="707" y="43"/>
                  </a:lnTo>
                  <a:lnTo>
                    <a:pt x="707" y="40"/>
                  </a:lnTo>
                  <a:lnTo>
                    <a:pt x="709" y="38"/>
                  </a:lnTo>
                  <a:lnTo>
                    <a:pt x="711" y="38"/>
                  </a:lnTo>
                  <a:lnTo>
                    <a:pt x="714" y="38"/>
                  </a:lnTo>
                  <a:lnTo>
                    <a:pt x="714" y="36"/>
                  </a:lnTo>
                  <a:lnTo>
                    <a:pt x="716" y="33"/>
                  </a:lnTo>
                  <a:lnTo>
                    <a:pt x="718" y="36"/>
                  </a:lnTo>
                  <a:lnTo>
                    <a:pt x="718" y="36"/>
                  </a:lnTo>
                  <a:lnTo>
                    <a:pt x="721" y="36"/>
                  </a:lnTo>
                  <a:lnTo>
                    <a:pt x="723" y="36"/>
                  </a:lnTo>
                  <a:lnTo>
                    <a:pt x="723" y="40"/>
                  </a:lnTo>
                  <a:lnTo>
                    <a:pt x="726" y="40"/>
                  </a:lnTo>
                  <a:lnTo>
                    <a:pt x="726" y="45"/>
                  </a:lnTo>
                  <a:lnTo>
                    <a:pt x="726" y="45"/>
                  </a:lnTo>
                  <a:lnTo>
                    <a:pt x="728" y="45"/>
                  </a:lnTo>
                  <a:lnTo>
                    <a:pt x="730" y="45"/>
                  </a:lnTo>
                  <a:lnTo>
                    <a:pt x="733" y="45"/>
                  </a:lnTo>
                  <a:lnTo>
                    <a:pt x="735" y="48"/>
                  </a:lnTo>
                  <a:lnTo>
                    <a:pt x="737" y="50"/>
                  </a:lnTo>
                  <a:lnTo>
                    <a:pt x="742" y="55"/>
                  </a:lnTo>
                  <a:lnTo>
                    <a:pt x="744" y="55"/>
                  </a:lnTo>
                  <a:lnTo>
                    <a:pt x="747" y="55"/>
                  </a:lnTo>
                  <a:lnTo>
                    <a:pt x="747" y="52"/>
                  </a:lnTo>
                  <a:lnTo>
                    <a:pt x="749" y="52"/>
                  </a:lnTo>
                  <a:lnTo>
                    <a:pt x="749" y="50"/>
                  </a:lnTo>
                  <a:lnTo>
                    <a:pt x="749" y="45"/>
                  </a:lnTo>
                  <a:lnTo>
                    <a:pt x="752" y="45"/>
                  </a:lnTo>
                  <a:lnTo>
                    <a:pt x="756" y="43"/>
                  </a:lnTo>
                  <a:lnTo>
                    <a:pt x="759" y="38"/>
                  </a:lnTo>
                  <a:lnTo>
                    <a:pt x="759" y="38"/>
                  </a:lnTo>
                  <a:lnTo>
                    <a:pt x="761" y="36"/>
                  </a:lnTo>
                  <a:lnTo>
                    <a:pt x="766" y="29"/>
                  </a:lnTo>
                  <a:lnTo>
                    <a:pt x="768" y="26"/>
                  </a:lnTo>
                  <a:lnTo>
                    <a:pt x="770" y="26"/>
                  </a:lnTo>
                  <a:lnTo>
                    <a:pt x="775" y="29"/>
                  </a:lnTo>
                  <a:lnTo>
                    <a:pt x="782" y="29"/>
                  </a:lnTo>
                  <a:lnTo>
                    <a:pt x="787" y="29"/>
                  </a:lnTo>
                  <a:lnTo>
                    <a:pt x="787" y="29"/>
                  </a:lnTo>
                  <a:lnTo>
                    <a:pt x="789" y="22"/>
                  </a:lnTo>
                  <a:lnTo>
                    <a:pt x="794" y="19"/>
                  </a:lnTo>
                  <a:lnTo>
                    <a:pt x="794" y="14"/>
                  </a:lnTo>
                  <a:lnTo>
                    <a:pt x="796" y="12"/>
                  </a:lnTo>
                  <a:lnTo>
                    <a:pt x="799" y="10"/>
                  </a:lnTo>
                  <a:lnTo>
                    <a:pt x="808" y="5"/>
                  </a:lnTo>
                  <a:lnTo>
                    <a:pt x="808" y="3"/>
                  </a:lnTo>
                  <a:lnTo>
                    <a:pt x="811" y="0"/>
                  </a:lnTo>
                  <a:lnTo>
                    <a:pt x="813" y="0"/>
                  </a:lnTo>
                  <a:lnTo>
                    <a:pt x="815" y="0"/>
                  </a:lnTo>
                  <a:lnTo>
                    <a:pt x="818" y="3"/>
                  </a:lnTo>
                  <a:lnTo>
                    <a:pt x="822" y="5"/>
                  </a:lnTo>
                  <a:lnTo>
                    <a:pt x="822" y="19"/>
                  </a:lnTo>
                  <a:lnTo>
                    <a:pt x="822" y="22"/>
                  </a:lnTo>
                  <a:lnTo>
                    <a:pt x="822" y="29"/>
                  </a:lnTo>
                  <a:lnTo>
                    <a:pt x="827" y="43"/>
                  </a:lnTo>
                  <a:lnTo>
                    <a:pt x="827" y="48"/>
                  </a:lnTo>
                  <a:lnTo>
                    <a:pt x="830" y="48"/>
                  </a:lnTo>
                  <a:lnTo>
                    <a:pt x="834" y="52"/>
                  </a:lnTo>
                  <a:lnTo>
                    <a:pt x="834" y="50"/>
                  </a:lnTo>
                  <a:lnTo>
                    <a:pt x="841" y="52"/>
                  </a:lnTo>
                  <a:lnTo>
                    <a:pt x="844" y="52"/>
                  </a:lnTo>
                  <a:lnTo>
                    <a:pt x="846" y="55"/>
                  </a:lnTo>
                  <a:lnTo>
                    <a:pt x="848" y="59"/>
                  </a:lnTo>
                  <a:lnTo>
                    <a:pt x="851" y="62"/>
                  </a:lnTo>
                  <a:lnTo>
                    <a:pt x="853" y="69"/>
                  </a:lnTo>
                  <a:lnTo>
                    <a:pt x="851" y="71"/>
                  </a:lnTo>
                  <a:lnTo>
                    <a:pt x="853" y="74"/>
                  </a:lnTo>
                  <a:lnTo>
                    <a:pt x="853" y="78"/>
                  </a:lnTo>
                  <a:lnTo>
                    <a:pt x="853" y="81"/>
                  </a:lnTo>
                  <a:lnTo>
                    <a:pt x="856" y="97"/>
                  </a:lnTo>
                  <a:lnTo>
                    <a:pt x="856" y="102"/>
                  </a:lnTo>
                  <a:lnTo>
                    <a:pt x="856" y="107"/>
                  </a:lnTo>
                  <a:lnTo>
                    <a:pt x="853" y="111"/>
                  </a:lnTo>
                  <a:lnTo>
                    <a:pt x="853" y="121"/>
                  </a:lnTo>
                  <a:lnTo>
                    <a:pt x="853" y="133"/>
                  </a:lnTo>
                  <a:lnTo>
                    <a:pt x="853" y="137"/>
                  </a:lnTo>
                  <a:lnTo>
                    <a:pt x="853" y="142"/>
                  </a:lnTo>
                  <a:lnTo>
                    <a:pt x="881" y="133"/>
                  </a:lnTo>
                  <a:lnTo>
                    <a:pt x="915" y="163"/>
                  </a:lnTo>
                  <a:lnTo>
                    <a:pt x="952" y="194"/>
                  </a:lnTo>
                  <a:lnTo>
                    <a:pt x="964" y="192"/>
                  </a:lnTo>
                  <a:lnTo>
                    <a:pt x="967" y="192"/>
                  </a:lnTo>
                  <a:lnTo>
                    <a:pt x="969" y="194"/>
                  </a:lnTo>
                  <a:lnTo>
                    <a:pt x="971" y="194"/>
                  </a:lnTo>
                  <a:lnTo>
                    <a:pt x="971" y="196"/>
                  </a:lnTo>
                  <a:lnTo>
                    <a:pt x="971" y="196"/>
                  </a:lnTo>
                  <a:lnTo>
                    <a:pt x="976" y="196"/>
                  </a:lnTo>
                  <a:lnTo>
                    <a:pt x="976" y="194"/>
                  </a:lnTo>
                  <a:lnTo>
                    <a:pt x="978" y="194"/>
                  </a:lnTo>
                  <a:lnTo>
                    <a:pt x="981" y="194"/>
                  </a:lnTo>
                  <a:lnTo>
                    <a:pt x="981" y="194"/>
                  </a:lnTo>
                  <a:lnTo>
                    <a:pt x="981" y="192"/>
                  </a:lnTo>
                  <a:lnTo>
                    <a:pt x="983" y="189"/>
                  </a:lnTo>
                  <a:lnTo>
                    <a:pt x="983" y="189"/>
                  </a:lnTo>
                  <a:lnTo>
                    <a:pt x="983" y="189"/>
                  </a:lnTo>
                  <a:lnTo>
                    <a:pt x="988" y="189"/>
                  </a:lnTo>
                  <a:lnTo>
                    <a:pt x="990" y="189"/>
                  </a:lnTo>
                  <a:lnTo>
                    <a:pt x="990" y="189"/>
                  </a:lnTo>
                  <a:lnTo>
                    <a:pt x="993" y="189"/>
                  </a:lnTo>
                  <a:lnTo>
                    <a:pt x="993" y="189"/>
                  </a:lnTo>
                  <a:lnTo>
                    <a:pt x="995" y="189"/>
                  </a:lnTo>
                  <a:lnTo>
                    <a:pt x="995" y="189"/>
                  </a:lnTo>
                  <a:lnTo>
                    <a:pt x="997" y="189"/>
                  </a:lnTo>
                  <a:lnTo>
                    <a:pt x="997" y="187"/>
                  </a:lnTo>
                  <a:lnTo>
                    <a:pt x="997" y="185"/>
                  </a:lnTo>
                  <a:lnTo>
                    <a:pt x="997" y="182"/>
                  </a:lnTo>
                  <a:lnTo>
                    <a:pt x="1000" y="182"/>
                  </a:lnTo>
                  <a:lnTo>
                    <a:pt x="1000" y="180"/>
                  </a:lnTo>
                  <a:lnTo>
                    <a:pt x="1000" y="177"/>
                  </a:lnTo>
                  <a:lnTo>
                    <a:pt x="1002" y="177"/>
                  </a:lnTo>
                  <a:lnTo>
                    <a:pt x="1004" y="180"/>
                  </a:lnTo>
                  <a:lnTo>
                    <a:pt x="1004" y="177"/>
                  </a:lnTo>
                  <a:lnTo>
                    <a:pt x="1007" y="175"/>
                  </a:lnTo>
                  <a:lnTo>
                    <a:pt x="1007" y="173"/>
                  </a:lnTo>
                  <a:lnTo>
                    <a:pt x="1007" y="173"/>
                  </a:lnTo>
                  <a:lnTo>
                    <a:pt x="1009" y="173"/>
                  </a:lnTo>
                  <a:lnTo>
                    <a:pt x="1011" y="170"/>
                  </a:lnTo>
                  <a:lnTo>
                    <a:pt x="1016" y="170"/>
                  </a:lnTo>
                  <a:lnTo>
                    <a:pt x="1016" y="170"/>
                  </a:lnTo>
                  <a:lnTo>
                    <a:pt x="1019" y="170"/>
                  </a:lnTo>
                  <a:lnTo>
                    <a:pt x="1019" y="168"/>
                  </a:lnTo>
                  <a:lnTo>
                    <a:pt x="1019" y="168"/>
                  </a:lnTo>
                  <a:lnTo>
                    <a:pt x="1021" y="168"/>
                  </a:lnTo>
                  <a:lnTo>
                    <a:pt x="1021" y="168"/>
                  </a:lnTo>
                  <a:lnTo>
                    <a:pt x="1021" y="166"/>
                  </a:lnTo>
                  <a:lnTo>
                    <a:pt x="1023" y="166"/>
                  </a:lnTo>
                  <a:lnTo>
                    <a:pt x="1026" y="163"/>
                  </a:lnTo>
                  <a:lnTo>
                    <a:pt x="1026" y="163"/>
                  </a:lnTo>
                  <a:lnTo>
                    <a:pt x="1028" y="163"/>
                  </a:lnTo>
                  <a:lnTo>
                    <a:pt x="1028" y="163"/>
                  </a:lnTo>
                  <a:lnTo>
                    <a:pt x="1030" y="163"/>
                  </a:lnTo>
                  <a:lnTo>
                    <a:pt x="1030" y="163"/>
                  </a:lnTo>
                  <a:lnTo>
                    <a:pt x="1030" y="163"/>
                  </a:lnTo>
                  <a:lnTo>
                    <a:pt x="1033" y="166"/>
                  </a:lnTo>
                  <a:lnTo>
                    <a:pt x="1033" y="163"/>
                  </a:lnTo>
                  <a:lnTo>
                    <a:pt x="1035" y="161"/>
                  </a:lnTo>
                  <a:lnTo>
                    <a:pt x="1040" y="166"/>
                  </a:lnTo>
                  <a:lnTo>
                    <a:pt x="1037" y="163"/>
                  </a:lnTo>
                  <a:lnTo>
                    <a:pt x="1040" y="163"/>
                  </a:lnTo>
                  <a:lnTo>
                    <a:pt x="1040" y="161"/>
                  </a:lnTo>
                  <a:lnTo>
                    <a:pt x="1040" y="163"/>
                  </a:lnTo>
                  <a:lnTo>
                    <a:pt x="1044" y="163"/>
                  </a:lnTo>
                  <a:lnTo>
                    <a:pt x="1044" y="163"/>
                  </a:lnTo>
                  <a:lnTo>
                    <a:pt x="1044" y="166"/>
                  </a:lnTo>
                  <a:lnTo>
                    <a:pt x="1047" y="163"/>
                  </a:lnTo>
                  <a:lnTo>
                    <a:pt x="1047" y="163"/>
                  </a:lnTo>
                  <a:lnTo>
                    <a:pt x="1047" y="166"/>
                  </a:lnTo>
                  <a:lnTo>
                    <a:pt x="1047" y="166"/>
                  </a:lnTo>
                  <a:lnTo>
                    <a:pt x="1049" y="166"/>
                  </a:lnTo>
                  <a:lnTo>
                    <a:pt x="1049" y="168"/>
                  </a:lnTo>
                  <a:lnTo>
                    <a:pt x="1052" y="170"/>
                  </a:lnTo>
                  <a:lnTo>
                    <a:pt x="1049" y="170"/>
                  </a:lnTo>
                  <a:lnTo>
                    <a:pt x="1052" y="173"/>
                  </a:lnTo>
                  <a:lnTo>
                    <a:pt x="1052" y="173"/>
                  </a:lnTo>
                  <a:lnTo>
                    <a:pt x="1054" y="175"/>
                  </a:lnTo>
                  <a:lnTo>
                    <a:pt x="1054" y="177"/>
                  </a:lnTo>
                  <a:lnTo>
                    <a:pt x="1054" y="177"/>
                  </a:lnTo>
                  <a:lnTo>
                    <a:pt x="1056" y="177"/>
                  </a:lnTo>
                  <a:lnTo>
                    <a:pt x="1056" y="180"/>
                  </a:lnTo>
                  <a:lnTo>
                    <a:pt x="1054" y="180"/>
                  </a:lnTo>
                  <a:lnTo>
                    <a:pt x="1054" y="185"/>
                  </a:lnTo>
                  <a:lnTo>
                    <a:pt x="1054" y="185"/>
                  </a:lnTo>
                  <a:lnTo>
                    <a:pt x="1054" y="185"/>
                  </a:lnTo>
                  <a:lnTo>
                    <a:pt x="1052" y="185"/>
                  </a:lnTo>
                  <a:lnTo>
                    <a:pt x="1052" y="185"/>
                  </a:lnTo>
                  <a:lnTo>
                    <a:pt x="1052" y="187"/>
                  </a:lnTo>
                  <a:lnTo>
                    <a:pt x="1052" y="189"/>
                  </a:lnTo>
                  <a:lnTo>
                    <a:pt x="1049" y="189"/>
                  </a:lnTo>
                  <a:lnTo>
                    <a:pt x="1049" y="189"/>
                  </a:lnTo>
                  <a:lnTo>
                    <a:pt x="1049" y="192"/>
                  </a:lnTo>
                  <a:lnTo>
                    <a:pt x="1047" y="192"/>
                  </a:lnTo>
                  <a:lnTo>
                    <a:pt x="1044" y="194"/>
                  </a:lnTo>
                  <a:lnTo>
                    <a:pt x="1044" y="196"/>
                  </a:lnTo>
                  <a:lnTo>
                    <a:pt x="1044" y="199"/>
                  </a:lnTo>
                  <a:lnTo>
                    <a:pt x="1044" y="201"/>
                  </a:lnTo>
                  <a:lnTo>
                    <a:pt x="1044" y="201"/>
                  </a:lnTo>
                  <a:lnTo>
                    <a:pt x="1047" y="206"/>
                  </a:lnTo>
                  <a:lnTo>
                    <a:pt x="1047" y="206"/>
                  </a:lnTo>
                  <a:lnTo>
                    <a:pt x="1047" y="208"/>
                  </a:lnTo>
                  <a:lnTo>
                    <a:pt x="1049" y="208"/>
                  </a:lnTo>
                  <a:lnTo>
                    <a:pt x="1049" y="208"/>
                  </a:lnTo>
                  <a:lnTo>
                    <a:pt x="1052" y="206"/>
                  </a:lnTo>
                  <a:lnTo>
                    <a:pt x="1054" y="206"/>
                  </a:lnTo>
                  <a:lnTo>
                    <a:pt x="1056" y="206"/>
                  </a:lnTo>
                  <a:lnTo>
                    <a:pt x="1056" y="206"/>
                  </a:lnTo>
                  <a:lnTo>
                    <a:pt x="1056" y="203"/>
                  </a:lnTo>
                  <a:lnTo>
                    <a:pt x="1059" y="203"/>
                  </a:lnTo>
                  <a:lnTo>
                    <a:pt x="1061" y="203"/>
                  </a:lnTo>
                  <a:lnTo>
                    <a:pt x="1063" y="203"/>
                  </a:lnTo>
                  <a:lnTo>
                    <a:pt x="1063" y="203"/>
                  </a:lnTo>
                  <a:lnTo>
                    <a:pt x="1063" y="201"/>
                  </a:lnTo>
                  <a:lnTo>
                    <a:pt x="1066" y="199"/>
                  </a:lnTo>
                  <a:lnTo>
                    <a:pt x="1066" y="199"/>
                  </a:lnTo>
                  <a:lnTo>
                    <a:pt x="1066" y="196"/>
                  </a:lnTo>
                  <a:lnTo>
                    <a:pt x="1066" y="194"/>
                  </a:lnTo>
                  <a:lnTo>
                    <a:pt x="1068" y="196"/>
                  </a:lnTo>
                  <a:lnTo>
                    <a:pt x="1068" y="194"/>
                  </a:lnTo>
                  <a:lnTo>
                    <a:pt x="1068" y="194"/>
                  </a:lnTo>
                  <a:lnTo>
                    <a:pt x="1068" y="192"/>
                  </a:lnTo>
                  <a:lnTo>
                    <a:pt x="1068" y="192"/>
                  </a:lnTo>
                  <a:lnTo>
                    <a:pt x="1068" y="192"/>
                  </a:lnTo>
                  <a:lnTo>
                    <a:pt x="1066" y="187"/>
                  </a:lnTo>
                  <a:lnTo>
                    <a:pt x="1068" y="187"/>
                  </a:lnTo>
                  <a:lnTo>
                    <a:pt x="1068" y="185"/>
                  </a:lnTo>
                  <a:lnTo>
                    <a:pt x="1068" y="182"/>
                  </a:lnTo>
                  <a:lnTo>
                    <a:pt x="1070" y="182"/>
                  </a:lnTo>
                  <a:lnTo>
                    <a:pt x="1070" y="182"/>
                  </a:lnTo>
                  <a:lnTo>
                    <a:pt x="1073" y="180"/>
                  </a:lnTo>
                  <a:lnTo>
                    <a:pt x="1073" y="180"/>
                  </a:lnTo>
                  <a:lnTo>
                    <a:pt x="1075" y="177"/>
                  </a:lnTo>
                  <a:lnTo>
                    <a:pt x="1075" y="173"/>
                  </a:lnTo>
                  <a:lnTo>
                    <a:pt x="1078" y="173"/>
                  </a:lnTo>
                  <a:lnTo>
                    <a:pt x="1080" y="170"/>
                  </a:lnTo>
                  <a:lnTo>
                    <a:pt x="1082" y="170"/>
                  </a:lnTo>
                  <a:lnTo>
                    <a:pt x="1085" y="170"/>
                  </a:lnTo>
                  <a:lnTo>
                    <a:pt x="1085" y="173"/>
                  </a:lnTo>
                  <a:lnTo>
                    <a:pt x="1085" y="173"/>
                  </a:lnTo>
                  <a:lnTo>
                    <a:pt x="1085" y="173"/>
                  </a:lnTo>
                  <a:lnTo>
                    <a:pt x="1085" y="173"/>
                  </a:lnTo>
                  <a:lnTo>
                    <a:pt x="1087" y="173"/>
                  </a:lnTo>
                  <a:lnTo>
                    <a:pt x="1089" y="173"/>
                  </a:lnTo>
                  <a:lnTo>
                    <a:pt x="1092" y="173"/>
                  </a:lnTo>
                  <a:lnTo>
                    <a:pt x="1092" y="175"/>
                  </a:lnTo>
                  <a:lnTo>
                    <a:pt x="1092" y="175"/>
                  </a:lnTo>
                  <a:lnTo>
                    <a:pt x="1094" y="175"/>
                  </a:lnTo>
                  <a:lnTo>
                    <a:pt x="1094" y="173"/>
                  </a:lnTo>
                  <a:lnTo>
                    <a:pt x="1096" y="170"/>
                  </a:lnTo>
                  <a:lnTo>
                    <a:pt x="1099" y="166"/>
                  </a:lnTo>
                  <a:lnTo>
                    <a:pt x="1099" y="166"/>
                  </a:lnTo>
                  <a:lnTo>
                    <a:pt x="1099" y="163"/>
                  </a:lnTo>
                  <a:lnTo>
                    <a:pt x="1096" y="161"/>
                  </a:lnTo>
                  <a:lnTo>
                    <a:pt x="1096" y="161"/>
                  </a:lnTo>
                  <a:lnTo>
                    <a:pt x="1096" y="161"/>
                  </a:lnTo>
                  <a:lnTo>
                    <a:pt x="1099" y="159"/>
                  </a:lnTo>
                  <a:lnTo>
                    <a:pt x="1099" y="156"/>
                  </a:lnTo>
                  <a:lnTo>
                    <a:pt x="1099" y="151"/>
                  </a:lnTo>
                  <a:lnTo>
                    <a:pt x="1099" y="149"/>
                  </a:lnTo>
                  <a:lnTo>
                    <a:pt x="1099" y="147"/>
                  </a:lnTo>
                  <a:lnTo>
                    <a:pt x="1101" y="147"/>
                  </a:lnTo>
                  <a:lnTo>
                    <a:pt x="1104" y="147"/>
                  </a:lnTo>
                  <a:lnTo>
                    <a:pt x="1104" y="144"/>
                  </a:lnTo>
                  <a:lnTo>
                    <a:pt x="1106" y="142"/>
                  </a:lnTo>
                  <a:lnTo>
                    <a:pt x="1108" y="144"/>
                  </a:lnTo>
                  <a:lnTo>
                    <a:pt x="1108" y="144"/>
                  </a:lnTo>
                  <a:lnTo>
                    <a:pt x="1108" y="144"/>
                  </a:lnTo>
                  <a:lnTo>
                    <a:pt x="1111" y="144"/>
                  </a:lnTo>
                  <a:lnTo>
                    <a:pt x="1111" y="147"/>
                  </a:lnTo>
                  <a:lnTo>
                    <a:pt x="1111" y="149"/>
                  </a:lnTo>
                  <a:lnTo>
                    <a:pt x="1113" y="147"/>
                  </a:lnTo>
                  <a:lnTo>
                    <a:pt x="1115" y="149"/>
                  </a:lnTo>
                  <a:lnTo>
                    <a:pt x="1115" y="147"/>
                  </a:lnTo>
                  <a:lnTo>
                    <a:pt x="1118" y="147"/>
                  </a:lnTo>
                  <a:lnTo>
                    <a:pt x="1120" y="144"/>
                  </a:lnTo>
                  <a:lnTo>
                    <a:pt x="1122" y="140"/>
                  </a:lnTo>
                  <a:lnTo>
                    <a:pt x="1122" y="137"/>
                  </a:lnTo>
                  <a:lnTo>
                    <a:pt x="1122" y="137"/>
                  </a:lnTo>
                  <a:lnTo>
                    <a:pt x="1122" y="135"/>
                  </a:lnTo>
                  <a:lnTo>
                    <a:pt x="1122" y="133"/>
                  </a:lnTo>
                  <a:lnTo>
                    <a:pt x="1125" y="133"/>
                  </a:lnTo>
                  <a:lnTo>
                    <a:pt x="1125" y="135"/>
                  </a:lnTo>
                  <a:lnTo>
                    <a:pt x="1125" y="135"/>
                  </a:lnTo>
                  <a:lnTo>
                    <a:pt x="1127" y="135"/>
                  </a:lnTo>
                  <a:lnTo>
                    <a:pt x="1127" y="135"/>
                  </a:lnTo>
                  <a:lnTo>
                    <a:pt x="1130" y="133"/>
                  </a:lnTo>
                  <a:lnTo>
                    <a:pt x="1130" y="130"/>
                  </a:lnTo>
                  <a:lnTo>
                    <a:pt x="1130" y="130"/>
                  </a:lnTo>
                  <a:lnTo>
                    <a:pt x="1132" y="130"/>
                  </a:lnTo>
                  <a:lnTo>
                    <a:pt x="1132" y="130"/>
                  </a:lnTo>
                  <a:lnTo>
                    <a:pt x="1132" y="133"/>
                  </a:lnTo>
                  <a:lnTo>
                    <a:pt x="1134" y="133"/>
                  </a:lnTo>
                  <a:lnTo>
                    <a:pt x="1134" y="133"/>
                  </a:lnTo>
                  <a:lnTo>
                    <a:pt x="1134" y="130"/>
                  </a:lnTo>
                  <a:lnTo>
                    <a:pt x="1137" y="128"/>
                  </a:lnTo>
                  <a:lnTo>
                    <a:pt x="1137" y="128"/>
                  </a:lnTo>
                  <a:lnTo>
                    <a:pt x="1141" y="125"/>
                  </a:lnTo>
                  <a:lnTo>
                    <a:pt x="1141" y="121"/>
                  </a:lnTo>
                  <a:lnTo>
                    <a:pt x="1144" y="123"/>
                  </a:lnTo>
                  <a:lnTo>
                    <a:pt x="1146" y="125"/>
                  </a:lnTo>
                  <a:lnTo>
                    <a:pt x="1144" y="128"/>
                  </a:lnTo>
                  <a:lnTo>
                    <a:pt x="1144" y="128"/>
                  </a:lnTo>
                  <a:lnTo>
                    <a:pt x="1146" y="130"/>
                  </a:lnTo>
                  <a:lnTo>
                    <a:pt x="1148" y="133"/>
                  </a:lnTo>
                  <a:lnTo>
                    <a:pt x="1148" y="135"/>
                  </a:lnTo>
                  <a:lnTo>
                    <a:pt x="1151" y="135"/>
                  </a:lnTo>
                  <a:lnTo>
                    <a:pt x="1153" y="133"/>
                  </a:lnTo>
                  <a:lnTo>
                    <a:pt x="1153" y="130"/>
                  </a:lnTo>
                  <a:lnTo>
                    <a:pt x="1156" y="130"/>
                  </a:lnTo>
                  <a:lnTo>
                    <a:pt x="1156" y="128"/>
                  </a:lnTo>
                  <a:lnTo>
                    <a:pt x="1156" y="128"/>
                  </a:lnTo>
                  <a:lnTo>
                    <a:pt x="1156" y="125"/>
                  </a:lnTo>
                  <a:lnTo>
                    <a:pt x="1156" y="125"/>
                  </a:lnTo>
                  <a:lnTo>
                    <a:pt x="1158" y="125"/>
                  </a:lnTo>
                  <a:lnTo>
                    <a:pt x="1158" y="125"/>
                  </a:lnTo>
                  <a:lnTo>
                    <a:pt x="1160" y="125"/>
                  </a:lnTo>
                  <a:lnTo>
                    <a:pt x="1163" y="125"/>
                  </a:lnTo>
                  <a:lnTo>
                    <a:pt x="1163" y="123"/>
                  </a:lnTo>
                  <a:lnTo>
                    <a:pt x="1165" y="121"/>
                  </a:lnTo>
                  <a:lnTo>
                    <a:pt x="1165" y="121"/>
                  </a:lnTo>
                  <a:lnTo>
                    <a:pt x="1167" y="118"/>
                  </a:lnTo>
                  <a:lnTo>
                    <a:pt x="1170" y="118"/>
                  </a:lnTo>
                  <a:lnTo>
                    <a:pt x="1172" y="116"/>
                  </a:lnTo>
                  <a:lnTo>
                    <a:pt x="1172" y="116"/>
                  </a:lnTo>
                  <a:lnTo>
                    <a:pt x="1172" y="116"/>
                  </a:lnTo>
                  <a:lnTo>
                    <a:pt x="1172" y="114"/>
                  </a:lnTo>
                  <a:lnTo>
                    <a:pt x="1172" y="114"/>
                  </a:lnTo>
                  <a:lnTo>
                    <a:pt x="1174" y="109"/>
                  </a:lnTo>
                  <a:lnTo>
                    <a:pt x="1177" y="107"/>
                  </a:lnTo>
                  <a:lnTo>
                    <a:pt x="1177" y="107"/>
                  </a:lnTo>
                  <a:lnTo>
                    <a:pt x="1177" y="107"/>
                  </a:lnTo>
                  <a:lnTo>
                    <a:pt x="1179" y="107"/>
                  </a:lnTo>
                  <a:lnTo>
                    <a:pt x="1182" y="107"/>
                  </a:lnTo>
                  <a:lnTo>
                    <a:pt x="1184" y="104"/>
                  </a:lnTo>
                  <a:lnTo>
                    <a:pt x="1184" y="102"/>
                  </a:lnTo>
                  <a:lnTo>
                    <a:pt x="1186" y="99"/>
                  </a:lnTo>
                  <a:lnTo>
                    <a:pt x="1189" y="102"/>
                  </a:lnTo>
                  <a:lnTo>
                    <a:pt x="1189" y="102"/>
                  </a:lnTo>
                  <a:lnTo>
                    <a:pt x="1191" y="99"/>
                  </a:lnTo>
                  <a:lnTo>
                    <a:pt x="1191" y="99"/>
                  </a:lnTo>
                  <a:lnTo>
                    <a:pt x="1193" y="97"/>
                  </a:lnTo>
                  <a:lnTo>
                    <a:pt x="1193" y="97"/>
                  </a:lnTo>
                  <a:lnTo>
                    <a:pt x="1196" y="95"/>
                  </a:lnTo>
                  <a:lnTo>
                    <a:pt x="1196" y="95"/>
                  </a:lnTo>
                  <a:lnTo>
                    <a:pt x="1198" y="95"/>
                  </a:lnTo>
                  <a:lnTo>
                    <a:pt x="1200" y="95"/>
                  </a:lnTo>
                  <a:lnTo>
                    <a:pt x="1200" y="97"/>
                  </a:lnTo>
                  <a:lnTo>
                    <a:pt x="1200" y="99"/>
                  </a:lnTo>
                  <a:lnTo>
                    <a:pt x="1196" y="102"/>
                  </a:lnTo>
                  <a:lnTo>
                    <a:pt x="1198" y="104"/>
                  </a:lnTo>
                  <a:lnTo>
                    <a:pt x="1196" y="104"/>
                  </a:lnTo>
                  <a:lnTo>
                    <a:pt x="1196" y="109"/>
                  </a:lnTo>
                  <a:lnTo>
                    <a:pt x="1196" y="109"/>
                  </a:lnTo>
                  <a:lnTo>
                    <a:pt x="1193" y="111"/>
                  </a:lnTo>
                  <a:lnTo>
                    <a:pt x="1196" y="111"/>
                  </a:lnTo>
                  <a:lnTo>
                    <a:pt x="1196" y="111"/>
                  </a:lnTo>
                  <a:lnTo>
                    <a:pt x="1200" y="111"/>
                  </a:lnTo>
                  <a:lnTo>
                    <a:pt x="1200" y="114"/>
                  </a:lnTo>
                  <a:lnTo>
                    <a:pt x="1200" y="116"/>
                  </a:lnTo>
                  <a:lnTo>
                    <a:pt x="1203" y="116"/>
                  </a:lnTo>
                  <a:lnTo>
                    <a:pt x="1203" y="116"/>
                  </a:lnTo>
                  <a:lnTo>
                    <a:pt x="1203" y="114"/>
                  </a:lnTo>
                  <a:lnTo>
                    <a:pt x="1203" y="114"/>
                  </a:lnTo>
                  <a:lnTo>
                    <a:pt x="1203" y="111"/>
                  </a:lnTo>
                  <a:lnTo>
                    <a:pt x="1203" y="111"/>
                  </a:lnTo>
                  <a:lnTo>
                    <a:pt x="1203" y="111"/>
                  </a:lnTo>
                  <a:lnTo>
                    <a:pt x="1203" y="109"/>
                  </a:lnTo>
                  <a:lnTo>
                    <a:pt x="1203" y="109"/>
                  </a:lnTo>
                  <a:lnTo>
                    <a:pt x="1203" y="107"/>
                  </a:lnTo>
                  <a:lnTo>
                    <a:pt x="1205" y="107"/>
                  </a:lnTo>
                  <a:lnTo>
                    <a:pt x="1205" y="104"/>
                  </a:lnTo>
                  <a:lnTo>
                    <a:pt x="1205" y="104"/>
                  </a:lnTo>
                  <a:lnTo>
                    <a:pt x="1205" y="102"/>
                  </a:lnTo>
                  <a:lnTo>
                    <a:pt x="1207" y="102"/>
                  </a:lnTo>
                  <a:lnTo>
                    <a:pt x="1210" y="99"/>
                  </a:lnTo>
                  <a:lnTo>
                    <a:pt x="1210" y="99"/>
                  </a:lnTo>
                  <a:lnTo>
                    <a:pt x="1212" y="99"/>
                  </a:lnTo>
                  <a:lnTo>
                    <a:pt x="1212" y="97"/>
                  </a:lnTo>
                  <a:lnTo>
                    <a:pt x="1215" y="97"/>
                  </a:lnTo>
                  <a:lnTo>
                    <a:pt x="1215" y="97"/>
                  </a:lnTo>
                  <a:lnTo>
                    <a:pt x="1217" y="97"/>
                  </a:lnTo>
                  <a:lnTo>
                    <a:pt x="1217" y="97"/>
                  </a:lnTo>
                  <a:lnTo>
                    <a:pt x="1219" y="95"/>
                  </a:lnTo>
                  <a:lnTo>
                    <a:pt x="1222" y="92"/>
                  </a:lnTo>
                  <a:lnTo>
                    <a:pt x="1222" y="90"/>
                  </a:lnTo>
                  <a:lnTo>
                    <a:pt x="1222" y="88"/>
                  </a:lnTo>
                  <a:lnTo>
                    <a:pt x="1224" y="88"/>
                  </a:lnTo>
                  <a:lnTo>
                    <a:pt x="1224" y="88"/>
                  </a:lnTo>
                  <a:lnTo>
                    <a:pt x="1226" y="88"/>
                  </a:lnTo>
                  <a:lnTo>
                    <a:pt x="1229" y="88"/>
                  </a:lnTo>
                  <a:lnTo>
                    <a:pt x="1229" y="88"/>
                  </a:lnTo>
                  <a:lnTo>
                    <a:pt x="1231" y="88"/>
                  </a:lnTo>
                  <a:lnTo>
                    <a:pt x="1231" y="83"/>
                  </a:lnTo>
                  <a:lnTo>
                    <a:pt x="1233" y="83"/>
                  </a:lnTo>
                  <a:lnTo>
                    <a:pt x="1233" y="81"/>
                  </a:lnTo>
                  <a:lnTo>
                    <a:pt x="1236" y="78"/>
                  </a:lnTo>
                  <a:lnTo>
                    <a:pt x="1236" y="74"/>
                  </a:lnTo>
                  <a:lnTo>
                    <a:pt x="1236" y="74"/>
                  </a:lnTo>
                  <a:lnTo>
                    <a:pt x="1238" y="71"/>
                  </a:lnTo>
                  <a:lnTo>
                    <a:pt x="1236" y="71"/>
                  </a:lnTo>
                  <a:lnTo>
                    <a:pt x="1236" y="69"/>
                  </a:lnTo>
                  <a:lnTo>
                    <a:pt x="1236" y="69"/>
                  </a:lnTo>
                  <a:lnTo>
                    <a:pt x="1236" y="66"/>
                  </a:lnTo>
                  <a:lnTo>
                    <a:pt x="1236" y="64"/>
                  </a:lnTo>
                  <a:lnTo>
                    <a:pt x="1236" y="64"/>
                  </a:lnTo>
                  <a:lnTo>
                    <a:pt x="1236" y="64"/>
                  </a:lnTo>
                  <a:lnTo>
                    <a:pt x="1238" y="59"/>
                  </a:lnTo>
                  <a:lnTo>
                    <a:pt x="1238" y="57"/>
                  </a:lnTo>
                  <a:lnTo>
                    <a:pt x="1238" y="57"/>
                  </a:lnTo>
                  <a:lnTo>
                    <a:pt x="1238" y="55"/>
                  </a:lnTo>
                  <a:lnTo>
                    <a:pt x="1238" y="55"/>
                  </a:lnTo>
                  <a:lnTo>
                    <a:pt x="1238" y="52"/>
                  </a:lnTo>
                  <a:lnTo>
                    <a:pt x="1236" y="52"/>
                  </a:lnTo>
                  <a:lnTo>
                    <a:pt x="1236" y="52"/>
                  </a:lnTo>
                  <a:lnTo>
                    <a:pt x="1238" y="48"/>
                  </a:lnTo>
                  <a:lnTo>
                    <a:pt x="1238" y="45"/>
                  </a:lnTo>
                  <a:lnTo>
                    <a:pt x="1238" y="43"/>
                  </a:lnTo>
                  <a:lnTo>
                    <a:pt x="1238" y="43"/>
                  </a:lnTo>
                  <a:lnTo>
                    <a:pt x="1238" y="40"/>
                  </a:lnTo>
                  <a:lnTo>
                    <a:pt x="1241" y="40"/>
                  </a:lnTo>
                  <a:lnTo>
                    <a:pt x="1243" y="38"/>
                  </a:lnTo>
                  <a:lnTo>
                    <a:pt x="1243" y="38"/>
                  </a:lnTo>
                  <a:lnTo>
                    <a:pt x="1243" y="38"/>
                  </a:lnTo>
                  <a:lnTo>
                    <a:pt x="1245" y="36"/>
                  </a:lnTo>
                  <a:lnTo>
                    <a:pt x="1245" y="36"/>
                  </a:lnTo>
                  <a:lnTo>
                    <a:pt x="1248" y="36"/>
                  </a:lnTo>
                  <a:lnTo>
                    <a:pt x="1248" y="33"/>
                  </a:lnTo>
                  <a:lnTo>
                    <a:pt x="1250" y="33"/>
                  </a:lnTo>
                  <a:lnTo>
                    <a:pt x="1250" y="33"/>
                  </a:lnTo>
                  <a:lnTo>
                    <a:pt x="1250" y="33"/>
                  </a:lnTo>
                  <a:lnTo>
                    <a:pt x="1252" y="33"/>
                  </a:lnTo>
                  <a:lnTo>
                    <a:pt x="1255" y="36"/>
                  </a:lnTo>
                  <a:lnTo>
                    <a:pt x="1257" y="33"/>
                  </a:lnTo>
                  <a:lnTo>
                    <a:pt x="1257" y="33"/>
                  </a:lnTo>
                  <a:lnTo>
                    <a:pt x="1259" y="33"/>
                  </a:lnTo>
                  <a:lnTo>
                    <a:pt x="1259" y="36"/>
                  </a:lnTo>
                  <a:lnTo>
                    <a:pt x="1264" y="36"/>
                  </a:lnTo>
                  <a:lnTo>
                    <a:pt x="1264" y="38"/>
                  </a:lnTo>
                  <a:lnTo>
                    <a:pt x="1267" y="36"/>
                  </a:lnTo>
                  <a:lnTo>
                    <a:pt x="1267" y="33"/>
                  </a:lnTo>
                  <a:lnTo>
                    <a:pt x="1271" y="33"/>
                  </a:lnTo>
                  <a:lnTo>
                    <a:pt x="1274" y="36"/>
                  </a:lnTo>
                  <a:lnTo>
                    <a:pt x="1274" y="33"/>
                  </a:lnTo>
                  <a:lnTo>
                    <a:pt x="1274" y="33"/>
                  </a:lnTo>
                  <a:lnTo>
                    <a:pt x="1276" y="33"/>
                  </a:lnTo>
                  <a:lnTo>
                    <a:pt x="1276" y="33"/>
                  </a:lnTo>
                  <a:lnTo>
                    <a:pt x="1278" y="33"/>
                  </a:lnTo>
                  <a:lnTo>
                    <a:pt x="1278" y="31"/>
                  </a:lnTo>
                  <a:lnTo>
                    <a:pt x="1278" y="31"/>
                  </a:lnTo>
                  <a:lnTo>
                    <a:pt x="1278" y="29"/>
                  </a:lnTo>
                  <a:lnTo>
                    <a:pt x="1278" y="29"/>
                  </a:lnTo>
                  <a:lnTo>
                    <a:pt x="1283" y="26"/>
                  </a:lnTo>
                  <a:lnTo>
                    <a:pt x="1283" y="26"/>
                  </a:lnTo>
                  <a:lnTo>
                    <a:pt x="1285" y="29"/>
                  </a:lnTo>
                  <a:lnTo>
                    <a:pt x="1283" y="29"/>
                  </a:lnTo>
                  <a:lnTo>
                    <a:pt x="1285" y="29"/>
                  </a:lnTo>
                  <a:lnTo>
                    <a:pt x="1288" y="31"/>
                  </a:lnTo>
                  <a:lnTo>
                    <a:pt x="1288" y="29"/>
                  </a:lnTo>
                  <a:lnTo>
                    <a:pt x="1288" y="29"/>
                  </a:lnTo>
                  <a:lnTo>
                    <a:pt x="1288" y="24"/>
                  </a:lnTo>
                  <a:lnTo>
                    <a:pt x="1288" y="24"/>
                  </a:lnTo>
                  <a:lnTo>
                    <a:pt x="1288" y="24"/>
                  </a:lnTo>
                  <a:lnTo>
                    <a:pt x="1290" y="24"/>
                  </a:lnTo>
                  <a:lnTo>
                    <a:pt x="1290" y="24"/>
                  </a:lnTo>
                  <a:lnTo>
                    <a:pt x="1293" y="22"/>
                  </a:lnTo>
                  <a:lnTo>
                    <a:pt x="1293" y="22"/>
                  </a:lnTo>
                  <a:lnTo>
                    <a:pt x="1293" y="19"/>
                  </a:lnTo>
                  <a:lnTo>
                    <a:pt x="1293" y="19"/>
                  </a:lnTo>
                  <a:lnTo>
                    <a:pt x="1295" y="19"/>
                  </a:lnTo>
                  <a:lnTo>
                    <a:pt x="1297" y="17"/>
                  </a:lnTo>
                  <a:lnTo>
                    <a:pt x="1297" y="17"/>
                  </a:lnTo>
                  <a:lnTo>
                    <a:pt x="1300" y="17"/>
                  </a:lnTo>
                  <a:lnTo>
                    <a:pt x="1302" y="14"/>
                  </a:lnTo>
                  <a:lnTo>
                    <a:pt x="1304" y="14"/>
                  </a:lnTo>
                  <a:lnTo>
                    <a:pt x="1307" y="17"/>
                  </a:lnTo>
                  <a:lnTo>
                    <a:pt x="1307" y="17"/>
                  </a:lnTo>
                  <a:lnTo>
                    <a:pt x="1309" y="17"/>
                  </a:lnTo>
                  <a:lnTo>
                    <a:pt x="1311" y="17"/>
                  </a:lnTo>
                  <a:lnTo>
                    <a:pt x="1311" y="14"/>
                  </a:lnTo>
                  <a:lnTo>
                    <a:pt x="1314" y="14"/>
                  </a:lnTo>
                  <a:lnTo>
                    <a:pt x="1316" y="17"/>
                  </a:lnTo>
                  <a:lnTo>
                    <a:pt x="1316" y="17"/>
                  </a:lnTo>
                  <a:lnTo>
                    <a:pt x="1316" y="14"/>
                  </a:lnTo>
                  <a:lnTo>
                    <a:pt x="1319" y="14"/>
                  </a:lnTo>
                  <a:lnTo>
                    <a:pt x="1321" y="14"/>
                  </a:lnTo>
                  <a:lnTo>
                    <a:pt x="1321" y="14"/>
                  </a:lnTo>
                  <a:lnTo>
                    <a:pt x="1321" y="12"/>
                  </a:lnTo>
                  <a:lnTo>
                    <a:pt x="1321" y="10"/>
                  </a:lnTo>
                  <a:lnTo>
                    <a:pt x="1323" y="7"/>
                  </a:lnTo>
                  <a:lnTo>
                    <a:pt x="1321" y="7"/>
                  </a:lnTo>
                  <a:lnTo>
                    <a:pt x="1321" y="7"/>
                  </a:lnTo>
                  <a:lnTo>
                    <a:pt x="1326" y="5"/>
                  </a:lnTo>
                  <a:lnTo>
                    <a:pt x="1326" y="7"/>
                  </a:lnTo>
                  <a:lnTo>
                    <a:pt x="1333" y="10"/>
                  </a:lnTo>
                  <a:lnTo>
                    <a:pt x="1337" y="12"/>
                  </a:lnTo>
                  <a:lnTo>
                    <a:pt x="1340" y="12"/>
                  </a:lnTo>
                  <a:lnTo>
                    <a:pt x="1347" y="10"/>
                  </a:lnTo>
                  <a:lnTo>
                    <a:pt x="1352" y="10"/>
                  </a:lnTo>
                  <a:lnTo>
                    <a:pt x="1352" y="10"/>
                  </a:lnTo>
                  <a:lnTo>
                    <a:pt x="1354" y="10"/>
                  </a:lnTo>
                  <a:lnTo>
                    <a:pt x="1354" y="12"/>
                  </a:lnTo>
                  <a:lnTo>
                    <a:pt x="1354" y="14"/>
                  </a:lnTo>
                  <a:lnTo>
                    <a:pt x="1356" y="17"/>
                  </a:lnTo>
                  <a:lnTo>
                    <a:pt x="1356" y="19"/>
                  </a:lnTo>
                  <a:lnTo>
                    <a:pt x="1359" y="22"/>
                  </a:lnTo>
                  <a:lnTo>
                    <a:pt x="1361" y="24"/>
                  </a:lnTo>
                  <a:lnTo>
                    <a:pt x="1363" y="26"/>
                  </a:lnTo>
                  <a:lnTo>
                    <a:pt x="1368" y="31"/>
                  </a:lnTo>
                  <a:lnTo>
                    <a:pt x="1375" y="29"/>
                  </a:lnTo>
                  <a:lnTo>
                    <a:pt x="1378" y="29"/>
                  </a:lnTo>
                  <a:lnTo>
                    <a:pt x="1382" y="29"/>
                  </a:lnTo>
                  <a:lnTo>
                    <a:pt x="1392" y="31"/>
                  </a:lnTo>
                  <a:lnTo>
                    <a:pt x="1394" y="31"/>
                  </a:lnTo>
                  <a:lnTo>
                    <a:pt x="1396" y="33"/>
                  </a:lnTo>
                  <a:lnTo>
                    <a:pt x="1396" y="33"/>
                  </a:lnTo>
                  <a:lnTo>
                    <a:pt x="1404" y="36"/>
                  </a:lnTo>
                  <a:lnTo>
                    <a:pt x="1406" y="38"/>
                  </a:lnTo>
                  <a:lnTo>
                    <a:pt x="1408" y="38"/>
                  </a:lnTo>
                  <a:lnTo>
                    <a:pt x="1411" y="40"/>
                  </a:lnTo>
                  <a:lnTo>
                    <a:pt x="1411" y="45"/>
                  </a:lnTo>
                  <a:lnTo>
                    <a:pt x="1411" y="48"/>
                  </a:lnTo>
                  <a:lnTo>
                    <a:pt x="1406" y="57"/>
                  </a:lnTo>
                  <a:lnTo>
                    <a:pt x="1406" y="71"/>
                  </a:lnTo>
                  <a:lnTo>
                    <a:pt x="1406" y="71"/>
                  </a:lnTo>
                  <a:lnTo>
                    <a:pt x="1404" y="74"/>
                  </a:lnTo>
                  <a:lnTo>
                    <a:pt x="1401" y="76"/>
                  </a:lnTo>
                  <a:lnTo>
                    <a:pt x="1401" y="78"/>
                  </a:lnTo>
                  <a:lnTo>
                    <a:pt x="1396" y="81"/>
                  </a:lnTo>
                  <a:lnTo>
                    <a:pt x="1396" y="83"/>
                  </a:lnTo>
                  <a:lnTo>
                    <a:pt x="1396" y="85"/>
                  </a:lnTo>
                  <a:lnTo>
                    <a:pt x="1396" y="88"/>
                  </a:lnTo>
                  <a:lnTo>
                    <a:pt x="1399" y="88"/>
                  </a:lnTo>
                  <a:lnTo>
                    <a:pt x="1404" y="92"/>
                  </a:lnTo>
                  <a:lnTo>
                    <a:pt x="1404" y="92"/>
                  </a:lnTo>
                  <a:lnTo>
                    <a:pt x="1406" y="95"/>
                  </a:lnTo>
                  <a:lnTo>
                    <a:pt x="1406" y="97"/>
                  </a:lnTo>
                  <a:lnTo>
                    <a:pt x="1408" y="99"/>
                  </a:lnTo>
                  <a:lnTo>
                    <a:pt x="1411" y="102"/>
                  </a:lnTo>
                  <a:lnTo>
                    <a:pt x="1413" y="104"/>
                  </a:lnTo>
                  <a:lnTo>
                    <a:pt x="1415" y="107"/>
                  </a:lnTo>
                  <a:lnTo>
                    <a:pt x="1418" y="107"/>
                  </a:lnTo>
                  <a:lnTo>
                    <a:pt x="1418" y="107"/>
                  </a:lnTo>
                  <a:lnTo>
                    <a:pt x="1420" y="111"/>
                  </a:lnTo>
                  <a:lnTo>
                    <a:pt x="1420" y="111"/>
                  </a:lnTo>
                  <a:lnTo>
                    <a:pt x="1420" y="114"/>
                  </a:lnTo>
                  <a:lnTo>
                    <a:pt x="1420" y="116"/>
                  </a:lnTo>
                  <a:lnTo>
                    <a:pt x="1422" y="116"/>
                  </a:lnTo>
                  <a:lnTo>
                    <a:pt x="1425" y="130"/>
                  </a:lnTo>
                  <a:lnTo>
                    <a:pt x="1430" y="140"/>
                  </a:lnTo>
                  <a:lnTo>
                    <a:pt x="1430" y="147"/>
                  </a:lnTo>
                  <a:lnTo>
                    <a:pt x="1432" y="151"/>
                  </a:lnTo>
                  <a:lnTo>
                    <a:pt x="1432" y="151"/>
                  </a:lnTo>
                  <a:lnTo>
                    <a:pt x="1437" y="151"/>
                  </a:lnTo>
                  <a:lnTo>
                    <a:pt x="1439" y="151"/>
                  </a:lnTo>
                  <a:lnTo>
                    <a:pt x="1439" y="151"/>
                  </a:lnTo>
                  <a:lnTo>
                    <a:pt x="1439" y="154"/>
                  </a:lnTo>
                  <a:lnTo>
                    <a:pt x="1439" y="156"/>
                  </a:lnTo>
                  <a:lnTo>
                    <a:pt x="1439" y="156"/>
                  </a:lnTo>
                  <a:lnTo>
                    <a:pt x="1439" y="159"/>
                  </a:lnTo>
                  <a:lnTo>
                    <a:pt x="1439" y="161"/>
                  </a:lnTo>
                  <a:lnTo>
                    <a:pt x="1439" y="161"/>
                  </a:lnTo>
                  <a:lnTo>
                    <a:pt x="1441" y="163"/>
                  </a:lnTo>
                  <a:lnTo>
                    <a:pt x="1441" y="166"/>
                  </a:lnTo>
                  <a:lnTo>
                    <a:pt x="1441" y="168"/>
                  </a:lnTo>
                  <a:lnTo>
                    <a:pt x="1441" y="173"/>
                  </a:lnTo>
                  <a:lnTo>
                    <a:pt x="1439" y="175"/>
                  </a:lnTo>
                  <a:lnTo>
                    <a:pt x="1437" y="180"/>
                  </a:lnTo>
                  <a:lnTo>
                    <a:pt x="1439" y="185"/>
                  </a:lnTo>
                  <a:lnTo>
                    <a:pt x="1439" y="185"/>
                  </a:lnTo>
                  <a:lnTo>
                    <a:pt x="1441" y="187"/>
                  </a:lnTo>
                  <a:lnTo>
                    <a:pt x="1441" y="192"/>
                  </a:lnTo>
                  <a:lnTo>
                    <a:pt x="1439" y="192"/>
                  </a:lnTo>
                  <a:lnTo>
                    <a:pt x="1434" y="196"/>
                  </a:lnTo>
                  <a:lnTo>
                    <a:pt x="1432" y="201"/>
                  </a:lnTo>
                  <a:lnTo>
                    <a:pt x="1432" y="203"/>
                  </a:lnTo>
                  <a:lnTo>
                    <a:pt x="1430" y="206"/>
                  </a:lnTo>
                  <a:lnTo>
                    <a:pt x="1432" y="218"/>
                  </a:lnTo>
                  <a:lnTo>
                    <a:pt x="1432" y="222"/>
                  </a:lnTo>
                  <a:lnTo>
                    <a:pt x="1432" y="227"/>
                  </a:lnTo>
                  <a:lnTo>
                    <a:pt x="1432" y="229"/>
                  </a:lnTo>
                  <a:lnTo>
                    <a:pt x="1432" y="236"/>
                  </a:lnTo>
                  <a:lnTo>
                    <a:pt x="1434" y="236"/>
                  </a:lnTo>
                  <a:lnTo>
                    <a:pt x="1437" y="234"/>
                  </a:lnTo>
                  <a:lnTo>
                    <a:pt x="1439" y="239"/>
                  </a:lnTo>
                  <a:lnTo>
                    <a:pt x="1441" y="239"/>
                  </a:lnTo>
                  <a:lnTo>
                    <a:pt x="1441" y="244"/>
                  </a:lnTo>
                  <a:lnTo>
                    <a:pt x="1441" y="244"/>
                  </a:lnTo>
                  <a:lnTo>
                    <a:pt x="1441" y="246"/>
                  </a:lnTo>
                  <a:lnTo>
                    <a:pt x="1441" y="246"/>
                  </a:lnTo>
                  <a:lnTo>
                    <a:pt x="1441" y="248"/>
                  </a:lnTo>
                  <a:lnTo>
                    <a:pt x="1439" y="251"/>
                  </a:lnTo>
                  <a:lnTo>
                    <a:pt x="1441" y="253"/>
                  </a:lnTo>
                  <a:lnTo>
                    <a:pt x="1439" y="258"/>
                  </a:lnTo>
                  <a:lnTo>
                    <a:pt x="1441" y="262"/>
                  </a:lnTo>
                  <a:lnTo>
                    <a:pt x="1441" y="267"/>
                  </a:lnTo>
                  <a:lnTo>
                    <a:pt x="1444" y="267"/>
                  </a:lnTo>
                  <a:lnTo>
                    <a:pt x="1444" y="272"/>
                  </a:lnTo>
                  <a:lnTo>
                    <a:pt x="1444" y="274"/>
                  </a:lnTo>
                  <a:lnTo>
                    <a:pt x="1444" y="279"/>
                  </a:lnTo>
                  <a:lnTo>
                    <a:pt x="1444" y="281"/>
                  </a:lnTo>
                  <a:lnTo>
                    <a:pt x="1446" y="284"/>
                  </a:lnTo>
                  <a:lnTo>
                    <a:pt x="1448" y="286"/>
                  </a:lnTo>
                  <a:lnTo>
                    <a:pt x="1451" y="286"/>
                  </a:lnTo>
                  <a:lnTo>
                    <a:pt x="1453" y="288"/>
                  </a:lnTo>
                  <a:lnTo>
                    <a:pt x="1456" y="291"/>
                  </a:lnTo>
                  <a:lnTo>
                    <a:pt x="1458" y="298"/>
                  </a:lnTo>
                  <a:lnTo>
                    <a:pt x="1458" y="298"/>
                  </a:lnTo>
                  <a:lnTo>
                    <a:pt x="1458" y="300"/>
                  </a:lnTo>
                  <a:lnTo>
                    <a:pt x="1458" y="303"/>
                  </a:lnTo>
                  <a:lnTo>
                    <a:pt x="1458" y="303"/>
                  </a:lnTo>
                  <a:lnTo>
                    <a:pt x="1458" y="303"/>
                  </a:lnTo>
                  <a:lnTo>
                    <a:pt x="1458" y="303"/>
                  </a:lnTo>
                  <a:lnTo>
                    <a:pt x="1458" y="305"/>
                  </a:lnTo>
                  <a:lnTo>
                    <a:pt x="1458" y="307"/>
                  </a:lnTo>
                  <a:lnTo>
                    <a:pt x="1460" y="310"/>
                  </a:lnTo>
                  <a:lnTo>
                    <a:pt x="1463" y="312"/>
                  </a:lnTo>
                  <a:lnTo>
                    <a:pt x="1463" y="314"/>
                  </a:lnTo>
                  <a:lnTo>
                    <a:pt x="1465" y="314"/>
                  </a:lnTo>
                  <a:lnTo>
                    <a:pt x="1467" y="314"/>
                  </a:lnTo>
                  <a:lnTo>
                    <a:pt x="1467" y="317"/>
                  </a:lnTo>
                  <a:lnTo>
                    <a:pt x="1467" y="317"/>
                  </a:lnTo>
                  <a:lnTo>
                    <a:pt x="1467" y="319"/>
                  </a:lnTo>
                  <a:lnTo>
                    <a:pt x="1467" y="322"/>
                  </a:lnTo>
                  <a:lnTo>
                    <a:pt x="1467" y="322"/>
                  </a:lnTo>
                  <a:lnTo>
                    <a:pt x="1467" y="326"/>
                  </a:lnTo>
                  <a:lnTo>
                    <a:pt x="1467" y="326"/>
                  </a:lnTo>
                  <a:lnTo>
                    <a:pt x="1470" y="326"/>
                  </a:lnTo>
                  <a:lnTo>
                    <a:pt x="1467" y="329"/>
                  </a:lnTo>
                  <a:lnTo>
                    <a:pt x="1467" y="329"/>
                  </a:lnTo>
                  <a:lnTo>
                    <a:pt x="1467" y="331"/>
                  </a:lnTo>
                  <a:lnTo>
                    <a:pt x="1467" y="333"/>
                  </a:lnTo>
                  <a:lnTo>
                    <a:pt x="1467" y="333"/>
                  </a:lnTo>
                  <a:lnTo>
                    <a:pt x="1467" y="336"/>
                  </a:lnTo>
                  <a:lnTo>
                    <a:pt x="1470" y="336"/>
                  </a:lnTo>
                  <a:lnTo>
                    <a:pt x="1470" y="336"/>
                  </a:lnTo>
                  <a:lnTo>
                    <a:pt x="1470" y="336"/>
                  </a:lnTo>
                  <a:lnTo>
                    <a:pt x="1474" y="338"/>
                  </a:lnTo>
                  <a:lnTo>
                    <a:pt x="1474" y="338"/>
                  </a:lnTo>
                  <a:lnTo>
                    <a:pt x="1474" y="340"/>
                  </a:lnTo>
                  <a:lnTo>
                    <a:pt x="1472" y="343"/>
                  </a:lnTo>
                  <a:lnTo>
                    <a:pt x="1472" y="343"/>
                  </a:lnTo>
                  <a:lnTo>
                    <a:pt x="1472" y="345"/>
                  </a:lnTo>
                  <a:lnTo>
                    <a:pt x="1472" y="348"/>
                  </a:lnTo>
                  <a:lnTo>
                    <a:pt x="1472" y="348"/>
                  </a:lnTo>
                  <a:lnTo>
                    <a:pt x="1470" y="348"/>
                  </a:lnTo>
                  <a:lnTo>
                    <a:pt x="1470" y="350"/>
                  </a:lnTo>
                  <a:lnTo>
                    <a:pt x="1467" y="350"/>
                  </a:lnTo>
                  <a:lnTo>
                    <a:pt x="1467" y="352"/>
                  </a:lnTo>
                  <a:lnTo>
                    <a:pt x="1463" y="355"/>
                  </a:lnTo>
                  <a:lnTo>
                    <a:pt x="1463" y="355"/>
                  </a:lnTo>
                  <a:lnTo>
                    <a:pt x="1465" y="355"/>
                  </a:lnTo>
                  <a:lnTo>
                    <a:pt x="1463" y="357"/>
                  </a:lnTo>
                  <a:lnTo>
                    <a:pt x="1463" y="357"/>
                  </a:lnTo>
                  <a:lnTo>
                    <a:pt x="1463" y="357"/>
                  </a:lnTo>
                  <a:lnTo>
                    <a:pt x="1463" y="359"/>
                  </a:lnTo>
                  <a:lnTo>
                    <a:pt x="1460" y="359"/>
                  </a:lnTo>
                  <a:lnTo>
                    <a:pt x="1460" y="359"/>
                  </a:lnTo>
                  <a:lnTo>
                    <a:pt x="1460" y="362"/>
                  </a:lnTo>
                  <a:lnTo>
                    <a:pt x="1460" y="364"/>
                  </a:lnTo>
                  <a:lnTo>
                    <a:pt x="1460" y="364"/>
                  </a:lnTo>
                  <a:lnTo>
                    <a:pt x="1460" y="366"/>
                  </a:lnTo>
                  <a:lnTo>
                    <a:pt x="1458" y="366"/>
                  </a:lnTo>
                  <a:lnTo>
                    <a:pt x="1460" y="369"/>
                  </a:lnTo>
                  <a:lnTo>
                    <a:pt x="1460" y="369"/>
                  </a:lnTo>
                  <a:lnTo>
                    <a:pt x="1460" y="371"/>
                  </a:lnTo>
                  <a:lnTo>
                    <a:pt x="1463" y="373"/>
                  </a:lnTo>
                  <a:lnTo>
                    <a:pt x="1463" y="373"/>
                  </a:lnTo>
                  <a:lnTo>
                    <a:pt x="1460" y="373"/>
                  </a:lnTo>
                  <a:lnTo>
                    <a:pt x="1460" y="376"/>
                  </a:lnTo>
                  <a:lnTo>
                    <a:pt x="1460" y="376"/>
                  </a:lnTo>
                  <a:lnTo>
                    <a:pt x="1463" y="378"/>
                  </a:lnTo>
                  <a:lnTo>
                    <a:pt x="1463" y="378"/>
                  </a:lnTo>
                  <a:lnTo>
                    <a:pt x="1460" y="378"/>
                  </a:lnTo>
                  <a:lnTo>
                    <a:pt x="1460" y="378"/>
                  </a:lnTo>
                  <a:lnTo>
                    <a:pt x="1460" y="381"/>
                  </a:lnTo>
                  <a:lnTo>
                    <a:pt x="1458" y="381"/>
                  </a:lnTo>
                  <a:lnTo>
                    <a:pt x="1458" y="381"/>
                  </a:lnTo>
                  <a:lnTo>
                    <a:pt x="1458" y="381"/>
                  </a:lnTo>
                  <a:lnTo>
                    <a:pt x="1458" y="383"/>
                  </a:lnTo>
                  <a:lnTo>
                    <a:pt x="1456" y="383"/>
                  </a:lnTo>
                  <a:lnTo>
                    <a:pt x="1453" y="383"/>
                  </a:lnTo>
                  <a:lnTo>
                    <a:pt x="1453" y="383"/>
                  </a:lnTo>
                  <a:lnTo>
                    <a:pt x="1451" y="383"/>
                  </a:lnTo>
                  <a:lnTo>
                    <a:pt x="1451" y="383"/>
                  </a:lnTo>
                  <a:lnTo>
                    <a:pt x="1451" y="385"/>
                  </a:lnTo>
                  <a:lnTo>
                    <a:pt x="1453" y="385"/>
                  </a:lnTo>
                  <a:lnTo>
                    <a:pt x="1453" y="385"/>
                  </a:lnTo>
                  <a:lnTo>
                    <a:pt x="1453" y="388"/>
                  </a:lnTo>
                  <a:lnTo>
                    <a:pt x="1451" y="385"/>
                  </a:lnTo>
                  <a:lnTo>
                    <a:pt x="1448" y="388"/>
                  </a:lnTo>
                  <a:lnTo>
                    <a:pt x="1448" y="388"/>
                  </a:lnTo>
                  <a:lnTo>
                    <a:pt x="1448" y="388"/>
                  </a:lnTo>
                  <a:lnTo>
                    <a:pt x="1446" y="388"/>
                  </a:lnTo>
                  <a:lnTo>
                    <a:pt x="1446" y="385"/>
                  </a:lnTo>
                  <a:lnTo>
                    <a:pt x="1444" y="385"/>
                  </a:lnTo>
                  <a:lnTo>
                    <a:pt x="1444" y="385"/>
                  </a:lnTo>
                  <a:lnTo>
                    <a:pt x="1441" y="385"/>
                  </a:lnTo>
                  <a:lnTo>
                    <a:pt x="1439" y="383"/>
                  </a:lnTo>
                  <a:lnTo>
                    <a:pt x="1439" y="385"/>
                  </a:lnTo>
                  <a:lnTo>
                    <a:pt x="1437" y="383"/>
                  </a:lnTo>
                  <a:lnTo>
                    <a:pt x="1437" y="383"/>
                  </a:lnTo>
                  <a:lnTo>
                    <a:pt x="1437" y="385"/>
                  </a:lnTo>
                  <a:lnTo>
                    <a:pt x="1434" y="388"/>
                  </a:lnTo>
                  <a:lnTo>
                    <a:pt x="1434" y="390"/>
                  </a:lnTo>
                  <a:lnTo>
                    <a:pt x="1434" y="390"/>
                  </a:lnTo>
                  <a:lnTo>
                    <a:pt x="1437" y="392"/>
                  </a:lnTo>
                  <a:lnTo>
                    <a:pt x="1434" y="392"/>
                  </a:lnTo>
                  <a:lnTo>
                    <a:pt x="1434" y="395"/>
                  </a:lnTo>
                  <a:lnTo>
                    <a:pt x="1434" y="397"/>
                  </a:lnTo>
                  <a:lnTo>
                    <a:pt x="1439" y="397"/>
                  </a:lnTo>
                  <a:lnTo>
                    <a:pt x="1439" y="397"/>
                  </a:lnTo>
                  <a:lnTo>
                    <a:pt x="1441" y="399"/>
                  </a:lnTo>
                  <a:lnTo>
                    <a:pt x="1441" y="399"/>
                  </a:lnTo>
                  <a:lnTo>
                    <a:pt x="1441" y="399"/>
                  </a:lnTo>
                  <a:lnTo>
                    <a:pt x="1441" y="399"/>
                  </a:lnTo>
                  <a:lnTo>
                    <a:pt x="1444" y="399"/>
                  </a:lnTo>
                  <a:lnTo>
                    <a:pt x="1444" y="399"/>
                  </a:lnTo>
                  <a:lnTo>
                    <a:pt x="1448" y="402"/>
                  </a:lnTo>
                  <a:lnTo>
                    <a:pt x="1448" y="402"/>
                  </a:lnTo>
                  <a:lnTo>
                    <a:pt x="1451" y="404"/>
                  </a:lnTo>
                  <a:lnTo>
                    <a:pt x="1451" y="404"/>
                  </a:lnTo>
                  <a:lnTo>
                    <a:pt x="1451" y="404"/>
                  </a:lnTo>
                  <a:lnTo>
                    <a:pt x="1451" y="407"/>
                  </a:lnTo>
                  <a:lnTo>
                    <a:pt x="1451" y="407"/>
                  </a:lnTo>
                  <a:lnTo>
                    <a:pt x="1453" y="407"/>
                  </a:lnTo>
                  <a:lnTo>
                    <a:pt x="1453" y="409"/>
                  </a:lnTo>
                  <a:lnTo>
                    <a:pt x="1453" y="409"/>
                  </a:lnTo>
                  <a:lnTo>
                    <a:pt x="1456" y="411"/>
                  </a:lnTo>
                  <a:lnTo>
                    <a:pt x="1458" y="414"/>
                  </a:lnTo>
                  <a:lnTo>
                    <a:pt x="1458" y="414"/>
                  </a:lnTo>
                  <a:lnTo>
                    <a:pt x="1460" y="416"/>
                  </a:lnTo>
                  <a:lnTo>
                    <a:pt x="1460" y="418"/>
                  </a:lnTo>
                  <a:lnTo>
                    <a:pt x="1460" y="418"/>
                  </a:lnTo>
                  <a:lnTo>
                    <a:pt x="1463" y="418"/>
                  </a:lnTo>
                  <a:lnTo>
                    <a:pt x="1465" y="418"/>
                  </a:lnTo>
                  <a:lnTo>
                    <a:pt x="1467" y="421"/>
                  </a:lnTo>
                  <a:lnTo>
                    <a:pt x="1470" y="421"/>
                  </a:lnTo>
                  <a:lnTo>
                    <a:pt x="1472" y="423"/>
                  </a:lnTo>
                  <a:lnTo>
                    <a:pt x="1472" y="423"/>
                  </a:lnTo>
                  <a:lnTo>
                    <a:pt x="1472" y="425"/>
                  </a:lnTo>
                  <a:lnTo>
                    <a:pt x="1477" y="425"/>
                  </a:lnTo>
                  <a:lnTo>
                    <a:pt x="1477" y="428"/>
                  </a:lnTo>
                  <a:lnTo>
                    <a:pt x="1479" y="428"/>
                  </a:lnTo>
                  <a:lnTo>
                    <a:pt x="1479" y="428"/>
                  </a:lnTo>
                  <a:lnTo>
                    <a:pt x="1482" y="430"/>
                  </a:lnTo>
                  <a:lnTo>
                    <a:pt x="1482" y="430"/>
                  </a:lnTo>
                  <a:lnTo>
                    <a:pt x="1484" y="433"/>
                  </a:lnTo>
                  <a:lnTo>
                    <a:pt x="1484" y="435"/>
                  </a:lnTo>
                  <a:lnTo>
                    <a:pt x="1484" y="435"/>
                  </a:lnTo>
                  <a:lnTo>
                    <a:pt x="1486" y="437"/>
                  </a:lnTo>
                  <a:lnTo>
                    <a:pt x="1486" y="437"/>
                  </a:lnTo>
                  <a:lnTo>
                    <a:pt x="1489" y="437"/>
                  </a:lnTo>
                  <a:lnTo>
                    <a:pt x="1489" y="437"/>
                  </a:lnTo>
                  <a:lnTo>
                    <a:pt x="1491" y="437"/>
                  </a:lnTo>
                  <a:lnTo>
                    <a:pt x="1493" y="440"/>
                  </a:lnTo>
                  <a:lnTo>
                    <a:pt x="1496" y="442"/>
                  </a:lnTo>
                  <a:lnTo>
                    <a:pt x="1498" y="444"/>
                  </a:lnTo>
                  <a:lnTo>
                    <a:pt x="1500" y="451"/>
                  </a:lnTo>
                  <a:lnTo>
                    <a:pt x="1500" y="454"/>
                  </a:lnTo>
                  <a:lnTo>
                    <a:pt x="1503" y="456"/>
                  </a:lnTo>
                  <a:lnTo>
                    <a:pt x="1505" y="459"/>
                  </a:lnTo>
                  <a:lnTo>
                    <a:pt x="1505" y="463"/>
                  </a:lnTo>
                  <a:lnTo>
                    <a:pt x="1507" y="468"/>
                  </a:lnTo>
                  <a:lnTo>
                    <a:pt x="1510" y="470"/>
                  </a:lnTo>
                  <a:lnTo>
                    <a:pt x="1512" y="475"/>
                  </a:lnTo>
                  <a:lnTo>
                    <a:pt x="1512" y="477"/>
                  </a:lnTo>
                  <a:lnTo>
                    <a:pt x="1515" y="477"/>
                  </a:lnTo>
                  <a:lnTo>
                    <a:pt x="1519" y="477"/>
                  </a:lnTo>
                  <a:lnTo>
                    <a:pt x="1522" y="477"/>
                  </a:lnTo>
                  <a:lnTo>
                    <a:pt x="1522" y="477"/>
                  </a:lnTo>
                  <a:lnTo>
                    <a:pt x="1524" y="475"/>
                  </a:lnTo>
                  <a:lnTo>
                    <a:pt x="1526" y="475"/>
                  </a:lnTo>
                  <a:lnTo>
                    <a:pt x="1529" y="475"/>
                  </a:lnTo>
                  <a:lnTo>
                    <a:pt x="1531" y="475"/>
                  </a:lnTo>
                  <a:lnTo>
                    <a:pt x="1533" y="477"/>
                  </a:lnTo>
                  <a:lnTo>
                    <a:pt x="1543" y="480"/>
                  </a:lnTo>
                  <a:lnTo>
                    <a:pt x="1545" y="482"/>
                  </a:lnTo>
                  <a:lnTo>
                    <a:pt x="1550" y="485"/>
                  </a:lnTo>
                  <a:lnTo>
                    <a:pt x="1552" y="487"/>
                  </a:lnTo>
                  <a:lnTo>
                    <a:pt x="1555" y="489"/>
                  </a:lnTo>
                  <a:lnTo>
                    <a:pt x="1557" y="494"/>
                  </a:lnTo>
                  <a:lnTo>
                    <a:pt x="1564" y="501"/>
                  </a:lnTo>
                  <a:lnTo>
                    <a:pt x="1564" y="501"/>
                  </a:lnTo>
                  <a:lnTo>
                    <a:pt x="1564" y="501"/>
                  </a:lnTo>
                  <a:lnTo>
                    <a:pt x="1564" y="496"/>
                  </a:lnTo>
                  <a:lnTo>
                    <a:pt x="1567" y="496"/>
                  </a:lnTo>
                  <a:lnTo>
                    <a:pt x="1567" y="494"/>
                  </a:lnTo>
                  <a:lnTo>
                    <a:pt x="1564" y="494"/>
                  </a:lnTo>
                  <a:lnTo>
                    <a:pt x="1564" y="492"/>
                  </a:lnTo>
                  <a:lnTo>
                    <a:pt x="1559" y="489"/>
                  </a:lnTo>
                  <a:lnTo>
                    <a:pt x="1557" y="485"/>
                  </a:lnTo>
                  <a:lnTo>
                    <a:pt x="1557" y="482"/>
                  </a:lnTo>
                  <a:lnTo>
                    <a:pt x="1557" y="482"/>
                  </a:lnTo>
                  <a:lnTo>
                    <a:pt x="1555" y="480"/>
                  </a:lnTo>
                  <a:lnTo>
                    <a:pt x="1552" y="480"/>
                  </a:lnTo>
                  <a:lnTo>
                    <a:pt x="1552" y="477"/>
                  </a:lnTo>
                  <a:lnTo>
                    <a:pt x="1548" y="477"/>
                  </a:lnTo>
                  <a:lnTo>
                    <a:pt x="1548" y="477"/>
                  </a:lnTo>
                  <a:lnTo>
                    <a:pt x="1548" y="477"/>
                  </a:lnTo>
                  <a:lnTo>
                    <a:pt x="1550" y="473"/>
                  </a:lnTo>
                  <a:lnTo>
                    <a:pt x="1550" y="473"/>
                  </a:lnTo>
                  <a:lnTo>
                    <a:pt x="1552" y="470"/>
                  </a:lnTo>
                  <a:lnTo>
                    <a:pt x="1552" y="468"/>
                  </a:lnTo>
                  <a:lnTo>
                    <a:pt x="1548" y="466"/>
                  </a:lnTo>
                  <a:lnTo>
                    <a:pt x="1545" y="466"/>
                  </a:lnTo>
                  <a:lnTo>
                    <a:pt x="1545" y="463"/>
                  </a:lnTo>
                  <a:lnTo>
                    <a:pt x="1548" y="461"/>
                  </a:lnTo>
                  <a:lnTo>
                    <a:pt x="1550" y="456"/>
                  </a:lnTo>
                  <a:lnTo>
                    <a:pt x="1550" y="454"/>
                  </a:lnTo>
                  <a:lnTo>
                    <a:pt x="1550" y="451"/>
                  </a:lnTo>
                  <a:lnTo>
                    <a:pt x="1552" y="449"/>
                  </a:lnTo>
                  <a:lnTo>
                    <a:pt x="1552" y="449"/>
                  </a:lnTo>
                  <a:lnTo>
                    <a:pt x="1552" y="447"/>
                  </a:lnTo>
                  <a:lnTo>
                    <a:pt x="1552" y="444"/>
                  </a:lnTo>
                  <a:lnTo>
                    <a:pt x="1552" y="442"/>
                  </a:lnTo>
                  <a:lnTo>
                    <a:pt x="1555" y="442"/>
                  </a:lnTo>
                  <a:lnTo>
                    <a:pt x="1552" y="440"/>
                  </a:lnTo>
                  <a:lnTo>
                    <a:pt x="1552" y="440"/>
                  </a:lnTo>
                  <a:lnTo>
                    <a:pt x="1552" y="440"/>
                  </a:lnTo>
                  <a:lnTo>
                    <a:pt x="1555" y="437"/>
                  </a:lnTo>
                  <a:lnTo>
                    <a:pt x="1552" y="437"/>
                  </a:lnTo>
                  <a:lnTo>
                    <a:pt x="1552" y="435"/>
                  </a:lnTo>
                  <a:lnTo>
                    <a:pt x="1552" y="435"/>
                  </a:lnTo>
                  <a:lnTo>
                    <a:pt x="1555" y="435"/>
                  </a:lnTo>
                  <a:lnTo>
                    <a:pt x="1557" y="433"/>
                  </a:lnTo>
                  <a:lnTo>
                    <a:pt x="1557" y="430"/>
                  </a:lnTo>
                  <a:lnTo>
                    <a:pt x="1555" y="428"/>
                  </a:lnTo>
                  <a:lnTo>
                    <a:pt x="1555" y="425"/>
                  </a:lnTo>
                  <a:lnTo>
                    <a:pt x="1555" y="425"/>
                  </a:lnTo>
                  <a:lnTo>
                    <a:pt x="1555" y="423"/>
                  </a:lnTo>
                  <a:lnTo>
                    <a:pt x="1552" y="423"/>
                  </a:lnTo>
                  <a:lnTo>
                    <a:pt x="1552" y="423"/>
                  </a:lnTo>
                  <a:lnTo>
                    <a:pt x="1552" y="418"/>
                  </a:lnTo>
                  <a:lnTo>
                    <a:pt x="1552" y="416"/>
                  </a:lnTo>
                  <a:lnTo>
                    <a:pt x="1552" y="416"/>
                  </a:lnTo>
                  <a:lnTo>
                    <a:pt x="1552" y="414"/>
                  </a:lnTo>
                  <a:lnTo>
                    <a:pt x="1555" y="411"/>
                  </a:lnTo>
                  <a:lnTo>
                    <a:pt x="1555" y="407"/>
                  </a:lnTo>
                  <a:lnTo>
                    <a:pt x="1557" y="404"/>
                  </a:lnTo>
                  <a:lnTo>
                    <a:pt x="1557" y="404"/>
                  </a:lnTo>
                  <a:lnTo>
                    <a:pt x="1555" y="404"/>
                  </a:lnTo>
                  <a:lnTo>
                    <a:pt x="1555" y="399"/>
                  </a:lnTo>
                  <a:lnTo>
                    <a:pt x="1555" y="397"/>
                  </a:lnTo>
                  <a:lnTo>
                    <a:pt x="1557" y="392"/>
                  </a:lnTo>
                  <a:lnTo>
                    <a:pt x="1559" y="392"/>
                  </a:lnTo>
                  <a:lnTo>
                    <a:pt x="1564" y="388"/>
                  </a:lnTo>
                  <a:lnTo>
                    <a:pt x="1564" y="385"/>
                  </a:lnTo>
                  <a:lnTo>
                    <a:pt x="1564" y="383"/>
                  </a:lnTo>
                  <a:lnTo>
                    <a:pt x="1567" y="381"/>
                  </a:lnTo>
                  <a:lnTo>
                    <a:pt x="1569" y="381"/>
                  </a:lnTo>
                  <a:lnTo>
                    <a:pt x="1571" y="381"/>
                  </a:lnTo>
                  <a:lnTo>
                    <a:pt x="1571" y="378"/>
                  </a:lnTo>
                  <a:lnTo>
                    <a:pt x="1571" y="378"/>
                  </a:lnTo>
                  <a:lnTo>
                    <a:pt x="1571" y="376"/>
                  </a:lnTo>
                  <a:lnTo>
                    <a:pt x="1574" y="376"/>
                  </a:lnTo>
                  <a:lnTo>
                    <a:pt x="1576" y="376"/>
                  </a:lnTo>
                  <a:lnTo>
                    <a:pt x="1578" y="373"/>
                  </a:lnTo>
                  <a:lnTo>
                    <a:pt x="1581" y="373"/>
                  </a:lnTo>
                  <a:lnTo>
                    <a:pt x="1581" y="371"/>
                  </a:lnTo>
                  <a:lnTo>
                    <a:pt x="1585" y="373"/>
                  </a:lnTo>
                  <a:lnTo>
                    <a:pt x="1588" y="369"/>
                  </a:lnTo>
                  <a:lnTo>
                    <a:pt x="1590" y="369"/>
                  </a:lnTo>
                  <a:lnTo>
                    <a:pt x="1590" y="369"/>
                  </a:lnTo>
                  <a:lnTo>
                    <a:pt x="1597" y="369"/>
                  </a:lnTo>
                  <a:lnTo>
                    <a:pt x="1597" y="366"/>
                  </a:lnTo>
                  <a:lnTo>
                    <a:pt x="1597" y="364"/>
                  </a:lnTo>
                  <a:lnTo>
                    <a:pt x="1597" y="364"/>
                  </a:lnTo>
                  <a:lnTo>
                    <a:pt x="1597" y="362"/>
                  </a:lnTo>
                  <a:lnTo>
                    <a:pt x="1597" y="359"/>
                  </a:lnTo>
                  <a:lnTo>
                    <a:pt x="1597" y="359"/>
                  </a:lnTo>
                  <a:lnTo>
                    <a:pt x="1600" y="359"/>
                  </a:lnTo>
                  <a:lnTo>
                    <a:pt x="1600" y="359"/>
                  </a:lnTo>
                  <a:lnTo>
                    <a:pt x="1604" y="359"/>
                  </a:lnTo>
                  <a:lnTo>
                    <a:pt x="1607" y="362"/>
                  </a:lnTo>
                  <a:lnTo>
                    <a:pt x="1607" y="359"/>
                  </a:lnTo>
                  <a:lnTo>
                    <a:pt x="1607" y="359"/>
                  </a:lnTo>
                  <a:lnTo>
                    <a:pt x="1609" y="359"/>
                  </a:lnTo>
                  <a:lnTo>
                    <a:pt x="1609" y="359"/>
                  </a:lnTo>
                  <a:lnTo>
                    <a:pt x="1611" y="359"/>
                  </a:lnTo>
                  <a:lnTo>
                    <a:pt x="1614" y="359"/>
                  </a:lnTo>
                  <a:lnTo>
                    <a:pt x="1614" y="359"/>
                  </a:lnTo>
                  <a:lnTo>
                    <a:pt x="1619" y="362"/>
                  </a:lnTo>
                  <a:lnTo>
                    <a:pt x="1619" y="364"/>
                  </a:lnTo>
                  <a:lnTo>
                    <a:pt x="1619" y="366"/>
                  </a:lnTo>
                  <a:lnTo>
                    <a:pt x="1621" y="366"/>
                  </a:lnTo>
                  <a:lnTo>
                    <a:pt x="1623" y="366"/>
                  </a:lnTo>
                  <a:lnTo>
                    <a:pt x="1626" y="366"/>
                  </a:lnTo>
                  <a:lnTo>
                    <a:pt x="1628" y="366"/>
                  </a:lnTo>
                  <a:lnTo>
                    <a:pt x="1630" y="366"/>
                  </a:lnTo>
                  <a:lnTo>
                    <a:pt x="1633" y="366"/>
                  </a:lnTo>
                  <a:lnTo>
                    <a:pt x="1633" y="366"/>
                  </a:lnTo>
                  <a:lnTo>
                    <a:pt x="1633" y="366"/>
                  </a:lnTo>
                  <a:lnTo>
                    <a:pt x="1635" y="366"/>
                  </a:lnTo>
                  <a:lnTo>
                    <a:pt x="1635" y="366"/>
                  </a:lnTo>
                  <a:lnTo>
                    <a:pt x="1637" y="369"/>
                  </a:lnTo>
                  <a:lnTo>
                    <a:pt x="1635" y="371"/>
                  </a:lnTo>
                  <a:lnTo>
                    <a:pt x="1635" y="373"/>
                  </a:lnTo>
                  <a:lnTo>
                    <a:pt x="1637" y="373"/>
                  </a:lnTo>
                  <a:lnTo>
                    <a:pt x="1637" y="376"/>
                  </a:lnTo>
                  <a:lnTo>
                    <a:pt x="1640" y="378"/>
                  </a:lnTo>
                  <a:lnTo>
                    <a:pt x="1642" y="378"/>
                  </a:lnTo>
                  <a:lnTo>
                    <a:pt x="1645" y="378"/>
                  </a:lnTo>
                  <a:lnTo>
                    <a:pt x="1645" y="378"/>
                  </a:lnTo>
                  <a:lnTo>
                    <a:pt x="1645" y="381"/>
                  </a:lnTo>
                  <a:lnTo>
                    <a:pt x="1645" y="383"/>
                  </a:lnTo>
                  <a:lnTo>
                    <a:pt x="1645" y="385"/>
                  </a:lnTo>
                  <a:lnTo>
                    <a:pt x="1649" y="385"/>
                  </a:lnTo>
                  <a:lnTo>
                    <a:pt x="1652" y="385"/>
                  </a:lnTo>
                  <a:lnTo>
                    <a:pt x="1652" y="390"/>
                  </a:lnTo>
                  <a:lnTo>
                    <a:pt x="1652" y="390"/>
                  </a:lnTo>
                  <a:lnTo>
                    <a:pt x="1652" y="392"/>
                  </a:lnTo>
                  <a:lnTo>
                    <a:pt x="1652" y="392"/>
                  </a:lnTo>
                  <a:lnTo>
                    <a:pt x="1654" y="392"/>
                  </a:lnTo>
                  <a:lnTo>
                    <a:pt x="1654" y="392"/>
                  </a:lnTo>
                  <a:lnTo>
                    <a:pt x="1654" y="392"/>
                  </a:lnTo>
                  <a:lnTo>
                    <a:pt x="1656" y="395"/>
                  </a:lnTo>
                  <a:lnTo>
                    <a:pt x="1654" y="395"/>
                  </a:lnTo>
                  <a:lnTo>
                    <a:pt x="1654" y="397"/>
                  </a:lnTo>
                  <a:lnTo>
                    <a:pt x="1654" y="397"/>
                  </a:lnTo>
                  <a:lnTo>
                    <a:pt x="1656" y="397"/>
                  </a:lnTo>
                  <a:lnTo>
                    <a:pt x="1656" y="399"/>
                  </a:lnTo>
                  <a:lnTo>
                    <a:pt x="1656" y="402"/>
                  </a:lnTo>
                  <a:lnTo>
                    <a:pt x="1656" y="402"/>
                  </a:lnTo>
                  <a:lnTo>
                    <a:pt x="1656" y="404"/>
                  </a:lnTo>
                  <a:lnTo>
                    <a:pt x="1656" y="404"/>
                  </a:lnTo>
                  <a:lnTo>
                    <a:pt x="1656" y="407"/>
                  </a:lnTo>
                  <a:lnTo>
                    <a:pt x="1659" y="407"/>
                  </a:lnTo>
                  <a:lnTo>
                    <a:pt x="1661" y="407"/>
                  </a:lnTo>
                  <a:lnTo>
                    <a:pt x="1663" y="407"/>
                  </a:lnTo>
                  <a:lnTo>
                    <a:pt x="1668" y="409"/>
                  </a:lnTo>
                  <a:lnTo>
                    <a:pt x="1668" y="409"/>
                  </a:lnTo>
                  <a:lnTo>
                    <a:pt x="1668" y="411"/>
                  </a:lnTo>
                  <a:lnTo>
                    <a:pt x="1668" y="411"/>
                  </a:lnTo>
                  <a:lnTo>
                    <a:pt x="1670" y="409"/>
                  </a:lnTo>
                  <a:lnTo>
                    <a:pt x="1673" y="409"/>
                  </a:lnTo>
                  <a:lnTo>
                    <a:pt x="1673" y="407"/>
                  </a:lnTo>
                  <a:lnTo>
                    <a:pt x="1673" y="407"/>
                  </a:lnTo>
                  <a:lnTo>
                    <a:pt x="1673" y="407"/>
                  </a:lnTo>
                  <a:lnTo>
                    <a:pt x="1675" y="407"/>
                  </a:lnTo>
                  <a:lnTo>
                    <a:pt x="1678" y="407"/>
                  </a:lnTo>
                  <a:lnTo>
                    <a:pt x="1678" y="404"/>
                  </a:lnTo>
                  <a:lnTo>
                    <a:pt x="1682" y="407"/>
                  </a:lnTo>
                  <a:lnTo>
                    <a:pt x="1682" y="407"/>
                  </a:lnTo>
                  <a:lnTo>
                    <a:pt x="1682" y="407"/>
                  </a:lnTo>
                  <a:lnTo>
                    <a:pt x="1685" y="409"/>
                  </a:lnTo>
                  <a:lnTo>
                    <a:pt x="1685" y="409"/>
                  </a:lnTo>
                  <a:lnTo>
                    <a:pt x="1689" y="404"/>
                  </a:lnTo>
                  <a:lnTo>
                    <a:pt x="1689" y="404"/>
                  </a:lnTo>
                  <a:lnTo>
                    <a:pt x="1687" y="404"/>
                  </a:lnTo>
                  <a:lnTo>
                    <a:pt x="1689" y="402"/>
                  </a:lnTo>
                  <a:lnTo>
                    <a:pt x="1689" y="402"/>
                  </a:lnTo>
                  <a:lnTo>
                    <a:pt x="1689" y="399"/>
                  </a:lnTo>
                  <a:lnTo>
                    <a:pt x="1689" y="399"/>
                  </a:lnTo>
                  <a:lnTo>
                    <a:pt x="1689" y="397"/>
                  </a:lnTo>
                  <a:lnTo>
                    <a:pt x="1689" y="397"/>
                  </a:lnTo>
                  <a:lnTo>
                    <a:pt x="1689" y="397"/>
                  </a:lnTo>
                  <a:lnTo>
                    <a:pt x="1692" y="395"/>
                  </a:lnTo>
                  <a:lnTo>
                    <a:pt x="1692" y="395"/>
                  </a:lnTo>
                  <a:lnTo>
                    <a:pt x="1694" y="395"/>
                  </a:lnTo>
                  <a:lnTo>
                    <a:pt x="1696" y="395"/>
                  </a:lnTo>
                  <a:lnTo>
                    <a:pt x="1699" y="395"/>
                  </a:lnTo>
                  <a:lnTo>
                    <a:pt x="1699" y="395"/>
                  </a:lnTo>
                  <a:lnTo>
                    <a:pt x="1699" y="395"/>
                  </a:lnTo>
                  <a:lnTo>
                    <a:pt x="1701" y="392"/>
                  </a:lnTo>
                  <a:lnTo>
                    <a:pt x="1704" y="392"/>
                  </a:lnTo>
                  <a:lnTo>
                    <a:pt x="1706" y="392"/>
                  </a:lnTo>
                  <a:lnTo>
                    <a:pt x="1708" y="392"/>
                  </a:lnTo>
                  <a:lnTo>
                    <a:pt x="1708" y="392"/>
                  </a:lnTo>
                  <a:lnTo>
                    <a:pt x="1708" y="390"/>
                  </a:lnTo>
                  <a:lnTo>
                    <a:pt x="1713" y="388"/>
                  </a:lnTo>
                  <a:lnTo>
                    <a:pt x="1713" y="388"/>
                  </a:lnTo>
                  <a:lnTo>
                    <a:pt x="1715" y="388"/>
                  </a:lnTo>
                  <a:lnTo>
                    <a:pt x="1715" y="385"/>
                  </a:lnTo>
                  <a:lnTo>
                    <a:pt x="1713" y="385"/>
                  </a:lnTo>
                  <a:lnTo>
                    <a:pt x="1715" y="383"/>
                  </a:lnTo>
                  <a:lnTo>
                    <a:pt x="1713" y="381"/>
                  </a:lnTo>
                  <a:lnTo>
                    <a:pt x="1713" y="378"/>
                  </a:lnTo>
                  <a:lnTo>
                    <a:pt x="1711" y="378"/>
                  </a:lnTo>
                  <a:lnTo>
                    <a:pt x="1711" y="378"/>
                  </a:lnTo>
                  <a:lnTo>
                    <a:pt x="1708" y="376"/>
                  </a:lnTo>
                  <a:lnTo>
                    <a:pt x="1708" y="376"/>
                  </a:lnTo>
                  <a:lnTo>
                    <a:pt x="1708" y="373"/>
                  </a:lnTo>
                  <a:lnTo>
                    <a:pt x="1706" y="373"/>
                  </a:lnTo>
                  <a:lnTo>
                    <a:pt x="1706" y="371"/>
                  </a:lnTo>
                  <a:lnTo>
                    <a:pt x="1704" y="371"/>
                  </a:lnTo>
                  <a:lnTo>
                    <a:pt x="1704" y="369"/>
                  </a:lnTo>
                  <a:lnTo>
                    <a:pt x="1704" y="369"/>
                  </a:lnTo>
                  <a:lnTo>
                    <a:pt x="1704" y="366"/>
                  </a:lnTo>
                  <a:lnTo>
                    <a:pt x="1701" y="366"/>
                  </a:lnTo>
                  <a:lnTo>
                    <a:pt x="1701" y="366"/>
                  </a:lnTo>
                  <a:lnTo>
                    <a:pt x="1701" y="359"/>
                  </a:lnTo>
                  <a:lnTo>
                    <a:pt x="1704" y="359"/>
                  </a:lnTo>
                  <a:lnTo>
                    <a:pt x="1704" y="359"/>
                  </a:lnTo>
                  <a:lnTo>
                    <a:pt x="1704" y="357"/>
                  </a:lnTo>
                  <a:lnTo>
                    <a:pt x="1704" y="355"/>
                  </a:lnTo>
                  <a:lnTo>
                    <a:pt x="1708" y="352"/>
                  </a:lnTo>
                  <a:lnTo>
                    <a:pt x="1708" y="350"/>
                  </a:lnTo>
                  <a:lnTo>
                    <a:pt x="1708" y="350"/>
                  </a:lnTo>
                  <a:lnTo>
                    <a:pt x="1708" y="348"/>
                  </a:lnTo>
                  <a:lnTo>
                    <a:pt x="1708" y="348"/>
                  </a:lnTo>
                  <a:lnTo>
                    <a:pt x="1708" y="348"/>
                  </a:lnTo>
                  <a:lnTo>
                    <a:pt x="1711" y="345"/>
                  </a:lnTo>
                  <a:lnTo>
                    <a:pt x="1711" y="343"/>
                  </a:lnTo>
                  <a:lnTo>
                    <a:pt x="1711" y="343"/>
                  </a:lnTo>
                  <a:lnTo>
                    <a:pt x="1713" y="340"/>
                  </a:lnTo>
                  <a:lnTo>
                    <a:pt x="1711" y="338"/>
                  </a:lnTo>
                  <a:lnTo>
                    <a:pt x="1711" y="338"/>
                  </a:lnTo>
                  <a:lnTo>
                    <a:pt x="1715" y="338"/>
                  </a:lnTo>
                  <a:lnTo>
                    <a:pt x="1715" y="333"/>
                  </a:lnTo>
                  <a:lnTo>
                    <a:pt x="1715" y="333"/>
                  </a:lnTo>
                  <a:lnTo>
                    <a:pt x="1715" y="331"/>
                  </a:lnTo>
                  <a:lnTo>
                    <a:pt x="1713" y="329"/>
                  </a:lnTo>
                  <a:lnTo>
                    <a:pt x="1715" y="329"/>
                  </a:lnTo>
                  <a:lnTo>
                    <a:pt x="1715" y="324"/>
                  </a:lnTo>
                  <a:lnTo>
                    <a:pt x="1715" y="322"/>
                  </a:lnTo>
                  <a:lnTo>
                    <a:pt x="1715" y="322"/>
                  </a:lnTo>
                  <a:lnTo>
                    <a:pt x="1715" y="322"/>
                  </a:lnTo>
                  <a:lnTo>
                    <a:pt x="1718" y="322"/>
                  </a:lnTo>
                  <a:lnTo>
                    <a:pt x="1718" y="319"/>
                  </a:lnTo>
                  <a:lnTo>
                    <a:pt x="1718" y="317"/>
                  </a:lnTo>
                  <a:lnTo>
                    <a:pt x="1720" y="317"/>
                  </a:lnTo>
                  <a:lnTo>
                    <a:pt x="1720" y="317"/>
                  </a:lnTo>
                  <a:lnTo>
                    <a:pt x="1720" y="314"/>
                  </a:lnTo>
                  <a:lnTo>
                    <a:pt x="1722" y="312"/>
                  </a:lnTo>
                  <a:lnTo>
                    <a:pt x="1725" y="312"/>
                  </a:lnTo>
                  <a:lnTo>
                    <a:pt x="1725" y="312"/>
                  </a:lnTo>
                  <a:lnTo>
                    <a:pt x="1725" y="310"/>
                  </a:lnTo>
                  <a:lnTo>
                    <a:pt x="1725" y="310"/>
                  </a:lnTo>
                  <a:lnTo>
                    <a:pt x="1722" y="310"/>
                  </a:lnTo>
                  <a:lnTo>
                    <a:pt x="1725" y="307"/>
                  </a:lnTo>
                  <a:lnTo>
                    <a:pt x="1725" y="305"/>
                  </a:lnTo>
                  <a:lnTo>
                    <a:pt x="1727" y="303"/>
                  </a:lnTo>
                  <a:lnTo>
                    <a:pt x="1727" y="298"/>
                  </a:lnTo>
                  <a:lnTo>
                    <a:pt x="1730" y="296"/>
                  </a:lnTo>
                  <a:lnTo>
                    <a:pt x="1730" y="293"/>
                  </a:lnTo>
                  <a:lnTo>
                    <a:pt x="1730" y="293"/>
                  </a:lnTo>
                  <a:lnTo>
                    <a:pt x="1732" y="291"/>
                  </a:lnTo>
                  <a:lnTo>
                    <a:pt x="1734" y="291"/>
                  </a:lnTo>
                  <a:lnTo>
                    <a:pt x="1734" y="288"/>
                  </a:lnTo>
                  <a:lnTo>
                    <a:pt x="1734" y="288"/>
                  </a:lnTo>
                  <a:lnTo>
                    <a:pt x="1734" y="286"/>
                  </a:lnTo>
                  <a:lnTo>
                    <a:pt x="1734" y="286"/>
                  </a:lnTo>
                  <a:lnTo>
                    <a:pt x="1737" y="284"/>
                  </a:lnTo>
                  <a:lnTo>
                    <a:pt x="1737" y="284"/>
                  </a:lnTo>
                  <a:lnTo>
                    <a:pt x="1734" y="281"/>
                  </a:lnTo>
                  <a:lnTo>
                    <a:pt x="1734" y="281"/>
                  </a:lnTo>
                  <a:lnTo>
                    <a:pt x="1737" y="277"/>
                  </a:lnTo>
                  <a:lnTo>
                    <a:pt x="1737" y="277"/>
                  </a:lnTo>
                  <a:lnTo>
                    <a:pt x="1741" y="274"/>
                  </a:lnTo>
                  <a:lnTo>
                    <a:pt x="1744" y="274"/>
                  </a:lnTo>
                  <a:lnTo>
                    <a:pt x="1746" y="272"/>
                  </a:lnTo>
                  <a:lnTo>
                    <a:pt x="1746" y="265"/>
                  </a:lnTo>
                  <a:lnTo>
                    <a:pt x="1748" y="260"/>
                  </a:lnTo>
                  <a:lnTo>
                    <a:pt x="1824" y="260"/>
                  </a:lnTo>
                  <a:lnTo>
                    <a:pt x="1855" y="260"/>
                  </a:lnTo>
                  <a:lnTo>
                    <a:pt x="1893" y="260"/>
                  </a:lnTo>
                  <a:lnTo>
                    <a:pt x="1893" y="296"/>
                  </a:lnTo>
                  <a:lnTo>
                    <a:pt x="1893" y="296"/>
                  </a:lnTo>
                  <a:lnTo>
                    <a:pt x="1893" y="298"/>
                  </a:lnTo>
                  <a:lnTo>
                    <a:pt x="1893" y="303"/>
                  </a:lnTo>
                  <a:lnTo>
                    <a:pt x="1895" y="303"/>
                  </a:lnTo>
                  <a:lnTo>
                    <a:pt x="1895" y="303"/>
                  </a:lnTo>
                  <a:lnTo>
                    <a:pt x="1897" y="305"/>
                  </a:lnTo>
                  <a:lnTo>
                    <a:pt x="1895" y="312"/>
                  </a:lnTo>
                  <a:lnTo>
                    <a:pt x="1897" y="312"/>
                  </a:lnTo>
                  <a:lnTo>
                    <a:pt x="1897" y="314"/>
                  </a:lnTo>
                  <a:lnTo>
                    <a:pt x="1895" y="319"/>
                  </a:lnTo>
                  <a:lnTo>
                    <a:pt x="1895" y="324"/>
                  </a:lnTo>
                  <a:lnTo>
                    <a:pt x="1895" y="329"/>
                  </a:lnTo>
                  <a:lnTo>
                    <a:pt x="1895" y="329"/>
                  </a:lnTo>
                  <a:lnTo>
                    <a:pt x="1895" y="331"/>
                  </a:lnTo>
                  <a:lnTo>
                    <a:pt x="1895" y="331"/>
                  </a:lnTo>
                  <a:lnTo>
                    <a:pt x="1895" y="333"/>
                  </a:lnTo>
                  <a:lnTo>
                    <a:pt x="1895" y="338"/>
                  </a:lnTo>
                  <a:lnTo>
                    <a:pt x="1900" y="340"/>
                  </a:lnTo>
                  <a:lnTo>
                    <a:pt x="1902" y="343"/>
                  </a:lnTo>
                  <a:lnTo>
                    <a:pt x="1902" y="345"/>
                  </a:lnTo>
                  <a:lnTo>
                    <a:pt x="1904" y="345"/>
                  </a:lnTo>
                  <a:lnTo>
                    <a:pt x="1904" y="345"/>
                  </a:lnTo>
                  <a:lnTo>
                    <a:pt x="1904" y="345"/>
                  </a:lnTo>
                  <a:lnTo>
                    <a:pt x="1907" y="345"/>
                  </a:lnTo>
                  <a:lnTo>
                    <a:pt x="1909" y="348"/>
                  </a:lnTo>
                  <a:lnTo>
                    <a:pt x="1911" y="348"/>
                  </a:lnTo>
                  <a:lnTo>
                    <a:pt x="1911" y="350"/>
                  </a:lnTo>
                  <a:lnTo>
                    <a:pt x="1914" y="350"/>
                  </a:lnTo>
                  <a:lnTo>
                    <a:pt x="1914" y="352"/>
                  </a:lnTo>
                  <a:lnTo>
                    <a:pt x="1914" y="357"/>
                  </a:lnTo>
                  <a:lnTo>
                    <a:pt x="1914" y="359"/>
                  </a:lnTo>
                  <a:lnTo>
                    <a:pt x="1914" y="359"/>
                  </a:lnTo>
                  <a:lnTo>
                    <a:pt x="1916" y="362"/>
                  </a:lnTo>
                  <a:lnTo>
                    <a:pt x="1916" y="364"/>
                  </a:lnTo>
                  <a:lnTo>
                    <a:pt x="1916" y="366"/>
                  </a:lnTo>
                  <a:lnTo>
                    <a:pt x="1914" y="366"/>
                  </a:lnTo>
                  <a:lnTo>
                    <a:pt x="1914" y="366"/>
                  </a:lnTo>
                  <a:lnTo>
                    <a:pt x="1914" y="369"/>
                  </a:lnTo>
                  <a:lnTo>
                    <a:pt x="1914" y="371"/>
                  </a:lnTo>
                  <a:lnTo>
                    <a:pt x="1914" y="373"/>
                  </a:lnTo>
                  <a:lnTo>
                    <a:pt x="1914" y="373"/>
                  </a:lnTo>
                  <a:lnTo>
                    <a:pt x="1914" y="376"/>
                  </a:lnTo>
                  <a:lnTo>
                    <a:pt x="1914" y="378"/>
                  </a:lnTo>
                  <a:lnTo>
                    <a:pt x="1914" y="378"/>
                  </a:lnTo>
                  <a:lnTo>
                    <a:pt x="1916" y="378"/>
                  </a:lnTo>
                  <a:lnTo>
                    <a:pt x="1916" y="383"/>
                  </a:lnTo>
                  <a:lnTo>
                    <a:pt x="1916" y="383"/>
                  </a:lnTo>
                  <a:lnTo>
                    <a:pt x="1919" y="383"/>
                  </a:lnTo>
                  <a:lnTo>
                    <a:pt x="1921" y="385"/>
                  </a:lnTo>
                  <a:lnTo>
                    <a:pt x="1921" y="388"/>
                  </a:lnTo>
                  <a:lnTo>
                    <a:pt x="1923" y="388"/>
                  </a:lnTo>
                  <a:lnTo>
                    <a:pt x="1923" y="388"/>
                  </a:lnTo>
                  <a:lnTo>
                    <a:pt x="1926" y="388"/>
                  </a:lnTo>
                  <a:lnTo>
                    <a:pt x="1928" y="392"/>
                  </a:lnTo>
                  <a:lnTo>
                    <a:pt x="1930" y="395"/>
                  </a:lnTo>
                  <a:lnTo>
                    <a:pt x="1930" y="395"/>
                  </a:lnTo>
                  <a:lnTo>
                    <a:pt x="1930" y="395"/>
                  </a:lnTo>
                  <a:lnTo>
                    <a:pt x="1933" y="397"/>
                  </a:lnTo>
                  <a:lnTo>
                    <a:pt x="1935" y="397"/>
                  </a:lnTo>
                  <a:lnTo>
                    <a:pt x="1935" y="397"/>
                  </a:lnTo>
                  <a:lnTo>
                    <a:pt x="1935" y="397"/>
                  </a:lnTo>
                  <a:lnTo>
                    <a:pt x="1935" y="399"/>
                  </a:lnTo>
                  <a:lnTo>
                    <a:pt x="1940" y="402"/>
                  </a:lnTo>
                  <a:lnTo>
                    <a:pt x="1940" y="404"/>
                  </a:lnTo>
                  <a:lnTo>
                    <a:pt x="1940" y="404"/>
                  </a:lnTo>
                  <a:lnTo>
                    <a:pt x="1942" y="402"/>
                  </a:lnTo>
                  <a:lnTo>
                    <a:pt x="1942" y="404"/>
                  </a:lnTo>
                  <a:lnTo>
                    <a:pt x="1945" y="402"/>
                  </a:lnTo>
                  <a:lnTo>
                    <a:pt x="1945" y="404"/>
                  </a:lnTo>
                  <a:lnTo>
                    <a:pt x="1945" y="407"/>
                  </a:lnTo>
                  <a:lnTo>
                    <a:pt x="1945" y="407"/>
                  </a:lnTo>
                  <a:lnTo>
                    <a:pt x="1947" y="407"/>
                  </a:lnTo>
                  <a:lnTo>
                    <a:pt x="1947" y="407"/>
                  </a:lnTo>
                  <a:lnTo>
                    <a:pt x="1947" y="407"/>
                  </a:lnTo>
                  <a:lnTo>
                    <a:pt x="1947" y="407"/>
                  </a:lnTo>
                  <a:lnTo>
                    <a:pt x="1952" y="409"/>
                  </a:lnTo>
                  <a:lnTo>
                    <a:pt x="1952" y="411"/>
                  </a:lnTo>
                  <a:lnTo>
                    <a:pt x="1949" y="411"/>
                  </a:lnTo>
                  <a:lnTo>
                    <a:pt x="1949" y="414"/>
                  </a:lnTo>
                  <a:lnTo>
                    <a:pt x="1949" y="416"/>
                  </a:lnTo>
                  <a:lnTo>
                    <a:pt x="1952" y="418"/>
                  </a:lnTo>
                  <a:lnTo>
                    <a:pt x="1952" y="421"/>
                  </a:lnTo>
                  <a:lnTo>
                    <a:pt x="1954" y="421"/>
                  </a:lnTo>
                  <a:lnTo>
                    <a:pt x="1954" y="421"/>
                  </a:lnTo>
                  <a:lnTo>
                    <a:pt x="1954" y="423"/>
                  </a:lnTo>
                  <a:lnTo>
                    <a:pt x="1954" y="423"/>
                  </a:lnTo>
                  <a:lnTo>
                    <a:pt x="1952" y="425"/>
                  </a:lnTo>
                  <a:lnTo>
                    <a:pt x="1954" y="425"/>
                  </a:lnTo>
                  <a:lnTo>
                    <a:pt x="1952" y="428"/>
                  </a:lnTo>
                  <a:lnTo>
                    <a:pt x="1954" y="430"/>
                  </a:lnTo>
                  <a:lnTo>
                    <a:pt x="1954" y="430"/>
                  </a:lnTo>
                  <a:lnTo>
                    <a:pt x="1956" y="430"/>
                  </a:lnTo>
                  <a:lnTo>
                    <a:pt x="1956" y="430"/>
                  </a:lnTo>
                  <a:lnTo>
                    <a:pt x="1956" y="430"/>
                  </a:lnTo>
                  <a:lnTo>
                    <a:pt x="1959" y="433"/>
                  </a:lnTo>
                  <a:lnTo>
                    <a:pt x="1959" y="437"/>
                  </a:lnTo>
                  <a:lnTo>
                    <a:pt x="1961" y="437"/>
                  </a:lnTo>
                  <a:lnTo>
                    <a:pt x="1961" y="440"/>
                  </a:lnTo>
                  <a:lnTo>
                    <a:pt x="1961" y="440"/>
                  </a:lnTo>
                  <a:lnTo>
                    <a:pt x="1963" y="440"/>
                  </a:lnTo>
                  <a:lnTo>
                    <a:pt x="1963" y="442"/>
                  </a:lnTo>
                  <a:lnTo>
                    <a:pt x="1966" y="442"/>
                  </a:lnTo>
                  <a:lnTo>
                    <a:pt x="1966" y="444"/>
                  </a:lnTo>
                  <a:lnTo>
                    <a:pt x="1973" y="442"/>
                  </a:lnTo>
                  <a:lnTo>
                    <a:pt x="1973" y="442"/>
                  </a:lnTo>
                  <a:lnTo>
                    <a:pt x="1973" y="442"/>
                  </a:lnTo>
                  <a:lnTo>
                    <a:pt x="1975" y="447"/>
                  </a:lnTo>
                  <a:lnTo>
                    <a:pt x="1978" y="447"/>
                  </a:lnTo>
                  <a:lnTo>
                    <a:pt x="1982" y="451"/>
                  </a:lnTo>
                  <a:lnTo>
                    <a:pt x="1982" y="451"/>
                  </a:lnTo>
                  <a:lnTo>
                    <a:pt x="1985" y="456"/>
                  </a:lnTo>
                  <a:lnTo>
                    <a:pt x="1987" y="454"/>
                  </a:lnTo>
                  <a:lnTo>
                    <a:pt x="1989" y="449"/>
                  </a:lnTo>
                  <a:lnTo>
                    <a:pt x="1992" y="449"/>
                  </a:lnTo>
                  <a:lnTo>
                    <a:pt x="1992" y="447"/>
                  </a:lnTo>
                  <a:lnTo>
                    <a:pt x="1994" y="447"/>
                  </a:lnTo>
                  <a:lnTo>
                    <a:pt x="1996" y="444"/>
                  </a:lnTo>
                  <a:lnTo>
                    <a:pt x="1994" y="442"/>
                  </a:lnTo>
                  <a:lnTo>
                    <a:pt x="1996" y="442"/>
                  </a:lnTo>
                  <a:lnTo>
                    <a:pt x="2001" y="437"/>
                  </a:lnTo>
                  <a:lnTo>
                    <a:pt x="2001" y="437"/>
                  </a:lnTo>
                  <a:lnTo>
                    <a:pt x="2004" y="440"/>
                  </a:lnTo>
                  <a:lnTo>
                    <a:pt x="2004" y="440"/>
                  </a:lnTo>
                  <a:lnTo>
                    <a:pt x="2004" y="442"/>
                  </a:lnTo>
                  <a:lnTo>
                    <a:pt x="2006" y="444"/>
                  </a:lnTo>
                  <a:lnTo>
                    <a:pt x="2008" y="444"/>
                  </a:lnTo>
                  <a:lnTo>
                    <a:pt x="2011" y="447"/>
                  </a:lnTo>
                  <a:lnTo>
                    <a:pt x="2011" y="447"/>
                  </a:lnTo>
                  <a:lnTo>
                    <a:pt x="2008" y="449"/>
                  </a:lnTo>
                  <a:lnTo>
                    <a:pt x="2011" y="451"/>
                  </a:lnTo>
                  <a:lnTo>
                    <a:pt x="2011" y="454"/>
                  </a:lnTo>
                  <a:lnTo>
                    <a:pt x="2011" y="456"/>
                  </a:lnTo>
                  <a:lnTo>
                    <a:pt x="2006" y="463"/>
                  </a:lnTo>
                  <a:lnTo>
                    <a:pt x="2006" y="466"/>
                  </a:lnTo>
                  <a:lnTo>
                    <a:pt x="2006" y="466"/>
                  </a:lnTo>
                  <a:lnTo>
                    <a:pt x="2006" y="468"/>
                  </a:lnTo>
                  <a:lnTo>
                    <a:pt x="2006" y="470"/>
                  </a:lnTo>
                  <a:lnTo>
                    <a:pt x="2008" y="470"/>
                  </a:lnTo>
                  <a:lnTo>
                    <a:pt x="2011" y="470"/>
                  </a:lnTo>
                  <a:lnTo>
                    <a:pt x="2008" y="473"/>
                  </a:lnTo>
                  <a:lnTo>
                    <a:pt x="2008" y="475"/>
                  </a:lnTo>
                  <a:lnTo>
                    <a:pt x="2011" y="475"/>
                  </a:lnTo>
                  <a:lnTo>
                    <a:pt x="2011" y="477"/>
                  </a:lnTo>
                  <a:lnTo>
                    <a:pt x="2013" y="477"/>
                  </a:lnTo>
                  <a:lnTo>
                    <a:pt x="2013" y="477"/>
                  </a:lnTo>
                  <a:lnTo>
                    <a:pt x="2018" y="477"/>
                  </a:lnTo>
                  <a:lnTo>
                    <a:pt x="2018" y="477"/>
                  </a:lnTo>
                  <a:lnTo>
                    <a:pt x="2018" y="480"/>
                  </a:lnTo>
                  <a:lnTo>
                    <a:pt x="2018" y="480"/>
                  </a:lnTo>
                  <a:lnTo>
                    <a:pt x="2018" y="480"/>
                  </a:lnTo>
                  <a:lnTo>
                    <a:pt x="2020" y="482"/>
                  </a:lnTo>
                  <a:lnTo>
                    <a:pt x="2022" y="480"/>
                  </a:lnTo>
                  <a:lnTo>
                    <a:pt x="2022" y="480"/>
                  </a:lnTo>
                  <a:lnTo>
                    <a:pt x="2027" y="480"/>
                  </a:lnTo>
                  <a:lnTo>
                    <a:pt x="2027" y="482"/>
                  </a:lnTo>
                  <a:lnTo>
                    <a:pt x="2030" y="482"/>
                  </a:lnTo>
                  <a:lnTo>
                    <a:pt x="2030" y="485"/>
                  </a:lnTo>
                  <a:lnTo>
                    <a:pt x="2030" y="485"/>
                  </a:lnTo>
                  <a:lnTo>
                    <a:pt x="2030" y="487"/>
                  </a:lnTo>
                  <a:lnTo>
                    <a:pt x="2032" y="487"/>
                  </a:lnTo>
                  <a:lnTo>
                    <a:pt x="2032" y="489"/>
                  </a:lnTo>
                  <a:lnTo>
                    <a:pt x="2032" y="489"/>
                  </a:lnTo>
                  <a:lnTo>
                    <a:pt x="2034" y="489"/>
                  </a:lnTo>
                  <a:lnTo>
                    <a:pt x="2034" y="489"/>
                  </a:lnTo>
                  <a:lnTo>
                    <a:pt x="2034" y="492"/>
                  </a:lnTo>
                  <a:lnTo>
                    <a:pt x="2034" y="492"/>
                  </a:lnTo>
                  <a:lnTo>
                    <a:pt x="2037" y="489"/>
                  </a:lnTo>
                  <a:lnTo>
                    <a:pt x="2039" y="492"/>
                  </a:lnTo>
                  <a:lnTo>
                    <a:pt x="2039" y="489"/>
                  </a:lnTo>
                  <a:lnTo>
                    <a:pt x="2041" y="492"/>
                  </a:lnTo>
                  <a:lnTo>
                    <a:pt x="2041" y="489"/>
                  </a:lnTo>
                  <a:lnTo>
                    <a:pt x="2041" y="494"/>
                  </a:lnTo>
                  <a:lnTo>
                    <a:pt x="2044" y="496"/>
                  </a:lnTo>
                  <a:lnTo>
                    <a:pt x="2044" y="499"/>
                  </a:lnTo>
                  <a:lnTo>
                    <a:pt x="2044" y="501"/>
                  </a:lnTo>
                  <a:lnTo>
                    <a:pt x="2046" y="501"/>
                  </a:lnTo>
                  <a:lnTo>
                    <a:pt x="2046" y="503"/>
                  </a:lnTo>
                  <a:lnTo>
                    <a:pt x="2048" y="501"/>
                  </a:lnTo>
                  <a:lnTo>
                    <a:pt x="2051" y="501"/>
                  </a:lnTo>
                  <a:lnTo>
                    <a:pt x="2056" y="501"/>
                  </a:lnTo>
                  <a:lnTo>
                    <a:pt x="2056" y="501"/>
                  </a:lnTo>
                  <a:lnTo>
                    <a:pt x="2056" y="499"/>
                  </a:lnTo>
                  <a:lnTo>
                    <a:pt x="2058" y="501"/>
                  </a:lnTo>
                  <a:lnTo>
                    <a:pt x="2058" y="501"/>
                  </a:lnTo>
                  <a:lnTo>
                    <a:pt x="2058" y="503"/>
                  </a:lnTo>
                  <a:lnTo>
                    <a:pt x="2058" y="503"/>
                  </a:lnTo>
                  <a:lnTo>
                    <a:pt x="2060" y="503"/>
                  </a:lnTo>
                  <a:lnTo>
                    <a:pt x="2063" y="503"/>
                  </a:lnTo>
                  <a:lnTo>
                    <a:pt x="2065" y="503"/>
                  </a:lnTo>
                  <a:lnTo>
                    <a:pt x="2065" y="506"/>
                  </a:lnTo>
                  <a:lnTo>
                    <a:pt x="2067" y="506"/>
                  </a:lnTo>
                  <a:lnTo>
                    <a:pt x="2065" y="511"/>
                  </a:lnTo>
                  <a:lnTo>
                    <a:pt x="2067" y="508"/>
                  </a:lnTo>
                  <a:lnTo>
                    <a:pt x="2070" y="511"/>
                  </a:lnTo>
                  <a:lnTo>
                    <a:pt x="2070" y="511"/>
                  </a:lnTo>
                  <a:lnTo>
                    <a:pt x="2072" y="511"/>
                  </a:lnTo>
                  <a:lnTo>
                    <a:pt x="2072" y="513"/>
                  </a:lnTo>
                  <a:lnTo>
                    <a:pt x="2072" y="513"/>
                  </a:lnTo>
                  <a:lnTo>
                    <a:pt x="2077" y="513"/>
                  </a:lnTo>
                  <a:lnTo>
                    <a:pt x="2077" y="513"/>
                  </a:lnTo>
                  <a:lnTo>
                    <a:pt x="2077" y="515"/>
                  </a:lnTo>
                  <a:lnTo>
                    <a:pt x="2079" y="515"/>
                  </a:lnTo>
                  <a:lnTo>
                    <a:pt x="2079" y="513"/>
                  </a:lnTo>
                  <a:lnTo>
                    <a:pt x="2082" y="513"/>
                  </a:lnTo>
                  <a:lnTo>
                    <a:pt x="2082" y="515"/>
                  </a:lnTo>
                  <a:lnTo>
                    <a:pt x="2084" y="515"/>
                  </a:lnTo>
                  <a:lnTo>
                    <a:pt x="2084" y="515"/>
                  </a:lnTo>
                  <a:lnTo>
                    <a:pt x="2084" y="518"/>
                  </a:lnTo>
                  <a:lnTo>
                    <a:pt x="2082" y="518"/>
                  </a:lnTo>
                  <a:lnTo>
                    <a:pt x="2084" y="520"/>
                  </a:lnTo>
                  <a:lnTo>
                    <a:pt x="2086" y="518"/>
                  </a:lnTo>
                  <a:lnTo>
                    <a:pt x="2089" y="520"/>
                  </a:lnTo>
                  <a:lnTo>
                    <a:pt x="2089" y="520"/>
                  </a:lnTo>
                  <a:lnTo>
                    <a:pt x="2089" y="518"/>
                  </a:lnTo>
                  <a:lnTo>
                    <a:pt x="2091" y="520"/>
                  </a:lnTo>
                  <a:lnTo>
                    <a:pt x="2093" y="520"/>
                  </a:lnTo>
                  <a:lnTo>
                    <a:pt x="2096" y="518"/>
                  </a:lnTo>
                  <a:lnTo>
                    <a:pt x="2098" y="518"/>
                  </a:lnTo>
                  <a:lnTo>
                    <a:pt x="2098" y="520"/>
                  </a:lnTo>
                  <a:lnTo>
                    <a:pt x="2100" y="520"/>
                  </a:lnTo>
                  <a:lnTo>
                    <a:pt x="2100" y="518"/>
                  </a:lnTo>
                  <a:lnTo>
                    <a:pt x="2100" y="515"/>
                  </a:lnTo>
                  <a:lnTo>
                    <a:pt x="2100" y="515"/>
                  </a:lnTo>
                  <a:lnTo>
                    <a:pt x="2103" y="518"/>
                  </a:lnTo>
                  <a:lnTo>
                    <a:pt x="2100" y="518"/>
                  </a:lnTo>
                  <a:lnTo>
                    <a:pt x="2103" y="520"/>
                  </a:lnTo>
                  <a:lnTo>
                    <a:pt x="2103" y="520"/>
                  </a:lnTo>
                  <a:lnTo>
                    <a:pt x="2105" y="520"/>
                  </a:lnTo>
                  <a:lnTo>
                    <a:pt x="2105" y="520"/>
                  </a:lnTo>
                  <a:lnTo>
                    <a:pt x="2108" y="518"/>
                  </a:lnTo>
                  <a:lnTo>
                    <a:pt x="2108" y="520"/>
                  </a:lnTo>
                  <a:lnTo>
                    <a:pt x="2110" y="520"/>
                  </a:lnTo>
                  <a:lnTo>
                    <a:pt x="2110" y="520"/>
                  </a:lnTo>
                  <a:lnTo>
                    <a:pt x="2110" y="520"/>
                  </a:lnTo>
                  <a:lnTo>
                    <a:pt x="2112" y="520"/>
                  </a:lnTo>
                  <a:lnTo>
                    <a:pt x="2112" y="520"/>
                  </a:lnTo>
                  <a:lnTo>
                    <a:pt x="2112" y="522"/>
                  </a:lnTo>
                  <a:lnTo>
                    <a:pt x="2112" y="525"/>
                  </a:lnTo>
                  <a:lnTo>
                    <a:pt x="2112" y="525"/>
                  </a:lnTo>
                  <a:lnTo>
                    <a:pt x="2115" y="525"/>
                  </a:lnTo>
                  <a:lnTo>
                    <a:pt x="2117" y="525"/>
                  </a:lnTo>
                  <a:lnTo>
                    <a:pt x="2119" y="529"/>
                  </a:lnTo>
                  <a:lnTo>
                    <a:pt x="2122" y="525"/>
                  </a:lnTo>
                  <a:lnTo>
                    <a:pt x="2122" y="527"/>
                  </a:lnTo>
                  <a:lnTo>
                    <a:pt x="2122" y="529"/>
                  </a:lnTo>
                  <a:lnTo>
                    <a:pt x="2122" y="529"/>
                  </a:lnTo>
                  <a:lnTo>
                    <a:pt x="2124" y="529"/>
                  </a:lnTo>
                  <a:lnTo>
                    <a:pt x="2124" y="532"/>
                  </a:lnTo>
                  <a:lnTo>
                    <a:pt x="2124" y="532"/>
                  </a:lnTo>
                  <a:lnTo>
                    <a:pt x="2124" y="534"/>
                  </a:lnTo>
                  <a:lnTo>
                    <a:pt x="2124" y="536"/>
                  </a:lnTo>
                  <a:lnTo>
                    <a:pt x="2126" y="539"/>
                  </a:lnTo>
                  <a:lnTo>
                    <a:pt x="2129" y="544"/>
                  </a:lnTo>
                  <a:lnTo>
                    <a:pt x="2129" y="544"/>
                  </a:lnTo>
                  <a:lnTo>
                    <a:pt x="2134" y="544"/>
                  </a:lnTo>
                  <a:lnTo>
                    <a:pt x="2136" y="546"/>
                  </a:lnTo>
                  <a:lnTo>
                    <a:pt x="2138" y="548"/>
                  </a:lnTo>
                  <a:lnTo>
                    <a:pt x="2138" y="551"/>
                  </a:lnTo>
                  <a:lnTo>
                    <a:pt x="2138" y="551"/>
                  </a:lnTo>
                  <a:lnTo>
                    <a:pt x="2143" y="551"/>
                  </a:lnTo>
                  <a:lnTo>
                    <a:pt x="2145" y="551"/>
                  </a:lnTo>
                  <a:lnTo>
                    <a:pt x="2145" y="553"/>
                  </a:lnTo>
                  <a:lnTo>
                    <a:pt x="2148" y="553"/>
                  </a:lnTo>
                  <a:lnTo>
                    <a:pt x="2150" y="558"/>
                  </a:lnTo>
                  <a:lnTo>
                    <a:pt x="2152" y="558"/>
                  </a:lnTo>
                  <a:lnTo>
                    <a:pt x="2155" y="558"/>
                  </a:lnTo>
                  <a:lnTo>
                    <a:pt x="2159" y="558"/>
                  </a:lnTo>
                  <a:lnTo>
                    <a:pt x="2162" y="558"/>
                  </a:lnTo>
                  <a:lnTo>
                    <a:pt x="2164" y="558"/>
                  </a:lnTo>
                  <a:lnTo>
                    <a:pt x="2167" y="558"/>
                  </a:lnTo>
                  <a:lnTo>
                    <a:pt x="2167" y="560"/>
                  </a:lnTo>
                  <a:lnTo>
                    <a:pt x="2169" y="562"/>
                  </a:lnTo>
                  <a:lnTo>
                    <a:pt x="2169" y="565"/>
                  </a:lnTo>
                  <a:lnTo>
                    <a:pt x="2169" y="565"/>
                  </a:lnTo>
                  <a:lnTo>
                    <a:pt x="2167" y="567"/>
                  </a:lnTo>
                  <a:lnTo>
                    <a:pt x="2164" y="570"/>
                  </a:lnTo>
                  <a:lnTo>
                    <a:pt x="2162" y="574"/>
                  </a:lnTo>
                  <a:lnTo>
                    <a:pt x="2162" y="577"/>
                  </a:lnTo>
                  <a:lnTo>
                    <a:pt x="2162" y="579"/>
                  </a:lnTo>
                  <a:lnTo>
                    <a:pt x="2164" y="579"/>
                  </a:lnTo>
                  <a:lnTo>
                    <a:pt x="2167" y="579"/>
                  </a:lnTo>
                  <a:lnTo>
                    <a:pt x="2169" y="579"/>
                  </a:lnTo>
                  <a:lnTo>
                    <a:pt x="2171" y="581"/>
                  </a:lnTo>
                  <a:lnTo>
                    <a:pt x="2174" y="584"/>
                  </a:lnTo>
                  <a:lnTo>
                    <a:pt x="2176" y="584"/>
                  </a:lnTo>
                  <a:lnTo>
                    <a:pt x="2178" y="581"/>
                  </a:lnTo>
                  <a:lnTo>
                    <a:pt x="2181" y="581"/>
                  </a:lnTo>
                  <a:lnTo>
                    <a:pt x="2183" y="584"/>
                  </a:lnTo>
                  <a:lnTo>
                    <a:pt x="2183" y="581"/>
                  </a:lnTo>
                  <a:lnTo>
                    <a:pt x="2183" y="579"/>
                  </a:lnTo>
                  <a:lnTo>
                    <a:pt x="2183" y="579"/>
                  </a:lnTo>
                  <a:lnTo>
                    <a:pt x="2185" y="579"/>
                  </a:lnTo>
                  <a:lnTo>
                    <a:pt x="2185" y="579"/>
                  </a:lnTo>
                  <a:lnTo>
                    <a:pt x="2188" y="579"/>
                  </a:lnTo>
                  <a:lnTo>
                    <a:pt x="2188" y="577"/>
                  </a:lnTo>
                  <a:lnTo>
                    <a:pt x="2193" y="577"/>
                  </a:lnTo>
                  <a:lnTo>
                    <a:pt x="2193" y="574"/>
                  </a:lnTo>
                  <a:lnTo>
                    <a:pt x="2195" y="574"/>
                  </a:lnTo>
                  <a:lnTo>
                    <a:pt x="2195" y="574"/>
                  </a:lnTo>
                  <a:lnTo>
                    <a:pt x="2200" y="579"/>
                  </a:lnTo>
                  <a:lnTo>
                    <a:pt x="2200" y="577"/>
                  </a:lnTo>
                  <a:lnTo>
                    <a:pt x="2202" y="577"/>
                  </a:lnTo>
                  <a:lnTo>
                    <a:pt x="2204" y="577"/>
                  </a:lnTo>
                  <a:lnTo>
                    <a:pt x="2204" y="577"/>
                  </a:lnTo>
                  <a:lnTo>
                    <a:pt x="2207" y="579"/>
                  </a:lnTo>
                  <a:lnTo>
                    <a:pt x="2207" y="579"/>
                  </a:lnTo>
                  <a:lnTo>
                    <a:pt x="2211" y="577"/>
                  </a:lnTo>
                  <a:lnTo>
                    <a:pt x="2211" y="574"/>
                  </a:lnTo>
                  <a:lnTo>
                    <a:pt x="2214" y="574"/>
                  </a:lnTo>
                  <a:lnTo>
                    <a:pt x="2216" y="574"/>
                  </a:lnTo>
                  <a:lnTo>
                    <a:pt x="2219" y="574"/>
                  </a:lnTo>
                  <a:lnTo>
                    <a:pt x="2221" y="574"/>
                  </a:lnTo>
                  <a:lnTo>
                    <a:pt x="2221" y="572"/>
                  </a:lnTo>
                  <a:lnTo>
                    <a:pt x="2221" y="572"/>
                  </a:lnTo>
                  <a:lnTo>
                    <a:pt x="2221" y="570"/>
                  </a:lnTo>
                  <a:lnTo>
                    <a:pt x="2223" y="570"/>
                  </a:lnTo>
                  <a:lnTo>
                    <a:pt x="2223" y="567"/>
                  </a:lnTo>
                  <a:lnTo>
                    <a:pt x="2228" y="567"/>
                  </a:lnTo>
                  <a:lnTo>
                    <a:pt x="2230" y="562"/>
                  </a:lnTo>
                  <a:lnTo>
                    <a:pt x="2233" y="562"/>
                  </a:lnTo>
                  <a:lnTo>
                    <a:pt x="2235" y="562"/>
                  </a:lnTo>
                  <a:lnTo>
                    <a:pt x="2235" y="562"/>
                  </a:lnTo>
                  <a:lnTo>
                    <a:pt x="2235" y="560"/>
                  </a:lnTo>
                  <a:lnTo>
                    <a:pt x="2237" y="560"/>
                  </a:lnTo>
                  <a:lnTo>
                    <a:pt x="2240" y="560"/>
                  </a:lnTo>
                  <a:lnTo>
                    <a:pt x="2242" y="560"/>
                  </a:lnTo>
                  <a:lnTo>
                    <a:pt x="2247" y="560"/>
                  </a:lnTo>
                  <a:lnTo>
                    <a:pt x="2247" y="560"/>
                  </a:lnTo>
                  <a:lnTo>
                    <a:pt x="2247" y="562"/>
                  </a:lnTo>
                  <a:lnTo>
                    <a:pt x="2242" y="570"/>
                  </a:lnTo>
                  <a:lnTo>
                    <a:pt x="2240" y="574"/>
                  </a:lnTo>
                  <a:lnTo>
                    <a:pt x="2235" y="579"/>
                  </a:lnTo>
                  <a:lnTo>
                    <a:pt x="2233" y="581"/>
                  </a:lnTo>
                  <a:lnTo>
                    <a:pt x="2226" y="584"/>
                  </a:lnTo>
                  <a:lnTo>
                    <a:pt x="2219" y="588"/>
                  </a:lnTo>
                  <a:lnTo>
                    <a:pt x="2214" y="588"/>
                  </a:lnTo>
                  <a:lnTo>
                    <a:pt x="2211" y="591"/>
                  </a:lnTo>
                  <a:lnTo>
                    <a:pt x="2211" y="593"/>
                  </a:lnTo>
                  <a:lnTo>
                    <a:pt x="2207" y="598"/>
                  </a:lnTo>
                  <a:lnTo>
                    <a:pt x="2207" y="600"/>
                  </a:lnTo>
                  <a:lnTo>
                    <a:pt x="2207" y="603"/>
                  </a:lnTo>
                  <a:lnTo>
                    <a:pt x="2207" y="605"/>
                  </a:lnTo>
                  <a:lnTo>
                    <a:pt x="2202" y="612"/>
                  </a:lnTo>
                  <a:lnTo>
                    <a:pt x="2202" y="612"/>
                  </a:lnTo>
                  <a:lnTo>
                    <a:pt x="2202" y="612"/>
                  </a:lnTo>
                  <a:lnTo>
                    <a:pt x="2204" y="614"/>
                  </a:lnTo>
                  <a:lnTo>
                    <a:pt x="2207" y="614"/>
                  </a:lnTo>
                  <a:lnTo>
                    <a:pt x="2207" y="614"/>
                  </a:lnTo>
                  <a:lnTo>
                    <a:pt x="2209" y="614"/>
                  </a:lnTo>
                  <a:lnTo>
                    <a:pt x="2204" y="624"/>
                  </a:lnTo>
                  <a:lnTo>
                    <a:pt x="2197" y="638"/>
                  </a:lnTo>
                  <a:lnTo>
                    <a:pt x="2193" y="652"/>
                  </a:lnTo>
                  <a:lnTo>
                    <a:pt x="2188" y="664"/>
                  </a:lnTo>
                  <a:lnTo>
                    <a:pt x="2178" y="685"/>
                  </a:lnTo>
                  <a:lnTo>
                    <a:pt x="2162" y="716"/>
                  </a:lnTo>
                  <a:lnTo>
                    <a:pt x="2162" y="718"/>
                  </a:lnTo>
                  <a:lnTo>
                    <a:pt x="2157" y="730"/>
                  </a:lnTo>
                  <a:lnTo>
                    <a:pt x="2148" y="751"/>
                  </a:lnTo>
                  <a:lnTo>
                    <a:pt x="2143" y="761"/>
                  </a:lnTo>
                  <a:lnTo>
                    <a:pt x="2138" y="773"/>
                  </a:lnTo>
                  <a:lnTo>
                    <a:pt x="2131" y="792"/>
                  </a:lnTo>
                  <a:lnTo>
                    <a:pt x="2100" y="855"/>
                  </a:lnTo>
                  <a:lnTo>
                    <a:pt x="2063" y="938"/>
                  </a:lnTo>
                  <a:lnTo>
                    <a:pt x="2056" y="957"/>
                  </a:lnTo>
                  <a:lnTo>
                    <a:pt x="2044" y="983"/>
                  </a:lnTo>
                  <a:lnTo>
                    <a:pt x="2022" y="1028"/>
                  </a:lnTo>
                  <a:lnTo>
                    <a:pt x="1973" y="1139"/>
                  </a:lnTo>
                  <a:lnTo>
                    <a:pt x="1973" y="1141"/>
                  </a:lnTo>
                  <a:lnTo>
                    <a:pt x="1971" y="1141"/>
                  </a:lnTo>
                  <a:lnTo>
                    <a:pt x="1971" y="1144"/>
                  </a:lnTo>
                  <a:lnTo>
                    <a:pt x="1968" y="1144"/>
                  </a:lnTo>
                  <a:lnTo>
                    <a:pt x="1966" y="1144"/>
                  </a:lnTo>
                  <a:lnTo>
                    <a:pt x="1966" y="1144"/>
                  </a:lnTo>
                  <a:lnTo>
                    <a:pt x="1963" y="1148"/>
                  </a:lnTo>
                  <a:lnTo>
                    <a:pt x="1963" y="1151"/>
                  </a:lnTo>
                  <a:lnTo>
                    <a:pt x="1961" y="1153"/>
                  </a:lnTo>
                  <a:lnTo>
                    <a:pt x="1959" y="1153"/>
                  </a:lnTo>
                  <a:lnTo>
                    <a:pt x="1952" y="1160"/>
                  </a:lnTo>
                  <a:lnTo>
                    <a:pt x="1949" y="1165"/>
                  </a:lnTo>
                  <a:lnTo>
                    <a:pt x="1947" y="1167"/>
                  </a:lnTo>
                  <a:lnTo>
                    <a:pt x="1945" y="1170"/>
                  </a:lnTo>
                  <a:lnTo>
                    <a:pt x="1945" y="1181"/>
                  </a:lnTo>
                  <a:lnTo>
                    <a:pt x="1947" y="1184"/>
                  </a:lnTo>
                  <a:lnTo>
                    <a:pt x="1947" y="1188"/>
                  </a:lnTo>
                  <a:lnTo>
                    <a:pt x="1952" y="1198"/>
                  </a:lnTo>
                  <a:lnTo>
                    <a:pt x="1954" y="1203"/>
                  </a:lnTo>
                  <a:lnTo>
                    <a:pt x="1956" y="1203"/>
                  </a:lnTo>
                  <a:lnTo>
                    <a:pt x="1956" y="1205"/>
                  </a:lnTo>
                  <a:lnTo>
                    <a:pt x="1959" y="1205"/>
                  </a:lnTo>
                  <a:lnTo>
                    <a:pt x="1961" y="1205"/>
                  </a:lnTo>
                  <a:lnTo>
                    <a:pt x="1963" y="1207"/>
                  </a:lnTo>
                  <a:lnTo>
                    <a:pt x="1966" y="1210"/>
                  </a:lnTo>
                  <a:lnTo>
                    <a:pt x="1968" y="1217"/>
                  </a:lnTo>
                  <a:lnTo>
                    <a:pt x="1973" y="1219"/>
                  </a:lnTo>
                  <a:lnTo>
                    <a:pt x="1975" y="1222"/>
                  </a:lnTo>
                  <a:lnTo>
                    <a:pt x="1975" y="1222"/>
                  </a:lnTo>
                  <a:lnTo>
                    <a:pt x="1978" y="1224"/>
                  </a:lnTo>
                  <a:lnTo>
                    <a:pt x="1978" y="1226"/>
                  </a:lnTo>
                  <a:lnTo>
                    <a:pt x="1980" y="1226"/>
                  </a:lnTo>
                  <a:lnTo>
                    <a:pt x="1980" y="1231"/>
                  </a:lnTo>
                  <a:lnTo>
                    <a:pt x="1982" y="1233"/>
                  </a:lnTo>
                  <a:lnTo>
                    <a:pt x="1985" y="1240"/>
                  </a:lnTo>
                  <a:lnTo>
                    <a:pt x="1985" y="1245"/>
                  </a:lnTo>
                  <a:lnTo>
                    <a:pt x="1985" y="1250"/>
                  </a:lnTo>
                  <a:lnTo>
                    <a:pt x="1985" y="1250"/>
                  </a:lnTo>
                  <a:lnTo>
                    <a:pt x="1987" y="1255"/>
                  </a:lnTo>
                  <a:lnTo>
                    <a:pt x="1989" y="1257"/>
                  </a:lnTo>
                  <a:lnTo>
                    <a:pt x="1987" y="1257"/>
                  </a:lnTo>
                  <a:lnTo>
                    <a:pt x="1985" y="1262"/>
                  </a:lnTo>
                  <a:lnTo>
                    <a:pt x="1980" y="1269"/>
                  </a:lnTo>
                  <a:lnTo>
                    <a:pt x="1978" y="1273"/>
                  </a:lnTo>
                  <a:lnTo>
                    <a:pt x="1978" y="1278"/>
                  </a:lnTo>
                  <a:lnTo>
                    <a:pt x="1978" y="1283"/>
                  </a:lnTo>
                  <a:lnTo>
                    <a:pt x="1980" y="1285"/>
                  </a:lnTo>
                  <a:lnTo>
                    <a:pt x="1980" y="1288"/>
                  </a:lnTo>
                  <a:lnTo>
                    <a:pt x="1980" y="1290"/>
                  </a:lnTo>
                  <a:lnTo>
                    <a:pt x="1975" y="1295"/>
                  </a:lnTo>
                  <a:lnTo>
                    <a:pt x="1975" y="1297"/>
                  </a:lnTo>
                  <a:lnTo>
                    <a:pt x="1971" y="1302"/>
                  </a:lnTo>
                  <a:lnTo>
                    <a:pt x="1971" y="1302"/>
                  </a:lnTo>
                  <a:lnTo>
                    <a:pt x="1971" y="1307"/>
                  </a:lnTo>
                  <a:lnTo>
                    <a:pt x="1971" y="1307"/>
                  </a:lnTo>
                  <a:lnTo>
                    <a:pt x="1968" y="1311"/>
                  </a:lnTo>
                  <a:lnTo>
                    <a:pt x="1963" y="1314"/>
                  </a:lnTo>
                  <a:lnTo>
                    <a:pt x="1959" y="1316"/>
                  </a:lnTo>
                  <a:lnTo>
                    <a:pt x="1959" y="1318"/>
                  </a:lnTo>
                  <a:lnTo>
                    <a:pt x="1956" y="1318"/>
                  </a:lnTo>
                  <a:lnTo>
                    <a:pt x="1956" y="1321"/>
                  </a:lnTo>
                  <a:lnTo>
                    <a:pt x="1959" y="1323"/>
                  </a:lnTo>
                  <a:lnTo>
                    <a:pt x="1959" y="1328"/>
                  </a:lnTo>
                  <a:lnTo>
                    <a:pt x="1961" y="1333"/>
                  </a:lnTo>
                  <a:lnTo>
                    <a:pt x="1963" y="1335"/>
                  </a:lnTo>
                  <a:lnTo>
                    <a:pt x="1966" y="1340"/>
                  </a:lnTo>
                  <a:lnTo>
                    <a:pt x="1966" y="1342"/>
                  </a:lnTo>
                  <a:lnTo>
                    <a:pt x="1966" y="1344"/>
                  </a:lnTo>
                  <a:lnTo>
                    <a:pt x="1968" y="1349"/>
                  </a:lnTo>
                  <a:lnTo>
                    <a:pt x="1971" y="1351"/>
                  </a:lnTo>
                  <a:lnTo>
                    <a:pt x="1968" y="1354"/>
                  </a:lnTo>
                  <a:lnTo>
                    <a:pt x="1971" y="1356"/>
                  </a:lnTo>
                  <a:lnTo>
                    <a:pt x="1968" y="1359"/>
                  </a:lnTo>
                  <a:lnTo>
                    <a:pt x="1966" y="1361"/>
                  </a:lnTo>
                  <a:lnTo>
                    <a:pt x="1966" y="1363"/>
                  </a:lnTo>
                  <a:lnTo>
                    <a:pt x="1966" y="1368"/>
                  </a:lnTo>
                  <a:lnTo>
                    <a:pt x="1966" y="1370"/>
                  </a:lnTo>
                  <a:lnTo>
                    <a:pt x="1966" y="1375"/>
                  </a:lnTo>
                  <a:lnTo>
                    <a:pt x="1966" y="1377"/>
                  </a:lnTo>
                  <a:lnTo>
                    <a:pt x="1966" y="1380"/>
                  </a:lnTo>
                  <a:lnTo>
                    <a:pt x="1966" y="1380"/>
                  </a:lnTo>
                  <a:lnTo>
                    <a:pt x="1966" y="1382"/>
                  </a:lnTo>
                  <a:lnTo>
                    <a:pt x="1966" y="1385"/>
                  </a:lnTo>
                  <a:lnTo>
                    <a:pt x="1963" y="1385"/>
                  </a:lnTo>
                  <a:lnTo>
                    <a:pt x="1961" y="1387"/>
                  </a:lnTo>
                  <a:lnTo>
                    <a:pt x="1963" y="1389"/>
                  </a:lnTo>
                  <a:lnTo>
                    <a:pt x="1961" y="1389"/>
                  </a:lnTo>
                  <a:lnTo>
                    <a:pt x="1961" y="1392"/>
                  </a:lnTo>
                  <a:lnTo>
                    <a:pt x="1959" y="1396"/>
                  </a:lnTo>
                  <a:lnTo>
                    <a:pt x="1956" y="1399"/>
                  </a:lnTo>
                  <a:lnTo>
                    <a:pt x="1956" y="1401"/>
                  </a:lnTo>
                  <a:lnTo>
                    <a:pt x="1954" y="1401"/>
                  </a:lnTo>
                  <a:lnTo>
                    <a:pt x="1954" y="1406"/>
                  </a:lnTo>
                  <a:lnTo>
                    <a:pt x="1954" y="1408"/>
                  </a:lnTo>
                  <a:lnTo>
                    <a:pt x="1954" y="1408"/>
                  </a:lnTo>
                  <a:lnTo>
                    <a:pt x="1954" y="1410"/>
                  </a:lnTo>
                  <a:lnTo>
                    <a:pt x="1954" y="1415"/>
                  </a:lnTo>
                  <a:lnTo>
                    <a:pt x="1956" y="1415"/>
                  </a:lnTo>
                  <a:lnTo>
                    <a:pt x="1956" y="1418"/>
                  </a:lnTo>
                  <a:lnTo>
                    <a:pt x="1956" y="1420"/>
                  </a:lnTo>
                  <a:lnTo>
                    <a:pt x="1956" y="1420"/>
                  </a:lnTo>
                  <a:lnTo>
                    <a:pt x="1954" y="1422"/>
                  </a:lnTo>
                  <a:lnTo>
                    <a:pt x="1954" y="1425"/>
                  </a:lnTo>
                  <a:lnTo>
                    <a:pt x="1949" y="1432"/>
                  </a:lnTo>
                  <a:lnTo>
                    <a:pt x="1952" y="1434"/>
                  </a:lnTo>
                  <a:lnTo>
                    <a:pt x="1954" y="1434"/>
                  </a:lnTo>
                  <a:lnTo>
                    <a:pt x="1956" y="1432"/>
                  </a:lnTo>
                  <a:lnTo>
                    <a:pt x="1959" y="1432"/>
                  </a:lnTo>
                  <a:lnTo>
                    <a:pt x="1961" y="1432"/>
                  </a:lnTo>
                  <a:lnTo>
                    <a:pt x="1966" y="1434"/>
                  </a:lnTo>
                  <a:lnTo>
                    <a:pt x="1966" y="1434"/>
                  </a:lnTo>
                  <a:lnTo>
                    <a:pt x="1963" y="1434"/>
                  </a:lnTo>
                  <a:lnTo>
                    <a:pt x="1961" y="1436"/>
                  </a:lnTo>
                  <a:lnTo>
                    <a:pt x="1956" y="1441"/>
                  </a:lnTo>
                  <a:lnTo>
                    <a:pt x="1954" y="1444"/>
                  </a:lnTo>
                  <a:lnTo>
                    <a:pt x="1954" y="1444"/>
                  </a:lnTo>
                  <a:lnTo>
                    <a:pt x="1954" y="1444"/>
                  </a:lnTo>
                  <a:lnTo>
                    <a:pt x="1952" y="1444"/>
                  </a:lnTo>
                  <a:lnTo>
                    <a:pt x="1949" y="1444"/>
                  </a:lnTo>
                  <a:lnTo>
                    <a:pt x="1942" y="1446"/>
                  </a:lnTo>
                  <a:lnTo>
                    <a:pt x="1867" y="1446"/>
                  </a:lnTo>
                  <a:lnTo>
                    <a:pt x="1864" y="1446"/>
                  </a:lnTo>
                  <a:lnTo>
                    <a:pt x="1770" y="1446"/>
                  </a:lnTo>
                  <a:lnTo>
                    <a:pt x="1699" y="1444"/>
                  </a:lnTo>
                  <a:lnTo>
                    <a:pt x="1656" y="1444"/>
                  </a:lnTo>
                  <a:lnTo>
                    <a:pt x="1647" y="1444"/>
                  </a:lnTo>
                  <a:lnTo>
                    <a:pt x="1645" y="1444"/>
                  </a:lnTo>
                  <a:lnTo>
                    <a:pt x="1552" y="1444"/>
                  </a:lnTo>
                  <a:lnTo>
                    <a:pt x="1550" y="1444"/>
                  </a:lnTo>
                  <a:lnTo>
                    <a:pt x="1550" y="1444"/>
                  </a:lnTo>
                  <a:lnTo>
                    <a:pt x="1545" y="1439"/>
                  </a:lnTo>
                  <a:lnTo>
                    <a:pt x="1545" y="1439"/>
                  </a:lnTo>
                  <a:lnTo>
                    <a:pt x="1545" y="1436"/>
                  </a:lnTo>
                  <a:lnTo>
                    <a:pt x="1545" y="1434"/>
                  </a:lnTo>
                  <a:lnTo>
                    <a:pt x="1543" y="1434"/>
                  </a:lnTo>
                  <a:lnTo>
                    <a:pt x="1543" y="1434"/>
                  </a:lnTo>
                  <a:lnTo>
                    <a:pt x="1541" y="1432"/>
                  </a:lnTo>
                  <a:lnTo>
                    <a:pt x="1536" y="1434"/>
                  </a:lnTo>
                  <a:lnTo>
                    <a:pt x="1536" y="1432"/>
                  </a:lnTo>
                  <a:lnTo>
                    <a:pt x="1536" y="1429"/>
                  </a:lnTo>
                  <a:lnTo>
                    <a:pt x="1533" y="1432"/>
                  </a:lnTo>
                  <a:lnTo>
                    <a:pt x="1531" y="1432"/>
                  </a:lnTo>
                  <a:lnTo>
                    <a:pt x="1531" y="1432"/>
                  </a:lnTo>
                  <a:lnTo>
                    <a:pt x="1531" y="1434"/>
                  </a:lnTo>
                  <a:lnTo>
                    <a:pt x="1531" y="1434"/>
                  </a:lnTo>
                  <a:lnTo>
                    <a:pt x="1531" y="1434"/>
                  </a:lnTo>
                  <a:lnTo>
                    <a:pt x="1529" y="1436"/>
                  </a:lnTo>
                  <a:lnTo>
                    <a:pt x="1529" y="1436"/>
                  </a:lnTo>
                  <a:lnTo>
                    <a:pt x="1526" y="1439"/>
                  </a:lnTo>
                  <a:lnTo>
                    <a:pt x="1526" y="1439"/>
                  </a:lnTo>
                  <a:lnTo>
                    <a:pt x="1524" y="1439"/>
                  </a:lnTo>
                  <a:lnTo>
                    <a:pt x="1522" y="1436"/>
                  </a:lnTo>
                  <a:lnTo>
                    <a:pt x="1519" y="1436"/>
                  </a:lnTo>
                  <a:lnTo>
                    <a:pt x="1519" y="1439"/>
                  </a:lnTo>
                  <a:lnTo>
                    <a:pt x="1519" y="1441"/>
                  </a:lnTo>
                  <a:lnTo>
                    <a:pt x="1517" y="1444"/>
                  </a:lnTo>
                  <a:lnTo>
                    <a:pt x="1517" y="1446"/>
                  </a:lnTo>
                  <a:lnTo>
                    <a:pt x="1517" y="1448"/>
                  </a:lnTo>
                  <a:lnTo>
                    <a:pt x="1517" y="1448"/>
                  </a:lnTo>
                  <a:lnTo>
                    <a:pt x="1517" y="1448"/>
                  </a:lnTo>
                  <a:lnTo>
                    <a:pt x="1517" y="1451"/>
                  </a:lnTo>
                  <a:lnTo>
                    <a:pt x="1515" y="1453"/>
                  </a:lnTo>
                  <a:lnTo>
                    <a:pt x="1512" y="1453"/>
                  </a:lnTo>
                  <a:lnTo>
                    <a:pt x="1512" y="1455"/>
                  </a:lnTo>
                  <a:lnTo>
                    <a:pt x="1507" y="1455"/>
                  </a:lnTo>
                  <a:lnTo>
                    <a:pt x="1507" y="1455"/>
                  </a:lnTo>
                  <a:lnTo>
                    <a:pt x="1503" y="1453"/>
                  </a:lnTo>
                  <a:lnTo>
                    <a:pt x="1500" y="1455"/>
                  </a:lnTo>
                  <a:lnTo>
                    <a:pt x="1500" y="1453"/>
                  </a:lnTo>
                  <a:lnTo>
                    <a:pt x="1500" y="1451"/>
                  </a:lnTo>
                  <a:lnTo>
                    <a:pt x="1498" y="1448"/>
                  </a:lnTo>
                  <a:lnTo>
                    <a:pt x="1496" y="1448"/>
                  </a:lnTo>
                  <a:lnTo>
                    <a:pt x="1496" y="1444"/>
                  </a:lnTo>
                  <a:lnTo>
                    <a:pt x="1493" y="1444"/>
                  </a:lnTo>
                  <a:lnTo>
                    <a:pt x="1489" y="1444"/>
                  </a:lnTo>
                  <a:lnTo>
                    <a:pt x="1486" y="1446"/>
                  </a:lnTo>
                  <a:lnTo>
                    <a:pt x="1482" y="1446"/>
                  </a:lnTo>
                  <a:lnTo>
                    <a:pt x="1479" y="1436"/>
                  </a:lnTo>
                  <a:lnTo>
                    <a:pt x="1479" y="1436"/>
                  </a:lnTo>
                  <a:lnTo>
                    <a:pt x="1479" y="1434"/>
                  </a:lnTo>
                  <a:lnTo>
                    <a:pt x="1479" y="1434"/>
                  </a:lnTo>
                  <a:lnTo>
                    <a:pt x="1477" y="1432"/>
                  </a:lnTo>
                  <a:lnTo>
                    <a:pt x="1477" y="1432"/>
                  </a:lnTo>
                  <a:lnTo>
                    <a:pt x="1477" y="1429"/>
                  </a:lnTo>
                  <a:lnTo>
                    <a:pt x="1477" y="1427"/>
                  </a:lnTo>
                  <a:lnTo>
                    <a:pt x="1472" y="1425"/>
                  </a:lnTo>
                  <a:lnTo>
                    <a:pt x="1474" y="1425"/>
                  </a:lnTo>
                  <a:lnTo>
                    <a:pt x="1477" y="1425"/>
                  </a:lnTo>
                  <a:lnTo>
                    <a:pt x="1477" y="1422"/>
                  </a:lnTo>
                  <a:lnTo>
                    <a:pt x="1477" y="1420"/>
                  </a:lnTo>
                  <a:lnTo>
                    <a:pt x="1474" y="1418"/>
                  </a:lnTo>
                  <a:lnTo>
                    <a:pt x="1472" y="1418"/>
                  </a:lnTo>
                  <a:lnTo>
                    <a:pt x="1470" y="1418"/>
                  </a:lnTo>
                  <a:lnTo>
                    <a:pt x="1467" y="1415"/>
                  </a:lnTo>
                  <a:lnTo>
                    <a:pt x="1465" y="1415"/>
                  </a:lnTo>
                  <a:lnTo>
                    <a:pt x="1463" y="1415"/>
                  </a:lnTo>
                  <a:lnTo>
                    <a:pt x="1463" y="1418"/>
                  </a:lnTo>
                  <a:lnTo>
                    <a:pt x="1460" y="1418"/>
                  </a:lnTo>
                  <a:lnTo>
                    <a:pt x="1460" y="1420"/>
                  </a:lnTo>
                  <a:lnTo>
                    <a:pt x="1463" y="1422"/>
                  </a:lnTo>
                  <a:lnTo>
                    <a:pt x="1463" y="1425"/>
                  </a:lnTo>
                  <a:lnTo>
                    <a:pt x="1463" y="1425"/>
                  </a:lnTo>
                  <a:lnTo>
                    <a:pt x="1456" y="1420"/>
                  </a:lnTo>
                  <a:lnTo>
                    <a:pt x="1456" y="1418"/>
                  </a:lnTo>
                  <a:lnTo>
                    <a:pt x="1456" y="1418"/>
                  </a:lnTo>
                  <a:lnTo>
                    <a:pt x="1458" y="1415"/>
                  </a:lnTo>
                  <a:lnTo>
                    <a:pt x="1458" y="1413"/>
                  </a:lnTo>
                  <a:lnTo>
                    <a:pt x="1456" y="1413"/>
                  </a:lnTo>
                  <a:lnTo>
                    <a:pt x="1458" y="1408"/>
                  </a:lnTo>
                  <a:lnTo>
                    <a:pt x="1456" y="1408"/>
                  </a:lnTo>
                  <a:lnTo>
                    <a:pt x="1453" y="1408"/>
                  </a:lnTo>
                  <a:lnTo>
                    <a:pt x="1453" y="1406"/>
                  </a:lnTo>
                  <a:lnTo>
                    <a:pt x="1453" y="1406"/>
                  </a:lnTo>
                  <a:lnTo>
                    <a:pt x="1453" y="1403"/>
                  </a:lnTo>
                  <a:lnTo>
                    <a:pt x="1451" y="1399"/>
                  </a:lnTo>
                  <a:lnTo>
                    <a:pt x="1453" y="1396"/>
                  </a:lnTo>
                  <a:lnTo>
                    <a:pt x="1453" y="1394"/>
                  </a:lnTo>
                  <a:lnTo>
                    <a:pt x="1453" y="1392"/>
                  </a:lnTo>
                  <a:lnTo>
                    <a:pt x="1453" y="1392"/>
                  </a:lnTo>
                  <a:lnTo>
                    <a:pt x="1451" y="1389"/>
                  </a:lnTo>
                  <a:lnTo>
                    <a:pt x="1448" y="1389"/>
                  </a:lnTo>
                  <a:lnTo>
                    <a:pt x="1448" y="1389"/>
                  </a:lnTo>
                  <a:lnTo>
                    <a:pt x="1444" y="1389"/>
                  </a:lnTo>
                  <a:lnTo>
                    <a:pt x="1441" y="1387"/>
                  </a:lnTo>
                  <a:lnTo>
                    <a:pt x="1441" y="1387"/>
                  </a:lnTo>
                  <a:lnTo>
                    <a:pt x="1439" y="1385"/>
                  </a:lnTo>
                  <a:lnTo>
                    <a:pt x="1439" y="1385"/>
                  </a:lnTo>
                  <a:lnTo>
                    <a:pt x="1439" y="1385"/>
                  </a:lnTo>
                  <a:lnTo>
                    <a:pt x="1437" y="1387"/>
                  </a:lnTo>
                  <a:lnTo>
                    <a:pt x="1434" y="1387"/>
                  </a:lnTo>
                  <a:lnTo>
                    <a:pt x="1432" y="1389"/>
                  </a:lnTo>
                  <a:lnTo>
                    <a:pt x="1432" y="1389"/>
                  </a:lnTo>
                  <a:lnTo>
                    <a:pt x="1432" y="1389"/>
                  </a:lnTo>
                  <a:lnTo>
                    <a:pt x="1432" y="1389"/>
                  </a:lnTo>
                  <a:lnTo>
                    <a:pt x="1430" y="1387"/>
                  </a:lnTo>
                  <a:lnTo>
                    <a:pt x="1430" y="1387"/>
                  </a:lnTo>
                  <a:lnTo>
                    <a:pt x="1430" y="1385"/>
                  </a:lnTo>
                  <a:lnTo>
                    <a:pt x="1430" y="1385"/>
                  </a:lnTo>
                  <a:lnTo>
                    <a:pt x="1430" y="1382"/>
                  </a:lnTo>
                  <a:lnTo>
                    <a:pt x="1427" y="1382"/>
                  </a:lnTo>
                  <a:lnTo>
                    <a:pt x="1430" y="1380"/>
                  </a:lnTo>
                  <a:lnTo>
                    <a:pt x="1427" y="1377"/>
                  </a:lnTo>
                  <a:lnTo>
                    <a:pt x="1427" y="1377"/>
                  </a:lnTo>
                  <a:lnTo>
                    <a:pt x="1425" y="1377"/>
                  </a:lnTo>
                  <a:lnTo>
                    <a:pt x="1425" y="1377"/>
                  </a:lnTo>
                  <a:lnTo>
                    <a:pt x="1425" y="1375"/>
                  </a:lnTo>
                  <a:lnTo>
                    <a:pt x="1422" y="1377"/>
                  </a:lnTo>
                  <a:lnTo>
                    <a:pt x="1422" y="1375"/>
                  </a:lnTo>
                  <a:lnTo>
                    <a:pt x="1422" y="1375"/>
                  </a:lnTo>
                  <a:lnTo>
                    <a:pt x="1415" y="1370"/>
                  </a:lnTo>
                  <a:lnTo>
                    <a:pt x="1415" y="1370"/>
                  </a:lnTo>
                  <a:lnTo>
                    <a:pt x="1415" y="1370"/>
                  </a:lnTo>
                  <a:lnTo>
                    <a:pt x="1415" y="1366"/>
                  </a:lnTo>
                  <a:lnTo>
                    <a:pt x="1413" y="1366"/>
                  </a:lnTo>
                  <a:lnTo>
                    <a:pt x="1413" y="1363"/>
                  </a:lnTo>
                  <a:lnTo>
                    <a:pt x="1413" y="1363"/>
                  </a:lnTo>
                  <a:lnTo>
                    <a:pt x="1413" y="1361"/>
                  </a:lnTo>
                  <a:lnTo>
                    <a:pt x="1413" y="1361"/>
                  </a:lnTo>
                  <a:lnTo>
                    <a:pt x="1413" y="1359"/>
                  </a:lnTo>
                  <a:lnTo>
                    <a:pt x="1413" y="1359"/>
                  </a:lnTo>
                  <a:lnTo>
                    <a:pt x="1413" y="1356"/>
                  </a:lnTo>
                  <a:lnTo>
                    <a:pt x="1413" y="1356"/>
                  </a:lnTo>
                  <a:lnTo>
                    <a:pt x="1411" y="1354"/>
                  </a:lnTo>
                  <a:lnTo>
                    <a:pt x="1411" y="1351"/>
                  </a:lnTo>
                  <a:lnTo>
                    <a:pt x="1408" y="1351"/>
                  </a:lnTo>
                  <a:lnTo>
                    <a:pt x="1406" y="1349"/>
                  </a:lnTo>
                  <a:lnTo>
                    <a:pt x="1404" y="1347"/>
                  </a:lnTo>
                  <a:lnTo>
                    <a:pt x="1399" y="1344"/>
                  </a:lnTo>
                  <a:lnTo>
                    <a:pt x="1396" y="1344"/>
                  </a:lnTo>
                  <a:lnTo>
                    <a:pt x="1394" y="1342"/>
                  </a:lnTo>
                  <a:lnTo>
                    <a:pt x="1394" y="1340"/>
                  </a:lnTo>
                  <a:lnTo>
                    <a:pt x="1392" y="1340"/>
                  </a:lnTo>
                  <a:lnTo>
                    <a:pt x="1392" y="1340"/>
                  </a:lnTo>
                  <a:lnTo>
                    <a:pt x="1389" y="1340"/>
                  </a:lnTo>
                  <a:lnTo>
                    <a:pt x="1389" y="1337"/>
                  </a:lnTo>
                  <a:lnTo>
                    <a:pt x="1330" y="1337"/>
                  </a:lnTo>
                  <a:lnTo>
                    <a:pt x="1309" y="1337"/>
                  </a:lnTo>
                  <a:lnTo>
                    <a:pt x="1304" y="1337"/>
                  </a:lnTo>
                  <a:lnTo>
                    <a:pt x="1293" y="1335"/>
                  </a:lnTo>
                  <a:lnTo>
                    <a:pt x="1293" y="1342"/>
                  </a:lnTo>
                  <a:lnTo>
                    <a:pt x="1293" y="1344"/>
                  </a:lnTo>
                  <a:lnTo>
                    <a:pt x="1293" y="1344"/>
                  </a:lnTo>
                  <a:lnTo>
                    <a:pt x="1290" y="1347"/>
                  </a:lnTo>
                  <a:lnTo>
                    <a:pt x="1290" y="1349"/>
                  </a:lnTo>
                  <a:lnTo>
                    <a:pt x="1288" y="1351"/>
                  </a:lnTo>
                  <a:lnTo>
                    <a:pt x="1288" y="1351"/>
                  </a:lnTo>
                  <a:lnTo>
                    <a:pt x="1288" y="1354"/>
                  </a:lnTo>
                  <a:lnTo>
                    <a:pt x="1288" y="1356"/>
                  </a:lnTo>
                  <a:lnTo>
                    <a:pt x="1285" y="1356"/>
                  </a:lnTo>
                  <a:lnTo>
                    <a:pt x="1283" y="1361"/>
                  </a:lnTo>
                  <a:lnTo>
                    <a:pt x="1278" y="1363"/>
                  </a:lnTo>
                  <a:lnTo>
                    <a:pt x="1276" y="1366"/>
                  </a:lnTo>
                  <a:lnTo>
                    <a:pt x="1276" y="1368"/>
                  </a:lnTo>
                  <a:lnTo>
                    <a:pt x="1281" y="1373"/>
                  </a:lnTo>
                  <a:lnTo>
                    <a:pt x="1276" y="1375"/>
                  </a:lnTo>
                  <a:lnTo>
                    <a:pt x="1276" y="1377"/>
                  </a:lnTo>
                  <a:lnTo>
                    <a:pt x="1276" y="1380"/>
                  </a:lnTo>
                  <a:lnTo>
                    <a:pt x="1274" y="1382"/>
                  </a:lnTo>
                  <a:lnTo>
                    <a:pt x="1274" y="1385"/>
                  </a:lnTo>
                  <a:lnTo>
                    <a:pt x="1271" y="1385"/>
                  </a:lnTo>
                  <a:lnTo>
                    <a:pt x="1267" y="1380"/>
                  </a:lnTo>
                  <a:lnTo>
                    <a:pt x="1264" y="1380"/>
                  </a:lnTo>
                  <a:lnTo>
                    <a:pt x="1262" y="1377"/>
                  </a:lnTo>
                  <a:lnTo>
                    <a:pt x="1262" y="1377"/>
                  </a:lnTo>
                  <a:lnTo>
                    <a:pt x="1259" y="1377"/>
                  </a:lnTo>
                  <a:lnTo>
                    <a:pt x="1259" y="1380"/>
                  </a:lnTo>
                  <a:lnTo>
                    <a:pt x="1257" y="1382"/>
                  </a:lnTo>
                  <a:lnTo>
                    <a:pt x="1257" y="1385"/>
                  </a:lnTo>
                  <a:lnTo>
                    <a:pt x="1255" y="1382"/>
                  </a:lnTo>
                  <a:lnTo>
                    <a:pt x="1252" y="1385"/>
                  </a:lnTo>
                  <a:lnTo>
                    <a:pt x="1252" y="1392"/>
                  </a:lnTo>
                  <a:lnTo>
                    <a:pt x="1248" y="1394"/>
                  </a:lnTo>
                  <a:lnTo>
                    <a:pt x="1248" y="1396"/>
                  </a:lnTo>
                  <a:lnTo>
                    <a:pt x="1250" y="1396"/>
                  </a:lnTo>
                  <a:lnTo>
                    <a:pt x="1252" y="1399"/>
                  </a:lnTo>
                  <a:lnTo>
                    <a:pt x="1252" y="1399"/>
                  </a:lnTo>
                  <a:lnTo>
                    <a:pt x="1248" y="1403"/>
                  </a:lnTo>
                  <a:lnTo>
                    <a:pt x="1248" y="1403"/>
                  </a:lnTo>
                  <a:lnTo>
                    <a:pt x="1250" y="1406"/>
                  </a:lnTo>
                  <a:lnTo>
                    <a:pt x="1252" y="1408"/>
                  </a:lnTo>
                  <a:lnTo>
                    <a:pt x="1252" y="1413"/>
                  </a:lnTo>
                  <a:lnTo>
                    <a:pt x="1255" y="1413"/>
                  </a:lnTo>
                  <a:lnTo>
                    <a:pt x="1255" y="1413"/>
                  </a:lnTo>
                  <a:lnTo>
                    <a:pt x="1255" y="1415"/>
                  </a:lnTo>
                  <a:lnTo>
                    <a:pt x="1252" y="1420"/>
                  </a:lnTo>
                  <a:lnTo>
                    <a:pt x="1250" y="1420"/>
                  </a:lnTo>
                  <a:lnTo>
                    <a:pt x="1250" y="1418"/>
                  </a:lnTo>
                  <a:lnTo>
                    <a:pt x="1250" y="1418"/>
                  </a:lnTo>
                  <a:lnTo>
                    <a:pt x="1248" y="1415"/>
                  </a:lnTo>
                  <a:lnTo>
                    <a:pt x="1248" y="1415"/>
                  </a:lnTo>
                  <a:lnTo>
                    <a:pt x="1248" y="1418"/>
                  </a:lnTo>
                  <a:lnTo>
                    <a:pt x="1245" y="1422"/>
                  </a:lnTo>
                  <a:lnTo>
                    <a:pt x="1245" y="1422"/>
                  </a:lnTo>
                  <a:lnTo>
                    <a:pt x="1245" y="1425"/>
                  </a:lnTo>
                  <a:lnTo>
                    <a:pt x="1243" y="1425"/>
                  </a:lnTo>
                  <a:lnTo>
                    <a:pt x="1243" y="1427"/>
                  </a:lnTo>
                  <a:lnTo>
                    <a:pt x="1243" y="1427"/>
                  </a:lnTo>
                  <a:lnTo>
                    <a:pt x="1241" y="1432"/>
                  </a:lnTo>
                  <a:lnTo>
                    <a:pt x="1241" y="1434"/>
                  </a:lnTo>
                  <a:lnTo>
                    <a:pt x="1236" y="1434"/>
                  </a:lnTo>
                  <a:lnTo>
                    <a:pt x="1236" y="1434"/>
                  </a:lnTo>
                  <a:lnTo>
                    <a:pt x="1233" y="1434"/>
                  </a:lnTo>
                  <a:lnTo>
                    <a:pt x="1231" y="1434"/>
                  </a:lnTo>
                  <a:lnTo>
                    <a:pt x="1229" y="1434"/>
                  </a:lnTo>
                  <a:lnTo>
                    <a:pt x="1229" y="1434"/>
                  </a:lnTo>
                  <a:lnTo>
                    <a:pt x="1226" y="1439"/>
                  </a:lnTo>
                  <a:lnTo>
                    <a:pt x="1226" y="1441"/>
                  </a:lnTo>
                  <a:lnTo>
                    <a:pt x="1229" y="1446"/>
                  </a:lnTo>
                  <a:lnTo>
                    <a:pt x="1229" y="1448"/>
                  </a:lnTo>
                  <a:lnTo>
                    <a:pt x="1224" y="1451"/>
                  </a:lnTo>
                  <a:lnTo>
                    <a:pt x="1224" y="1451"/>
                  </a:lnTo>
                  <a:lnTo>
                    <a:pt x="1224" y="1451"/>
                  </a:lnTo>
                  <a:lnTo>
                    <a:pt x="1226" y="1453"/>
                  </a:lnTo>
                  <a:lnTo>
                    <a:pt x="1226" y="1458"/>
                  </a:lnTo>
                  <a:lnTo>
                    <a:pt x="1226" y="1462"/>
                  </a:lnTo>
                  <a:lnTo>
                    <a:pt x="1226" y="1465"/>
                  </a:lnTo>
                  <a:lnTo>
                    <a:pt x="1226" y="1467"/>
                  </a:lnTo>
                  <a:lnTo>
                    <a:pt x="1222" y="1467"/>
                  </a:lnTo>
                  <a:lnTo>
                    <a:pt x="1215" y="1470"/>
                  </a:lnTo>
                  <a:lnTo>
                    <a:pt x="1212" y="1470"/>
                  </a:lnTo>
                  <a:lnTo>
                    <a:pt x="1207" y="1470"/>
                  </a:lnTo>
                  <a:lnTo>
                    <a:pt x="1205" y="1470"/>
                  </a:lnTo>
                  <a:lnTo>
                    <a:pt x="1203" y="1470"/>
                  </a:lnTo>
                  <a:lnTo>
                    <a:pt x="1203" y="1470"/>
                  </a:lnTo>
                  <a:lnTo>
                    <a:pt x="1205" y="1465"/>
                  </a:lnTo>
                  <a:lnTo>
                    <a:pt x="1205" y="1462"/>
                  </a:lnTo>
                  <a:lnTo>
                    <a:pt x="1205" y="1462"/>
                  </a:lnTo>
                  <a:lnTo>
                    <a:pt x="1203" y="1462"/>
                  </a:lnTo>
                  <a:lnTo>
                    <a:pt x="1196" y="1465"/>
                  </a:lnTo>
                  <a:lnTo>
                    <a:pt x="1193" y="1467"/>
                  </a:lnTo>
                  <a:lnTo>
                    <a:pt x="1191" y="1467"/>
                  </a:lnTo>
                  <a:lnTo>
                    <a:pt x="1189" y="1467"/>
                  </a:lnTo>
                  <a:lnTo>
                    <a:pt x="1186" y="1467"/>
                  </a:lnTo>
                  <a:lnTo>
                    <a:pt x="1186" y="1467"/>
                  </a:lnTo>
                  <a:lnTo>
                    <a:pt x="1182" y="1470"/>
                  </a:lnTo>
                  <a:lnTo>
                    <a:pt x="1177" y="1467"/>
                  </a:lnTo>
                  <a:lnTo>
                    <a:pt x="1174" y="1467"/>
                  </a:lnTo>
                  <a:lnTo>
                    <a:pt x="1174" y="1470"/>
                  </a:lnTo>
                  <a:lnTo>
                    <a:pt x="1172" y="1470"/>
                  </a:lnTo>
                  <a:lnTo>
                    <a:pt x="1172" y="1470"/>
                  </a:lnTo>
                  <a:lnTo>
                    <a:pt x="1172" y="1472"/>
                  </a:lnTo>
                  <a:lnTo>
                    <a:pt x="1170" y="1472"/>
                  </a:lnTo>
                  <a:lnTo>
                    <a:pt x="1170" y="1472"/>
                  </a:lnTo>
                  <a:lnTo>
                    <a:pt x="1167" y="1472"/>
                  </a:lnTo>
                  <a:lnTo>
                    <a:pt x="1165" y="1472"/>
                  </a:lnTo>
                  <a:lnTo>
                    <a:pt x="1163" y="1472"/>
                  </a:lnTo>
                  <a:lnTo>
                    <a:pt x="1160" y="1472"/>
                  </a:lnTo>
                  <a:lnTo>
                    <a:pt x="1158" y="1470"/>
                  </a:lnTo>
                  <a:lnTo>
                    <a:pt x="1158" y="1470"/>
                  </a:lnTo>
                  <a:lnTo>
                    <a:pt x="1156" y="1470"/>
                  </a:lnTo>
                  <a:lnTo>
                    <a:pt x="1156" y="1470"/>
                  </a:lnTo>
                  <a:lnTo>
                    <a:pt x="1151" y="1472"/>
                  </a:lnTo>
                  <a:lnTo>
                    <a:pt x="1148" y="1474"/>
                  </a:lnTo>
                  <a:lnTo>
                    <a:pt x="1148" y="1474"/>
                  </a:lnTo>
                  <a:lnTo>
                    <a:pt x="1146" y="1470"/>
                  </a:lnTo>
                  <a:lnTo>
                    <a:pt x="1146" y="1470"/>
                  </a:lnTo>
                  <a:lnTo>
                    <a:pt x="1144" y="1470"/>
                  </a:lnTo>
                  <a:lnTo>
                    <a:pt x="1141" y="1470"/>
                  </a:lnTo>
                  <a:lnTo>
                    <a:pt x="1139" y="1470"/>
                  </a:lnTo>
                  <a:lnTo>
                    <a:pt x="1134" y="1472"/>
                  </a:lnTo>
                  <a:lnTo>
                    <a:pt x="1132" y="1474"/>
                  </a:lnTo>
                  <a:lnTo>
                    <a:pt x="1132" y="1477"/>
                  </a:lnTo>
                  <a:lnTo>
                    <a:pt x="1130" y="1477"/>
                  </a:lnTo>
                  <a:lnTo>
                    <a:pt x="1130" y="1477"/>
                  </a:lnTo>
                  <a:lnTo>
                    <a:pt x="1130" y="1477"/>
                  </a:lnTo>
                  <a:lnTo>
                    <a:pt x="1130" y="1481"/>
                  </a:lnTo>
                  <a:lnTo>
                    <a:pt x="1127" y="1486"/>
                  </a:lnTo>
                  <a:lnTo>
                    <a:pt x="1127" y="1488"/>
                  </a:lnTo>
                  <a:lnTo>
                    <a:pt x="1127" y="1488"/>
                  </a:lnTo>
                  <a:lnTo>
                    <a:pt x="1127" y="1491"/>
                  </a:lnTo>
                  <a:lnTo>
                    <a:pt x="1127" y="1491"/>
                  </a:lnTo>
                  <a:lnTo>
                    <a:pt x="1127" y="1496"/>
                  </a:lnTo>
                  <a:lnTo>
                    <a:pt x="1127" y="1496"/>
                  </a:lnTo>
                  <a:lnTo>
                    <a:pt x="1127" y="1498"/>
                  </a:lnTo>
                  <a:lnTo>
                    <a:pt x="1127" y="1498"/>
                  </a:lnTo>
                  <a:lnTo>
                    <a:pt x="1130" y="1500"/>
                  </a:lnTo>
                  <a:lnTo>
                    <a:pt x="1127" y="1500"/>
                  </a:lnTo>
                  <a:lnTo>
                    <a:pt x="1127" y="1503"/>
                  </a:lnTo>
                  <a:lnTo>
                    <a:pt x="1127" y="1505"/>
                  </a:lnTo>
                  <a:lnTo>
                    <a:pt x="1127" y="1505"/>
                  </a:lnTo>
                  <a:lnTo>
                    <a:pt x="1125" y="1507"/>
                  </a:lnTo>
                  <a:lnTo>
                    <a:pt x="1125" y="1507"/>
                  </a:lnTo>
                  <a:lnTo>
                    <a:pt x="1122" y="1510"/>
                  </a:lnTo>
                  <a:lnTo>
                    <a:pt x="1120" y="1510"/>
                  </a:lnTo>
                  <a:lnTo>
                    <a:pt x="1118" y="1510"/>
                  </a:lnTo>
                  <a:lnTo>
                    <a:pt x="1118" y="1512"/>
                  </a:lnTo>
                  <a:lnTo>
                    <a:pt x="1118" y="1514"/>
                  </a:lnTo>
                  <a:lnTo>
                    <a:pt x="1118" y="1517"/>
                  </a:lnTo>
                  <a:lnTo>
                    <a:pt x="1115" y="1517"/>
                  </a:lnTo>
                  <a:lnTo>
                    <a:pt x="1115" y="1517"/>
                  </a:lnTo>
                  <a:lnTo>
                    <a:pt x="1113" y="1517"/>
                  </a:lnTo>
                  <a:lnTo>
                    <a:pt x="1113" y="1517"/>
                  </a:lnTo>
                  <a:lnTo>
                    <a:pt x="1113" y="1519"/>
                  </a:lnTo>
                  <a:lnTo>
                    <a:pt x="1113" y="1522"/>
                  </a:lnTo>
                  <a:lnTo>
                    <a:pt x="1113" y="1524"/>
                  </a:lnTo>
                  <a:lnTo>
                    <a:pt x="1111" y="1524"/>
                  </a:lnTo>
                  <a:lnTo>
                    <a:pt x="1108" y="1524"/>
                  </a:lnTo>
                  <a:lnTo>
                    <a:pt x="1108" y="1524"/>
                  </a:lnTo>
                  <a:lnTo>
                    <a:pt x="1106" y="1524"/>
                  </a:lnTo>
                  <a:lnTo>
                    <a:pt x="1108" y="1526"/>
                  </a:lnTo>
                  <a:lnTo>
                    <a:pt x="1106" y="1526"/>
                  </a:lnTo>
                  <a:lnTo>
                    <a:pt x="1104" y="1526"/>
                  </a:lnTo>
                  <a:lnTo>
                    <a:pt x="1101" y="1531"/>
                  </a:lnTo>
                  <a:lnTo>
                    <a:pt x="1099" y="1529"/>
                  </a:lnTo>
                  <a:lnTo>
                    <a:pt x="1096" y="1526"/>
                  </a:lnTo>
                  <a:lnTo>
                    <a:pt x="1094" y="1526"/>
                  </a:lnTo>
                  <a:lnTo>
                    <a:pt x="1094" y="1526"/>
                  </a:lnTo>
                  <a:lnTo>
                    <a:pt x="1094" y="1526"/>
                  </a:lnTo>
                  <a:lnTo>
                    <a:pt x="1096" y="1524"/>
                  </a:lnTo>
                  <a:lnTo>
                    <a:pt x="1096" y="1522"/>
                  </a:lnTo>
                  <a:lnTo>
                    <a:pt x="1094" y="1519"/>
                  </a:lnTo>
                  <a:lnTo>
                    <a:pt x="1094" y="1519"/>
                  </a:lnTo>
                  <a:lnTo>
                    <a:pt x="1094" y="1517"/>
                  </a:lnTo>
                  <a:lnTo>
                    <a:pt x="1092" y="1512"/>
                  </a:lnTo>
                  <a:lnTo>
                    <a:pt x="1092" y="1510"/>
                  </a:lnTo>
                  <a:lnTo>
                    <a:pt x="1092" y="1510"/>
                  </a:lnTo>
                  <a:lnTo>
                    <a:pt x="1092" y="1507"/>
                  </a:lnTo>
                  <a:lnTo>
                    <a:pt x="1092" y="1507"/>
                  </a:lnTo>
                  <a:lnTo>
                    <a:pt x="1087" y="1505"/>
                  </a:lnTo>
                  <a:lnTo>
                    <a:pt x="1087" y="1505"/>
                  </a:lnTo>
                  <a:lnTo>
                    <a:pt x="1082" y="1507"/>
                  </a:lnTo>
                  <a:lnTo>
                    <a:pt x="1080" y="1507"/>
                  </a:lnTo>
                  <a:lnTo>
                    <a:pt x="1075" y="1512"/>
                  </a:lnTo>
                  <a:lnTo>
                    <a:pt x="1073" y="1514"/>
                  </a:lnTo>
                  <a:lnTo>
                    <a:pt x="1070" y="1514"/>
                  </a:lnTo>
                  <a:lnTo>
                    <a:pt x="1070" y="1514"/>
                  </a:lnTo>
                  <a:lnTo>
                    <a:pt x="1068" y="1514"/>
                  </a:lnTo>
                  <a:lnTo>
                    <a:pt x="1068" y="1514"/>
                  </a:lnTo>
                  <a:lnTo>
                    <a:pt x="1066" y="1514"/>
                  </a:lnTo>
                  <a:lnTo>
                    <a:pt x="1063" y="1512"/>
                  </a:lnTo>
                  <a:lnTo>
                    <a:pt x="1061" y="1512"/>
                  </a:lnTo>
                  <a:lnTo>
                    <a:pt x="1061" y="1514"/>
                  </a:lnTo>
                  <a:lnTo>
                    <a:pt x="1061" y="1514"/>
                  </a:lnTo>
                  <a:lnTo>
                    <a:pt x="1061" y="1517"/>
                  </a:lnTo>
                  <a:lnTo>
                    <a:pt x="1061" y="1519"/>
                  </a:lnTo>
                  <a:lnTo>
                    <a:pt x="1061" y="1524"/>
                  </a:lnTo>
                  <a:lnTo>
                    <a:pt x="1061" y="1524"/>
                  </a:lnTo>
                  <a:lnTo>
                    <a:pt x="1061" y="1526"/>
                  </a:lnTo>
                  <a:lnTo>
                    <a:pt x="1063" y="1531"/>
                  </a:lnTo>
                  <a:lnTo>
                    <a:pt x="1063" y="1533"/>
                  </a:lnTo>
                  <a:lnTo>
                    <a:pt x="1063" y="1531"/>
                  </a:lnTo>
                  <a:lnTo>
                    <a:pt x="1061" y="1533"/>
                  </a:lnTo>
                  <a:lnTo>
                    <a:pt x="1059" y="1531"/>
                  </a:lnTo>
                  <a:lnTo>
                    <a:pt x="1059" y="1533"/>
                  </a:lnTo>
                  <a:lnTo>
                    <a:pt x="1056" y="1533"/>
                  </a:lnTo>
                  <a:lnTo>
                    <a:pt x="1054" y="1533"/>
                  </a:lnTo>
                  <a:lnTo>
                    <a:pt x="1054" y="1531"/>
                  </a:lnTo>
                  <a:lnTo>
                    <a:pt x="1054" y="1531"/>
                  </a:lnTo>
                  <a:lnTo>
                    <a:pt x="1054" y="1531"/>
                  </a:lnTo>
                  <a:lnTo>
                    <a:pt x="1052" y="1531"/>
                  </a:lnTo>
                  <a:lnTo>
                    <a:pt x="1047" y="1526"/>
                  </a:lnTo>
                  <a:lnTo>
                    <a:pt x="1047" y="1526"/>
                  </a:lnTo>
                  <a:lnTo>
                    <a:pt x="1044" y="1526"/>
                  </a:lnTo>
                  <a:lnTo>
                    <a:pt x="1042" y="1526"/>
                  </a:lnTo>
                  <a:lnTo>
                    <a:pt x="1040" y="1526"/>
                  </a:lnTo>
                  <a:lnTo>
                    <a:pt x="1037" y="1526"/>
                  </a:lnTo>
                  <a:lnTo>
                    <a:pt x="1037" y="1529"/>
                  </a:lnTo>
                  <a:lnTo>
                    <a:pt x="1035" y="1531"/>
                  </a:lnTo>
                  <a:lnTo>
                    <a:pt x="1035" y="1531"/>
                  </a:lnTo>
                  <a:lnTo>
                    <a:pt x="1033" y="1531"/>
                  </a:lnTo>
                  <a:lnTo>
                    <a:pt x="1033" y="1531"/>
                  </a:lnTo>
                  <a:lnTo>
                    <a:pt x="1030" y="1536"/>
                  </a:lnTo>
                  <a:lnTo>
                    <a:pt x="1030" y="1538"/>
                  </a:lnTo>
                  <a:lnTo>
                    <a:pt x="1026" y="1545"/>
                  </a:lnTo>
                  <a:lnTo>
                    <a:pt x="1026" y="1545"/>
                  </a:lnTo>
                  <a:lnTo>
                    <a:pt x="1023" y="1543"/>
                  </a:lnTo>
                  <a:lnTo>
                    <a:pt x="1023" y="1543"/>
                  </a:lnTo>
                  <a:lnTo>
                    <a:pt x="1021" y="1545"/>
                  </a:lnTo>
                  <a:lnTo>
                    <a:pt x="1021" y="1545"/>
                  </a:lnTo>
                  <a:lnTo>
                    <a:pt x="1019" y="1545"/>
                  </a:lnTo>
                  <a:lnTo>
                    <a:pt x="1019" y="1547"/>
                  </a:lnTo>
                  <a:lnTo>
                    <a:pt x="1016" y="1547"/>
                  </a:lnTo>
                  <a:lnTo>
                    <a:pt x="1016" y="1545"/>
                  </a:lnTo>
                  <a:lnTo>
                    <a:pt x="1016" y="1545"/>
                  </a:lnTo>
                  <a:lnTo>
                    <a:pt x="1014" y="1545"/>
                  </a:lnTo>
                  <a:lnTo>
                    <a:pt x="1014" y="1540"/>
                  </a:lnTo>
                  <a:lnTo>
                    <a:pt x="1011" y="1540"/>
                  </a:lnTo>
                  <a:lnTo>
                    <a:pt x="1011" y="1540"/>
                  </a:lnTo>
                  <a:lnTo>
                    <a:pt x="1011" y="1538"/>
                  </a:lnTo>
                  <a:lnTo>
                    <a:pt x="1009" y="1538"/>
                  </a:lnTo>
                  <a:lnTo>
                    <a:pt x="1009" y="1538"/>
                  </a:lnTo>
                  <a:lnTo>
                    <a:pt x="1007" y="1536"/>
                  </a:lnTo>
                  <a:lnTo>
                    <a:pt x="1004" y="1536"/>
                  </a:lnTo>
                  <a:lnTo>
                    <a:pt x="1002" y="1533"/>
                  </a:lnTo>
                  <a:lnTo>
                    <a:pt x="1002" y="1533"/>
                  </a:lnTo>
                  <a:lnTo>
                    <a:pt x="1000" y="1531"/>
                  </a:lnTo>
                  <a:lnTo>
                    <a:pt x="997" y="1529"/>
                  </a:lnTo>
                  <a:lnTo>
                    <a:pt x="997" y="1526"/>
                  </a:lnTo>
                  <a:lnTo>
                    <a:pt x="995" y="1526"/>
                  </a:lnTo>
                  <a:lnTo>
                    <a:pt x="995" y="1524"/>
                  </a:lnTo>
                  <a:lnTo>
                    <a:pt x="993" y="1524"/>
                  </a:lnTo>
                  <a:lnTo>
                    <a:pt x="990" y="1524"/>
                  </a:lnTo>
                  <a:lnTo>
                    <a:pt x="988" y="1524"/>
                  </a:lnTo>
                  <a:lnTo>
                    <a:pt x="985" y="1524"/>
                  </a:lnTo>
                  <a:lnTo>
                    <a:pt x="985" y="1524"/>
                  </a:lnTo>
                  <a:lnTo>
                    <a:pt x="983" y="1526"/>
                  </a:lnTo>
                  <a:lnTo>
                    <a:pt x="978" y="1526"/>
                  </a:lnTo>
                  <a:lnTo>
                    <a:pt x="976" y="1524"/>
                  </a:lnTo>
                  <a:lnTo>
                    <a:pt x="976" y="1524"/>
                  </a:lnTo>
                  <a:lnTo>
                    <a:pt x="974" y="1524"/>
                  </a:lnTo>
                  <a:lnTo>
                    <a:pt x="971" y="1526"/>
                  </a:lnTo>
                  <a:lnTo>
                    <a:pt x="971" y="1526"/>
                  </a:lnTo>
                  <a:lnTo>
                    <a:pt x="969" y="1529"/>
                  </a:lnTo>
                  <a:lnTo>
                    <a:pt x="964" y="1526"/>
                  </a:lnTo>
                  <a:lnTo>
                    <a:pt x="964" y="1526"/>
                  </a:lnTo>
                  <a:lnTo>
                    <a:pt x="962" y="1526"/>
                  </a:lnTo>
                  <a:lnTo>
                    <a:pt x="962" y="1526"/>
                  </a:lnTo>
                  <a:lnTo>
                    <a:pt x="957" y="1524"/>
                  </a:lnTo>
                  <a:lnTo>
                    <a:pt x="957" y="1524"/>
                  </a:lnTo>
                  <a:lnTo>
                    <a:pt x="955" y="1524"/>
                  </a:lnTo>
                  <a:lnTo>
                    <a:pt x="955" y="1526"/>
                  </a:lnTo>
                  <a:lnTo>
                    <a:pt x="955" y="1529"/>
                  </a:lnTo>
                  <a:lnTo>
                    <a:pt x="952" y="1529"/>
                  </a:lnTo>
                  <a:lnTo>
                    <a:pt x="952" y="1529"/>
                  </a:lnTo>
                  <a:lnTo>
                    <a:pt x="952" y="1526"/>
                  </a:lnTo>
                  <a:lnTo>
                    <a:pt x="950" y="1526"/>
                  </a:lnTo>
                  <a:lnTo>
                    <a:pt x="948" y="1526"/>
                  </a:lnTo>
                  <a:lnTo>
                    <a:pt x="945" y="1526"/>
                  </a:lnTo>
                  <a:lnTo>
                    <a:pt x="945" y="1526"/>
                  </a:lnTo>
                  <a:lnTo>
                    <a:pt x="943" y="1526"/>
                  </a:lnTo>
                  <a:lnTo>
                    <a:pt x="938" y="1524"/>
                  </a:lnTo>
                  <a:lnTo>
                    <a:pt x="938" y="1526"/>
                  </a:lnTo>
                  <a:lnTo>
                    <a:pt x="938" y="1526"/>
                  </a:lnTo>
                  <a:lnTo>
                    <a:pt x="941" y="1529"/>
                  </a:lnTo>
                  <a:lnTo>
                    <a:pt x="943" y="1531"/>
                  </a:lnTo>
                  <a:lnTo>
                    <a:pt x="943" y="1536"/>
                  </a:lnTo>
                  <a:lnTo>
                    <a:pt x="938" y="1540"/>
                  </a:lnTo>
                  <a:lnTo>
                    <a:pt x="936" y="1543"/>
                  </a:lnTo>
                  <a:lnTo>
                    <a:pt x="933" y="1547"/>
                  </a:lnTo>
                  <a:lnTo>
                    <a:pt x="929" y="1550"/>
                  </a:lnTo>
                  <a:lnTo>
                    <a:pt x="929" y="1552"/>
                  </a:lnTo>
                  <a:lnTo>
                    <a:pt x="929" y="1552"/>
                  </a:lnTo>
                  <a:lnTo>
                    <a:pt x="929" y="1555"/>
                  </a:lnTo>
                  <a:lnTo>
                    <a:pt x="924" y="1555"/>
                  </a:lnTo>
                  <a:lnTo>
                    <a:pt x="922" y="1557"/>
                  </a:lnTo>
                  <a:lnTo>
                    <a:pt x="917" y="1559"/>
                  </a:lnTo>
                  <a:lnTo>
                    <a:pt x="917" y="1559"/>
                  </a:lnTo>
                  <a:lnTo>
                    <a:pt x="915" y="1559"/>
                  </a:lnTo>
                  <a:lnTo>
                    <a:pt x="912" y="1559"/>
                  </a:lnTo>
                  <a:lnTo>
                    <a:pt x="905" y="1564"/>
                  </a:lnTo>
                  <a:lnTo>
                    <a:pt x="905" y="1566"/>
                  </a:lnTo>
                  <a:lnTo>
                    <a:pt x="903" y="1569"/>
                  </a:lnTo>
                  <a:lnTo>
                    <a:pt x="900" y="1571"/>
                  </a:lnTo>
                  <a:lnTo>
                    <a:pt x="896" y="1571"/>
                  </a:lnTo>
                  <a:lnTo>
                    <a:pt x="893" y="1571"/>
                  </a:lnTo>
                  <a:lnTo>
                    <a:pt x="893" y="1569"/>
                  </a:lnTo>
                  <a:lnTo>
                    <a:pt x="891" y="1571"/>
                  </a:lnTo>
                  <a:lnTo>
                    <a:pt x="893" y="1571"/>
                  </a:lnTo>
                  <a:lnTo>
                    <a:pt x="893" y="1573"/>
                  </a:lnTo>
                  <a:lnTo>
                    <a:pt x="889" y="1578"/>
                  </a:lnTo>
                  <a:lnTo>
                    <a:pt x="856" y="1564"/>
                  </a:lnTo>
                  <a:lnTo>
                    <a:pt x="851" y="1562"/>
                  </a:lnTo>
                  <a:lnTo>
                    <a:pt x="846" y="1559"/>
                  </a:lnTo>
                  <a:lnTo>
                    <a:pt x="844" y="1557"/>
                  </a:lnTo>
                  <a:lnTo>
                    <a:pt x="822" y="1550"/>
                  </a:lnTo>
                  <a:lnTo>
                    <a:pt x="744" y="1514"/>
                  </a:lnTo>
                  <a:lnTo>
                    <a:pt x="714" y="1500"/>
                  </a:lnTo>
                  <a:lnTo>
                    <a:pt x="659" y="1477"/>
                  </a:lnTo>
                  <a:lnTo>
                    <a:pt x="645" y="1472"/>
                  </a:lnTo>
                  <a:lnTo>
                    <a:pt x="643" y="1470"/>
                  </a:lnTo>
                  <a:lnTo>
                    <a:pt x="638" y="1467"/>
                  </a:lnTo>
                  <a:lnTo>
                    <a:pt x="612" y="1453"/>
                  </a:lnTo>
                  <a:lnTo>
                    <a:pt x="589" y="1441"/>
                  </a:lnTo>
                  <a:lnTo>
                    <a:pt x="555" y="1425"/>
                  </a:lnTo>
                  <a:lnTo>
                    <a:pt x="541" y="1415"/>
                  </a:lnTo>
                  <a:lnTo>
                    <a:pt x="515" y="1401"/>
                  </a:lnTo>
                  <a:lnTo>
                    <a:pt x="468" y="1375"/>
                  </a:lnTo>
                  <a:lnTo>
                    <a:pt x="447" y="1366"/>
                  </a:lnTo>
                  <a:lnTo>
                    <a:pt x="437" y="1359"/>
                  </a:lnTo>
                  <a:lnTo>
                    <a:pt x="426" y="1356"/>
                  </a:lnTo>
                  <a:lnTo>
                    <a:pt x="411" y="1351"/>
                  </a:lnTo>
                  <a:lnTo>
                    <a:pt x="364" y="1342"/>
                  </a:lnTo>
                  <a:lnTo>
                    <a:pt x="326" y="1333"/>
                  </a:lnTo>
                  <a:lnTo>
                    <a:pt x="293" y="1325"/>
                  </a:lnTo>
                  <a:lnTo>
                    <a:pt x="284" y="1323"/>
                  </a:lnTo>
                  <a:lnTo>
                    <a:pt x="232" y="1311"/>
                  </a:lnTo>
                  <a:lnTo>
                    <a:pt x="230" y="1311"/>
                  </a:lnTo>
                  <a:lnTo>
                    <a:pt x="227" y="1311"/>
                  </a:lnTo>
                  <a:lnTo>
                    <a:pt x="208" y="1304"/>
                  </a:lnTo>
                  <a:lnTo>
                    <a:pt x="206" y="1304"/>
                  </a:lnTo>
                  <a:lnTo>
                    <a:pt x="147" y="1292"/>
                  </a:lnTo>
                  <a:lnTo>
                    <a:pt x="142" y="1290"/>
                  </a:lnTo>
                  <a:lnTo>
                    <a:pt x="121" y="1278"/>
                  </a:lnTo>
                  <a:lnTo>
                    <a:pt x="62" y="1252"/>
                  </a:lnTo>
                  <a:lnTo>
                    <a:pt x="10" y="1229"/>
                  </a:lnTo>
                  <a:lnTo>
                    <a:pt x="0" y="1224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 cap="flat">
              <a:solidFill>
                <a:schemeClr val="bg2">
                  <a:lumMod val="7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>
                <a:solidFill>
                  <a:srgbClr val="000000"/>
                </a:solidFill>
              </a:endParaRPr>
            </a:p>
          </p:txBody>
        </p:sp>
        <p:sp>
          <p:nvSpPr>
            <p:cNvPr id="103" name="Freeform 24"/>
            <p:cNvSpPr>
              <a:spLocks noEditPoints="1"/>
            </p:cNvSpPr>
            <p:nvPr/>
          </p:nvSpPr>
          <p:spPr bwMode="gray">
            <a:xfrm>
              <a:off x="1733266" y="2545307"/>
              <a:ext cx="1314689" cy="1423368"/>
            </a:xfrm>
            <a:custGeom>
              <a:avLst/>
              <a:gdLst/>
              <a:ahLst/>
              <a:cxnLst>
                <a:cxn ang="0">
                  <a:pos x="52" y="170"/>
                </a:cxn>
                <a:cxn ang="0">
                  <a:pos x="82" y="137"/>
                </a:cxn>
                <a:cxn ang="0">
                  <a:pos x="129" y="121"/>
                </a:cxn>
                <a:cxn ang="0">
                  <a:pos x="174" y="114"/>
                </a:cxn>
                <a:cxn ang="0">
                  <a:pos x="222" y="78"/>
                </a:cxn>
                <a:cxn ang="0">
                  <a:pos x="271" y="90"/>
                </a:cxn>
                <a:cxn ang="0">
                  <a:pos x="344" y="90"/>
                </a:cxn>
                <a:cxn ang="0">
                  <a:pos x="373" y="64"/>
                </a:cxn>
                <a:cxn ang="0">
                  <a:pos x="363" y="33"/>
                </a:cxn>
                <a:cxn ang="0">
                  <a:pos x="413" y="24"/>
                </a:cxn>
                <a:cxn ang="0">
                  <a:pos x="522" y="57"/>
                </a:cxn>
                <a:cxn ang="0">
                  <a:pos x="543" y="107"/>
                </a:cxn>
                <a:cxn ang="0">
                  <a:pos x="597" y="126"/>
                </a:cxn>
                <a:cxn ang="0">
                  <a:pos x="630" y="149"/>
                </a:cxn>
                <a:cxn ang="0">
                  <a:pos x="666" y="161"/>
                </a:cxn>
                <a:cxn ang="0">
                  <a:pos x="696" y="215"/>
                </a:cxn>
                <a:cxn ang="0">
                  <a:pos x="744" y="324"/>
                </a:cxn>
                <a:cxn ang="0">
                  <a:pos x="810" y="435"/>
                </a:cxn>
                <a:cxn ang="0">
                  <a:pos x="867" y="501"/>
                </a:cxn>
                <a:cxn ang="0">
                  <a:pos x="956" y="381"/>
                </a:cxn>
                <a:cxn ang="0">
                  <a:pos x="1122" y="258"/>
                </a:cxn>
                <a:cxn ang="0">
                  <a:pos x="1197" y="329"/>
                </a:cxn>
                <a:cxn ang="0">
                  <a:pos x="1332" y="374"/>
                </a:cxn>
                <a:cxn ang="0">
                  <a:pos x="1398" y="428"/>
                </a:cxn>
                <a:cxn ang="0">
                  <a:pos x="1429" y="421"/>
                </a:cxn>
                <a:cxn ang="0">
                  <a:pos x="1455" y="423"/>
                </a:cxn>
                <a:cxn ang="0">
                  <a:pos x="1485" y="430"/>
                </a:cxn>
                <a:cxn ang="0">
                  <a:pos x="1500" y="437"/>
                </a:cxn>
                <a:cxn ang="0">
                  <a:pos x="1514" y="442"/>
                </a:cxn>
                <a:cxn ang="0">
                  <a:pos x="1530" y="444"/>
                </a:cxn>
                <a:cxn ang="0">
                  <a:pos x="1542" y="459"/>
                </a:cxn>
                <a:cxn ang="0">
                  <a:pos x="1552" y="456"/>
                </a:cxn>
                <a:cxn ang="0">
                  <a:pos x="1570" y="456"/>
                </a:cxn>
                <a:cxn ang="0">
                  <a:pos x="1575" y="475"/>
                </a:cxn>
                <a:cxn ang="0">
                  <a:pos x="1592" y="478"/>
                </a:cxn>
                <a:cxn ang="0">
                  <a:pos x="1606" y="466"/>
                </a:cxn>
                <a:cxn ang="0">
                  <a:pos x="1613" y="485"/>
                </a:cxn>
                <a:cxn ang="0">
                  <a:pos x="1615" y="534"/>
                </a:cxn>
                <a:cxn ang="0">
                  <a:pos x="1599" y="619"/>
                </a:cxn>
                <a:cxn ang="0">
                  <a:pos x="1573" y="676"/>
                </a:cxn>
                <a:cxn ang="0">
                  <a:pos x="1556" y="709"/>
                </a:cxn>
                <a:cxn ang="0">
                  <a:pos x="1542" y="747"/>
                </a:cxn>
                <a:cxn ang="0">
                  <a:pos x="1521" y="778"/>
                </a:cxn>
                <a:cxn ang="0">
                  <a:pos x="1504" y="813"/>
                </a:cxn>
                <a:cxn ang="0">
                  <a:pos x="1474" y="865"/>
                </a:cxn>
                <a:cxn ang="0">
                  <a:pos x="1445" y="912"/>
                </a:cxn>
                <a:cxn ang="0">
                  <a:pos x="1320" y="1049"/>
                </a:cxn>
                <a:cxn ang="0">
                  <a:pos x="1353" y="1113"/>
                </a:cxn>
                <a:cxn ang="0">
                  <a:pos x="1299" y="1207"/>
                </a:cxn>
                <a:cxn ang="0">
                  <a:pos x="1209" y="1335"/>
                </a:cxn>
                <a:cxn ang="0">
                  <a:pos x="1193" y="1477"/>
                </a:cxn>
                <a:cxn ang="0">
                  <a:pos x="1107" y="1607"/>
                </a:cxn>
                <a:cxn ang="0">
                  <a:pos x="233" y="1536"/>
                </a:cxn>
                <a:cxn ang="0">
                  <a:pos x="153" y="1439"/>
                </a:cxn>
                <a:cxn ang="0">
                  <a:pos x="82" y="1267"/>
                </a:cxn>
                <a:cxn ang="0">
                  <a:pos x="314" y="650"/>
                </a:cxn>
                <a:cxn ang="0">
                  <a:pos x="290" y="626"/>
                </a:cxn>
                <a:cxn ang="0">
                  <a:pos x="219" y="565"/>
                </a:cxn>
                <a:cxn ang="0">
                  <a:pos x="165" y="546"/>
                </a:cxn>
                <a:cxn ang="0">
                  <a:pos x="118" y="496"/>
                </a:cxn>
                <a:cxn ang="0">
                  <a:pos x="59" y="456"/>
                </a:cxn>
                <a:cxn ang="0">
                  <a:pos x="14" y="390"/>
                </a:cxn>
                <a:cxn ang="0">
                  <a:pos x="1559" y="447"/>
                </a:cxn>
              </a:cxnLst>
              <a:rect l="0" t="0" r="r" b="b"/>
              <a:pathLst>
                <a:path w="1627" h="1626">
                  <a:moveTo>
                    <a:pt x="0" y="178"/>
                  </a:moveTo>
                  <a:lnTo>
                    <a:pt x="2" y="178"/>
                  </a:lnTo>
                  <a:lnTo>
                    <a:pt x="2" y="180"/>
                  </a:lnTo>
                  <a:lnTo>
                    <a:pt x="2" y="182"/>
                  </a:lnTo>
                  <a:lnTo>
                    <a:pt x="4" y="182"/>
                  </a:lnTo>
                  <a:lnTo>
                    <a:pt x="4" y="185"/>
                  </a:lnTo>
                  <a:lnTo>
                    <a:pt x="7" y="185"/>
                  </a:lnTo>
                  <a:lnTo>
                    <a:pt x="7" y="182"/>
                  </a:lnTo>
                  <a:lnTo>
                    <a:pt x="9" y="185"/>
                  </a:lnTo>
                  <a:lnTo>
                    <a:pt x="9" y="185"/>
                  </a:lnTo>
                  <a:lnTo>
                    <a:pt x="9" y="185"/>
                  </a:lnTo>
                  <a:lnTo>
                    <a:pt x="11" y="185"/>
                  </a:lnTo>
                  <a:lnTo>
                    <a:pt x="11" y="185"/>
                  </a:lnTo>
                  <a:lnTo>
                    <a:pt x="11" y="182"/>
                  </a:lnTo>
                  <a:lnTo>
                    <a:pt x="14" y="182"/>
                  </a:lnTo>
                  <a:lnTo>
                    <a:pt x="16" y="185"/>
                  </a:lnTo>
                  <a:lnTo>
                    <a:pt x="16" y="182"/>
                  </a:lnTo>
                  <a:lnTo>
                    <a:pt x="18" y="180"/>
                  </a:lnTo>
                  <a:lnTo>
                    <a:pt x="18" y="182"/>
                  </a:lnTo>
                  <a:lnTo>
                    <a:pt x="23" y="178"/>
                  </a:lnTo>
                  <a:lnTo>
                    <a:pt x="21" y="175"/>
                  </a:lnTo>
                  <a:lnTo>
                    <a:pt x="21" y="175"/>
                  </a:lnTo>
                  <a:lnTo>
                    <a:pt x="23" y="170"/>
                  </a:lnTo>
                  <a:lnTo>
                    <a:pt x="23" y="170"/>
                  </a:lnTo>
                  <a:lnTo>
                    <a:pt x="23" y="170"/>
                  </a:lnTo>
                  <a:lnTo>
                    <a:pt x="26" y="170"/>
                  </a:lnTo>
                  <a:lnTo>
                    <a:pt x="28" y="170"/>
                  </a:lnTo>
                  <a:lnTo>
                    <a:pt x="28" y="170"/>
                  </a:lnTo>
                  <a:lnTo>
                    <a:pt x="28" y="173"/>
                  </a:lnTo>
                  <a:lnTo>
                    <a:pt x="30" y="170"/>
                  </a:lnTo>
                  <a:lnTo>
                    <a:pt x="33" y="170"/>
                  </a:lnTo>
                  <a:lnTo>
                    <a:pt x="33" y="170"/>
                  </a:lnTo>
                  <a:lnTo>
                    <a:pt x="35" y="170"/>
                  </a:lnTo>
                  <a:lnTo>
                    <a:pt x="35" y="173"/>
                  </a:lnTo>
                  <a:lnTo>
                    <a:pt x="37" y="173"/>
                  </a:lnTo>
                  <a:lnTo>
                    <a:pt x="37" y="173"/>
                  </a:lnTo>
                  <a:lnTo>
                    <a:pt x="40" y="173"/>
                  </a:lnTo>
                  <a:lnTo>
                    <a:pt x="40" y="173"/>
                  </a:lnTo>
                  <a:lnTo>
                    <a:pt x="40" y="170"/>
                  </a:lnTo>
                  <a:lnTo>
                    <a:pt x="42" y="170"/>
                  </a:lnTo>
                  <a:lnTo>
                    <a:pt x="42" y="170"/>
                  </a:lnTo>
                  <a:lnTo>
                    <a:pt x="42" y="170"/>
                  </a:lnTo>
                  <a:lnTo>
                    <a:pt x="44" y="170"/>
                  </a:lnTo>
                  <a:lnTo>
                    <a:pt x="44" y="170"/>
                  </a:lnTo>
                  <a:lnTo>
                    <a:pt x="44" y="173"/>
                  </a:lnTo>
                  <a:lnTo>
                    <a:pt x="44" y="173"/>
                  </a:lnTo>
                  <a:lnTo>
                    <a:pt x="47" y="173"/>
                  </a:lnTo>
                  <a:lnTo>
                    <a:pt x="47" y="175"/>
                  </a:lnTo>
                  <a:lnTo>
                    <a:pt x="47" y="173"/>
                  </a:lnTo>
                  <a:lnTo>
                    <a:pt x="47" y="173"/>
                  </a:lnTo>
                  <a:lnTo>
                    <a:pt x="49" y="173"/>
                  </a:lnTo>
                  <a:lnTo>
                    <a:pt x="52" y="173"/>
                  </a:lnTo>
                  <a:lnTo>
                    <a:pt x="52" y="170"/>
                  </a:lnTo>
                  <a:lnTo>
                    <a:pt x="52" y="168"/>
                  </a:lnTo>
                  <a:lnTo>
                    <a:pt x="54" y="168"/>
                  </a:lnTo>
                  <a:lnTo>
                    <a:pt x="54" y="166"/>
                  </a:lnTo>
                  <a:lnTo>
                    <a:pt x="54" y="163"/>
                  </a:lnTo>
                  <a:lnTo>
                    <a:pt x="54" y="161"/>
                  </a:lnTo>
                  <a:lnTo>
                    <a:pt x="54" y="159"/>
                  </a:lnTo>
                  <a:lnTo>
                    <a:pt x="54" y="161"/>
                  </a:lnTo>
                  <a:lnTo>
                    <a:pt x="52" y="159"/>
                  </a:lnTo>
                  <a:lnTo>
                    <a:pt x="52" y="156"/>
                  </a:lnTo>
                  <a:lnTo>
                    <a:pt x="49" y="156"/>
                  </a:lnTo>
                  <a:lnTo>
                    <a:pt x="49" y="154"/>
                  </a:lnTo>
                  <a:lnTo>
                    <a:pt x="49" y="154"/>
                  </a:lnTo>
                  <a:lnTo>
                    <a:pt x="49" y="154"/>
                  </a:lnTo>
                  <a:lnTo>
                    <a:pt x="52" y="152"/>
                  </a:lnTo>
                  <a:lnTo>
                    <a:pt x="49" y="152"/>
                  </a:lnTo>
                  <a:lnTo>
                    <a:pt x="49" y="149"/>
                  </a:lnTo>
                  <a:lnTo>
                    <a:pt x="49" y="147"/>
                  </a:lnTo>
                  <a:lnTo>
                    <a:pt x="52" y="147"/>
                  </a:lnTo>
                  <a:lnTo>
                    <a:pt x="52" y="147"/>
                  </a:lnTo>
                  <a:lnTo>
                    <a:pt x="54" y="147"/>
                  </a:lnTo>
                  <a:lnTo>
                    <a:pt x="54" y="147"/>
                  </a:lnTo>
                  <a:lnTo>
                    <a:pt x="56" y="149"/>
                  </a:lnTo>
                  <a:lnTo>
                    <a:pt x="56" y="147"/>
                  </a:lnTo>
                  <a:lnTo>
                    <a:pt x="59" y="147"/>
                  </a:lnTo>
                  <a:lnTo>
                    <a:pt x="61" y="147"/>
                  </a:lnTo>
                  <a:lnTo>
                    <a:pt x="63" y="147"/>
                  </a:lnTo>
                  <a:lnTo>
                    <a:pt x="66" y="144"/>
                  </a:lnTo>
                  <a:lnTo>
                    <a:pt x="66" y="144"/>
                  </a:lnTo>
                  <a:lnTo>
                    <a:pt x="63" y="144"/>
                  </a:lnTo>
                  <a:lnTo>
                    <a:pt x="63" y="142"/>
                  </a:lnTo>
                  <a:lnTo>
                    <a:pt x="63" y="142"/>
                  </a:lnTo>
                  <a:lnTo>
                    <a:pt x="63" y="142"/>
                  </a:lnTo>
                  <a:lnTo>
                    <a:pt x="63" y="140"/>
                  </a:lnTo>
                  <a:lnTo>
                    <a:pt x="63" y="137"/>
                  </a:lnTo>
                  <a:lnTo>
                    <a:pt x="66" y="137"/>
                  </a:lnTo>
                  <a:lnTo>
                    <a:pt x="68" y="137"/>
                  </a:lnTo>
                  <a:lnTo>
                    <a:pt x="68" y="135"/>
                  </a:lnTo>
                  <a:lnTo>
                    <a:pt x="68" y="135"/>
                  </a:lnTo>
                  <a:lnTo>
                    <a:pt x="70" y="135"/>
                  </a:lnTo>
                  <a:lnTo>
                    <a:pt x="70" y="133"/>
                  </a:lnTo>
                  <a:lnTo>
                    <a:pt x="70" y="133"/>
                  </a:lnTo>
                  <a:lnTo>
                    <a:pt x="70" y="130"/>
                  </a:lnTo>
                  <a:lnTo>
                    <a:pt x="73" y="130"/>
                  </a:lnTo>
                  <a:lnTo>
                    <a:pt x="73" y="130"/>
                  </a:lnTo>
                  <a:lnTo>
                    <a:pt x="73" y="135"/>
                  </a:lnTo>
                  <a:lnTo>
                    <a:pt x="75" y="135"/>
                  </a:lnTo>
                  <a:lnTo>
                    <a:pt x="75" y="133"/>
                  </a:lnTo>
                  <a:lnTo>
                    <a:pt x="80" y="135"/>
                  </a:lnTo>
                  <a:lnTo>
                    <a:pt x="80" y="133"/>
                  </a:lnTo>
                  <a:lnTo>
                    <a:pt x="80" y="135"/>
                  </a:lnTo>
                  <a:lnTo>
                    <a:pt x="80" y="135"/>
                  </a:lnTo>
                  <a:lnTo>
                    <a:pt x="82" y="135"/>
                  </a:lnTo>
                  <a:lnTo>
                    <a:pt x="82" y="137"/>
                  </a:lnTo>
                  <a:lnTo>
                    <a:pt x="87" y="135"/>
                  </a:lnTo>
                  <a:lnTo>
                    <a:pt x="89" y="135"/>
                  </a:lnTo>
                  <a:lnTo>
                    <a:pt x="89" y="133"/>
                  </a:lnTo>
                  <a:lnTo>
                    <a:pt x="89" y="135"/>
                  </a:lnTo>
                  <a:lnTo>
                    <a:pt x="92" y="135"/>
                  </a:lnTo>
                  <a:lnTo>
                    <a:pt x="94" y="137"/>
                  </a:lnTo>
                  <a:lnTo>
                    <a:pt x="94" y="137"/>
                  </a:lnTo>
                  <a:lnTo>
                    <a:pt x="94" y="140"/>
                  </a:lnTo>
                  <a:lnTo>
                    <a:pt x="94" y="142"/>
                  </a:lnTo>
                  <a:lnTo>
                    <a:pt x="94" y="142"/>
                  </a:lnTo>
                  <a:lnTo>
                    <a:pt x="96" y="142"/>
                  </a:lnTo>
                  <a:lnTo>
                    <a:pt x="99" y="142"/>
                  </a:lnTo>
                  <a:lnTo>
                    <a:pt x="101" y="142"/>
                  </a:lnTo>
                  <a:lnTo>
                    <a:pt x="101" y="142"/>
                  </a:lnTo>
                  <a:lnTo>
                    <a:pt x="101" y="142"/>
                  </a:lnTo>
                  <a:lnTo>
                    <a:pt x="103" y="142"/>
                  </a:lnTo>
                  <a:lnTo>
                    <a:pt x="103" y="140"/>
                  </a:lnTo>
                  <a:lnTo>
                    <a:pt x="106" y="140"/>
                  </a:lnTo>
                  <a:lnTo>
                    <a:pt x="108" y="140"/>
                  </a:lnTo>
                  <a:lnTo>
                    <a:pt x="111" y="142"/>
                  </a:lnTo>
                  <a:lnTo>
                    <a:pt x="111" y="142"/>
                  </a:lnTo>
                  <a:lnTo>
                    <a:pt x="113" y="142"/>
                  </a:lnTo>
                  <a:lnTo>
                    <a:pt x="113" y="142"/>
                  </a:lnTo>
                  <a:lnTo>
                    <a:pt x="113" y="140"/>
                  </a:lnTo>
                  <a:lnTo>
                    <a:pt x="113" y="140"/>
                  </a:lnTo>
                  <a:lnTo>
                    <a:pt x="115" y="137"/>
                  </a:lnTo>
                  <a:lnTo>
                    <a:pt x="113" y="135"/>
                  </a:lnTo>
                  <a:lnTo>
                    <a:pt x="115" y="135"/>
                  </a:lnTo>
                  <a:lnTo>
                    <a:pt x="113" y="135"/>
                  </a:lnTo>
                  <a:lnTo>
                    <a:pt x="115" y="135"/>
                  </a:lnTo>
                  <a:lnTo>
                    <a:pt x="115" y="133"/>
                  </a:lnTo>
                  <a:lnTo>
                    <a:pt x="115" y="133"/>
                  </a:lnTo>
                  <a:lnTo>
                    <a:pt x="115" y="130"/>
                  </a:lnTo>
                  <a:lnTo>
                    <a:pt x="115" y="128"/>
                  </a:lnTo>
                  <a:lnTo>
                    <a:pt x="115" y="128"/>
                  </a:lnTo>
                  <a:lnTo>
                    <a:pt x="115" y="126"/>
                  </a:lnTo>
                  <a:lnTo>
                    <a:pt x="113" y="123"/>
                  </a:lnTo>
                  <a:lnTo>
                    <a:pt x="113" y="123"/>
                  </a:lnTo>
                  <a:lnTo>
                    <a:pt x="113" y="123"/>
                  </a:lnTo>
                  <a:lnTo>
                    <a:pt x="113" y="123"/>
                  </a:lnTo>
                  <a:lnTo>
                    <a:pt x="115" y="123"/>
                  </a:lnTo>
                  <a:lnTo>
                    <a:pt x="118" y="123"/>
                  </a:lnTo>
                  <a:lnTo>
                    <a:pt x="118" y="123"/>
                  </a:lnTo>
                  <a:lnTo>
                    <a:pt x="118" y="123"/>
                  </a:lnTo>
                  <a:lnTo>
                    <a:pt x="120" y="123"/>
                  </a:lnTo>
                  <a:lnTo>
                    <a:pt x="122" y="123"/>
                  </a:lnTo>
                  <a:lnTo>
                    <a:pt x="125" y="123"/>
                  </a:lnTo>
                  <a:lnTo>
                    <a:pt x="125" y="123"/>
                  </a:lnTo>
                  <a:lnTo>
                    <a:pt x="125" y="121"/>
                  </a:lnTo>
                  <a:lnTo>
                    <a:pt x="127" y="121"/>
                  </a:lnTo>
                  <a:lnTo>
                    <a:pt x="127" y="121"/>
                  </a:lnTo>
                  <a:lnTo>
                    <a:pt x="127" y="121"/>
                  </a:lnTo>
                  <a:lnTo>
                    <a:pt x="129" y="121"/>
                  </a:lnTo>
                  <a:lnTo>
                    <a:pt x="129" y="119"/>
                  </a:lnTo>
                  <a:lnTo>
                    <a:pt x="132" y="121"/>
                  </a:lnTo>
                  <a:lnTo>
                    <a:pt x="132" y="119"/>
                  </a:lnTo>
                  <a:lnTo>
                    <a:pt x="134" y="119"/>
                  </a:lnTo>
                  <a:lnTo>
                    <a:pt x="134" y="119"/>
                  </a:lnTo>
                  <a:lnTo>
                    <a:pt x="134" y="119"/>
                  </a:lnTo>
                  <a:lnTo>
                    <a:pt x="137" y="119"/>
                  </a:lnTo>
                  <a:lnTo>
                    <a:pt x="137" y="119"/>
                  </a:lnTo>
                  <a:lnTo>
                    <a:pt x="139" y="119"/>
                  </a:lnTo>
                  <a:lnTo>
                    <a:pt x="139" y="119"/>
                  </a:lnTo>
                  <a:lnTo>
                    <a:pt x="139" y="116"/>
                  </a:lnTo>
                  <a:lnTo>
                    <a:pt x="139" y="116"/>
                  </a:lnTo>
                  <a:lnTo>
                    <a:pt x="139" y="114"/>
                  </a:lnTo>
                  <a:lnTo>
                    <a:pt x="141" y="114"/>
                  </a:lnTo>
                  <a:lnTo>
                    <a:pt x="141" y="114"/>
                  </a:lnTo>
                  <a:lnTo>
                    <a:pt x="144" y="114"/>
                  </a:lnTo>
                  <a:lnTo>
                    <a:pt x="144" y="114"/>
                  </a:lnTo>
                  <a:lnTo>
                    <a:pt x="144" y="114"/>
                  </a:lnTo>
                  <a:lnTo>
                    <a:pt x="146" y="114"/>
                  </a:lnTo>
                  <a:lnTo>
                    <a:pt x="146" y="114"/>
                  </a:lnTo>
                  <a:lnTo>
                    <a:pt x="148" y="114"/>
                  </a:lnTo>
                  <a:lnTo>
                    <a:pt x="148" y="114"/>
                  </a:lnTo>
                  <a:lnTo>
                    <a:pt x="148" y="114"/>
                  </a:lnTo>
                  <a:lnTo>
                    <a:pt x="151" y="114"/>
                  </a:lnTo>
                  <a:lnTo>
                    <a:pt x="148" y="114"/>
                  </a:lnTo>
                  <a:lnTo>
                    <a:pt x="151" y="114"/>
                  </a:lnTo>
                  <a:lnTo>
                    <a:pt x="151" y="114"/>
                  </a:lnTo>
                  <a:lnTo>
                    <a:pt x="151" y="116"/>
                  </a:lnTo>
                  <a:lnTo>
                    <a:pt x="153" y="116"/>
                  </a:lnTo>
                  <a:lnTo>
                    <a:pt x="155" y="116"/>
                  </a:lnTo>
                  <a:lnTo>
                    <a:pt x="155" y="116"/>
                  </a:lnTo>
                  <a:lnTo>
                    <a:pt x="155" y="116"/>
                  </a:lnTo>
                  <a:lnTo>
                    <a:pt x="155" y="119"/>
                  </a:lnTo>
                  <a:lnTo>
                    <a:pt x="158" y="119"/>
                  </a:lnTo>
                  <a:lnTo>
                    <a:pt x="158" y="119"/>
                  </a:lnTo>
                  <a:lnTo>
                    <a:pt x="160" y="119"/>
                  </a:lnTo>
                  <a:lnTo>
                    <a:pt x="160" y="116"/>
                  </a:lnTo>
                  <a:lnTo>
                    <a:pt x="163" y="116"/>
                  </a:lnTo>
                  <a:lnTo>
                    <a:pt x="163" y="119"/>
                  </a:lnTo>
                  <a:lnTo>
                    <a:pt x="165" y="116"/>
                  </a:lnTo>
                  <a:lnTo>
                    <a:pt x="165" y="116"/>
                  </a:lnTo>
                  <a:lnTo>
                    <a:pt x="167" y="116"/>
                  </a:lnTo>
                  <a:lnTo>
                    <a:pt x="167" y="119"/>
                  </a:lnTo>
                  <a:lnTo>
                    <a:pt x="167" y="119"/>
                  </a:lnTo>
                  <a:lnTo>
                    <a:pt x="167" y="116"/>
                  </a:lnTo>
                  <a:lnTo>
                    <a:pt x="170" y="119"/>
                  </a:lnTo>
                  <a:lnTo>
                    <a:pt x="170" y="116"/>
                  </a:lnTo>
                  <a:lnTo>
                    <a:pt x="172" y="116"/>
                  </a:lnTo>
                  <a:lnTo>
                    <a:pt x="172" y="116"/>
                  </a:lnTo>
                  <a:lnTo>
                    <a:pt x="172" y="114"/>
                  </a:lnTo>
                  <a:lnTo>
                    <a:pt x="172" y="114"/>
                  </a:lnTo>
                  <a:lnTo>
                    <a:pt x="174" y="114"/>
                  </a:lnTo>
                  <a:lnTo>
                    <a:pt x="174" y="114"/>
                  </a:lnTo>
                  <a:lnTo>
                    <a:pt x="174" y="114"/>
                  </a:lnTo>
                  <a:lnTo>
                    <a:pt x="174" y="111"/>
                  </a:lnTo>
                  <a:lnTo>
                    <a:pt x="174" y="109"/>
                  </a:lnTo>
                  <a:lnTo>
                    <a:pt x="177" y="109"/>
                  </a:lnTo>
                  <a:lnTo>
                    <a:pt x="177" y="109"/>
                  </a:lnTo>
                  <a:lnTo>
                    <a:pt x="177" y="107"/>
                  </a:lnTo>
                  <a:lnTo>
                    <a:pt x="177" y="104"/>
                  </a:lnTo>
                  <a:lnTo>
                    <a:pt x="177" y="104"/>
                  </a:lnTo>
                  <a:lnTo>
                    <a:pt x="179" y="104"/>
                  </a:lnTo>
                  <a:lnTo>
                    <a:pt x="179" y="104"/>
                  </a:lnTo>
                  <a:lnTo>
                    <a:pt x="184" y="102"/>
                  </a:lnTo>
                  <a:lnTo>
                    <a:pt x="184" y="102"/>
                  </a:lnTo>
                  <a:lnTo>
                    <a:pt x="184" y="100"/>
                  </a:lnTo>
                  <a:lnTo>
                    <a:pt x="184" y="100"/>
                  </a:lnTo>
                  <a:lnTo>
                    <a:pt x="184" y="97"/>
                  </a:lnTo>
                  <a:lnTo>
                    <a:pt x="186" y="97"/>
                  </a:lnTo>
                  <a:lnTo>
                    <a:pt x="184" y="95"/>
                  </a:lnTo>
                  <a:lnTo>
                    <a:pt x="186" y="93"/>
                  </a:lnTo>
                  <a:lnTo>
                    <a:pt x="184" y="93"/>
                  </a:lnTo>
                  <a:lnTo>
                    <a:pt x="184" y="93"/>
                  </a:lnTo>
                  <a:lnTo>
                    <a:pt x="184" y="90"/>
                  </a:lnTo>
                  <a:lnTo>
                    <a:pt x="186" y="90"/>
                  </a:lnTo>
                  <a:lnTo>
                    <a:pt x="189" y="88"/>
                  </a:lnTo>
                  <a:lnTo>
                    <a:pt x="189" y="88"/>
                  </a:lnTo>
                  <a:lnTo>
                    <a:pt x="191" y="88"/>
                  </a:lnTo>
                  <a:lnTo>
                    <a:pt x="193" y="88"/>
                  </a:lnTo>
                  <a:lnTo>
                    <a:pt x="193" y="88"/>
                  </a:lnTo>
                  <a:lnTo>
                    <a:pt x="196" y="85"/>
                  </a:lnTo>
                  <a:lnTo>
                    <a:pt x="196" y="83"/>
                  </a:lnTo>
                  <a:lnTo>
                    <a:pt x="193" y="83"/>
                  </a:lnTo>
                  <a:lnTo>
                    <a:pt x="196" y="83"/>
                  </a:lnTo>
                  <a:lnTo>
                    <a:pt x="196" y="81"/>
                  </a:lnTo>
                  <a:lnTo>
                    <a:pt x="196" y="81"/>
                  </a:lnTo>
                  <a:lnTo>
                    <a:pt x="196" y="81"/>
                  </a:lnTo>
                  <a:lnTo>
                    <a:pt x="198" y="81"/>
                  </a:lnTo>
                  <a:lnTo>
                    <a:pt x="200" y="81"/>
                  </a:lnTo>
                  <a:lnTo>
                    <a:pt x="200" y="78"/>
                  </a:lnTo>
                  <a:lnTo>
                    <a:pt x="205" y="81"/>
                  </a:lnTo>
                  <a:lnTo>
                    <a:pt x="207" y="81"/>
                  </a:lnTo>
                  <a:lnTo>
                    <a:pt x="205" y="81"/>
                  </a:lnTo>
                  <a:lnTo>
                    <a:pt x="207" y="83"/>
                  </a:lnTo>
                  <a:lnTo>
                    <a:pt x="207" y="83"/>
                  </a:lnTo>
                  <a:lnTo>
                    <a:pt x="210" y="83"/>
                  </a:lnTo>
                  <a:lnTo>
                    <a:pt x="210" y="85"/>
                  </a:lnTo>
                  <a:lnTo>
                    <a:pt x="210" y="85"/>
                  </a:lnTo>
                  <a:lnTo>
                    <a:pt x="210" y="83"/>
                  </a:lnTo>
                  <a:lnTo>
                    <a:pt x="212" y="83"/>
                  </a:lnTo>
                  <a:lnTo>
                    <a:pt x="215" y="81"/>
                  </a:lnTo>
                  <a:lnTo>
                    <a:pt x="217" y="81"/>
                  </a:lnTo>
                  <a:lnTo>
                    <a:pt x="217" y="78"/>
                  </a:lnTo>
                  <a:lnTo>
                    <a:pt x="219" y="78"/>
                  </a:lnTo>
                  <a:lnTo>
                    <a:pt x="222" y="78"/>
                  </a:lnTo>
                  <a:lnTo>
                    <a:pt x="222" y="78"/>
                  </a:lnTo>
                  <a:lnTo>
                    <a:pt x="226" y="76"/>
                  </a:lnTo>
                  <a:lnTo>
                    <a:pt x="226" y="76"/>
                  </a:lnTo>
                  <a:lnTo>
                    <a:pt x="226" y="74"/>
                  </a:lnTo>
                  <a:lnTo>
                    <a:pt x="226" y="74"/>
                  </a:lnTo>
                  <a:lnTo>
                    <a:pt x="229" y="74"/>
                  </a:lnTo>
                  <a:lnTo>
                    <a:pt x="229" y="74"/>
                  </a:lnTo>
                  <a:lnTo>
                    <a:pt x="229" y="74"/>
                  </a:lnTo>
                  <a:lnTo>
                    <a:pt x="229" y="76"/>
                  </a:lnTo>
                  <a:lnTo>
                    <a:pt x="231" y="78"/>
                  </a:lnTo>
                  <a:lnTo>
                    <a:pt x="231" y="78"/>
                  </a:lnTo>
                  <a:lnTo>
                    <a:pt x="231" y="81"/>
                  </a:lnTo>
                  <a:lnTo>
                    <a:pt x="231" y="83"/>
                  </a:lnTo>
                  <a:lnTo>
                    <a:pt x="233" y="83"/>
                  </a:lnTo>
                  <a:lnTo>
                    <a:pt x="233" y="83"/>
                  </a:lnTo>
                  <a:lnTo>
                    <a:pt x="236" y="83"/>
                  </a:lnTo>
                  <a:lnTo>
                    <a:pt x="236" y="85"/>
                  </a:lnTo>
                  <a:lnTo>
                    <a:pt x="238" y="88"/>
                  </a:lnTo>
                  <a:lnTo>
                    <a:pt x="238" y="88"/>
                  </a:lnTo>
                  <a:lnTo>
                    <a:pt x="238" y="88"/>
                  </a:lnTo>
                  <a:lnTo>
                    <a:pt x="241" y="90"/>
                  </a:lnTo>
                  <a:lnTo>
                    <a:pt x="243" y="90"/>
                  </a:lnTo>
                  <a:lnTo>
                    <a:pt x="243" y="90"/>
                  </a:lnTo>
                  <a:lnTo>
                    <a:pt x="245" y="88"/>
                  </a:lnTo>
                  <a:lnTo>
                    <a:pt x="245" y="88"/>
                  </a:lnTo>
                  <a:lnTo>
                    <a:pt x="245" y="88"/>
                  </a:lnTo>
                  <a:lnTo>
                    <a:pt x="248" y="88"/>
                  </a:lnTo>
                  <a:lnTo>
                    <a:pt x="250" y="88"/>
                  </a:lnTo>
                  <a:lnTo>
                    <a:pt x="252" y="88"/>
                  </a:lnTo>
                  <a:lnTo>
                    <a:pt x="252" y="90"/>
                  </a:lnTo>
                  <a:lnTo>
                    <a:pt x="255" y="90"/>
                  </a:lnTo>
                  <a:lnTo>
                    <a:pt x="255" y="90"/>
                  </a:lnTo>
                  <a:lnTo>
                    <a:pt x="257" y="90"/>
                  </a:lnTo>
                  <a:lnTo>
                    <a:pt x="257" y="90"/>
                  </a:lnTo>
                  <a:lnTo>
                    <a:pt x="257" y="93"/>
                  </a:lnTo>
                  <a:lnTo>
                    <a:pt x="259" y="90"/>
                  </a:lnTo>
                  <a:lnTo>
                    <a:pt x="259" y="93"/>
                  </a:lnTo>
                  <a:lnTo>
                    <a:pt x="262" y="93"/>
                  </a:lnTo>
                  <a:lnTo>
                    <a:pt x="262" y="93"/>
                  </a:lnTo>
                  <a:lnTo>
                    <a:pt x="262" y="93"/>
                  </a:lnTo>
                  <a:lnTo>
                    <a:pt x="264" y="93"/>
                  </a:lnTo>
                  <a:lnTo>
                    <a:pt x="264" y="93"/>
                  </a:lnTo>
                  <a:lnTo>
                    <a:pt x="266" y="95"/>
                  </a:lnTo>
                  <a:lnTo>
                    <a:pt x="264" y="95"/>
                  </a:lnTo>
                  <a:lnTo>
                    <a:pt x="266" y="95"/>
                  </a:lnTo>
                  <a:lnTo>
                    <a:pt x="266" y="97"/>
                  </a:lnTo>
                  <a:lnTo>
                    <a:pt x="266" y="97"/>
                  </a:lnTo>
                  <a:lnTo>
                    <a:pt x="266" y="97"/>
                  </a:lnTo>
                  <a:lnTo>
                    <a:pt x="266" y="95"/>
                  </a:lnTo>
                  <a:lnTo>
                    <a:pt x="269" y="95"/>
                  </a:lnTo>
                  <a:lnTo>
                    <a:pt x="269" y="93"/>
                  </a:lnTo>
                  <a:lnTo>
                    <a:pt x="269" y="93"/>
                  </a:lnTo>
                  <a:lnTo>
                    <a:pt x="271" y="90"/>
                  </a:lnTo>
                  <a:lnTo>
                    <a:pt x="271" y="90"/>
                  </a:lnTo>
                  <a:lnTo>
                    <a:pt x="274" y="90"/>
                  </a:lnTo>
                  <a:lnTo>
                    <a:pt x="274" y="88"/>
                  </a:lnTo>
                  <a:lnTo>
                    <a:pt x="274" y="88"/>
                  </a:lnTo>
                  <a:lnTo>
                    <a:pt x="276" y="88"/>
                  </a:lnTo>
                  <a:lnTo>
                    <a:pt x="278" y="88"/>
                  </a:lnTo>
                  <a:lnTo>
                    <a:pt x="281" y="88"/>
                  </a:lnTo>
                  <a:lnTo>
                    <a:pt x="281" y="88"/>
                  </a:lnTo>
                  <a:lnTo>
                    <a:pt x="281" y="88"/>
                  </a:lnTo>
                  <a:lnTo>
                    <a:pt x="285" y="88"/>
                  </a:lnTo>
                  <a:lnTo>
                    <a:pt x="285" y="88"/>
                  </a:lnTo>
                  <a:lnTo>
                    <a:pt x="285" y="88"/>
                  </a:lnTo>
                  <a:lnTo>
                    <a:pt x="288" y="85"/>
                  </a:lnTo>
                  <a:lnTo>
                    <a:pt x="288" y="83"/>
                  </a:lnTo>
                  <a:lnTo>
                    <a:pt x="290" y="85"/>
                  </a:lnTo>
                  <a:lnTo>
                    <a:pt x="290" y="85"/>
                  </a:lnTo>
                  <a:lnTo>
                    <a:pt x="292" y="88"/>
                  </a:lnTo>
                  <a:lnTo>
                    <a:pt x="292" y="90"/>
                  </a:lnTo>
                  <a:lnTo>
                    <a:pt x="295" y="90"/>
                  </a:lnTo>
                  <a:lnTo>
                    <a:pt x="297" y="88"/>
                  </a:lnTo>
                  <a:lnTo>
                    <a:pt x="300" y="88"/>
                  </a:lnTo>
                  <a:lnTo>
                    <a:pt x="300" y="88"/>
                  </a:lnTo>
                  <a:lnTo>
                    <a:pt x="302" y="85"/>
                  </a:lnTo>
                  <a:lnTo>
                    <a:pt x="304" y="85"/>
                  </a:lnTo>
                  <a:lnTo>
                    <a:pt x="304" y="83"/>
                  </a:lnTo>
                  <a:lnTo>
                    <a:pt x="307" y="83"/>
                  </a:lnTo>
                  <a:lnTo>
                    <a:pt x="309" y="83"/>
                  </a:lnTo>
                  <a:lnTo>
                    <a:pt x="311" y="83"/>
                  </a:lnTo>
                  <a:lnTo>
                    <a:pt x="311" y="83"/>
                  </a:lnTo>
                  <a:lnTo>
                    <a:pt x="311" y="83"/>
                  </a:lnTo>
                  <a:lnTo>
                    <a:pt x="314" y="83"/>
                  </a:lnTo>
                  <a:lnTo>
                    <a:pt x="314" y="85"/>
                  </a:lnTo>
                  <a:lnTo>
                    <a:pt x="314" y="88"/>
                  </a:lnTo>
                  <a:lnTo>
                    <a:pt x="316" y="88"/>
                  </a:lnTo>
                  <a:lnTo>
                    <a:pt x="316" y="88"/>
                  </a:lnTo>
                  <a:lnTo>
                    <a:pt x="318" y="88"/>
                  </a:lnTo>
                  <a:lnTo>
                    <a:pt x="318" y="85"/>
                  </a:lnTo>
                  <a:lnTo>
                    <a:pt x="321" y="85"/>
                  </a:lnTo>
                  <a:lnTo>
                    <a:pt x="321" y="85"/>
                  </a:lnTo>
                  <a:lnTo>
                    <a:pt x="323" y="85"/>
                  </a:lnTo>
                  <a:lnTo>
                    <a:pt x="323" y="85"/>
                  </a:lnTo>
                  <a:lnTo>
                    <a:pt x="326" y="88"/>
                  </a:lnTo>
                  <a:lnTo>
                    <a:pt x="328" y="88"/>
                  </a:lnTo>
                  <a:lnTo>
                    <a:pt x="328" y="90"/>
                  </a:lnTo>
                  <a:lnTo>
                    <a:pt x="330" y="90"/>
                  </a:lnTo>
                  <a:lnTo>
                    <a:pt x="330" y="90"/>
                  </a:lnTo>
                  <a:lnTo>
                    <a:pt x="333" y="90"/>
                  </a:lnTo>
                  <a:lnTo>
                    <a:pt x="333" y="93"/>
                  </a:lnTo>
                  <a:lnTo>
                    <a:pt x="337" y="93"/>
                  </a:lnTo>
                  <a:lnTo>
                    <a:pt x="337" y="90"/>
                  </a:lnTo>
                  <a:lnTo>
                    <a:pt x="340" y="90"/>
                  </a:lnTo>
                  <a:lnTo>
                    <a:pt x="340" y="90"/>
                  </a:lnTo>
                  <a:lnTo>
                    <a:pt x="342" y="90"/>
                  </a:lnTo>
                  <a:lnTo>
                    <a:pt x="344" y="90"/>
                  </a:lnTo>
                  <a:lnTo>
                    <a:pt x="344" y="90"/>
                  </a:lnTo>
                  <a:lnTo>
                    <a:pt x="347" y="93"/>
                  </a:lnTo>
                  <a:lnTo>
                    <a:pt x="347" y="93"/>
                  </a:lnTo>
                  <a:lnTo>
                    <a:pt x="347" y="93"/>
                  </a:lnTo>
                  <a:lnTo>
                    <a:pt x="349" y="93"/>
                  </a:lnTo>
                  <a:lnTo>
                    <a:pt x="349" y="95"/>
                  </a:lnTo>
                  <a:lnTo>
                    <a:pt x="349" y="97"/>
                  </a:lnTo>
                  <a:lnTo>
                    <a:pt x="352" y="97"/>
                  </a:lnTo>
                  <a:lnTo>
                    <a:pt x="352" y="97"/>
                  </a:lnTo>
                  <a:lnTo>
                    <a:pt x="352" y="97"/>
                  </a:lnTo>
                  <a:lnTo>
                    <a:pt x="354" y="97"/>
                  </a:lnTo>
                  <a:lnTo>
                    <a:pt x="356" y="97"/>
                  </a:lnTo>
                  <a:lnTo>
                    <a:pt x="356" y="97"/>
                  </a:lnTo>
                  <a:lnTo>
                    <a:pt x="356" y="97"/>
                  </a:lnTo>
                  <a:lnTo>
                    <a:pt x="356" y="97"/>
                  </a:lnTo>
                  <a:lnTo>
                    <a:pt x="356" y="97"/>
                  </a:lnTo>
                  <a:lnTo>
                    <a:pt x="359" y="97"/>
                  </a:lnTo>
                  <a:lnTo>
                    <a:pt x="361" y="97"/>
                  </a:lnTo>
                  <a:lnTo>
                    <a:pt x="361" y="97"/>
                  </a:lnTo>
                  <a:lnTo>
                    <a:pt x="361" y="97"/>
                  </a:lnTo>
                  <a:lnTo>
                    <a:pt x="363" y="97"/>
                  </a:lnTo>
                  <a:lnTo>
                    <a:pt x="363" y="97"/>
                  </a:lnTo>
                  <a:lnTo>
                    <a:pt x="368" y="100"/>
                  </a:lnTo>
                  <a:lnTo>
                    <a:pt x="368" y="100"/>
                  </a:lnTo>
                  <a:lnTo>
                    <a:pt x="368" y="100"/>
                  </a:lnTo>
                  <a:lnTo>
                    <a:pt x="370" y="97"/>
                  </a:lnTo>
                  <a:lnTo>
                    <a:pt x="370" y="97"/>
                  </a:lnTo>
                  <a:lnTo>
                    <a:pt x="373" y="97"/>
                  </a:lnTo>
                  <a:lnTo>
                    <a:pt x="375" y="95"/>
                  </a:lnTo>
                  <a:lnTo>
                    <a:pt x="378" y="93"/>
                  </a:lnTo>
                  <a:lnTo>
                    <a:pt x="380" y="93"/>
                  </a:lnTo>
                  <a:lnTo>
                    <a:pt x="380" y="90"/>
                  </a:lnTo>
                  <a:lnTo>
                    <a:pt x="378" y="88"/>
                  </a:lnTo>
                  <a:lnTo>
                    <a:pt x="378" y="85"/>
                  </a:lnTo>
                  <a:lnTo>
                    <a:pt x="375" y="85"/>
                  </a:lnTo>
                  <a:lnTo>
                    <a:pt x="378" y="83"/>
                  </a:lnTo>
                  <a:lnTo>
                    <a:pt x="375" y="78"/>
                  </a:lnTo>
                  <a:lnTo>
                    <a:pt x="375" y="78"/>
                  </a:lnTo>
                  <a:lnTo>
                    <a:pt x="375" y="78"/>
                  </a:lnTo>
                  <a:lnTo>
                    <a:pt x="378" y="78"/>
                  </a:lnTo>
                  <a:lnTo>
                    <a:pt x="378" y="78"/>
                  </a:lnTo>
                  <a:lnTo>
                    <a:pt x="378" y="78"/>
                  </a:lnTo>
                  <a:lnTo>
                    <a:pt x="378" y="76"/>
                  </a:lnTo>
                  <a:lnTo>
                    <a:pt x="378" y="76"/>
                  </a:lnTo>
                  <a:lnTo>
                    <a:pt x="378" y="74"/>
                  </a:lnTo>
                  <a:lnTo>
                    <a:pt x="380" y="74"/>
                  </a:lnTo>
                  <a:lnTo>
                    <a:pt x="380" y="71"/>
                  </a:lnTo>
                  <a:lnTo>
                    <a:pt x="378" y="71"/>
                  </a:lnTo>
                  <a:lnTo>
                    <a:pt x="375" y="69"/>
                  </a:lnTo>
                  <a:lnTo>
                    <a:pt x="375" y="69"/>
                  </a:lnTo>
                  <a:lnTo>
                    <a:pt x="375" y="67"/>
                  </a:lnTo>
                  <a:lnTo>
                    <a:pt x="375" y="67"/>
                  </a:lnTo>
                  <a:lnTo>
                    <a:pt x="373" y="64"/>
                  </a:lnTo>
                  <a:lnTo>
                    <a:pt x="370" y="67"/>
                  </a:lnTo>
                  <a:lnTo>
                    <a:pt x="370" y="64"/>
                  </a:lnTo>
                  <a:lnTo>
                    <a:pt x="370" y="62"/>
                  </a:lnTo>
                  <a:lnTo>
                    <a:pt x="370" y="62"/>
                  </a:lnTo>
                  <a:lnTo>
                    <a:pt x="370" y="62"/>
                  </a:lnTo>
                  <a:lnTo>
                    <a:pt x="368" y="59"/>
                  </a:lnTo>
                  <a:lnTo>
                    <a:pt x="368" y="59"/>
                  </a:lnTo>
                  <a:lnTo>
                    <a:pt x="368" y="59"/>
                  </a:lnTo>
                  <a:lnTo>
                    <a:pt x="368" y="59"/>
                  </a:lnTo>
                  <a:lnTo>
                    <a:pt x="366" y="55"/>
                  </a:lnTo>
                  <a:lnTo>
                    <a:pt x="366" y="55"/>
                  </a:lnTo>
                  <a:lnTo>
                    <a:pt x="361" y="55"/>
                  </a:lnTo>
                  <a:lnTo>
                    <a:pt x="361" y="55"/>
                  </a:lnTo>
                  <a:lnTo>
                    <a:pt x="361" y="52"/>
                  </a:lnTo>
                  <a:lnTo>
                    <a:pt x="359" y="52"/>
                  </a:lnTo>
                  <a:lnTo>
                    <a:pt x="359" y="52"/>
                  </a:lnTo>
                  <a:lnTo>
                    <a:pt x="361" y="52"/>
                  </a:lnTo>
                  <a:lnTo>
                    <a:pt x="361" y="50"/>
                  </a:lnTo>
                  <a:lnTo>
                    <a:pt x="361" y="50"/>
                  </a:lnTo>
                  <a:lnTo>
                    <a:pt x="361" y="50"/>
                  </a:lnTo>
                  <a:lnTo>
                    <a:pt x="361" y="48"/>
                  </a:lnTo>
                  <a:lnTo>
                    <a:pt x="361" y="48"/>
                  </a:lnTo>
                  <a:lnTo>
                    <a:pt x="359" y="48"/>
                  </a:lnTo>
                  <a:lnTo>
                    <a:pt x="359" y="45"/>
                  </a:lnTo>
                  <a:lnTo>
                    <a:pt x="356" y="45"/>
                  </a:lnTo>
                  <a:lnTo>
                    <a:pt x="356" y="45"/>
                  </a:lnTo>
                  <a:lnTo>
                    <a:pt x="354" y="45"/>
                  </a:lnTo>
                  <a:lnTo>
                    <a:pt x="352" y="45"/>
                  </a:lnTo>
                  <a:lnTo>
                    <a:pt x="352" y="45"/>
                  </a:lnTo>
                  <a:lnTo>
                    <a:pt x="352" y="43"/>
                  </a:lnTo>
                  <a:lnTo>
                    <a:pt x="349" y="43"/>
                  </a:lnTo>
                  <a:lnTo>
                    <a:pt x="349" y="43"/>
                  </a:lnTo>
                  <a:lnTo>
                    <a:pt x="352" y="41"/>
                  </a:lnTo>
                  <a:lnTo>
                    <a:pt x="352" y="41"/>
                  </a:lnTo>
                  <a:lnTo>
                    <a:pt x="352" y="38"/>
                  </a:lnTo>
                  <a:lnTo>
                    <a:pt x="352" y="36"/>
                  </a:lnTo>
                  <a:lnTo>
                    <a:pt x="354" y="36"/>
                  </a:lnTo>
                  <a:lnTo>
                    <a:pt x="356" y="36"/>
                  </a:lnTo>
                  <a:lnTo>
                    <a:pt x="356" y="33"/>
                  </a:lnTo>
                  <a:lnTo>
                    <a:pt x="354" y="33"/>
                  </a:lnTo>
                  <a:lnTo>
                    <a:pt x="356" y="31"/>
                  </a:lnTo>
                  <a:lnTo>
                    <a:pt x="356" y="31"/>
                  </a:lnTo>
                  <a:lnTo>
                    <a:pt x="356" y="29"/>
                  </a:lnTo>
                  <a:lnTo>
                    <a:pt x="356" y="29"/>
                  </a:lnTo>
                  <a:lnTo>
                    <a:pt x="356" y="29"/>
                  </a:lnTo>
                  <a:lnTo>
                    <a:pt x="356" y="29"/>
                  </a:lnTo>
                  <a:lnTo>
                    <a:pt x="359" y="29"/>
                  </a:lnTo>
                  <a:lnTo>
                    <a:pt x="359" y="31"/>
                  </a:lnTo>
                  <a:lnTo>
                    <a:pt x="359" y="33"/>
                  </a:lnTo>
                  <a:lnTo>
                    <a:pt x="361" y="33"/>
                  </a:lnTo>
                  <a:lnTo>
                    <a:pt x="363" y="33"/>
                  </a:lnTo>
                  <a:lnTo>
                    <a:pt x="363" y="33"/>
                  </a:lnTo>
                  <a:lnTo>
                    <a:pt x="363" y="33"/>
                  </a:lnTo>
                  <a:lnTo>
                    <a:pt x="363" y="31"/>
                  </a:lnTo>
                  <a:lnTo>
                    <a:pt x="363" y="31"/>
                  </a:lnTo>
                  <a:lnTo>
                    <a:pt x="363" y="31"/>
                  </a:lnTo>
                  <a:lnTo>
                    <a:pt x="361" y="31"/>
                  </a:lnTo>
                  <a:lnTo>
                    <a:pt x="361" y="29"/>
                  </a:lnTo>
                  <a:lnTo>
                    <a:pt x="363" y="26"/>
                  </a:lnTo>
                  <a:lnTo>
                    <a:pt x="363" y="26"/>
                  </a:lnTo>
                  <a:lnTo>
                    <a:pt x="366" y="24"/>
                  </a:lnTo>
                  <a:lnTo>
                    <a:pt x="366" y="24"/>
                  </a:lnTo>
                  <a:lnTo>
                    <a:pt x="366" y="24"/>
                  </a:lnTo>
                  <a:lnTo>
                    <a:pt x="368" y="22"/>
                  </a:lnTo>
                  <a:lnTo>
                    <a:pt x="368" y="22"/>
                  </a:lnTo>
                  <a:lnTo>
                    <a:pt x="368" y="19"/>
                  </a:lnTo>
                  <a:lnTo>
                    <a:pt x="368" y="19"/>
                  </a:lnTo>
                  <a:lnTo>
                    <a:pt x="368" y="19"/>
                  </a:lnTo>
                  <a:lnTo>
                    <a:pt x="366" y="19"/>
                  </a:lnTo>
                  <a:lnTo>
                    <a:pt x="366" y="19"/>
                  </a:lnTo>
                  <a:lnTo>
                    <a:pt x="366" y="17"/>
                  </a:lnTo>
                  <a:lnTo>
                    <a:pt x="368" y="17"/>
                  </a:lnTo>
                  <a:lnTo>
                    <a:pt x="368" y="15"/>
                  </a:lnTo>
                  <a:lnTo>
                    <a:pt x="368" y="15"/>
                  </a:lnTo>
                  <a:lnTo>
                    <a:pt x="370" y="12"/>
                  </a:lnTo>
                  <a:lnTo>
                    <a:pt x="368" y="12"/>
                  </a:lnTo>
                  <a:lnTo>
                    <a:pt x="368" y="10"/>
                  </a:lnTo>
                  <a:lnTo>
                    <a:pt x="368" y="10"/>
                  </a:lnTo>
                  <a:lnTo>
                    <a:pt x="370" y="7"/>
                  </a:lnTo>
                  <a:lnTo>
                    <a:pt x="370" y="7"/>
                  </a:lnTo>
                  <a:lnTo>
                    <a:pt x="375" y="7"/>
                  </a:lnTo>
                  <a:lnTo>
                    <a:pt x="378" y="7"/>
                  </a:lnTo>
                  <a:lnTo>
                    <a:pt x="378" y="10"/>
                  </a:lnTo>
                  <a:lnTo>
                    <a:pt x="378" y="10"/>
                  </a:lnTo>
                  <a:lnTo>
                    <a:pt x="380" y="10"/>
                  </a:lnTo>
                  <a:lnTo>
                    <a:pt x="380" y="10"/>
                  </a:lnTo>
                  <a:lnTo>
                    <a:pt x="382" y="12"/>
                  </a:lnTo>
                  <a:lnTo>
                    <a:pt x="382" y="15"/>
                  </a:lnTo>
                  <a:lnTo>
                    <a:pt x="382" y="15"/>
                  </a:lnTo>
                  <a:lnTo>
                    <a:pt x="385" y="15"/>
                  </a:lnTo>
                  <a:lnTo>
                    <a:pt x="385" y="15"/>
                  </a:lnTo>
                  <a:lnTo>
                    <a:pt x="385" y="17"/>
                  </a:lnTo>
                  <a:lnTo>
                    <a:pt x="387" y="17"/>
                  </a:lnTo>
                  <a:lnTo>
                    <a:pt x="394" y="17"/>
                  </a:lnTo>
                  <a:lnTo>
                    <a:pt x="394" y="17"/>
                  </a:lnTo>
                  <a:lnTo>
                    <a:pt x="396" y="17"/>
                  </a:lnTo>
                  <a:lnTo>
                    <a:pt x="396" y="19"/>
                  </a:lnTo>
                  <a:lnTo>
                    <a:pt x="396" y="19"/>
                  </a:lnTo>
                  <a:lnTo>
                    <a:pt x="396" y="22"/>
                  </a:lnTo>
                  <a:lnTo>
                    <a:pt x="399" y="24"/>
                  </a:lnTo>
                  <a:lnTo>
                    <a:pt x="403" y="24"/>
                  </a:lnTo>
                  <a:lnTo>
                    <a:pt x="403" y="24"/>
                  </a:lnTo>
                  <a:lnTo>
                    <a:pt x="406" y="22"/>
                  </a:lnTo>
                  <a:lnTo>
                    <a:pt x="408" y="24"/>
                  </a:lnTo>
                  <a:lnTo>
                    <a:pt x="411" y="22"/>
                  </a:lnTo>
                  <a:lnTo>
                    <a:pt x="413" y="24"/>
                  </a:lnTo>
                  <a:lnTo>
                    <a:pt x="413" y="24"/>
                  </a:lnTo>
                  <a:lnTo>
                    <a:pt x="415" y="22"/>
                  </a:lnTo>
                  <a:lnTo>
                    <a:pt x="415" y="22"/>
                  </a:lnTo>
                  <a:lnTo>
                    <a:pt x="418" y="22"/>
                  </a:lnTo>
                  <a:lnTo>
                    <a:pt x="418" y="19"/>
                  </a:lnTo>
                  <a:lnTo>
                    <a:pt x="420" y="22"/>
                  </a:lnTo>
                  <a:lnTo>
                    <a:pt x="420" y="19"/>
                  </a:lnTo>
                  <a:lnTo>
                    <a:pt x="422" y="22"/>
                  </a:lnTo>
                  <a:lnTo>
                    <a:pt x="425" y="22"/>
                  </a:lnTo>
                  <a:lnTo>
                    <a:pt x="427" y="22"/>
                  </a:lnTo>
                  <a:lnTo>
                    <a:pt x="427" y="19"/>
                  </a:lnTo>
                  <a:lnTo>
                    <a:pt x="429" y="19"/>
                  </a:lnTo>
                  <a:lnTo>
                    <a:pt x="432" y="19"/>
                  </a:lnTo>
                  <a:lnTo>
                    <a:pt x="439" y="19"/>
                  </a:lnTo>
                  <a:lnTo>
                    <a:pt x="444" y="24"/>
                  </a:lnTo>
                  <a:lnTo>
                    <a:pt x="451" y="19"/>
                  </a:lnTo>
                  <a:lnTo>
                    <a:pt x="448" y="15"/>
                  </a:lnTo>
                  <a:lnTo>
                    <a:pt x="453" y="10"/>
                  </a:lnTo>
                  <a:lnTo>
                    <a:pt x="458" y="10"/>
                  </a:lnTo>
                  <a:lnTo>
                    <a:pt x="465" y="12"/>
                  </a:lnTo>
                  <a:lnTo>
                    <a:pt x="467" y="10"/>
                  </a:lnTo>
                  <a:lnTo>
                    <a:pt x="472" y="5"/>
                  </a:lnTo>
                  <a:lnTo>
                    <a:pt x="479" y="3"/>
                  </a:lnTo>
                  <a:lnTo>
                    <a:pt x="481" y="7"/>
                  </a:lnTo>
                  <a:lnTo>
                    <a:pt x="486" y="5"/>
                  </a:lnTo>
                  <a:lnTo>
                    <a:pt x="493" y="0"/>
                  </a:lnTo>
                  <a:lnTo>
                    <a:pt x="500" y="0"/>
                  </a:lnTo>
                  <a:lnTo>
                    <a:pt x="503" y="10"/>
                  </a:lnTo>
                  <a:lnTo>
                    <a:pt x="505" y="12"/>
                  </a:lnTo>
                  <a:lnTo>
                    <a:pt x="510" y="19"/>
                  </a:lnTo>
                  <a:lnTo>
                    <a:pt x="510" y="22"/>
                  </a:lnTo>
                  <a:lnTo>
                    <a:pt x="510" y="24"/>
                  </a:lnTo>
                  <a:lnTo>
                    <a:pt x="510" y="24"/>
                  </a:lnTo>
                  <a:lnTo>
                    <a:pt x="512" y="24"/>
                  </a:lnTo>
                  <a:lnTo>
                    <a:pt x="517" y="33"/>
                  </a:lnTo>
                  <a:lnTo>
                    <a:pt x="519" y="33"/>
                  </a:lnTo>
                  <a:lnTo>
                    <a:pt x="519" y="36"/>
                  </a:lnTo>
                  <a:lnTo>
                    <a:pt x="519" y="36"/>
                  </a:lnTo>
                  <a:lnTo>
                    <a:pt x="517" y="38"/>
                  </a:lnTo>
                  <a:lnTo>
                    <a:pt x="519" y="41"/>
                  </a:lnTo>
                  <a:lnTo>
                    <a:pt x="517" y="41"/>
                  </a:lnTo>
                  <a:lnTo>
                    <a:pt x="517" y="43"/>
                  </a:lnTo>
                  <a:lnTo>
                    <a:pt x="519" y="45"/>
                  </a:lnTo>
                  <a:lnTo>
                    <a:pt x="522" y="48"/>
                  </a:lnTo>
                  <a:lnTo>
                    <a:pt x="522" y="50"/>
                  </a:lnTo>
                  <a:lnTo>
                    <a:pt x="524" y="50"/>
                  </a:lnTo>
                  <a:lnTo>
                    <a:pt x="524" y="50"/>
                  </a:lnTo>
                  <a:lnTo>
                    <a:pt x="524" y="52"/>
                  </a:lnTo>
                  <a:lnTo>
                    <a:pt x="524" y="52"/>
                  </a:lnTo>
                  <a:lnTo>
                    <a:pt x="524" y="55"/>
                  </a:lnTo>
                  <a:lnTo>
                    <a:pt x="522" y="55"/>
                  </a:lnTo>
                  <a:lnTo>
                    <a:pt x="522" y="55"/>
                  </a:lnTo>
                  <a:lnTo>
                    <a:pt x="522" y="57"/>
                  </a:lnTo>
                  <a:lnTo>
                    <a:pt x="519" y="57"/>
                  </a:lnTo>
                  <a:lnTo>
                    <a:pt x="519" y="59"/>
                  </a:lnTo>
                  <a:lnTo>
                    <a:pt x="517" y="59"/>
                  </a:lnTo>
                  <a:lnTo>
                    <a:pt x="519" y="59"/>
                  </a:lnTo>
                  <a:lnTo>
                    <a:pt x="517" y="62"/>
                  </a:lnTo>
                  <a:lnTo>
                    <a:pt x="519" y="64"/>
                  </a:lnTo>
                  <a:lnTo>
                    <a:pt x="517" y="64"/>
                  </a:lnTo>
                  <a:lnTo>
                    <a:pt x="517" y="69"/>
                  </a:lnTo>
                  <a:lnTo>
                    <a:pt x="517" y="69"/>
                  </a:lnTo>
                  <a:lnTo>
                    <a:pt x="517" y="69"/>
                  </a:lnTo>
                  <a:lnTo>
                    <a:pt x="517" y="71"/>
                  </a:lnTo>
                  <a:lnTo>
                    <a:pt x="517" y="71"/>
                  </a:lnTo>
                  <a:lnTo>
                    <a:pt x="519" y="74"/>
                  </a:lnTo>
                  <a:lnTo>
                    <a:pt x="519" y="76"/>
                  </a:lnTo>
                  <a:lnTo>
                    <a:pt x="522" y="76"/>
                  </a:lnTo>
                  <a:lnTo>
                    <a:pt x="522" y="78"/>
                  </a:lnTo>
                  <a:lnTo>
                    <a:pt x="524" y="78"/>
                  </a:lnTo>
                  <a:lnTo>
                    <a:pt x="522" y="81"/>
                  </a:lnTo>
                  <a:lnTo>
                    <a:pt x="524" y="81"/>
                  </a:lnTo>
                  <a:lnTo>
                    <a:pt x="524" y="81"/>
                  </a:lnTo>
                  <a:lnTo>
                    <a:pt x="524" y="81"/>
                  </a:lnTo>
                  <a:lnTo>
                    <a:pt x="524" y="83"/>
                  </a:lnTo>
                  <a:lnTo>
                    <a:pt x="524" y="83"/>
                  </a:lnTo>
                  <a:lnTo>
                    <a:pt x="524" y="83"/>
                  </a:lnTo>
                  <a:lnTo>
                    <a:pt x="524" y="85"/>
                  </a:lnTo>
                  <a:lnTo>
                    <a:pt x="522" y="85"/>
                  </a:lnTo>
                  <a:lnTo>
                    <a:pt x="524" y="90"/>
                  </a:lnTo>
                  <a:lnTo>
                    <a:pt x="524" y="90"/>
                  </a:lnTo>
                  <a:lnTo>
                    <a:pt x="524" y="90"/>
                  </a:lnTo>
                  <a:lnTo>
                    <a:pt x="524" y="93"/>
                  </a:lnTo>
                  <a:lnTo>
                    <a:pt x="524" y="93"/>
                  </a:lnTo>
                  <a:lnTo>
                    <a:pt x="524" y="97"/>
                  </a:lnTo>
                  <a:lnTo>
                    <a:pt x="526" y="97"/>
                  </a:lnTo>
                  <a:lnTo>
                    <a:pt x="526" y="100"/>
                  </a:lnTo>
                  <a:lnTo>
                    <a:pt x="526" y="100"/>
                  </a:lnTo>
                  <a:lnTo>
                    <a:pt x="526" y="100"/>
                  </a:lnTo>
                  <a:lnTo>
                    <a:pt x="524" y="102"/>
                  </a:lnTo>
                  <a:lnTo>
                    <a:pt x="526" y="102"/>
                  </a:lnTo>
                  <a:lnTo>
                    <a:pt x="524" y="104"/>
                  </a:lnTo>
                  <a:lnTo>
                    <a:pt x="524" y="104"/>
                  </a:lnTo>
                  <a:lnTo>
                    <a:pt x="526" y="107"/>
                  </a:lnTo>
                  <a:lnTo>
                    <a:pt x="526" y="107"/>
                  </a:lnTo>
                  <a:lnTo>
                    <a:pt x="529" y="107"/>
                  </a:lnTo>
                  <a:lnTo>
                    <a:pt x="531" y="107"/>
                  </a:lnTo>
                  <a:lnTo>
                    <a:pt x="531" y="107"/>
                  </a:lnTo>
                  <a:lnTo>
                    <a:pt x="533" y="107"/>
                  </a:lnTo>
                  <a:lnTo>
                    <a:pt x="533" y="107"/>
                  </a:lnTo>
                  <a:lnTo>
                    <a:pt x="536" y="109"/>
                  </a:lnTo>
                  <a:lnTo>
                    <a:pt x="538" y="107"/>
                  </a:lnTo>
                  <a:lnTo>
                    <a:pt x="538" y="107"/>
                  </a:lnTo>
                  <a:lnTo>
                    <a:pt x="541" y="107"/>
                  </a:lnTo>
                  <a:lnTo>
                    <a:pt x="543" y="107"/>
                  </a:lnTo>
                  <a:lnTo>
                    <a:pt x="543" y="107"/>
                  </a:lnTo>
                  <a:lnTo>
                    <a:pt x="548" y="107"/>
                  </a:lnTo>
                  <a:lnTo>
                    <a:pt x="548" y="107"/>
                  </a:lnTo>
                  <a:lnTo>
                    <a:pt x="548" y="107"/>
                  </a:lnTo>
                  <a:lnTo>
                    <a:pt x="552" y="107"/>
                  </a:lnTo>
                  <a:lnTo>
                    <a:pt x="552" y="109"/>
                  </a:lnTo>
                  <a:lnTo>
                    <a:pt x="555" y="109"/>
                  </a:lnTo>
                  <a:lnTo>
                    <a:pt x="557" y="109"/>
                  </a:lnTo>
                  <a:lnTo>
                    <a:pt x="557" y="109"/>
                  </a:lnTo>
                  <a:lnTo>
                    <a:pt x="557" y="111"/>
                  </a:lnTo>
                  <a:lnTo>
                    <a:pt x="559" y="109"/>
                  </a:lnTo>
                  <a:lnTo>
                    <a:pt x="559" y="109"/>
                  </a:lnTo>
                  <a:lnTo>
                    <a:pt x="562" y="109"/>
                  </a:lnTo>
                  <a:lnTo>
                    <a:pt x="562" y="109"/>
                  </a:lnTo>
                  <a:lnTo>
                    <a:pt x="562" y="109"/>
                  </a:lnTo>
                  <a:lnTo>
                    <a:pt x="566" y="109"/>
                  </a:lnTo>
                  <a:lnTo>
                    <a:pt x="566" y="109"/>
                  </a:lnTo>
                  <a:lnTo>
                    <a:pt x="569" y="109"/>
                  </a:lnTo>
                  <a:lnTo>
                    <a:pt x="569" y="109"/>
                  </a:lnTo>
                  <a:lnTo>
                    <a:pt x="571" y="111"/>
                  </a:lnTo>
                  <a:lnTo>
                    <a:pt x="571" y="109"/>
                  </a:lnTo>
                  <a:lnTo>
                    <a:pt x="576" y="109"/>
                  </a:lnTo>
                  <a:lnTo>
                    <a:pt x="576" y="111"/>
                  </a:lnTo>
                  <a:lnTo>
                    <a:pt x="576" y="111"/>
                  </a:lnTo>
                  <a:lnTo>
                    <a:pt x="576" y="111"/>
                  </a:lnTo>
                  <a:lnTo>
                    <a:pt x="578" y="111"/>
                  </a:lnTo>
                  <a:lnTo>
                    <a:pt x="578" y="111"/>
                  </a:lnTo>
                  <a:lnTo>
                    <a:pt x="578" y="111"/>
                  </a:lnTo>
                  <a:lnTo>
                    <a:pt x="581" y="111"/>
                  </a:lnTo>
                  <a:lnTo>
                    <a:pt x="581" y="111"/>
                  </a:lnTo>
                  <a:lnTo>
                    <a:pt x="581" y="114"/>
                  </a:lnTo>
                  <a:lnTo>
                    <a:pt x="581" y="114"/>
                  </a:lnTo>
                  <a:lnTo>
                    <a:pt x="583" y="114"/>
                  </a:lnTo>
                  <a:lnTo>
                    <a:pt x="583" y="114"/>
                  </a:lnTo>
                  <a:lnTo>
                    <a:pt x="583" y="114"/>
                  </a:lnTo>
                  <a:lnTo>
                    <a:pt x="585" y="114"/>
                  </a:lnTo>
                  <a:lnTo>
                    <a:pt x="585" y="114"/>
                  </a:lnTo>
                  <a:lnTo>
                    <a:pt x="583" y="116"/>
                  </a:lnTo>
                  <a:lnTo>
                    <a:pt x="585" y="116"/>
                  </a:lnTo>
                  <a:lnTo>
                    <a:pt x="585" y="116"/>
                  </a:lnTo>
                  <a:lnTo>
                    <a:pt x="588" y="116"/>
                  </a:lnTo>
                  <a:lnTo>
                    <a:pt x="585" y="116"/>
                  </a:lnTo>
                  <a:lnTo>
                    <a:pt x="588" y="116"/>
                  </a:lnTo>
                  <a:lnTo>
                    <a:pt x="585" y="119"/>
                  </a:lnTo>
                  <a:lnTo>
                    <a:pt x="588" y="119"/>
                  </a:lnTo>
                  <a:lnTo>
                    <a:pt x="588" y="119"/>
                  </a:lnTo>
                  <a:lnTo>
                    <a:pt x="588" y="119"/>
                  </a:lnTo>
                  <a:lnTo>
                    <a:pt x="590" y="119"/>
                  </a:lnTo>
                  <a:lnTo>
                    <a:pt x="590" y="119"/>
                  </a:lnTo>
                  <a:lnTo>
                    <a:pt x="590" y="121"/>
                  </a:lnTo>
                  <a:lnTo>
                    <a:pt x="592" y="123"/>
                  </a:lnTo>
                  <a:lnTo>
                    <a:pt x="595" y="123"/>
                  </a:lnTo>
                  <a:lnTo>
                    <a:pt x="595" y="126"/>
                  </a:lnTo>
                  <a:lnTo>
                    <a:pt x="597" y="126"/>
                  </a:lnTo>
                  <a:lnTo>
                    <a:pt x="597" y="123"/>
                  </a:lnTo>
                  <a:lnTo>
                    <a:pt x="597" y="123"/>
                  </a:lnTo>
                  <a:lnTo>
                    <a:pt x="597" y="123"/>
                  </a:lnTo>
                  <a:lnTo>
                    <a:pt x="597" y="123"/>
                  </a:lnTo>
                  <a:lnTo>
                    <a:pt x="600" y="123"/>
                  </a:lnTo>
                  <a:lnTo>
                    <a:pt x="600" y="123"/>
                  </a:lnTo>
                  <a:lnTo>
                    <a:pt x="602" y="126"/>
                  </a:lnTo>
                  <a:lnTo>
                    <a:pt x="602" y="123"/>
                  </a:lnTo>
                  <a:lnTo>
                    <a:pt x="602" y="126"/>
                  </a:lnTo>
                  <a:lnTo>
                    <a:pt x="602" y="126"/>
                  </a:lnTo>
                  <a:lnTo>
                    <a:pt x="604" y="126"/>
                  </a:lnTo>
                  <a:lnTo>
                    <a:pt x="604" y="128"/>
                  </a:lnTo>
                  <a:lnTo>
                    <a:pt x="604" y="128"/>
                  </a:lnTo>
                  <a:lnTo>
                    <a:pt x="604" y="130"/>
                  </a:lnTo>
                  <a:lnTo>
                    <a:pt x="604" y="130"/>
                  </a:lnTo>
                  <a:lnTo>
                    <a:pt x="604" y="130"/>
                  </a:lnTo>
                  <a:lnTo>
                    <a:pt x="604" y="130"/>
                  </a:lnTo>
                  <a:lnTo>
                    <a:pt x="607" y="133"/>
                  </a:lnTo>
                  <a:lnTo>
                    <a:pt x="607" y="133"/>
                  </a:lnTo>
                  <a:lnTo>
                    <a:pt x="607" y="130"/>
                  </a:lnTo>
                  <a:lnTo>
                    <a:pt x="607" y="133"/>
                  </a:lnTo>
                  <a:lnTo>
                    <a:pt x="607" y="133"/>
                  </a:lnTo>
                  <a:lnTo>
                    <a:pt x="607" y="135"/>
                  </a:lnTo>
                  <a:lnTo>
                    <a:pt x="607" y="135"/>
                  </a:lnTo>
                  <a:lnTo>
                    <a:pt x="609" y="135"/>
                  </a:lnTo>
                  <a:lnTo>
                    <a:pt x="609" y="140"/>
                  </a:lnTo>
                  <a:lnTo>
                    <a:pt x="609" y="142"/>
                  </a:lnTo>
                  <a:lnTo>
                    <a:pt x="609" y="142"/>
                  </a:lnTo>
                  <a:lnTo>
                    <a:pt x="609" y="144"/>
                  </a:lnTo>
                  <a:lnTo>
                    <a:pt x="609" y="144"/>
                  </a:lnTo>
                  <a:lnTo>
                    <a:pt x="611" y="144"/>
                  </a:lnTo>
                  <a:lnTo>
                    <a:pt x="609" y="144"/>
                  </a:lnTo>
                  <a:lnTo>
                    <a:pt x="611" y="142"/>
                  </a:lnTo>
                  <a:lnTo>
                    <a:pt x="614" y="144"/>
                  </a:lnTo>
                  <a:lnTo>
                    <a:pt x="614" y="144"/>
                  </a:lnTo>
                  <a:lnTo>
                    <a:pt x="616" y="142"/>
                  </a:lnTo>
                  <a:lnTo>
                    <a:pt x="616" y="142"/>
                  </a:lnTo>
                  <a:lnTo>
                    <a:pt x="618" y="142"/>
                  </a:lnTo>
                  <a:lnTo>
                    <a:pt x="616" y="142"/>
                  </a:lnTo>
                  <a:lnTo>
                    <a:pt x="618" y="142"/>
                  </a:lnTo>
                  <a:lnTo>
                    <a:pt x="618" y="140"/>
                  </a:lnTo>
                  <a:lnTo>
                    <a:pt x="621" y="142"/>
                  </a:lnTo>
                  <a:lnTo>
                    <a:pt x="621" y="144"/>
                  </a:lnTo>
                  <a:lnTo>
                    <a:pt x="621" y="147"/>
                  </a:lnTo>
                  <a:lnTo>
                    <a:pt x="623" y="144"/>
                  </a:lnTo>
                  <a:lnTo>
                    <a:pt x="623" y="147"/>
                  </a:lnTo>
                  <a:lnTo>
                    <a:pt x="626" y="144"/>
                  </a:lnTo>
                  <a:lnTo>
                    <a:pt x="626" y="144"/>
                  </a:lnTo>
                  <a:lnTo>
                    <a:pt x="626" y="147"/>
                  </a:lnTo>
                  <a:lnTo>
                    <a:pt x="628" y="147"/>
                  </a:lnTo>
                  <a:lnTo>
                    <a:pt x="630" y="147"/>
                  </a:lnTo>
                  <a:lnTo>
                    <a:pt x="630" y="147"/>
                  </a:lnTo>
                  <a:lnTo>
                    <a:pt x="630" y="149"/>
                  </a:lnTo>
                  <a:lnTo>
                    <a:pt x="630" y="149"/>
                  </a:lnTo>
                  <a:lnTo>
                    <a:pt x="628" y="152"/>
                  </a:lnTo>
                  <a:lnTo>
                    <a:pt x="628" y="152"/>
                  </a:lnTo>
                  <a:lnTo>
                    <a:pt x="630" y="152"/>
                  </a:lnTo>
                  <a:lnTo>
                    <a:pt x="630" y="152"/>
                  </a:lnTo>
                  <a:lnTo>
                    <a:pt x="630" y="149"/>
                  </a:lnTo>
                  <a:lnTo>
                    <a:pt x="633" y="149"/>
                  </a:lnTo>
                  <a:lnTo>
                    <a:pt x="635" y="152"/>
                  </a:lnTo>
                  <a:lnTo>
                    <a:pt x="635" y="152"/>
                  </a:lnTo>
                  <a:lnTo>
                    <a:pt x="635" y="152"/>
                  </a:lnTo>
                  <a:lnTo>
                    <a:pt x="635" y="154"/>
                  </a:lnTo>
                  <a:lnTo>
                    <a:pt x="635" y="156"/>
                  </a:lnTo>
                  <a:lnTo>
                    <a:pt x="635" y="154"/>
                  </a:lnTo>
                  <a:lnTo>
                    <a:pt x="640" y="156"/>
                  </a:lnTo>
                  <a:lnTo>
                    <a:pt x="640" y="154"/>
                  </a:lnTo>
                  <a:lnTo>
                    <a:pt x="640" y="156"/>
                  </a:lnTo>
                  <a:lnTo>
                    <a:pt x="640" y="156"/>
                  </a:lnTo>
                  <a:lnTo>
                    <a:pt x="640" y="156"/>
                  </a:lnTo>
                  <a:lnTo>
                    <a:pt x="642" y="156"/>
                  </a:lnTo>
                  <a:lnTo>
                    <a:pt x="642" y="156"/>
                  </a:lnTo>
                  <a:lnTo>
                    <a:pt x="644" y="156"/>
                  </a:lnTo>
                  <a:lnTo>
                    <a:pt x="644" y="156"/>
                  </a:lnTo>
                  <a:lnTo>
                    <a:pt x="644" y="156"/>
                  </a:lnTo>
                  <a:lnTo>
                    <a:pt x="642" y="154"/>
                  </a:lnTo>
                  <a:lnTo>
                    <a:pt x="644" y="154"/>
                  </a:lnTo>
                  <a:lnTo>
                    <a:pt x="644" y="154"/>
                  </a:lnTo>
                  <a:lnTo>
                    <a:pt x="647" y="154"/>
                  </a:lnTo>
                  <a:lnTo>
                    <a:pt x="649" y="156"/>
                  </a:lnTo>
                  <a:lnTo>
                    <a:pt x="649" y="156"/>
                  </a:lnTo>
                  <a:lnTo>
                    <a:pt x="649" y="156"/>
                  </a:lnTo>
                  <a:lnTo>
                    <a:pt x="652" y="154"/>
                  </a:lnTo>
                  <a:lnTo>
                    <a:pt x="652" y="156"/>
                  </a:lnTo>
                  <a:lnTo>
                    <a:pt x="654" y="156"/>
                  </a:lnTo>
                  <a:lnTo>
                    <a:pt x="654" y="156"/>
                  </a:lnTo>
                  <a:lnTo>
                    <a:pt x="656" y="154"/>
                  </a:lnTo>
                  <a:lnTo>
                    <a:pt x="656" y="154"/>
                  </a:lnTo>
                  <a:lnTo>
                    <a:pt x="656" y="152"/>
                  </a:lnTo>
                  <a:lnTo>
                    <a:pt x="656" y="152"/>
                  </a:lnTo>
                  <a:lnTo>
                    <a:pt x="659" y="154"/>
                  </a:lnTo>
                  <a:lnTo>
                    <a:pt x="659" y="154"/>
                  </a:lnTo>
                  <a:lnTo>
                    <a:pt x="656" y="156"/>
                  </a:lnTo>
                  <a:lnTo>
                    <a:pt x="659" y="159"/>
                  </a:lnTo>
                  <a:lnTo>
                    <a:pt x="659" y="159"/>
                  </a:lnTo>
                  <a:lnTo>
                    <a:pt x="661" y="156"/>
                  </a:lnTo>
                  <a:lnTo>
                    <a:pt x="661" y="159"/>
                  </a:lnTo>
                  <a:lnTo>
                    <a:pt x="661" y="159"/>
                  </a:lnTo>
                  <a:lnTo>
                    <a:pt x="663" y="159"/>
                  </a:lnTo>
                  <a:lnTo>
                    <a:pt x="663" y="156"/>
                  </a:lnTo>
                  <a:lnTo>
                    <a:pt x="666" y="154"/>
                  </a:lnTo>
                  <a:lnTo>
                    <a:pt x="666" y="156"/>
                  </a:lnTo>
                  <a:lnTo>
                    <a:pt x="666" y="159"/>
                  </a:lnTo>
                  <a:lnTo>
                    <a:pt x="666" y="161"/>
                  </a:lnTo>
                  <a:lnTo>
                    <a:pt x="666" y="161"/>
                  </a:lnTo>
                  <a:lnTo>
                    <a:pt x="663" y="163"/>
                  </a:lnTo>
                  <a:lnTo>
                    <a:pt x="663" y="163"/>
                  </a:lnTo>
                  <a:lnTo>
                    <a:pt x="666" y="163"/>
                  </a:lnTo>
                  <a:lnTo>
                    <a:pt x="668" y="163"/>
                  </a:lnTo>
                  <a:lnTo>
                    <a:pt x="673" y="161"/>
                  </a:lnTo>
                  <a:lnTo>
                    <a:pt x="675" y="163"/>
                  </a:lnTo>
                  <a:lnTo>
                    <a:pt x="675" y="163"/>
                  </a:lnTo>
                  <a:lnTo>
                    <a:pt x="675" y="163"/>
                  </a:lnTo>
                  <a:lnTo>
                    <a:pt x="678" y="163"/>
                  </a:lnTo>
                  <a:lnTo>
                    <a:pt x="680" y="163"/>
                  </a:lnTo>
                  <a:lnTo>
                    <a:pt x="680" y="166"/>
                  </a:lnTo>
                  <a:lnTo>
                    <a:pt x="678" y="166"/>
                  </a:lnTo>
                  <a:lnTo>
                    <a:pt x="678" y="168"/>
                  </a:lnTo>
                  <a:lnTo>
                    <a:pt x="678" y="170"/>
                  </a:lnTo>
                  <a:lnTo>
                    <a:pt x="678" y="170"/>
                  </a:lnTo>
                  <a:lnTo>
                    <a:pt x="680" y="173"/>
                  </a:lnTo>
                  <a:lnTo>
                    <a:pt x="680" y="173"/>
                  </a:lnTo>
                  <a:lnTo>
                    <a:pt x="680" y="175"/>
                  </a:lnTo>
                  <a:lnTo>
                    <a:pt x="678" y="178"/>
                  </a:lnTo>
                  <a:lnTo>
                    <a:pt x="678" y="180"/>
                  </a:lnTo>
                  <a:lnTo>
                    <a:pt x="680" y="180"/>
                  </a:lnTo>
                  <a:lnTo>
                    <a:pt x="680" y="180"/>
                  </a:lnTo>
                  <a:lnTo>
                    <a:pt x="687" y="178"/>
                  </a:lnTo>
                  <a:lnTo>
                    <a:pt x="692" y="178"/>
                  </a:lnTo>
                  <a:lnTo>
                    <a:pt x="692" y="178"/>
                  </a:lnTo>
                  <a:lnTo>
                    <a:pt x="692" y="175"/>
                  </a:lnTo>
                  <a:lnTo>
                    <a:pt x="694" y="175"/>
                  </a:lnTo>
                  <a:lnTo>
                    <a:pt x="694" y="180"/>
                  </a:lnTo>
                  <a:lnTo>
                    <a:pt x="694" y="182"/>
                  </a:lnTo>
                  <a:lnTo>
                    <a:pt x="696" y="182"/>
                  </a:lnTo>
                  <a:lnTo>
                    <a:pt x="696" y="185"/>
                  </a:lnTo>
                  <a:lnTo>
                    <a:pt x="696" y="187"/>
                  </a:lnTo>
                  <a:lnTo>
                    <a:pt x="696" y="189"/>
                  </a:lnTo>
                  <a:lnTo>
                    <a:pt x="696" y="189"/>
                  </a:lnTo>
                  <a:lnTo>
                    <a:pt x="694" y="189"/>
                  </a:lnTo>
                  <a:lnTo>
                    <a:pt x="692" y="189"/>
                  </a:lnTo>
                  <a:lnTo>
                    <a:pt x="692" y="189"/>
                  </a:lnTo>
                  <a:lnTo>
                    <a:pt x="689" y="189"/>
                  </a:lnTo>
                  <a:lnTo>
                    <a:pt x="689" y="192"/>
                  </a:lnTo>
                  <a:lnTo>
                    <a:pt x="689" y="194"/>
                  </a:lnTo>
                  <a:lnTo>
                    <a:pt x="689" y="199"/>
                  </a:lnTo>
                  <a:lnTo>
                    <a:pt x="689" y="199"/>
                  </a:lnTo>
                  <a:lnTo>
                    <a:pt x="692" y="201"/>
                  </a:lnTo>
                  <a:lnTo>
                    <a:pt x="692" y="201"/>
                  </a:lnTo>
                  <a:lnTo>
                    <a:pt x="692" y="201"/>
                  </a:lnTo>
                  <a:lnTo>
                    <a:pt x="694" y="204"/>
                  </a:lnTo>
                  <a:lnTo>
                    <a:pt x="694" y="206"/>
                  </a:lnTo>
                  <a:lnTo>
                    <a:pt x="692" y="206"/>
                  </a:lnTo>
                  <a:lnTo>
                    <a:pt x="692" y="206"/>
                  </a:lnTo>
                  <a:lnTo>
                    <a:pt x="694" y="208"/>
                  </a:lnTo>
                  <a:lnTo>
                    <a:pt x="694" y="211"/>
                  </a:lnTo>
                  <a:lnTo>
                    <a:pt x="696" y="211"/>
                  </a:lnTo>
                  <a:lnTo>
                    <a:pt x="696" y="215"/>
                  </a:lnTo>
                  <a:lnTo>
                    <a:pt x="694" y="215"/>
                  </a:lnTo>
                  <a:lnTo>
                    <a:pt x="696" y="218"/>
                  </a:lnTo>
                  <a:lnTo>
                    <a:pt x="701" y="222"/>
                  </a:lnTo>
                  <a:lnTo>
                    <a:pt x="701" y="222"/>
                  </a:lnTo>
                  <a:lnTo>
                    <a:pt x="708" y="227"/>
                  </a:lnTo>
                  <a:lnTo>
                    <a:pt x="711" y="227"/>
                  </a:lnTo>
                  <a:lnTo>
                    <a:pt x="713" y="232"/>
                  </a:lnTo>
                  <a:lnTo>
                    <a:pt x="715" y="234"/>
                  </a:lnTo>
                  <a:lnTo>
                    <a:pt x="720" y="237"/>
                  </a:lnTo>
                  <a:lnTo>
                    <a:pt x="722" y="237"/>
                  </a:lnTo>
                  <a:lnTo>
                    <a:pt x="722" y="237"/>
                  </a:lnTo>
                  <a:lnTo>
                    <a:pt x="722" y="239"/>
                  </a:lnTo>
                  <a:lnTo>
                    <a:pt x="725" y="241"/>
                  </a:lnTo>
                  <a:lnTo>
                    <a:pt x="727" y="244"/>
                  </a:lnTo>
                  <a:lnTo>
                    <a:pt x="727" y="246"/>
                  </a:lnTo>
                  <a:lnTo>
                    <a:pt x="729" y="248"/>
                  </a:lnTo>
                  <a:lnTo>
                    <a:pt x="729" y="248"/>
                  </a:lnTo>
                  <a:lnTo>
                    <a:pt x="732" y="248"/>
                  </a:lnTo>
                  <a:lnTo>
                    <a:pt x="734" y="248"/>
                  </a:lnTo>
                  <a:lnTo>
                    <a:pt x="734" y="251"/>
                  </a:lnTo>
                  <a:lnTo>
                    <a:pt x="734" y="251"/>
                  </a:lnTo>
                  <a:lnTo>
                    <a:pt x="732" y="256"/>
                  </a:lnTo>
                  <a:lnTo>
                    <a:pt x="729" y="260"/>
                  </a:lnTo>
                  <a:lnTo>
                    <a:pt x="727" y="263"/>
                  </a:lnTo>
                  <a:lnTo>
                    <a:pt x="727" y="265"/>
                  </a:lnTo>
                  <a:lnTo>
                    <a:pt x="729" y="267"/>
                  </a:lnTo>
                  <a:lnTo>
                    <a:pt x="729" y="267"/>
                  </a:lnTo>
                  <a:lnTo>
                    <a:pt x="727" y="270"/>
                  </a:lnTo>
                  <a:lnTo>
                    <a:pt x="727" y="272"/>
                  </a:lnTo>
                  <a:lnTo>
                    <a:pt x="727" y="272"/>
                  </a:lnTo>
                  <a:lnTo>
                    <a:pt x="725" y="274"/>
                  </a:lnTo>
                  <a:lnTo>
                    <a:pt x="727" y="274"/>
                  </a:lnTo>
                  <a:lnTo>
                    <a:pt x="727" y="277"/>
                  </a:lnTo>
                  <a:lnTo>
                    <a:pt x="727" y="281"/>
                  </a:lnTo>
                  <a:lnTo>
                    <a:pt x="727" y="284"/>
                  </a:lnTo>
                  <a:lnTo>
                    <a:pt x="727" y="286"/>
                  </a:lnTo>
                  <a:lnTo>
                    <a:pt x="727" y="286"/>
                  </a:lnTo>
                  <a:lnTo>
                    <a:pt x="725" y="289"/>
                  </a:lnTo>
                  <a:lnTo>
                    <a:pt x="727" y="291"/>
                  </a:lnTo>
                  <a:lnTo>
                    <a:pt x="729" y="293"/>
                  </a:lnTo>
                  <a:lnTo>
                    <a:pt x="729" y="296"/>
                  </a:lnTo>
                  <a:lnTo>
                    <a:pt x="732" y="300"/>
                  </a:lnTo>
                  <a:lnTo>
                    <a:pt x="734" y="300"/>
                  </a:lnTo>
                  <a:lnTo>
                    <a:pt x="737" y="305"/>
                  </a:lnTo>
                  <a:lnTo>
                    <a:pt x="734" y="307"/>
                  </a:lnTo>
                  <a:lnTo>
                    <a:pt x="734" y="310"/>
                  </a:lnTo>
                  <a:lnTo>
                    <a:pt x="734" y="312"/>
                  </a:lnTo>
                  <a:lnTo>
                    <a:pt x="737" y="315"/>
                  </a:lnTo>
                  <a:lnTo>
                    <a:pt x="739" y="317"/>
                  </a:lnTo>
                  <a:lnTo>
                    <a:pt x="741" y="319"/>
                  </a:lnTo>
                  <a:lnTo>
                    <a:pt x="741" y="319"/>
                  </a:lnTo>
                  <a:lnTo>
                    <a:pt x="744" y="322"/>
                  </a:lnTo>
                  <a:lnTo>
                    <a:pt x="744" y="324"/>
                  </a:lnTo>
                  <a:lnTo>
                    <a:pt x="744" y="326"/>
                  </a:lnTo>
                  <a:lnTo>
                    <a:pt x="746" y="326"/>
                  </a:lnTo>
                  <a:lnTo>
                    <a:pt x="746" y="331"/>
                  </a:lnTo>
                  <a:lnTo>
                    <a:pt x="746" y="333"/>
                  </a:lnTo>
                  <a:lnTo>
                    <a:pt x="751" y="336"/>
                  </a:lnTo>
                  <a:lnTo>
                    <a:pt x="751" y="336"/>
                  </a:lnTo>
                  <a:lnTo>
                    <a:pt x="751" y="341"/>
                  </a:lnTo>
                  <a:lnTo>
                    <a:pt x="751" y="345"/>
                  </a:lnTo>
                  <a:lnTo>
                    <a:pt x="753" y="348"/>
                  </a:lnTo>
                  <a:lnTo>
                    <a:pt x="755" y="357"/>
                  </a:lnTo>
                  <a:lnTo>
                    <a:pt x="755" y="357"/>
                  </a:lnTo>
                  <a:lnTo>
                    <a:pt x="760" y="359"/>
                  </a:lnTo>
                  <a:lnTo>
                    <a:pt x="763" y="357"/>
                  </a:lnTo>
                  <a:lnTo>
                    <a:pt x="765" y="359"/>
                  </a:lnTo>
                  <a:lnTo>
                    <a:pt x="767" y="359"/>
                  </a:lnTo>
                  <a:lnTo>
                    <a:pt x="767" y="362"/>
                  </a:lnTo>
                  <a:lnTo>
                    <a:pt x="770" y="364"/>
                  </a:lnTo>
                  <a:lnTo>
                    <a:pt x="779" y="371"/>
                  </a:lnTo>
                  <a:lnTo>
                    <a:pt x="779" y="374"/>
                  </a:lnTo>
                  <a:lnTo>
                    <a:pt x="781" y="376"/>
                  </a:lnTo>
                  <a:lnTo>
                    <a:pt x="784" y="376"/>
                  </a:lnTo>
                  <a:lnTo>
                    <a:pt x="784" y="376"/>
                  </a:lnTo>
                  <a:lnTo>
                    <a:pt x="786" y="378"/>
                  </a:lnTo>
                  <a:lnTo>
                    <a:pt x="789" y="381"/>
                  </a:lnTo>
                  <a:lnTo>
                    <a:pt x="789" y="383"/>
                  </a:lnTo>
                  <a:lnTo>
                    <a:pt x="786" y="388"/>
                  </a:lnTo>
                  <a:lnTo>
                    <a:pt x="786" y="390"/>
                  </a:lnTo>
                  <a:lnTo>
                    <a:pt x="789" y="393"/>
                  </a:lnTo>
                  <a:lnTo>
                    <a:pt x="789" y="395"/>
                  </a:lnTo>
                  <a:lnTo>
                    <a:pt x="784" y="400"/>
                  </a:lnTo>
                  <a:lnTo>
                    <a:pt x="786" y="402"/>
                  </a:lnTo>
                  <a:lnTo>
                    <a:pt x="786" y="404"/>
                  </a:lnTo>
                  <a:lnTo>
                    <a:pt x="789" y="407"/>
                  </a:lnTo>
                  <a:lnTo>
                    <a:pt x="789" y="409"/>
                  </a:lnTo>
                  <a:lnTo>
                    <a:pt x="789" y="409"/>
                  </a:lnTo>
                  <a:lnTo>
                    <a:pt x="789" y="411"/>
                  </a:lnTo>
                  <a:lnTo>
                    <a:pt x="793" y="416"/>
                  </a:lnTo>
                  <a:lnTo>
                    <a:pt x="793" y="416"/>
                  </a:lnTo>
                  <a:lnTo>
                    <a:pt x="796" y="416"/>
                  </a:lnTo>
                  <a:lnTo>
                    <a:pt x="798" y="414"/>
                  </a:lnTo>
                  <a:lnTo>
                    <a:pt x="803" y="414"/>
                  </a:lnTo>
                  <a:lnTo>
                    <a:pt x="807" y="414"/>
                  </a:lnTo>
                  <a:lnTo>
                    <a:pt x="807" y="416"/>
                  </a:lnTo>
                  <a:lnTo>
                    <a:pt x="810" y="421"/>
                  </a:lnTo>
                  <a:lnTo>
                    <a:pt x="810" y="423"/>
                  </a:lnTo>
                  <a:lnTo>
                    <a:pt x="810" y="426"/>
                  </a:lnTo>
                  <a:lnTo>
                    <a:pt x="810" y="426"/>
                  </a:lnTo>
                  <a:lnTo>
                    <a:pt x="810" y="428"/>
                  </a:lnTo>
                  <a:lnTo>
                    <a:pt x="810" y="430"/>
                  </a:lnTo>
                  <a:lnTo>
                    <a:pt x="810" y="433"/>
                  </a:lnTo>
                  <a:lnTo>
                    <a:pt x="810" y="433"/>
                  </a:lnTo>
                  <a:lnTo>
                    <a:pt x="810" y="433"/>
                  </a:lnTo>
                  <a:lnTo>
                    <a:pt x="810" y="435"/>
                  </a:lnTo>
                  <a:lnTo>
                    <a:pt x="810" y="437"/>
                  </a:lnTo>
                  <a:lnTo>
                    <a:pt x="807" y="440"/>
                  </a:lnTo>
                  <a:lnTo>
                    <a:pt x="807" y="442"/>
                  </a:lnTo>
                  <a:lnTo>
                    <a:pt x="807" y="444"/>
                  </a:lnTo>
                  <a:lnTo>
                    <a:pt x="810" y="444"/>
                  </a:lnTo>
                  <a:lnTo>
                    <a:pt x="807" y="449"/>
                  </a:lnTo>
                  <a:lnTo>
                    <a:pt x="805" y="452"/>
                  </a:lnTo>
                  <a:lnTo>
                    <a:pt x="807" y="452"/>
                  </a:lnTo>
                  <a:lnTo>
                    <a:pt x="810" y="452"/>
                  </a:lnTo>
                  <a:lnTo>
                    <a:pt x="812" y="449"/>
                  </a:lnTo>
                  <a:lnTo>
                    <a:pt x="815" y="449"/>
                  </a:lnTo>
                  <a:lnTo>
                    <a:pt x="815" y="449"/>
                  </a:lnTo>
                  <a:lnTo>
                    <a:pt x="817" y="447"/>
                  </a:lnTo>
                  <a:lnTo>
                    <a:pt x="817" y="449"/>
                  </a:lnTo>
                  <a:lnTo>
                    <a:pt x="819" y="449"/>
                  </a:lnTo>
                  <a:lnTo>
                    <a:pt x="822" y="452"/>
                  </a:lnTo>
                  <a:lnTo>
                    <a:pt x="824" y="454"/>
                  </a:lnTo>
                  <a:lnTo>
                    <a:pt x="824" y="456"/>
                  </a:lnTo>
                  <a:lnTo>
                    <a:pt x="824" y="459"/>
                  </a:lnTo>
                  <a:lnTo>
                    <a:pt x="822" y="459"/>
                  </a:lnTo>
                  <a:lnTo>
                    <a:pt x="819" y="459"/>
                  </a:lnTo>
                  <a:lnTo>
                    <a:pt x="819" y="459"/>
                  </a:lnTo>
                  <a:lnTo>
                    <a:pt x="819" y="461"/>
                  </a:lnTo>
                  <a:lnTo>
                    <a:pt x="819" y="461"/>
                  </a:lnTo>
                  <a:lnTo>
                    <a:pt x="819" y="463"/>
                  </a:lnTo>
                  <a:lnTo>
                    <a:pt x="822" y="466"/>
                  </a:lnTo>
                  <a:lnTo>
                    <a:pt x="822" y="470"/>
                  </a:lnTo>
                  <a:lnTo>
                    <a:pt x="822" y="470"/>
                  </a:lnTo>
                  <a:lnTo>
                    <a:pt x="822" y="473"/>
                  </a:lnTo>
                  <a:lnTo>
                    <a:pt x="819" y="475"/>
                  </a:lnTo>
                  <a:lnTo>
                    <a:pt x="819" y="475"/>
                  </a:lnTo>
                  <a:lnTo>
                    <a:pt x="822" y="478"/>
                  </a:lnTo>
                  <a:lnTo>
                    <a:pt x="824" y="475"/>
                  </a:lnTo>
                  <a:lnTo>
                    <a:pt x="826" y="478"/>
                  </a:lnTo>
                  <a:lnTo>
                    <a:pt x="829" y="478"/>
                  </a:lnTo>
                  <a:lnTo>
                    <a:pt x="829" y="478"/>
                  </a:lnTo>
                  <a:lnTo>
                    <a:pt x="833" y="485"/>
                  </a:lnTo>
                  <a:lnTo>
                    <a:pt x="836" y="485"/>
                  </a:lnTo>
                  <a:lnTo>
                    <a:pt x="838" y="487"/>
                  </a:lnTo>
                  <a:lnTo>
                    <a:pt x="845" y="487"/>
                  </a:lnTo>
                  <a:lnTo>
                    <a:pt x="845" y="487"/>
                  </a:lnTo>
                  <a:lnTo>
                    <a:pt x="852" y="487"/>
                  </a:lnTo>
                  <a:lnTo>
                    <a:pt x="855" y="487"/>
                  </a:lnTo>
                  <a:lnTo>
                    <a:pt x="855" y="489"/>
                  </a:lnTo>
                  <a:lnTo>
                    <a:pt x="859" y="489"/>
                  </a:lnTo>
                  <a:lnTo>
                    <a:pt x="859" y="489"/>
                  </a:lnTo>
                  <a:lnTo>
                    <a:pt x="862" y="494"/>
                  </a:lnTo>
                  <a:lnTo>
                    <a:pt x="859" y="496"/>
                  </a:lnTo>
                  <a:lnTo>
                    <a:pt x="859" y="499"/>
                  </a:lnTo>
                  <a:lnTo>
                    <a:pt x="862" y="499"/>
                  </a:lnTo>
                  <a:lnTo>
                    <a:pt x="862" y="499"/>
                  </a:lnTo>
                  <a:lnTo>
                    <a:pt x="864" y="501"/>
                  </a:lnTo>
                  <a:lnTo>
                    <a:pt x="867" y="501"/>
                  </a:lnTo>
                  <a:lnTo>
                    <a:pt x="869" y="499"/>
                  </a:lnTo>
                  <a:lnTo>
                    <a:pt x="869" y="496"/>
                  </a:lnTo>
                  <a:lnTo>
                    <a:pt x="867" y="496"/>
                  </a:lnTo>
                  <a:lnTo>
                    <a:pt x="867" y="494"/>
                  </a:lnTo>
                  <a:lnTo>
                    <a:pt x="867" y="494"/>
                  </a:lnTo>
                  <a:lnTo>
                    <a:pt x="867" y="494"/>
                  </a:lnTo>
                  <a:lnTo>
                    <a:pt x="869" y="492"/>
                  </a:lnTo>
                  <a:lnTo>
                    <a:pt x="874" y="492"/>
                  </a:lnTo>
                  <a:lnTo>
                    <a:pt x="876" y="492"/>
                  </a:lnTo>
                  <a:lnTo>
                    <a:pt x="876" y="492"/>
                  </a:lnTo>
                  <a:lnTo>
                    <a:pt x="876" y="492"/>
                  </a:lnTo>
                  <a:lnTo>
                    <a:pt x="876" y="487"/>
                  </a:lnTo>
                  <a:lnTo>
                    <a:pt x="876" y="485"/>
                  </a:lnTo>
                  <a:lnTo>
                    <a:pt x="876" y="485"/>
                  </a:lnTo>
                  <a:lnTo>
                    <a:pt x="878" y="487"/>
                  </a:lnTo>
                  <a:lnTo>
                    <a:pt x="878" y="487"/>
                  </a:lnTo>
                  <a:lnTo>
                    <a:pt x="878" y="492"/>
                  </a:lnTo>
                  <a:lnTo>
                    <a:pt x="878" y="492"/>
                  </a:lnTo>
                  <a:lnTo>
                    <a:pt x="881" y="492"/>
                  </a:lnTo>
                  <a:lnTo>
                    <a:pt x="881" y="492"/>
                  </a:lnTo>
                  <a:lnTo>
                    <a:pt x="881" y="492"/>
                  </a:lnTo>
                  <a:lnTo>
                    <a:pt x="883" y="487"/>
                  </a:lnTo>
                  <a:lnTo>
                    <a:pt x="883" y="487"/>
                  </a:lnTo>
                  <a:lnTo>
                    <a:pt x="888" y="492"/>
                  </a:lnTo>
                  <a:lnTo>
                    <a:pt x="888" y="492"/>
                  </a:lnTo>
                  <a:lnTo>
                    <a:pt x="900" y="492"/>
                  </a:lnTo>
                  <a:lnTo>
                    <a:pt x="902" y="487"/>
                  </a:lnTo>
                  <a:lnTo>
                    <a:pt x="911" y="478"/>
                  </a:lnTo>
                  <a:lnTo>
                    <a:pt x="914" y="475"/>
                  </a:lnTo>
                  <a:lnTo>
                    <a:pt x="914" y="475"/>
                  </a:lnTo>
                  <a:lnTo>
                    <a:pt x="914" y="473"/>
                  </a:lnTo>
                  <a:lnTo>
                    <a:pt x="914" y="468"/>
                  </a:lnTo>
                  <a:lnTo>
                    <a:pt x="911" y="459"/>
                  </a:lnTo>
                  <a:lnTo>
                    <a:pt x="914" y="459"/>
                  </a:lnTo>
                  <a:lnTo>
                    <a:pt x="914" y="456"/>
                  </a:lnTo>
                  <a:lnTo>
                    <a:pt x="914" y="447"/>
                  </a:lnTo>
                  <a:lnTo>
                    <a:pt x="914" y="442"/>
                  </a:lnTo>
                  <a:lnTo>
                    <a:pt x="914" y="442"/>
                  </a:lnTo>
                  <a:lnTo>
                    <a:pt x="916" y="442"/>
                  </a:lnTo>
                  <a:lnTo>
                    <a:pt x="916" y="440"/>
                  </a:lnTo>
                  <a:lnTo>
                    <a:pt x="916" y="440"/>
                  </a:lnTo>
                  <a:lnTo>
                    <a:pt x="926" y="423"/>
                  </a:lnTo>
                  <a:lnTo>
                    <a:pt x="928" y="421"/>
                  </a:lnTo>
                  <a:lnTo>
                    <a:pt x="935" y="414"/>
                  </a:lnTo>
                  <a:lnTo>
                    <a:pt x="935" y="414"/>
                  </a:lnTo>
                  <a:lnTo>
                    <a:pt x="940" y="411"/>
                  </a:lnTo>
                  <a:lnTo>
                    <a:pt x="944" y="407"/>
                  </a:lnTo>
                  <a:lnTo>
                    <a:pt x="947" y="402"/>
                  </a:lnTo>
                  <a:lnTo>
                    <a:pt x="947" y="395"/>
                  </a:lnTo>
                  <a:lnTo>
                    <a:pt x="949" y="393"/>
                  </a:lnTo>
                  <a:lnTo>
                    <a:pt x="956" y="388"/>
                  </a:lnTo>
                  <a:lnTo>
                    <a:pt x="956" y="381"/>
                  </a:lnTo>
                  <a:lnTo>
                    <a:pt x="956" y="381"/>
                  </a:lnTo>
                  <a:lnTo>
                    <a:pt x="956" y="378"/>
                  </a:lnTo>
                  <a:lnTo>
                    <a:pt x="959" y="376"/>
                  </a:lnTo>
                  <a:lnTo>
                    <a:pt x="959" y="374"/>
                  </a:lnTo>
                  <a:lnTo>
                    <a:pt x="963" y="371"/>
                  </a:lnTo>
                  <a:lnTo>
                    <a:pt x="963" y="369"/>
                  </a:lnTo>
                  <a:lnTo>
                    <a:pt x="968" y="364"/>
                  </a:lnTo>
                  <a:lnTo>
                    <a:pt x="970" y="362"/>
                  </a:lnTo>
                  <a:lnTo>
                    <a:pt x="973" y="355"/>
                  </a:lnTo>
                  <a:lnTo>
                    <a:pt x="980" y="352"/>
                  </a:lnTo>
                  <a:lnTo>
                    <a:pt x="987" y="352"/>
                  </a:lnTo>
                  <a:lnTo>
                    <a:pt x="989" y="350"/>
                  </a:lnTo>
                  <a:lnTo>
                    <a:pt x="989" y="350"/>
                  </a:lnTo>
                  <a:lnTo>
                    <a:pt x="992" y="348"/>
                  </a:lnTo>
                  <a:lnTo>
                    <a:pt x="994" y="345"/>
                  </a:lnTo>
                  <a:lnTo>
                    <a:pt x="996" y="343"/>
                  </a:lnTo>
                  <a:lnTo>
                    <a:pt x="999" y="343"/>
                  </a:lnTo>
                  <a:lnTo>
                    <a:pt x="1001" y="338"/>
                  </a:lnTo>
                  <a:lnTo>
                    <a:pt x="1001" y="338"/>
                  </a:lnTo>
                  <a:lnTo>
                    <a:pt x="1001" y="338"/>
                  </a:lnTo>
                  <a:lnTo>
                    <a:pt x="1004" y="336"/>
                  </a:lnTo>
                  <a:lnTo>
                    <a:pt x="1004" y="333"/>
                  </a:lnTo>
                  <a:lnTo>
                    <a:pt x="1011" y="329"/>
                  </a:lnTo>
                  <a:lnTo>
                    <a:pt x="1011" y="329"/>
                  </a:lnTo>
                  <a:lnTo>
                    <a:pt x="1013" y="329"/>
                  </a:lnTo>
                  <a:lnTo>
                    <a:pt x="1025" y="326"/>
                  </a:lnTo>
                  <a:lnTo>
                    <a:pt x="1030" y="324"/>
                  </a:lnTo>
                  <a:lnTo>
                    <a:pt x="1034" y="322"/>
                  </a:lnTo>
                  <a:lnTo>
                    <a:pt x="1044" y="315"/>
                  </a:lnTo>
                  <a:lnTo>
                    <a:pt x="1046" y="312"/>
                  </a:lnTo>
                  <a:lnTo>
                    <a:pt x="1048" y="310"/>
                  </a:lnTo>
                  <a:lnTo>
                    <a:pt x="1053" y="307"/>
                  </a:lnTo>
                  <a:lnTo>
                    <a:pt x="1055" y="303"/>
                  </a:lnTo>
                  <a:lnTo>
                    <a:pt x="1058" y="298"/>
                  </a:lnTo>
                  <a:lnTo>
                    <a:pt x="1060" y="293"/>
                  </a:lnTo>
                  <a:lnTo>
                    <a:pt x="1063" y="291"/>
                  </a:lnTo>
                  <a:lnTo>
                    <a:pt x="1065" y="281"/>
                  </a:lnTo>
                  <a:lnTo>
                    <a:pt x="1067" y="279"/>
                  </a:lnTo>
                  <a:lnTo>
                    <a:pt x="1067" y="277"/>
                  </a:lnTo>
                  <a:lnTo>
                    <a:pt x="1067" y="270"/>
                  </a:lnTo>
                  <a:lnTo>
                    <a:pt x="1072" y="265"/>
                  </a:lnTo>
                  <a:lnTo>
                    <a:pt x="1072" y="260"/>
                  </a:lnTo>
                  <a:lnTo>
                    <a:pt x="1077" y="258"/>
                  </a:lnTo>
                  <a:lnTo>
                    <a:pt x="1077" y="258"/>
                  </a:lnTo>
                  <a:lnTo>
                    <a:pt x="1077" y="256"/>
                  </a:lnTo>
                  <a:lnTo>
                    <a:pt x="1084" y="253"/>
                  </a:lnTo>
                  <a:lnTo>
                    <a:pt x="1089" y="251"/>
                  </a:lnTo>
                  <a:lnTo>
                    <a:pt x="1096" y="248"/>
                  </a:lnTo>
                  <a:lnTo>
                    <a:pt x="1098" y="248"/>
                  </a:lnTo>
                  <a:lnTo>
                    <a:pt x="1103" y="246"/>
                  </a:lnTo>
                  <a:lnTo>
                    <a:pt x="1107" y="246"/>
                  </a:lnTo>
                  <a:lnTo>
                    <a:pt x="1115" y="246"/>
                  </a:lnTo>
                  <a:lnTo>
                    <a:pt x="1117" y="256"/>
                  </a:lnTo>
                  <a:lnTo>
                    <a:pt x="1122" y="258"/>
                  </a:lnTo>
                  <a:lnTo>
                    <a:pt x="1122" y="265"/>
                  </a:lnTo>
                  <a:lnTo>
                    <a:pt x="1124" y="272"/>
                  </a:lnTo>
                  <a:lnTo>
                    <a:pt x="1122" y="274"/>
                  </a:lnTo>
                  <a:lnTo>
                    <a:pt x="1122" y="286"/>
                  </a:lnTo>
                  <a:lnTo>
                    <a:pt x="1122" y="291"/>
                  </a:lnTo>
                  <a:lnTo>
                    <a:pt x="1119" y="296"/>
                  </a:lnTo>
                  <a:lnTo>
                    <a:pt x="1126" y="296"/>
                  </a:lnTo>
                  <a:lnTo>
                    <a:pt x="1131" y="298"/>
                  </a:lnTo>
                  <a:lnTo>
                    <a:pt x="1131" y="298"/>
                  </a:lnTo>
                  <a:lnTo>
                    <a:pt x="1131" y="298"/>
                  </a:lnTo>
                  <a:lnTo>
                    <a:pt x="1133" y="296"/>
                  </a:lnTo>
                  <a:lnTo>
                    <a:pt x="1136" y="298"/>
                  </a:lnTo>
                  <a:lnTo>
                    <a:pt x="1136" y="298"/>
                  </a:lnTo>
                  <a:lnTo>
                    <a:pt x="1136" y="298"/>
                  </a:lnTo>
                  <a:lnTo>
                    <a:pt x="1138" y="298"/>
                  </a:lnTo>
                  <a:lnTo>
                    <a:pt x="1141" y="298"/>
                  </a:lnTo>
                  <a:lnTo>
                    <a:pt x="1148" y="296"/>
                  </a:lnTo>
                  <a:lnTo>
                    <a:pt x="1148" y="293"/>
                  </a:lnTo>
                  <a:lnTo>
                    <a:pt x="1150" y="296"/>
                  </a:lnTo>
                  <a:lnTo>
                    <a:pt x="1152" y="296"/>
                  </a:lnTo>
                  <a:lnTo>
                    <a:pt x="1155" y="296"/>
                  </a:lnTo>
                  <a:lnTo>
                    <a:pt x="1155" y="296"/>
                  </a:lnTo>
                  <a:lnTo>
                    <a:pt x="1157" y="293"/>
                  </a:lnTo>
                  <a:lnTo>
                    <a:pt x="1159" y="296"/>
                  </a:lnTo>
                  <a:lnTo>
                    <a:pt x="1162" y="298"/>
                  </a:lnTo>
                  <a:lnTo>
                    <a:pt x="1162" y="296"/>
                  </a:lnTo>
                  <a:lnTo>
                    <a:pt x="1159" y="293"/>
                  </a:lnTo>
                  <a:lnTo>
                    <a:pt x="1159" y="293"/>
                  </a:lnTo>
                  <a:lnTo>
                    <a:pt x="1162" y="293"/>
                  </a:lnTo>
                  <a:lnTo>
                    <a:pt x="1162" y="293"/>
                  </a:lnTo>
                  <a:lnTo>
                    <a:pt x="1162" y="293"/>
                  </a:lnTo>
                  <a:lnTo>
                    <a:pt x="1164" y="293"/>
                  </a:lnTo>
                  <a:lnTo>
                    <a:pt x="1164" y="293"/>
                  </a:lnTo>
                  <a:lnTo>
                    <a:pt x="1164" y="291"/>
                  </a:lnTo>
                  <a:lnTo>
                    <a:pt x="1169" y="291"/>
                  </a:lnTo>
                  <a:lnTo>
                    <a:pt x="1169" y="293"/>
                  </a:lnTo>
                  <a:lnTo>
                    <a:pt x="1171" y="293"/>
                  </a:lnTo>
                  <a:lnTo>
                    <a:pt x="1169" y="293"/>
                  </a:lnTo>
                  <a:lnTo>
                    <a:pt x="1171" y="293"/>
                  </a:lnTo>
                  <a:lnTo>
                    <a:pt x="1171" y="293"/>
                  </a:lnTo>
                  <a:lnTo>
                    <a:pt x="1174" y="293"/>
                  </a:lnTo>
                  <a:lnTo>
                    <a:pt x="1174" y="293"/>
                  </a:lnTo>
                  <a:lnTo>
                    <a:pt x="1174" y="296"/>
                  </a:lnTo>
                  <a:lnTo>
                    <a:pt x="1174" y="296"/>
                  </a:lnTo>
                  <a:lnTo>
                    <a:pt x="1176" y="298"/>
                  </a:lnTo>
                  <a:lnTo>
                    <a:pt x="1178" y="303"/>
                  </a:lnTo>
                  <a:lnTo>
                    <a:pt x="1181" y="307"/>
                  </a:lnTo>
                  <a:lnTo>
                    <a:pt x="1183" y="312"/>
                  </a:lnTo>
                  <a:lnTo>
                    <a:pt x="1188" y="319"/>
                  </a:lnTo>
                  <a:lnTo>
                    <a:pt x="1195" y="329"/>
                  </a:lnTo>
                  <a:lnTo>
                    <a:pt x="1195" y="329"/>
                  </a:lnTo>
                  <a:lnTo>
                    <a:pt x="1197" y="331"/>
                  </a:lnTo>
                  <a:lnTo>
                    <a:pt x="1197" y="329"/>
                  </a:lnTo>
                  <a:lnTo>
                    <a:pt x="1200" y="331"/>
                  </a:lnTo>
                  <a:lnTo>
                    <a:pt x="1200" y="331"/>
                  </a:lnTo>
                  <a:lnTo>
                    <a:pt x="1202" y="331"/>
                  </a:lnTo>
                  <a:lnTo>
                    <a:pt x="1202" y="331"/>
                  </a:lnTo>
                  <a:lnTo>
                    <a:pt x="1204" y="333"/>
                  </a:lnTo>
                  <a:lnTo>
                    <a:pt x="1204" y="333"/>
                  </a:lnTo>
                  <a:lnTo>
                    <a:pt x="1207" y="336"/>
                  </a:lnTo>
                  <a:lnTo>
                    <a:pt x="1207" y="336"/>
                  </a:lnTo>
                  <a:lnTo>
                    <a:pt x="1204" y="336"/>
                  </a:lnTo>
                  <a:lnTo>
                    <a:pt x="1204" y="336"/>
                  </a:lnTo>
                  <a:lnTo>
                    <a:pt x="1204" y="338"/>
                  </a:lnTo>
                  <a:lnTo>
                    <a:pt x="1207" y="338"/>
                  </a:lnTo>
                  <a:lnTo>
                    <a:pt x="1207" y="338"/>
                  </a:lnTo>
                  <a:lnTo>
                    <a:pt x="1254" y="359"/>
                  </a:lnTo>
                  <a:lnTo>
                    <a:pt x="1256" y="364"/>
                  </a:lnTo>
                  <a:lnTo>
                    <a:pt x="1261" y="367"/>
                  </a:lnTo>
                  <a:lnTo>
                    <a:pt x="1263" y="369"/>
                  </a:lnTo>
                  <a:lnTo>
                    <a:pt x="1266" y="369"/>
                  </a:lnTo>
                  <a:lnTo>
                    <a:pt x="1268" y="369"/>
                  </a:lnTo>
                  <a:lnTo>
                    <a:pt x="1268" y="369"/>
                  </a:lnTo>
                  <a:lnTo>
                    <a:pt x="1268" y="369"/>
                  </a:lnTo>
                  <a:lnTo>
                    <a:pt x="1270" y="367"/>
                  </a:lnTo>
                  <a:lnTo>
                    <a:pt x="1275" y="367"/>
                  </a:lnTo>
                  <a:lnTo>
                    <a:pt x="1275" y="369"/>
                  </a:lnTo>
                  <a:lnTo>
                    <a:pt x="1278" y="367"/>
                  </a:lnTo>
                  <a:lnTo>
                    <a:pt x="1278" y="369"/>
                  </a:lnTo>
                  <a:lnTo>
                    <a:pt x="1280" y="367"/>
                  </a:lnTo>
                  <a:lnTo>
                    <a:pt x="1280" y="367"/>
                  </a:lnTo>
                  <a:lnTo>
                    <a:pt x="1282" y="369"/>
                  </a:lnTo>
                  <a:lnTo>
                    <a:pt x="1285" y="371"/>
                  </a:lnTo>
                  <a:lnTo>
                    <a:pt x="1285" y="371"/>
                  </a:lnTo>
                  <a:lnTo>
                    <a:pt x="1287" y="371"/>
                  </a:lnTo>
                  <a:lnTo>
                    <a:pt x="1289" y="371"/>
                  </a:lnTo>
                  <a:lnTo>
                    <a:pt x="1292" y="374"/>
                  </a:lnTo>
                  <a:lnTo>
                    <a:pt x="1294" y="374"/>
                  </a:lnTo>
                  <a:lnTo>
                    <a:pt x="1296" y="371"/>
                  </a:lnTo>
                  <a:lnTo>
                    <a:pt x="1296" y="371"/>
                  </a:lnTo>
                  <a:lnTo>
                    <a:pt x="1301" y="369"/>
                  </a:lnTo>
                  <a:lnTo>
                    <a:pt x="1306" y="369"/>
                  </a:lnTo>
                  <a:lnTo>
                    <a:pt x="1306" y="371"/>
                  </a:lnTo>
                  <a:lnTo>
                    <a:pt x="1306" y="369"/>
                  </a:lnTo>
                  <a:lnTo>
                    <a:pt x="1311" y="371"/>
                  </a:lnTo>
                  <a:lnTo>
                    <a:pt x="1311" y="371"/>
                  </a:lnTo>
                  <a:lnTo>
                    <a:pt x="1311" y="371"/>
                  </a:lnTo>
                  <a:lnTo>
                    <a:pt x="1313" y="371"/>
                  </a:lnTo>
                  <a:lnTo>
                    <a:pt x="1315" y="371"/>
                  </a:lnTo>
                  <a:lnTo>
                    <a:pt x="1318" y="371"/>
                  </a:lnTo>
                  <a:lnTo>
                    <a:pt x="1322" y="369"/>
                  </a:lnTo>
                  <a:lnTo>
                    <a:pt x="1325" y="371"/>
                  </a:lnTo>
                  <a:lnTo>
                    <a:pt x="1327" y="374"/>
                  </a:lnTo>
                  <a:lnTo>
                    <a:pt x="1330" y="374"/>
                  </a:lnTo>
                  <a:lnTo>
                    <a:pt x="1330" y="374"/>
                  </a:lnTo>
                  <a:lnTo>
                    <a:pt x="1332" y="374"/>
                  </a:lnTo>
                  <a:lnTo>
                    <a:pt x="1332" y="376"/>
                  </a:lnTo>
                  <a:lnTo>
                    <a:pt x="1332" y="378"/>
                  </a:lnTo>
                  <a:lnTo>
                    <a:pt x="1332" y="385"/>
                  </a:lnTo>
                  <a:lnTo>
                    <a:pt x="1332" y="388"/>
                  </a:lnTo>
                  <a:lnTo>
                    <a:pt x="1327" y="393"/>
                  </a:lnTo>
                  <a:lnTo>
                    <a:pt x="1325" y="395"/>
                  </a:lnTo>
                  <a:lnTo>
                    <a:pt x="1325" y="402"/>
                  </a:lnTo>
                  <a:lnTo>
                    <a:pt x="1322" y="404"/>
                  </a:lnTo>
                  <a:lnTo>
                    <a:pt x="1351" y="414"/>
                  </a:lnTo>
                  <a:lnTo>
                    <a:pt x="1381" y="426"/>
                  </a:lnTo>
                  <a:lnTo>
                    <a:pt x="1381" y="428"/>
                  </a:lnTo>
                  <a:lnTo>
                    <a:pt x="1381" y="430"/>
                  </a:lnTo>
                  <a:lnTo>
                    <a:pt x="1381" y="430"/>
                  </a:lnTo>
                  <a:lnTo>
                    <a:pt x="1381" y="430"/>
                  </a:lnTo>
                  <a:lnTo>
                    <a:pt x="1384" y="430"/>
                  </a:lnTo>
                  <a:lnTo>
                    <a:pt x="1384" y="430"/>
                  </a:lnTo>
                  <a:lnTo>
                    <a:pt x="1384" y="430"/>
                  </a:lnTo>
                  <a:lnTo>
                    <a:pt x="1384" y="428"/>
                  </a:lnTo>
                  <a:lnTo>
                    <a:pt x="1386" y="428"/>
                  </a:lnTo>
                  <a:lnTo>
                    <a:pt x="1386" y="426"/>
                  </a:lnTo>
                  <a:lnTo>
                    <a:pt x="1386" y="423"/>
                  </a:lnTo>
                  <a:lnTo>
                    <a:pt x="1386" y="423"/>
                  </a:lnTo>
                  <a:lnTo>
                    <a:pt x="1389" y="421"/>
                  </a:lnTo>
                  <a:lnTo>
                    <a:pt x="1389" y="421"/>
                  </a:lnTo>
                  <a:lnTo>
                    <a:pt x="1391" y="421"/>
                  </a:lnTo>
                  <a:lnTo>
                    <a:pt x="1393" y="421"/>
                  </a:lnTo>
                  <a:lnTo>
                    <a:pt x="1393" y="418"/>
                  </a:lnTo>
                  <a:lnTo>
                    <a:pt x="1393" y="418"/>
                  </a:lnTo>
                  <a:lnTo>
                    <a:pt x="1393" y="418"/>
                  </a:lnTo>
                  <a:lnTo>
                    <a:pt x="1393" y="416"/>
                  </a:lnTo>
                  <a:lnTo>
                    <a:pt x="1393" y="416"/>
                  </a:lnTo>
                  <a:lnTo>
                    <a:pt x="1393" y="414"/>
                  </a:lnTo>
                  <a:lnTo>
                    <a:pt x="1396" y="414"/>
                  </a:lnTo>
                  <a:lnTo>
                    <a:pt x="1396" y="414"/>
                  </a:lnTo>
                  <a:lnTo>
                    <a:pt x="1393" y="414"/>
                  </a:lnTo>
                  <a:lnTo>
                    <a:pt x="1393" y="411"/>
                  </a:lnTo>
                  <a:lnTo>
                    <a:pt x="1396" y="411"/>
                  </a:lnTo>
                  <a:lnTo>
                    <a:pt x="1396" y="411"/>
                  </a:lnTo>
                  <a:lnTo>
                    <a:pt x="1398" y="411"/>
                  </a:lnTo>
                  <a:lnTo>
                    <a:pt x="1400" y="414"/>
                  </a:lnTo>
                  <a:lnTo>
                    <a:pt x="1400" y="414"/>
                  </a:lnTo>
                  <a:lnTo>
                    <a:pt x="1400" y="416"/>
                  </a:lnTo>
                  <a:lnTo>
                    <a:pt x="1403" y="416"/>
                  </a:lnTo>
                  <a:lnTo>
                    <a:pt x="1400" y="416"/>
                  </a:lnTo>
                  <a:lnTo>
                    <a:pt x="1403" y="418"/>
                  </a:lnTo>
                  <a:lnTo>
                    <a:pt x="1400" y="418"/>
                  </a:lnTo>
                  <a:lnTo>
                    <a:pt x="1403" y="421"/>
                  </a:lnTo>
                  <a:lnTo>
                    <a:pt x="1400" y="421"/>
                  </a:lnTo>
                  <a:lnTo>
                    <a:pt x="1400" y="423"/>
                  </a:lnTo>
                  <a:lnTo>
                    <a:pt x="1398" y="426"/>
                  </a:lnTo>
                  <a:lnTo>
                    <a:pt x="1398" y="426"/>
                  </a:lnTo>
                  <a:lnTo>
                    <a:pt x="1398" y="428"/>
                  </a:lnTo>
                  <a:lnTo>
                    <a:pt x="1398" y="428"/>
                  </a:lnTo>
                  <a:lnTo>
                    <a:pt x="1400" y="428"/>
                  </a:lnTo>
                  <a:lnTo>
                    <a:pt x="1400" y="426"/>
                  </a:lnTo>
                  <a:lnTo>
                    <a:pt x="1403" y="428"/>
                  </a:lnTo>
                  <a:lnTo>
                    <a:pt x="1403" y="428"/>
                  </a:lnTo>
                  <a:lnTo>
                    <a:pt x="1405" y="426"/>
                  </a:lnTo>
                  <a:lnTo>
                    <a:pt x="1405" y="423"/>
                  </a:lnTo>
                  <a:lnTo>
                    <a:pt x="1405" y="423"/>
                  </a:lnTo>
                  <a:lnTo>
                    <a:pt x="1405" y="421"/>
                  </a:lnTo>
                  <a:lnTo>
                    <a:pt x="1405" y="418"/>
                  </a:lnTo>
                  <a:lnTo>
                    <a:pt x="1405" y="418"/>
                  </a:lnTo>
                  <a:lnTo>
                    <a:pt x="1405" y="416"/>
                  </a:lnTo>
                  <a:lnTo>
                    <a:pt x="1405" y="416"/>
                  </a:lnTo>
                  <a:lnTo>
                    <a:pt x="1405" y="414"/>
                  </a:lnTo>
                  <a:lnTo>
                    <a:pt x="1405" y="411"/>
                  </a:lnTo>
                  <a:lnTo>
                    <a:pt x="1407" y="411"/>
                  </a:lnTo>
                  <a:lnTo>
                    <a:pt x="1407" y="411"/>
                  </a:lnTo>
                  <a:lnTo>
                    <a:pt x="1407" y="411"/>
                  </a:lnTo>
                  <a:lnTo>
                    <a:pt x="1407" y="414"/>
                  </a:lnTo>
                  <a:lnTo>
                    <a:pt x="1407" y="414"/>
                  </a:lnTo>
                  <a:lnTo>
                    <a:pt x="1407" y="416"/>
                  </a:lnTo>
                  <a:lnTo>
                    <a:pt x="1407" y="416"/>
                  </a:lnTo>
                  <a:lnTo>
                    <a:pt x="1410" y="414"/>
                  </a:lnTo>
                  <a:lnTo>
                    <a:pt x="1412" y="416"/>
                  </a:lnTo>
                  <a:lnTo>
                    <a:pt x="1410" y="416"/>
                  </a:lnTo>
                  <a:lnTo>
                    <a:pt x="1412" y="421"/>
                  </a:lnTo>
                  <a:lnTo>
                    <a:pt x="1412" y="423"/>
                  </a:lnTo>
                  <a:lnTo>
                    <a:pt x="1412" y="421"/>
                  </a:lnTo>
                  <a:lnTo>
                    <a:pt x="1412" y="421"/>
                  </a:lnTo>
                  <a:lnTo>
                    <a:pt x="1412" y="418"/>
                  </a:lnTo>
                  <a:lnTo>
                    <a:pt x="1415" y="418"/>
                  </a:lnTo>
                  <a:lnTo>
                    <a:pt x="1415" y="416"/>
                  </a:lnTo>
                  <a:lnTo>
                    <a:pt x="1412" y="414"/>
                  </a:lnTo>
                  <a:lnTo>
                    <a:pt x="1412" y="414"/>
                  </a:lnTo>
                  <a:lnTo>
                    <a:pt x="1412" y="414"/>
                  </a:lnTo>
                  <a:lnTo>
                    <a:pt x="1412" y="411"/>
                  </a:lnTo>
                  <a:lnTo>
                    <a:pt x="1415" y="414"/>
                  </a:lnTo>
                  <a:lnTo>
                    <a:pt x="1415" y="411"/>
                  </a:lnTo>
                  <a:lnTo>
                    <a:pt x="1415" y="411"/>
                  </a:lnTo>
                  <a:lnTo>
                    <a:pt x="1417" y="409"/>
                  </a:lnTo>
                  <a:lnTo>
                    <a:pt x="1417" y="409"/>
                  </a:lnTo>
                  <a:lnTo>
                    <a:pt x="1419" y="409"/>
                  </a:lnTo>
                  <a:lnTo>
                    <a:pt x="1422" y="409"/>
                  </a:lnTo>
                  <a:lnTo>
                    <a:pt x="1419" y="411"/>
                  </a:lnTo>
                  <a:lnTo>
                    <a:pt x="1422" y="414"/>
                  </a:lnTo>
                  <a:lnTo>
                    <a:pt x="1422" y="414"/>
                  </a:lnTo>
                  <a:lnTo>
                    <a:pt x="1419" y="416"/>
                  </a:lnTo>
                  <a:lnTo>
                    <a:pt x="1422" y="418"/>
                  </a:lnTo>
                  <a:lnTo>
                    <a:pt x="1422" y="416"/>
                  </a:lnTo>
                  <a:lnTo>
                    <a:pt x="1422" y="416"/>
                  </a:lnTo>
                  <a:lnTo>
                    <a:pt x="1424" y="414"/>
                  </a:lnTo>
                  <a:lnTo>
                    <a:pt x="1426" y="416"/>
                  </a:lnTo>
                  <a:lnTo>
                    <a:pt x="1426" y="418"/>
                  </a:lnTo>
                  <a:lnTo>
                    <a:pt x="1429" y="421"/>
                  </a:lnTo>
                  <a:lnTo>
                    <a:pt x="1429" y="421"/>
                  </a:lnTo>
                  <a:lnTo>
                    <a:pt x="1429" y="421"/>
                  </a:lnTo>
                  <a:lnTo>
                    <a:pt x="1429" y="423"/>
                  </a:lnTo>
                  <a:lnTo>
                    <a:pt x="1429" y="423"/>
                  </a:lnTo>
                  <a:lnTo>
                    <a:pt x="1426" y="423"/>
                  </a:lnTo>
                  <a:lnTo>
                    <a:pt x="1429" y="426"/>
                  </a:lnTo>
                  <a:lnTo>
                    <a:pt x="1429" y="426"/>
                  </a:lnTo>
                  <a:lnTo>
                    <a:pt x="1426" y="430"/>
                  </a:lnTo>
                  <a:lnTo>
                    <a:pt x="1429" y="430"/>
                  </a:lnTo>
                  <a:lnTo>
                    <a:pt x="1429" y="430"/>
                  </a:lnTo>
                  <a:lnTo>
                    <a:pt x="1431" y="430"/>
                  </a:lnTo>
                  <a:lnTo>
                    <a:pt x="1431" y="430"/>
                  </a:lnTo>
                  <a:lnTo>
                    <a:pt x="1436" y="423"/>
                  </a:lnTo>
                  <a:lnTo>
                    <a:pt x="1433" y="421"/>
                  </a:lnTo>
                  <a:lnTo>
                    <a:pt x="1436" y="418"/>
                  </a:lnTo>
                  <a:lnTo>
                    <a:pt x="1433" y="416"/>
                  </a:lnTo>
                  <a:lnTo>
                    <a:pt x="1436" y="416"/>
                  </a:lnTo>
                  <a:lnTo>
                    <a:pt x="1436" y="414"/>
                  </a:lnTo>
                  <a:lnTo>
                    <a:pt x="1438" y="416"/>
                  </a:lnTo>
                  <a:lnTo>
                    <a:pt x="1438" y="418"/>
                  </a:lnTo>
                  <a:lnTo>
                    <a:pt x="1441" y="418"/>
                  </a:lnTo>
                  <a:lnTo>
                    <a:pt x="1441" y="421"/>
                  </a:lnTo>
                  <a:lnTo>
                    <a:pt x="1441" y="423"/>
                  </a:lnTo>
                  <a:lnTo>
                    <a:pt x="1441" y="423"/>
                  </a:lnTo>
                  <a:lnTo>
                    <a:pt x="1441" y="423"/>
                  </a:lnTo>
                  <a:lnTo>
                    <a:pt x="1443" y="423"/>
                  </a:lnTo>
                  <a:lnTo>
                    <a:pt x="1441" y="426"/>
                  </a:lnTo>
                  <a:lnTo>
                    <a:pt x="1443" y="428"/>
                  </a:lnTo>
                  <a:lnTo>
                    <a:pt x="1443" y="428"/>
                  </a:lnTo>
                  <a:lnTo>
                    <a:pt x="1443" y="428"/>
                  </a:lnTo>
                  <a:lnTo>
                    <a:pt x="1443" y="430"/>
                  </a:lnTo>
                  <a:lnTo>
                    <a:pt x="1445" y="430"/>
                  </a:lnTo>
                  <a:lnTo>
                    <a:pt x="1448" y="435"/>
                  </a:lnTo>
                  <a:lnTo>
                    <a:pt x="1448" y="437"/>
                  </a:lnTo>
                  <a:lnTo>
                    <a:pt x="1445" y="440"/>
                  </a:lnTo>
                  <a:lnTo>
                    <a:pt x="1448" y="437"/>
                  </a:lnTo>
                  <a:lnTo>
                    <a:pt x="1450" y="440"/>
                  </a:lnTo>
                  <a:lnTo>
                    <a:pt x="1450" y="437"/>
                  </a:lnTo>
                  <a:lnTo>
                    <a:pt x="1450" y="435"/>
                  </a:lnTo>
                  <a:lnTo>
                    <a:pt x="1450" y="430"/>
                  </a:lnTo>
                  <a:lnTo>
                    <a:pt x="1448" y="426"/>
                  </a:lnTo>
                  <a:lnTo>
                    <a:pt x="1450" y="421"/>
                  </a:lnTo>
                  <a:lnTo>
                    <a:pt x="1448" y="421"/>
                  </a:lnTo>
                  <a:lnTo>
                    <a:pt x="1448" y="421"/>
                  </a:lnTo>
                  <a:lnTo>
                    <a:pt x="1450" y="418"/>
                  </a:lnTo>
                  <a:lnTo>
                    <a:pt x="1448" y="418"/>
                  </a:lnTo>
                  <a:lnTo>
                    <a:pt x="1452" y="416"/>
                  </a:lnTo>
                  <a:lnTo>
                    <a:pt x="1455" y="416"/>
                  </a:lnTo>
                  <a:lnTo>
                    <a:pt x="1455" y="418"/>
                  </a:lnTo>
                  <a:lnTo>
                    <a:pt x="1455" y="421"/>
                  </a:lnTo>
                  <a:lnTo>
                    <a:pt x="1455" y="421"/>
                  </a:lnTo>
                  <a:lnTo>
                    <a:pt x="1455" y="423"/>
                  </a:lnTo>
                  <a:lnTo>
                    <a:pt x="1455" y="423"/>
                  </a:lnTo>
                  <a:lnTo>
                    <a:pt x="1455" y="423"/>
                  </a:lnTo>
                  <a:lnTo>
                    <a:pt x="1455" y="423"/>
                  </a:lnTo>
                  <a:lnTo>
                    <a:pt x="1455" y="423"/>
                  </a:lnTo>
                  <a:lnTo>
                    <a:pt x="1457" y="426"/>
                  </a:lnTo>
                  <a:lnTo>
                    <a:pt x="1457" y="426"/>
                  </a:lnTo>
                  <a:lnTo>
                    <a:pt x="1459" y="423"/>
                  </a:lnTo>
                  <a:lnTo>
                    <a:pt x="1459" y="421"/>
                  </a:lnTo>
                  <a:lnTo>
                    <a:pt x="1462" y="421"/>
                  </a:lnTo>
                  <a:lnTo>
                    <a:pt x="1462" y="421"/>
                  </a:lnTo>
                  <a:lnTo>
                    <a:pt x="1459" y="421"/>
                  </a:lnTo>
                  <a:lnTo>
                    <a:pt x="1459" y="418"/>
                  </a:lnTo>
                  <a:lnTo>
                    <a:pt x="1459" y="418"/>
                  </a:lnTo>
                  <a:lnTo>
                    <a:pt x="1464" y="418"/>
                  </a:lnTo>
                  <a:lnTo>
                    <a:pt x="1464" y="418"/>
                  </a:lnTo>
                  <a:lnTo>
                    <a:pt x="1467" y="418"/>
                  </a:lnTo>
                  <a:lnTo>
                    <a:pt x="1469" y="416"/>
                  </a:lnTo>
                  <a:lnTo>
                    <a:pt x="1471" y="418"/>
                  </a:lnTo>
                  <a:lnTo>
                    <a:pt x="1474" y="418"/>
                  </a:lnTo>
                  <a:lnTo>
                    <a:pt x="1471" y="418"/>
                  </a:lnTo>
                  <a:lnTo>
                    <a:pt x="1471" y="421"/>
                  </a:lnTo>
                  <a:lnTo>
                    <a:pt x="1471" y="418"/>
                  </a:lnTo>
                  <a:lnTo>
                    <a:pt x="1471" y="418"/>
                  </a:lnTo>
                  <a:lnTo>
                    <a:pt x="1471" y="421"/>
                  </a:lnTo>
                  <a:lnTo>
                    <a:pt x="1471" y="421"/>
                  </a:lnTo>
                  <a:lnTo>
                    <a:pt x="1471" y="423"/>
                  </a:lnTo>
                  <a:lnTo>
                    <a:pt x="1471" y="423"/>
                  </a:lnTo>
                  <a:lnTo>
                    <a:pt x="1474" y="423"/>
                  </a:lnTo>
                  <a:lnTo>
                    <a:pt x="1474" y="423"/>
                  </a:lnTo>
                  <a:lnTo>
                    <a:pt x="1474" y="423"/>
                  </a:lnTo>
                  <a:lnTo>
                    <a:pt x="1476" y="423"/>
                  </a:lnTo>
                  <a:lnTo>
                    <a:pt x="1476" y="423"/>
                  </a:lnTo>
                  <a:lnTo>
                    <a:pt x="1474" y="421"/>
                  </a:lnTo>
                  <a:lnTo>
                    <a:pt x="1476" y="421"/>
                  </a:lnTo>
                  <a:lnTo>
                    <a:pt x="1476" y="421"/>
                  </a:lnTo>
                  <a:lnTo>
                    <a:pt x="1476" y="421"/>
                  </a:lnTo>
                  <a:lnTo>
                    <a:pt x="1478" y="421"/>
                  </a:lnTo>
                  <a:lnTo>
                    <a:pt x="1481" y="423"/>
                  </a:lnTo>
                  <a:lnTo>
                    <a:pt x="1483" y="426"/>
                  </a:lnTo>
                  <a:lnTo>
                    <a:pt x="1481" y="428"/>
                  </a:lnTo>
                  <a:lnTo>
                    <a:pt x="1481" y="428"/>
                  </a:lnTo>
                  <a:lnTo>
                    <a:pt x="1481" y="428"/>
                  </a:lnTo>
                  <a:lnTo>
                    <a:pt x="1478" y="428"/>
                  </a:lnTo>
                  <a:lnTo>
                    <a:pt x="1478" y="428"/>
                  </a:lnTo>
                  <a:lnTo>
                    <a:pt x="1478" y="430"/>
                  </a:lnTo>
                  <a:lnTo>
                    <a:pt x="1481" y="430"/>
                  </a:lnTo>
                  <a:lnTo>
                    <a:pt x="1478" y="430"/>
                  </a:lnTo>
                  <a:lnTo>
                    <a:pt x="1481" y="430"/>
                  </a:lnTo>
                  <a:lnTo>
                    <a:pt x="1481" y="430"/>
                  </a:lnTo>
                  <a:lnTo>
                    <a:pt x="1481" y="430"/>
                  </a:lnTo>
                  <a:lnTo>
                    <a:pt x="1481" y="430"/>
                  </a:lnTo>
                  <a:lnTo>
                    <a:pt x="1483" y="430"/>
                  </a:lnTo>
                  <a:lnTo>
                    <a:pt x="1483" y="430"/>
                  </a:lnTo>
                  <a:lnTo>
                    <a:pt x="1485" y="430"/>
                  </a:lnTo>
                  <a:lnTo>
                    <a:pt x="1483" y="430"/>
                  </a:lnTo>
                  <a:lnTo>
                    <a:pt x="1483" y="428"/>
                  </a:lnTo>
                  <a:lnTo>
                    <a:pt x="1485" y="428"/>
                  </a:lnTo>
                  <a:lnTo>
                    <a:pt x="1485" y="426"/>
                  </a:lnTo>
                  <a:lnTo>
                    <a:pt x="1485" y="426"/>
                  </a:lnTo>
                  <a:lnTo>
                    <a:pt x="1485" y="428"/>
                  </a:lnTo>
                  <a:lnTo>
                    <a:pt x="1488" y="426"/>
                  </a:lnTo>
                  <a:lnTo>
                    <a:pt x="1488" y="426"/>
                  </a:lnTo>
                  <a:lnTo>
                    <a:pt x="1488" y="428"/>
                  </a:lnTo>
                  <a:lnTo>
                    <a:pt x="1488" y="428"/>
                  </a:lnTo>
                  <a:lnTo>
                    <a:pt x="1488" y="428"/>
                  </a:lnTo>
                  <a:lnTo>
                    <a:pt x="1488" y="428"/>
                  </a:lnTo>
                  <a:lnTo>
                    <a:pt x="1488" y="430"/>
                  </a:lnTo>
                  <a:lnTo>
                    <a:pt x="1488" y="435"/>
                  </a:lnTo>
                  <a:lnTo>
                    <a:pt x="1488" y="435"/>
                  </a:lnTo>
                  <a:lnTo>
                    <a:pt x="1485" y="437"/>
                  </a:lnTo>
                  <a:lnTo>
                    <a:pt x="1488" y="440"/>
                  </a:lnTo>
                  <a:lnTo>
                    <a:pt x="1488" y="440"/>
                  </a:lnTo>
                  <a:lnTo>
                    <a:pt x="1488" y="440"/>
                  </a:lnTo>
                  <a:lnTo>
                    <a:pt x="1488" y="440"/>
                  </a:lnTo>
                  <a:lnTo>
                    <a:pt x="1488" y="437"/>
                  </a:lnTo>
                  <a:lnTo>
                    <a:pt x="1488" y="440"/>
                  </a:lnTo>
                  <a:lnTo>
                    <a:pt x="1488" y="437"/>
                  </a:lnTo>
                  <a:lnTo>
                    <a:pt x="1488" y="437"/>
                  </a:lnTo>
                  <a:lnTo>
                    <a:pt x="1488" y="437"/>
                  </a:lnTo>
                  <a:lnTo>
                    <a:pt x="1490" y="433"/>
                  </a:lnTo>
                  <a:lnTo>
                    <a:pt x="1490" y="433"/>
                  </a:lnTo>
                  <a:lnTo>
                    <a:pt x="1490" y="435"/>
                  </a:lnTo>
                  <a:lnTo>
                    <a:pt x="1490" y="433"/>
                  </a:lnTo>
                  <a:lnTo>
                    <a:pt x="1490" y="433"/>
                  </a:lnTo>
                  <a:lnTo>
                    <a:pt x="1490" y="430"/>
                  </a:lnTo>
                  <a:lnTo>
                    <a:pt x="1490" y="430"/>
                  </a:lnTo>
                  <a:lnTo>
                    <a:pt x="1490" y="430"/>
                  </a:lnTo>
                  <a:lnTo>
                    <a:pt x="1490" y="428"/>
                  </a:lnTo>
                  <a:lnTo>
                    <a:pt x="1490" y="428"/>
                  </a:lnTo>
                  <a:lnTo>
                    <a:pt x="1493" y="428"/>
                  </a:lnTo>
                  <a:lnTo>
                    <a:pt x="1493" y="428"/>
                  </a:lnTo>
                  <a:lnTo>
                    <a:pt x="1495" y="428"/>
                  </a:lnTo>
                  <a:lnTo>
                    <a:pt x="1495" y="428"/>
                  </a:lnTo>
                  <a:lnTo>
                    <a:pt x="1497" y="426"/>
                  </a:lnTo>
                  <a:lnTo>
                    <a:pt x="1497" y="428"/>
                  </a:lnTo>
                  <a:lnTo>
                    <a:pt x="1497" y="428"/>
                  </a:lnTo>
                  <a:lnTo>
                    <a:pt x="1500" y="428"/>
                  </a:lnTo>
                  <a:lnTo>
                    <a:pt x="1500" y="430"/>
                  </a:lnTo>
                  <a:lnTo>
                    <a:pt x="1497" y="433"/>
                  </a:lnTo>
                  <a:lnTo>
                    <a:pt x="1497" y="433"/>
                  </a:lnTo>
                  <a:lnTo>
                    <a:pt x="1500" y="433"/>
                  </a:lnTo>
                  <a:lnTo>
                    <a:pt x="1500" y="435"/>
                  </a:lnTo>
                  <a:lnTo>
                    <a:pt x="1500" y="435"/>
                  </a:lnTo>
                  <a:lnTo>
                    <a:pt x="1500" y="435"/>
                  </a:lnTo>
                  <a:lnTo>
                    <a:pt x="1497" y="437"/>
                  </a:lnTo>
                  <a:lnTo>
                    <a:pt x="1500" y="437"/>
                  </a:lnTo>
                  <a:lnTo>
                    <a:pt x="1500" y="437"/>
                  </a:lnTo>
                  <a:lnTo>
                    <a:pt x="1500" y="437"/>
                  </a:lnTo>
                  <a:lnTo>
                    <a:pt x="1500" y="440"/>
                  </a:lnTo>
                  <a:lnTo>
                    <a:pt x="1500" y="440"/>
                  </a:lnTo>
                  <a:lnTo>
                    <a:pt x="1500" y="440"/>
                  </a:lnTo>
                  <a:lnTo>
                    <a:pt x="1500" y="440"/>
                  </a:lnTo>
                  <a:lnTo>
                    <a:pt x="1500" y="440"/>
                  </a:lnTo>
                  <a:lnTo>
                    <a:pt x="1500" y="440"/>
                  </a:lnTo>
                  <a:lnTo>
                    <a:pt x="1500" y="437"/>
                  </a:lnTo>
                  <a:lnTo>
                    <a:pt x="1502" y="435"/>
                  </a:lnTo>
                  <a:lnTo>
                    <a:pt x="1500" y="430"/>
                  </a:lnTo>
                  <a:lnTo>
                    <a:pt x="1502" y="433"/>
                  </a:lnTo>
                  <a:lnTo>
                    <a:pt x="1502" y="435"/>
                  </a:lnTo>
                  <a:lnTo>
                    <a:pt x="1502" y="440"/>
                  </a:lnTo>
                  <a:lnTo>
                    <a:pt x="1500" y="442"/>
                  </a:lnTo>
                  <a:lnTo>
                    <a:pt x="1500" y="444"/>
                  </a:lnTo>
                  <a:lnTo>
                    <a:pt x="1502" y="444"/>
                  </a:lnTo>
                  <a:lnTo>
                    <a:pt x="1502" y="442"/>
                  </a:lnTo>
                  <a:lnTo>
                    <a:pt x="1504" y="444"/>
                  </a:lnTo>
                  <a:lnTo>
                    <a:pt x="1504" y="444"/>
                  </a:lnTo>
                  <a:lnTo>
                    <a:pt x="1504" y="442"/>
                  </a:lnTo>
                  <a:lnTo>
                    <a:pt x="1502" y="442"/>
                  </a:lnTo>
                  <a:lnTo>
                    <a:pt x="1502" y="440"/>
                  </a:lnTo>
                  <a:lnTo>
                    <a:pt x="1504" y="440"/>
                  </a:lnTo>
                  <a:lnTo>
                    <a:pt x="1504" y="437"/>
                  </a:lnTo>
                  <a:lnTo>
                    <a:pt x="1504" y="435"/>
                  </a:lnTo>
                  <a:lnTo>
                    <a:pt x="1504" y="435"/>
                  </a:lnTo>
                  <a:lnTo>
                    <a:pt x="1504" y="435"/>
                  </a:lnTo>
                  <a:lnTo>
                    <a:pt x="1504" y="435"/>
                  </a:lnTo>
                  <a:lnTo>
                    <a:pt x="1507" y="435"/>
                  </a:lnTo>
                  <a:lnTo>
                    <a:pt x="1507" y="433"/>
                  </a:lnTo>
                  <a:lnTo>
                    <a:pt x="1509" y="433"/>
                  </a:lnTo>
                  <a:lnTo>
                    <a:pt x="1509" y="433"/>
                  </a:lnTo>
                  <a:lnTo>
                    <a:pt x="1511" y="430"/>
                  </a:lnTo>
                  <a:lnTo>
                    <a:pt x="1511" y="430"/>
                  </a:lnTo>
                  <a:lnTo>
                    <a:pt x="1514" y="430"/>
                  </a:lnTo>
                  <a:lnTo>
                    <a:pt x="1514" y="433"/>
                  </a:lnTo>
                  <a:lnTo>
                    <a:pt x="1516" y="435"/>
                  </a:lnTo>
                  <a:lnTo>
                    <a:pt x="1514" y="435"/>
                  </a:lnTo>
                  <a:lnTo>
                    <a:pt x="1514" y="435"/>
                  </a:lnTo>
                  <a:lnTo>
                    <a:pt x="1514" y="435"/>
                  </a:lnTo>
                  <a:lnTo>
                    <a:pt x="1514" y="437"/>
                  </a:lnTo>
                  <a:lnTo>
                    <a:pt x="1514" y="437"/>
                  </a:lnTo>
                  <a:lnTo>
                    <a:pt x="1514" y="437"/>
                  </a:lnTo>
                  <a:lnTo>
                    <a:pt x="1514" y="437"/>
                  </a:lnTo>
                  <a:lnTo>
                    <a:pt x="1514" y="440"/>
                  </a:lnTo>
                  <a:lnTo>
                    <a:pt x="1511" y="440"/>
                  </a:lnTo>
                  <a:lnTo>
                    <a:pt x="1511" y="442"/>
                  </a:lnTo>
                  <a:lnTo>
                    <a:pt x="1511" y="442"/>
                  </a:lnTo>
                  <a:lnTo>
                    <a:pt x="1514" y="440"/>
                  </a:lnTo>
                  <a:lnTo>
                    <a:pt x="1514" y="442"/>
                  </a:lnTo>
                  <a:lnTo>
                    <a:pt x="1514" y="442"/>
                  </a:lnTo>
                  <a:lnTo>
                    <a:pt x="1514" y="442"/>
                  </a:lnTo>
                  <a:lnTo>
                    <a:pt x="1514" y="442"/>
                  </a:lnTo>
                  <a:lnTo>
                    <a:pt x="1516" y="442"/>
                  </a:lnTo>
                  <a:lnTo>
                    <a:pt x="1516" y="442"/>
                  </a:lnTo>
                  <a:lnTo>
                    <a:pt x="1514" y="444"/>
                  </a:lnTo>
                  <a:lnTo>
                    <a:pt x="1516" y="444"/>
                  </a:lnTo>
                  <a:lnTo>
                    <a:pt x="1516" y="449"/>
                  </a:lnTo>
                  <a:lnTo>
                    <a:pt x="1516" y="449"/>
                  </a:lnTo>
                  <a:lnTo>
                    <a:pt x="1516" y="452"/>
                  </a:lnTo>
                  <a:lnTo>
                    <a:pt x="1516" y="452"/>
                  </a:lnTo>
                  <a:lnTo>
                    <a:pt x="1514" y="452"/>
                  </a:lnTo>
                  <a:lnTo>
                    <a:pt x="1514" y="452"/>
                  </a:lnTo>
                  <a:lnTo>
                    <a:pt x="1516" y="454"/>
                  </a:lnTo>
                  <a:lnTo>
                    <a:pt x="1518" y="454"/>
                  </a:lnTo>
                  <a:lnTo>
                    <a:pt x="1518" y="454"/>
                  </a:lnTo>
                  <a:lnTo>
                    <a:pt x="1518" y="452"/>
                  </a:lnTo>
                  <a:lnTo>
                    <a:pt x="1518" y="452"/>
                  </a:lnTo>
                  <a:lnTo>
                    <a:pt x="1518" y="452"/>
                  </a:lnTo>
                  <a:lnTo>
                    <a:pt x="1518" y="452"/>
                  </a:lnTo>
                  <a:lnTo>
                    <a:pt x="1521" y="452"/>
                  </a:lnTo>
                  <a:lnTo>
                    <a:pt x="1518" y="452"/>
                  </a:lnTo>
                  <a:lnTo>
                    <a:pt x="1518" y="449"/>
                  </a:lnTo>
                  <a:lnTo>
                    <a:pt x="1518" y="449"/>
                  </a:lnTo>
                  <a:lnTo>
                    <a:pt x="1518" y="447"/>
                  </a:lnTo>
                  <a:lnTo>
                    <a:pt x="1518" y="447"/>
                  </a:lnTo>
                  <a:lnTo>
                    <a:pt x="1521" y="444"/>
                  </a:lnTo>
                  <a:lnTo>
                    <a:pt x="1523" y="444"/>
                  </a:lnTo>
                  <a:lnTo>
                    <a:pt x="1523" y="444"/>
                  </a:lnTo>
                  <a:lnTo>
                    <a:pt x="1523" y="444"/>
                  </a:lnTo>
                  <a:lnTo>
                    <a:pt x="1523" y="442"/>
                  </a:lnTo>
                  <a:lnTo>
                    <a:pt x="1523" y="442"/>
                  </a:lnTo>
                  <a:lnTo>
                    <a:pt x="1523" y="442"/>
                  </a:lnTo>
                  <a:lnTo>
                    <a:pt x="1523" y="442"/>
                  </a:lnTo>
                  <a:lnTo>
                    <a:pt x="1523" y="440"/>
                  </a:lnTo>
                  <a:lnTo>
                    <a:pt x="1523" y="440"/>
                  </a:lnTo>
                  <a:lnTo>
                    <a:pt x="1526" y="437"/>
                  </a:lnTo>
                  <a:lnTo>
                    <a:pt x="1526" y="440"/>
                  </a:lnTo>
                  <a:lnTo>
                    <a:pt x="1526" y="440"/>
                  </a:lnTo>
                  <a:lnTo>
                    <a:pt x="1526" y="440"/>
                  </a:lnTo>
                  <a:lnTo>
                    <a:pt x="1526" y="437"/>
                  </a:lnTo>
                  <a:lnTo>
                    <a:pt x="1528" y="437"/>
                  </a:lnTo>
                  <a:lnTo>
                    <a:pt x="1528" y="437"/>
                  </a:lnTo>
                  <a:lnTo>
                    <a:pt x="1526" y="437"/>
                  </a:lnTo>
                  <a:lnTo>
                    <a:pt x="1526" y="435"/>
                  </a:lnTo>
                  <a:lnTo>
                    <a:pt x="1526" y="435"/>
                  </a:lnTo>
                  <a:lnTo>
                    <a:pt x="1528" y="435"/>
                  </a:lnTo>
                  <a:lnTo>
                    <a:pt x="1530" y="437"/>
                  </a:lnTo>
                  <a:lnTo>
                    <a:pt x="1530" y="437"/>
                  </a:lnTo>
                  <a:lnTo>
                    <a:pt x="1528" y="440"/>
                  </a:lnTo>
                  <a:lnTo>
                    <a:pt x="1528" y="440"/>
                  </a:lnTo>
                  <a:lnTo>
                    <a:pt x="1530" y="440"/>
                  </a:lnTo>
                  <a:lnTo>
                    <a:pt x="1530" y="442"/>
                  </a:lnTo>
                  <a:lnTo>
                    <a:pt x="1526" y="442"/>
                  </a:lnTo>
                  <a:lnTo>
                    <a:pt x="1528" y="442"/>
                  </a:lnTo>
                  <a:lnTo>
                    <a:pt x="1530" y="444"/>
                  </a:lnTo>
                  <a:lnTo>
                    <a:pt x="1528" y="447"/>
                  </a:lnTo>
                  <a:lnTo>
                    <a:pt x="1528" y="447"/>
                  </a:lnTo>
                  <a:lnTo>
                    <a:pt x="1528" y="447"/>
                  </a:lnTo>
                  <a:lnTo>
                    <a:pt x="1526" y="449"/>
                  </a:lnTo>
                  <a:lnTo>
                    <a:pt x="1528" y="449"/>
                  </a:lnTo>
                  <a:lnTo>
                    <a:pt x="1528" y="447"/>
                  </a:lnTo>
                  <a:lnTo>
                    <a:pt x="1530" y="447"/>
                  </a:lnTo>
                  <a:lnTo>
                    <a:pt x="1528" y="449"/>
                  </a:lnTo>
                  <a:lnTo>
                    <a:pt x="1528" y="449"/>
                  </a:lnTo>
                  <a:lnTo>
                    <a:pt x="1528" y="452"/>
                  </a:lnTo>
                  <a:lnTo>
                    <a:pt x="1528" y="452"/>
                  </a:lnTo>
                  <a:lnTo>
                    <a:pt x="1528" y="449"/>
                  </a:lnTo>
                  <a:lnTo>
                    <a:pt x="1528" y="449"/>
                  </a:lnTo>
                  <a:lnTo>
                    <a:pt x="1528" y="449"/>
                  </a:lnTo>
                  <a:lnTo>
                    <a:pt x="1530" y="449"/>
                  </a:lnTo>
                  <a:lnTo>
                    <a:pt x="1530" y="447"/>
                  </a:lnTo>
                  <a:lnTo>
                    <a:pt x="1533" y="447"/>
                  </a:lnTo>
                  <a:lnTo>
                    <a:pt x="1533" y="449"/>
                  </a:lnTo>
                  <a:lnTo>
                    <a:pt x="1533" y="452"/>
                  </a:lnTo>
                  <a:lnTo>
                    <a:pt x="1533" y="452"/>
                  </a:lnTo>
                  <a:lnTo>
                    <a:pt x="1533" y="452"/>
                  </a:lnTo>
                  <a:lnTo>
                    <a:pt x="1533" y="452"/>
                  </a:lnTo>
                  <a:lnTo>
                    <a:pt x="1530" y="454"/>
                  </a:lnTo>
                  <a:lnTo>
                    <a:pt x="1530" y="456"/>
                  </a:lnTo>
                  <a:lnTo>
                    <a:pt x="1530" y="456"/>
                  </a:lnTo>
                  <a:lnTo>
                    <a:pt x="1533" y="456"/>
                  </a:lnTo>
                  <a:lnTo>
                    <a:pt x="1533" y="456"/>
                  </a:lnTo>
                  <a:lnTo>
                    <a:pt x="1533" y="454"/>
                  </a:lnTo>
                  <a:lnTo>
                    <a:pt x="1533" y="452"/>
                  </a:lnTo>
                  <a:lnTo>
                    <a:pt x="1535" y="454"/>
                  </a:lnTo>
                  <a:lnTo>
                    <a:pt x="1535" y="456"/>
                  </a:lnTo>
                  <a:lnTo>
                    <a:pt x="1535" y="456"/>
                  </a:lnTo>
                  <a:lnTo>
                    <a:pt x="1535" y="456"/>
                  </a:lnTo>
                  <a:lnTo>
                    <a:pt x="1535" y="456"/>
                  </a:lnTo>
                  <a:lnTo>
                    <a:pt x="1535" y="454"/>
                  </a:lnTo>
                  <a:lnTo>
                    <a:pt x="1535" y="452"/>
                  </a:lnTo>
                  <a:lnTo>
                    <a:pt x="1535" y="452"/>
                  </a:lnTo>
                  <a:lnTo>
                    <a:pt x="1535" y="452"/>
                  </a:lnTo>
                  <a:lnTo>
                    <a:pt x="1535" y="452"/>
                  </a:lnTo>
                  <a:lnTo>
                    <a:pt x="1535" y="452"/>
                  </a:lnTo>
                  <a:lnTo>
                    <a:pt x="1535" y="449"/>
                  </a:lnTo>
                  <a:lnTo>
                    <a:pt x="1535" y="449"/>
                  </a:lnTo>
                  <a:lnTo>
                    <a:pt x="1537" y="449"/>
                  </a:lnTo>
                  <a:lnTo>
                    <a:pt x="1537" y="449"/>
                  </a:lnTo>
                  <a:lnTo>
                    <a:pt x="1537" y="447"/>
                  </a:lnTo>
                  <a:lnTo>
                    <a:pt x="1537" y="447"/>
                  </a:lnTo>
                  <a:lnTo>
                    <a:pt x="1540" y="447"/>
                  </a:lnTo>
                  <a:lnTo>
                    <a:pt x="1540" y="447"/>
                  </a:lnTo>
                  <a:lnTo>
                    <a:pt x="1542" y="452"/>
                  </a:lnTo>
                  <a:lnTo>
                    <a:pt x="1542" y="456"/>
                  </a:lnTo>
                  <a:lnTo>
                    <a:pt x="1542" y="456"/>
                  </a:lnTo>
                  <a:lnTo>
                    <a:pt x="1542" y="459"/>
                  </a:lnTo>
                  <a:lnTo>
                    <a:pt x="1542" y="459"/>
                  </a:lnTo>
                  <a:lnTo>
                    <a:pt x="1542" y="459"/>
                  </a:lnTo>
                  <a:lnTo>
                    <a:pt x="1542" y="456"/>
                  </a:lnTo>
                  <a:lnTo>
                    <a:pt x="1544" y="456"/>
                  </a:lnTo>
                  <a:lnTo>
                    <a:pt x="1544" y="454"/>
                  </a:lnTo>
                  <a:lnTo>
                    <a:pt x="1542" y="452"/>
                  </a:lnTo>
                  <a:lnTo>
                    <a:pt x="1544" y="447"/>
                  </a:lnTo>
                  <a:lnTo>
                    <a:pt x="1547" y="447"/>
                  </a:lnTo>
                  <a:lnTo>
                    <a:pt x="1547" y="447"/>
                  </a:lnTo>
                  <a:lnTo>
                    <a:pt x="1547" y="449"/>
                  </a:lnTo>
                  <a:lnTo>
                    <a:pt x="1549" y="452"/>
                  </a:lnTo>
                  <a:lnTo>
                    <a:pt x="1549" y="452"/>
                  </a:lnTo>
                  <a:lnTo>
                    <a:pt x="1549" y="452"/>
                  </a:lnTo>
                  <a:lnTo>
                    <a:pt x="1549" y="449"/>
                  </a:lnTo>
                  <a:lnTo>
                    <a:pt x="1552" y="449"/>
                  </a:lnTo>
                  <a:lnTo>
                    <a:pt x="1552" y="452"/>
                  </a:lnTo>
                  <a:lnTo>
                    <a:pt x="1552" y="449"/>
                  </a:lnTo>
                  <a:lnTo>
                    <a:pt x="1552" y="449"/>
                  </a:lnTo>
                  <a:lnTo>
                    <a:pt x="1549" y="449"/>
                  </a:lnTo>
                  <a:lnTo>
                    <a:pt x="1547" y="447"/>
                  </a:lnTo>
                  <a:lnTo>
                    <a:pt x="1547" y="444"/>
                  </a:lnTo>
                  <a:lnTo>
                    <a:pt x="1549" y="444"/>
                  </a:lnTo>
                  <a:lnTo>
                    <a:pt x="1552" y="447"/>
                  </a:lnTo>
                  <a:lnTo>
                    <a:pt x="1552" y="444"/>
                  </a:lnTo>
                  <a:lnTo>
                    <a:pt x="1549" y="442"/>
                  </a:lnTo>
                  <a:lnTo>
                    <a:pt x="1552" y="442"/>
                  </a:lnTo>
                  <a:lnTo>
                    <a:pt x="1552" y="442"/>
                  </a:lnTo>
                  <a:lnTo>
                    <a:pt x="1552" y="442"/>
                  </a:lnTo>
                  <a:lnTo>
                    <a:pt x="1554" y="442"/>
                  </a:lnTo>
                  <a:lnTo>
                    <a:pt x="1554" y="442"/>
                  </a:lnTo>
                  <a:lnTo>
                    <a:pt x="1554" y="442"/>
                  </a:lnTo>
                  <a:lnTo>
                    <a:pt x="1554" y="444"/>
                  </a:lnTo>
                  <a:lnTo>
                    <a:pt x="1554" y="444"/>
                  </a:lnTo>
                  <a:lnTo>
                    <a:pt x="1556" y="447"/>
                  </a:lnTo>
                  <a:lnTo>
                    <a:pt x="1556" y="447"/>
                  </a:lnTo>
                  <a:lnTo>
                    <a:pt x="1556" y="447"/>
                  </a:lnTo>
                  <a:lnTo>
                    <a:pt x="1556" y="449"/>
                  </a:lnTo>
                  <a:lnTo>
                    <a:pt x="1559" y="449"/>
                  </a:lnTo>
                  <a:lnTo>
                    <a:pt x="1559" y="449"/>
                  </a:lnTo>
                  <a:lnTo>
                    <a:pt x="1559" y="452"/>
                  </a:lnTo>
                  <a:lnTo>
                    <a:pt x="1559" y="452"/>
                  </a:lnTo>
                  <a:lnTo>
                    <a:pt x="1559" y="452"/>
                  </a:lnTo>
                  <a:lnTo>
                    <a:pt x="1559" y="449"/>
                  </a:lnTo>
                  <a:lnTo>
                    <a:pt x="1556" y="452"/>
                  </a:lnTo>
                  <a:lnTo>
                    <a:pt x="1556" y="449"/>
                  </a:lnTo>
                  <a:lnTo>
                    <a:pt x="1556" y="449"/>
                  </a:lnTo>
                  <a:lnTo>
                    <a:pt x="1556" y="452"/>
                  </a:lnTo>
                  <a:lnTo>
                    <a:pt x="1556" y="452"/>
                  </a:lnTo>
                  <a:lnTo>
                    <a:pt x="1556" y="452"/>
                  </a:lnTo>
                  <a:lnTo>
                    <a:pt x="1554" y="454"/>
                  </a:lnTo>
                  <a:lnTo>
                    <a:pt x="1554" y="452"/>
                  </a:lnTo>
                  <a:lnTo>
                    <a:pt x="1554" y="452"/>
                  </a:lnTo>
                  <a:lnTo>
                    <a:pt x="1554" y="456"/>
                  </a:lnTo>
                  <a:lnTo>
                    <a:pt x="1552" y="456"/>
                  </a:lnTo>
                  <a:lnTo>
                    <a:pt x="1554" y="456"/>
                  </a:lnTo>
                  <a:lnTo>
                    <a:pt x="1554" y="456"/>
                  </a:lnTo>
                  <a:lnTo>
                    <a:pt x="1554" y="459"/>
                  </a:lnTo>
                  <a:lnTo>
                    <a:pt x="1554" y="461"/>
                  </a:lnTo>
                  <a:lnTo>
                    <a:pt x="1554" y="463"/>
                  </a:lnTo>
                  <a:lnTo>
                    <a:pt x="1552" y="463"/>
                  </a:lnTo>
                  <a:lnTo>
                    <a:pt x="1552" y="463"/>
                  </a:lnTo>
                  <a:lnTo>
                    <a:pt x="1552" y="463"/>
                  </a:lnTo>
                  <a:lnTo>
                    <a:pt x="1552" y="463"/>
                  </a:lnTo>
                  <a:lnTo>
                    <a:pt x="1549" y="463"/>
                  </a:lnTo>
                  <a:lnTo>
                    <a:pt x="1549" y="463"/>
                  </a:lnTo>
                  <a:lnTo>
                    <a:pt x="1547" y="466"/>
                  </a:lnTo>
                  <a:lnTo>
                    <a:pt x="1549" y="466"/>
                  </a:lnTo>
                  <a:lnTo>
                    <a:pt x="1552" y="466"/>
                  </a:lnTo>
                  <a:lnTo>
                    <a:pt x="1549" y="466"/>
                  </a:lnTo>
                  <a:lnTo>
                    <a:pt x="1552" y="466"/>
                  </a:lnTo>
                  <a:lnTo>
                    <a:pt x="1554" y="463"/>
                  </a:lnTo>
                  <a:lnTo>
                    <a:pt x="1552" y="466"/>
                  </a:lnTo>
                  <a:lnTo>
                    <a:pt x="1554" y="466"/>
                  </a:lnTo>
                  <a:lnTo>
                    <a:pt x="1554" y="466"/>
                  </a:lnTo>
                  <a:lnTo>
                    <a:pt x="1556" y="463"/>
                  </a:lnTo>
                  <a:lnTo>
                    <a:pt x="1559" y="463"/>
                  </a:lnTo>
                  <a:lnTo>
                    <a:pt x="1559" y="463"/>
                  </a:lnTo>
                  <a:lnTo>
                    <a:pt x="1559" y="466"/>
                  </a:lnTo>
                  <a:lnTo>
                    <a:pt x="1561" y="466"/>
                  </a:lnTo>
                  <a:lnTo>
                    <a:pt x="1561" y="466"/>
                  </a:lnTo>
                  <a:lnTo>
                    <a:pt x="1561" y="466"/>
                  </a:lnTo>
                  <a:lnTo>
                    <a:pt x="1563" y="463"/>
                  </a:lnTo>
                  <a:lnTo>
                    <a:pt x="1563" y="463"/>
                  </a:lnTo>
                  <a:lnTo>
                    <a:pt x="1563" y="461"/>
                  </a:lnTo>
                  <a:lnTo>
                    <a:pt x="1563" y="461"/>
                  </a:lnTo>
                  <a:lnTo>
                    <a:pt x="1563" y="459"/>
                  </a:lnTo>
                  <a:lnTo>
                    <a:pt x="1563" y="459"/>
                  </a:lnTo>
                  <a:lnTo>
                    <a:pt x="1566" y="456"/>
                  </a:lnTo>
                  <a:lnTo>
                    <a:pt x="1568" y="459"/>
                  </a:lnTo>
                  <a:lnTo>
                    <a:pt x="1566" y="459"/>
                  </a:lnTo>
                  <a:lnTo>
                    <a:pt x="1566" y="461"/>
                  </a:lnTo>
                  <a:lnTo>
                    <a:pt x="1566" y="463"/>
                  </a:lnTo>
                  <a:lnTo>
                    <a:pt x="1568" y="466"/>
                  </a:lnTo>
                  <a:lnTo>
                    <a:pt x="1568" y="468"/>
                  </a:lnTo>
                  <a:lnTo>
                    <a:pt x="1568" y="466"/>
                  </a:lnTo>
                  <a:lnTo>
                    <a:pt x="1568" y="463"/>
                  </a:lnTo>
                  <a:lnTo>
                    <a:pt x="1568" y="466"/>
                  </a:lnTo>
                  <a:lnTo>
                    <a:pt x="1568" y="463"/>
                  </a:lnTo>
                  <a:lnTo>
                    <a:pt x="1568" y="463"/>
                  </a:lnTo>
                  <a:lnTo>
                    <a:pt x="1568" y="463"/>
                  </a:lnTo>
                  <a:lnTo>
                    <a:pt x="1570" y="463"/>
                  </a:lnTo>
                  <a:lnTo>
                    <a:pt x="1568" y="461"/>
                  </a:lnTo>
                  <a:lnTo>
                    <a:pt x="1568" y="459"/>
                  </a:lnTo>
                  <a:lnTo>
                    <a:pt x="1570" y="459"/>
                  </a:lnTo>
                  <a:lnTo>
                    <a:pt x="1570" y="456"/>
                  </a:lnTo>
                  <a:lnTo>
                    <a:pt x="1570" y="456"/>
                  </a:lnTo>
                  <a:lnTo>
                    <a:pt x="1570" y="456"/>
                  </a:lnTo>
                  <a:lnTo>
                    <a:pt x="1570" y="456"/>
                  </a:lnTo>
                  <a:lnTo>
                    <a:pt x="1570" y="456"/>
                  </a:lnTo>
                  <a:lnTo>
                    <a:pt x="1570" y="454"/>
                  </a:lnTo>
                  <a:lnTo>
                    <a:pt x="1573" y="454"/>
                  </a:lnTo>
                  <a:lnTo>
                    <a:pt x="1573" y="454"/>
                  </a:lnTo>
                  <a:lnTo>
                    <a:pt x="1575" y="454"/>
                  </a:lnTo>
                  <a:lnTo>
                    <a:pt x="1575" y="456"/>
                  </a:lnTo>
                  <a:lnTo>
                    <a:pt x="1578" y="456"/>
                  </a:lnTo>
                  <a:lnTo>
                    <a:pt x="1578" y="454"/>
                  </a:lnTo>
                  <a:lnTo>
                    <a:pt x="1578" y="452"/>
                  </a:lnTo>
                  <a:lnTo>
                    <a:pt x="1580" y="452"/>
                  </a:lnTo>
                  <a:lnTo>
                    <a:pt x="1580" y="452"/>
                  </a:lnTo>
                  <a:lnTo>
                    <a:pt x="1578" y="452"/>
                  </a:lnTo>
                  <a:lnTo>
                    <a:pt x="1582" y="452"/>
                  </a:lnTo>
                  <a:lnTo>
                    <a:pt x="1582" y="452"/>
                  </a:lnTo>
                  <a:lnTo>
                    <a:pt x="1582" y="454"/>
                  </a:lnTo>
                  <a:lnTo>
                    <a:pt x="1582" y="456"/>
                  </a:lnTo>
                  <a:lnTo>
                    <a:pt x="1580" y="456"/>
                  </a:lnTo>
                  <a:lnTo>
                    <a:pt x="1580" y="456"/>
                  </a:lnTo>
                  <a:lnTo>
                    <a:pt x="1578" y="456"/>
                  </a:lnTo>
                  <a:lnTo>
                    <a:pt x="1578" y="456"/>
                  </a:lnTo>
                  <a:lnTo>
                    <a:pt x="1575" y="459"/>
                  </a:lnTo>
                  <a:lnTo>
                    <a:pt x="1575" y="459"/>
                  </a:lnTo>
                  <a:lnTo>
                    <a:pt x="1575" y="459"/>
                  </a:lnTo>
                  <a:lnTo>
                    <a:pt x="1573" y="461"/>
                  </a:lnTo>
                  <a:lnTo>
                    <a:pt x="1575" y="461"/>
                  </a:lnTo>
                  <a:lnTo>
                    <a:pt x="1575" y="461"/>
                  </a:lnTo>
                  <a:lnTo>
                    <a:pt x="1575" y="461"/>
                  </a:lnTo>
                  <a:lnTo>
                    <a:pt x="1575" y="463"/>
                  </a:lnTo>
                  <a:lnTo>
                    <a:pt x="1578" y="463"/>
                  </a:lnTo>
                  <a:lnTo>
                    <a:pt x="1575" y="463"/>
                  </a:lnTo>
                  <a:lnTo>
                    <a:pt x="1575" y="463"/>
                  </a:lnTo>
                  <a:lnTo>
                    <a:pt x="1575" y="463"/>
                  </a:lnTo>
                  <a:lnTo>
                    <a:pt x="1578" y="466"/>
                  </a:lnTo>
                  <a:lnTo>
                    <a:pt x="1575" y="466"/>
                  </a:lnTo>
                  <a:lnTo>
                    <a:pt x="1575" y="466"/>
                  </a:lnTo>
                  <a:lnTo>
                    <a:pt x="1575" y="463"/>
                  </a:lnTo>
                  <a:lnTo>
                    <a:pt x="1573" y="466"/>
                  </a:lnTo>
                  <a:lnTo>
                    <a:pt x="1573" y="466"/>
                  </a:lnTo>
                  <a:lnTo>
                    <a:pt x="1573" y="466"/>
                  </a:lnTo>
                  <a:lnTo>
                    <a:pt x="1575" y="466"/>
                  </a:lnTo>
                  <a:lnTo>
                    <a:pt x="1578" y="466"/>
                  </a:lnTo>
                  <a:lnTo>
                    <a:pt x="1578" y="470"/>
                  </a:lnTo>
                  <a:lnTo>
                    <a:pt x="1575" y="470"/>
                  </a:lnTo>
                  <a:lnTo>
                    <a:pt x="1575" y="468"/>
                  </a:lnTo>
                  <a:lnTo>
                    <a:pt x="1573" y="470"/>
                  </a:lnTo>
                  <a:lnTo>
                    <a:pt x="1575" y="470"/>
                  </a:lnTo>
                  <a:lnTo>
                    <a:pt x="1575" y="473"/>
                  </a:lnTo>
                  <a:lnTo>
                    <a:pt x="1575" y="473"/>
                  </a:lnTo>
                  <a:lnTo>
                    <a:pt x="1575" y="473"/>
                  </a:lnTo>
                  <a:lnTo>
                    <a:pt x="1575" y="475"/>
                  </a:lnTo>
                  <a:lnTo>
                    <a:pt x="1573" y="475"/>
                  </a:lnTo>
                  <a:lnTo>
                    <a:pt x="1575" y="475"/>
                  </a:lnTo>
                  <a:lnTo>
                    <a:pt x="1575" y="478"/>
                  </a:lnTo>
                  <a:lnTo>
                    <a:pt x="1575" y="475"/>
                  </a:lnTo>
                  <a:lnTo>
                    <a:pt x="1578" y="473"/>
                  </a:lnTo>
                  <a:lnTo>
                    <a:pt x="1578" y="475"/>
                  </a:lnTo>
                  <a:lnTo>
                    <a:pt x="1578" y="473"/>
                  </a:lnTo>
                  <a:lnTo>
                    <a:pt x="1578" y="473"/>
                  </a:lnTo>
                  <a:lnTo>
                    <a:pt x="1578" y="473"/>
                  </a:lnTo>
                  <a:lnTo>
                    <a:pt x="1580" y="473"/>
                  </a:lnTo>
                  <a:lnTo>
                    <a:pt x="1582" y="473"/>
                  </a:lnTo>
                  <a:lnTo>
                    <a:pt x="1582" y="473"/>
                  </a:lnTo>
                  <a:lnTo>
                    <a:pt x="1582" y="475"/>
                  </a:lnTo>
                  <a:lnTo>
                    <a:pt x="1582" y="475"/>
                  </a:lnTo>
                  <a:lnTo>
                    <a:pt x="1582" y="475"/>
                  </a:lnTo>
                  <a:lnTo>
                    <a:pt x="1580" y="478"/>
                  </a:lnTo>
                  <a:lnTo>
                    <a:pt x="1580" y="478"/>
                  </a:lnTo>
                  <a:lnTo>
                    <a:pt x="1582" y="478"/>
                  </a:lnTo>
                  <a:lnTo>
                    <a:pt x="1582" y="478"/>
                  </a:lnTo>
                  <a:lnTo>
                    <a:pt x="1582" y="478"/>
                  </a:lnTo>
                  <a:lnTo>
                    <a:pt x="1582" y="478"/>
                  </a:lnTo>
                  <a:lnTo>
                    <a:pt x="1585" y="475"/>
                  </a:lnTo>
                  <a:lnTo>
                    <a:pt x="1582" y="473"/>
                  </a:lnTo>
                  <a:lnTo>
                    <a:pt x="1582" y="470"/>
                  </a:lnTo>
                  <a:lnTo>
                    <a:pt x="1582" y="470"/>
                  </a:lnTo>
                  <a:lnTo>
                    <a:pt x="1582" y="468"/>
                  </a:lnTo>
                  <a:lnTo>
                    <a:pt x="1582" y="468"/>
                  </a:lnTo>
                  <a:lnTo>
                    <a:pt x="1585" y="468"/>
                  </a:lnTo>
                  <a:lnTo>
                    <a:pt x="1587" y="468"/>
                  </a:lnTo>
                  <a:lnTo>
                    <a:pt x="1587" y="473"/>
                  </a:lnTo>
                  <a:lnTo>
                    <a:pt x="1587" y="475"/>
                  </a:lnTo>
                  <a:lnTo>
                    <a:pt x="1587" y="475"/>
                  </a:lnTo>
                  <a:lnTo>
                    <a:pt x="1587" y="478"/>
                  </a:lnTo>
                  <a:lnTo>
                    <a:pt x="1589" y="478"/>
                  </a:lnTo>
                  <a:lnTo>
                    <a:pt x="1587" y="475"/>
                  </a:lnTo>
                  <a:lnTo>
                    <a:pt x="1587" y="473"/>
                  </a:lnTo>
                  <a:lnTo>
                    <a:pt x="1589" y="473"/>
                  </a:lnTo>
                  <a:lnTo>
                    <a:pt x="1589" y="473"/>
                  </a:lnTo>
                  <a:lnTo>
                    <a:pt x="1589" y="470"/>
                  </a:lnTo>
                  <a:lnTo>
                    <a:pt x="1592" y="468"/>
                  </a:lnTo>
                  <a:lnTo>
                    <a:pt x="1592" y="468"/>
                  </a:lnTo>
                  <a:lnTo>
                    <a:pt x="1592" y="470"/>
                  </a:lnTo>
                  <a:lnTo>
                    <a:pt x="1592" y="473"/>
                  </a:lnTo>
                  <a:lnTo>
                    <a:pt x="1592" y="475"/>
                  </a:lnTo>
                  <a:lnTo>
                    <a:pt x="1592" y="475"/>
                  </a:lnTo>
                  <a:lnTo>
                    <a:pt x="1592" y="478"/>
                  </a:lnTo>
                  <a:lnTo>
                    <a:pt x="1592" y="480"/>
                  </a:lnTo>
                  <a:lnTo>
                    <a:pt x="1592" y="480"/>
                  </a:lnTo>
                  <a:lnTo>
                    <a:pt x="1592" y="480"/>
                  </a:lnTo>
                  <a:lnTo>
                    <a:pt x="1594" y="480"/>
                  </a:lnTo>
                  <a:lnTo>
                    <a:pt x="1596" y="482"/>
                  </a:lnTo>
                  <a:lnTo>
                    <a:pt x="1596" y="480"/>
                  </a:lnTo>
                  <a:lnTo>
                    <a:pt x="1596" y="478"/>
                  </a:lnTo>
                  <a:lnTo>
                    <a:pt x="1592" y="478"/>
                  </a:lnTo>
                  <a:lnTo>
                    <a:pt x="1592" y="478"/>
                  </a:lnTo>
                  <a:lnTo>
                    <a:pt x="1594" y="478"/>
                  </a:lnTo>
                  <a:lnTo>
                    <a:pt x="1594" y="475"/>
                  </a:lnTo>
                  <a:lnTo>
                    <a:pt x="1594" y="473"/>
                  </a:lnTo>
                  <a:lnTo>
                    <a:pt x="1596" y="473"/>
                  </a:lnTo>
                  <a:lnTo>
                    <a:pt x="1596" y="473"/>
                  </a:lnTo>
                  <a:lnTo>
                    <a:pt x="1596" y="473"/>
                  </a:lnTo>
                  <a:lnTo>
                    <a:pt x="1599" y="475"/>
                  </a:lnTo>
                  <a:lnTo>
                    <a:pt x="1596" y="478"/>
                  </a:lnTo>
                  <a:lnTo>
                    <a:pt x="1599" y="478"/>
                  </a:lnTo>
                  <a:lnTo>
                    <a:pt x="1599" y="475"/>
                  </a:lnTo>
                  <a:lnTo>
                    <a:pt x="1599" y="475"/>
                  </a:lnTo>
                  <a:lnTo>
                    <a:pt x="1599" y="475"/>
                  </a:lnTo>
                  <a:lnTo>
                    <a:pt x="1599" y="475"/>
                  </a:lnTo>
                  <a:lnTo>
                    <a:pt x="1599" y="473"/>
                  </a:lnTo>
                  <a:lnTo>
                    <a:pt x="1596" y="470"/>
                  </a:lnTo>
                  <a:lnTo>
                    <a:pt x="1599" y="468"/>
                  </a:lnTo>
                  <a:lnTo>
                    <a:pt x="1599" y="470"/>
                  </a:lnTo>
                  <a:lnTo>
                    <a:pt x="1601" y="468"/>
                  </a:lnTo>
                  <a:lnTo>
                    <a:pt x="1601" y="468"/>
                  </a:lnTo>
                  <a:lnTo>
                    <a:pt x="1601" y="468"/>
                  </a:lnTo>
                  <a:lnTo>
                    <a:pt x="1601" y="468"/>
                  </a:lnTo>
                  <a:lnTo>
                    <a:pt x="1599" y="468"/>
                  </a:lnTo>
                  <a:lnTo>
                    <a:pt x="1601" y="466"/>
                  </a:lnTo>
                  <a:lnTo>
                    <a:pt x="1601" y="466"/>
                  </a:lnTo>
                  <a:lnTo>
                    <a:pt x="1601" y="463"/>
                  </a:lnTo>
                  <a:lnTo>
                    <a:pt x="1601" y="463"/>
                  </a:lnTo>
                  <a:lnTo>
                    <a:pt x="1601" y="461"/>
                  </a:lnTo>
                  <a:lnTo>
                    <a:pt x="1604" y="463"/>
                  </a:lnTo>
                  <a:lnTo>
                    <a:pt x="1601" y="461"/>
                  </a:lnTo>
                  <a:lnTo>
                    <a:pt x="1606" y="461"/>
                  </a:lnTo>
                  <a:lnTo>
                    <a:pt x="1604" y="461"/>
                  </a:lnTo>
                  <a:lnTo>
                    <a:pt x="1601" y="461"/>
                  </a:lnTo>
                  <a:lnTo>
                    <a:pt x="1601" y="461"/>
                  </a:lnTo>
                  <a:lnTo>
                    <a:pt x="1601" y="459"/>
                  </a:lnTo>
                  <a:lnTo>
                    <a:pt x="1604" y="459"/>
                  </a:lnTo>
                  <a:lnTo>
                    <a:pt x="1604" y="459"/>
                  </a:lnTo>
                  <a:lnTo>
                    <a:pt x="1604" y="459"/>
                  </a:lnTo>
                  <a:lnTo>
                    <a:pt x="1606" y="459"/>
                  </a:lnTo>
                  <a:lnTo>
                    <a:pt x="1606" y="459"/>
                  </a:lnTo>
                  <a:lnTo>
                    <a:pt x="1608" y="456"/>
                  </a:lnTo>
                  <a:lnTo>
                    <a:pt x="1608" y="456"/>
                  </a:lnTo>
                  <a:lnTo>
                    <a:pt x="1608" y="456"/>
                  </a:lnTo>
                  <a:lnTo>
                    <a:pt x="1611" y="456"/>
                  </a:lnTo>
                  <a:lnTo>
                    <a:pt x="1611" y="456"/>
                  </a:lnTo>
                  <a:lnTo>
                    <a:pt x="1611" y="461"/>
                  </a:lnTo>
                  <a:lnTo>
                    <a:pt x="1611" y="461"/>
                  </a:lnTo>
                  <a:lnTo>
                    <a:pt x="1608" y="461"/>
                  </a:lnTo>
                  <a:lnTo>
                    <a:pt x="1608" y="463"/>
                  </a:lnTo>
                  <a:lnTo>
                    <a:pt x="1608" y="463"/>
                  </a:lnTo>
                  <a:lnTo>
                    <a:pt x="1611" y="463"/>
                  </a:lnTo>
                  <a:lnTo>
                    <a:pt x="1608" y="466"/>
                  </a:lnTo>
                  <a:lnTo>
                    <a:pt x="1608" y="466"/>
                  </a:lnTo>
                  <a:lnTo>
                    <a:pt x="1606" y="466"/>
                  </a:lnTo>
                  <a:lnTo>
                    <a:pt x="1608" y="468"/>
                  </a:lnTo>
                  <a:lnTo>
                    <a:pt x="1606" y="468"/>
                  </a:lnTo>
                  <a:lnTo>
                    <a:pt x="1606" y="468"/>
                  </a:lnTo>
                  <a:lnTo>
                    <a:pt x="1606" y="468"/>
                  </a:lnTo>
                  <a:lnTo>
                    <a:pt x="1604" y="468"/>
                  </a:lnTo>
                  <a:lnTo>
                    <a:pt x="1606" y="468"/>
                  </a:lnTo>
                  <a:lnTo>
                    <a:pt x="1608" y="468"/>
                  </a:lnTo>
                  <a:lnTo>
                    <a:pt x="1608" y="468"/>
                  </a:lnTo>
                  <a:lnTo>
                    <a:pt x="1608" y="468"/>
                  </a:lnTo>
                  <a:lnTo>
                    <a:pt x="1608" y="468"/>
                  </a:lnTo>
                  <a:lnTo>
                    <a:pt x="1608" y="468"/>
                  </a:lnTo>
                  <a:lnTo>
                    <a:pt x="1608" y="473"/>
                  </a:lnTo>
                  <a:lnTo>
                    <a:pt x="1608" y="473"/>
                  </a:lnTo>
                  <a:lnTo>
                    <a:pt x="1608" y="473"/>
                  </a:lnTo>
                  <a:lnTo>
                    <a:pt x="1608" y="475"/>
                  </a:lnTo>
                  <a:lnTo>
                    <a:pt x="1608" y="478"/>
                  </a:lnTo>
                  <a:lnTo>
                    <a:pt x="1608" y="478"/>
                  </a:lnTo>
                  <a:lnTo>
                    <a:pt x="1606" y="480"/>
                  </a:lnTo>
                  <a:lnTo>
                    <a:pt x="1604" y="485"/>
                  </a:lnTo>
                  <a:lnTo>
                    <a:pt x="1601" y="485"/>
                  </a:lnTo>
                  <a:lnTo>
                    <a:pt x="1601" y="487"/>
                  </a:lnTo>
                  <a:lnTo>
                    <a:pt x="1601" y="489"/>
                  </a:lnTo>
                  <a:lnTo>
                    <a:pt x="1601" y="492"/>
                  </a:lnTo>
                  <a:lnTo>
                    <a:pt x="1601" y="492"/>
                  </a:lnTo>
                  <a:lnTo>
                    <a:pt x="1601" y="492"/>
                  </a:lnTo>
                  <a:lnTo>
                    <a:pt x="1604" y="489"/>
                  </a:lnTo>
                  <a:lnTo>
                    <a:pt x="1604" y="487"/>
                  </a:lnTo>
                  <a:lnTo>
                    <a:pt x="1606" y="487"/>
                  </a:lnTo>
                  <a:lnTo>
                    <a:pt x="1606" y="485"/>
                  </a:lnTo>
                  <a:lnTo>
                    <a:pt x="1606" y="482"/>
                  </a:lnTo>
                  <a:lnTo>
                    <a:pt x="1611" y="478"/>
                  </a:lnTo>
                  <a:lnTo>
                    <a:pt x="1611" y="475"/>
                  </a:lnTo>
                  <a:lnTo>
                    <a:pt x="1611" y="473"/>
                  </a:lnTo>
                  <a:lnTo>
                    <a:pt x="1613" y="470"/>
                  </a:lnTo>
                  <a:lnTo>
                    <a:pt x="1613" y="468"/>
                  </a:lnTo>
                  <a:lnTo>
                    <a:pt x="1615" y="468"/>
                  </a:lnTo>
                  <a:lnTo>
                    <a:pt x="1615" y="470"/>
                  </a:lnTo>
                  <a:lnTo>
                    <a:pt x="1615" y="473"/>
                  </a:lnTo>
                  <a:lnTo>
                    <a:pt x="1615" y="473"/>
                  </a:lnTo>
                  <a:lnTo>
                    <a:pt x="1615" y="475"/>
                  </a:lnTo>
                  <a:lnTo>
                    <a:pt x="1615" y="475"/>
                  </a:lnTo>
                  <a:lnTo>
                    <a:pt x="1615" y="478"/>
                  </a:lnTo>
                  <a:lnTo>
                    <a:pt x="1615" y="478"/>
                  </a:lnTo>
                  <a:lnTo>
                    <a:pt x="1613" y="480"/>
                  </a:lnTo>
                  <a:lnTo>
                    <a:pt x="1611" y="485"/>
                  </a:lnTo>
                  <a:lnTo>
                    <a:pt x="1608" y="487"/>
                  </a:lnTo>
                  <a:lnTo>
                    <a:pt x="1611" y="487"/>
                  </a:lnTo>
                  <a:lnTo>
                    <a:pt x="1611" y="487"/>
                  </a:lnTo>
                  <a:lnTo>
                    <a:pt x="1613" y="489"/>
                  </a:lnTo>
                  <a:lnTo>
                    <a:pt x="1613" y="489"/>
                  </a:lnTo>
                  <a:lnTo>
                    <a:pt x="1615" y="489"/>
                  </a:lnTo>
                  <a:lnTo>
                    <a:pt x="1613" y="485"/>
                  </a:lnTo>
                  <a:lnTo>
                    <a:pt x="1613" y="485"/>
                  </a:lnTo>
                  <a:lnTo>
                    <a:pt x="1615" y="480"/>
                  </a:lnTo>
                  <a:lnTo>
                    <a:pt x="1615" y="480"/>
                  </a:lnTo>
                  <a:lnTo>
                    <a:pt x="1615" y="482"/>
                  </a:lnTo>
                  <a:lnTo>
                    <a:pt x="1618" y="487"/>
                  </a:lnTo>
                  <a:lnTo>
                    <a:pt x="1615" y="487"/>
                  </a:lnTo>
                  <a:lnTo>
                    <a:pt x="1618" y="487"/>
                  </a:lnTo>
                  <a:lnTo>
                    <a:pt x="1618" y="485"/>
                  </a:lnTo>
                  <a:lnTo>
                    <a:pt x="1618" y="485"/>
                  </a:lnTo>
                  <a:lnTo>
                    <a:pt x="1618" y="485"/>
                  </a:lnTo>
                  <a:lnTo>
                    <a:pt x="1618" y="482"/>
                  </a:lnTo>
                  <a:lnTo>
                    <a:pt x="1615" y="480"/>
                  </a:lnTo>
                  <a:lnTo>
                    <a:pt x="1618" y="478"/>
                  </a:lnTo>
                  <a:lnTo>
                    <a:pt x="1618" y="478"/>
                  </a:lnTo>
                  <a:lnTo>
                    <a:pt x="1622" y="475"/>
                  </a:lnTo>
                  <a:lnTo>
                    <a:pt x="1622" y="475"/>
                  </a:lnTo>
                  <a:lnTo>
                    <a:pt x="1625" y="475"/>
                  </a:lnTo>
                  <a:lnTo>
                    <a:pt x="1625" y="473"/>
                  </a:lnTo>
                  <a:lnTo>
                    <a:pt x="1625" y="473"/>
                  </a:lnTo>
                  <a:lnTo>
                    <a:pt x="1625" y="473"/>
                  </a:lnTo>
                  <a:lnTo>
                    <a:pt x="1627" y="473"/>
                  </a:lnTo>
                  <a:lnTo>
                    <a:pt x="1627" y="475"/>
                  </a:lnTo>
                  <a:lnTo>
                    <a:pt x="1622" y="478"/>
                  </a:lnTo>
                  <a:lnTo>
                    <a:pt x="1622" y="480"/>
                  </a:lnTo>
                  <a:lnTo>
                    <a:pt x="1625" y="482"/>
                  </a:lnTo>
                  <a:lnTo>
                    <a:pt x="1625" y="482"/>
                  </a:lnTo>
                  <a:lnTo>
                    <a:pt x="1625" y="482"/>
                  </a:lnTo>
                  <a:lnTo>
                    <a:pt x="1627" y="485"/>
                  </a:lnTo>
                  <a:lnTo>
                    <a:pt x="1625" y="487"/>
                  </a:lnTo>
                  <a:lnTo>
                    <a:pt x="1625" y="492"/>
                  </a:lnTo>
                  <a:lnTo>
                    <a:pt x="1625" y="494"/>
                  </a:lnTo>
                  <a:lnTo>
                    <a:pt x="1622" y="496"/>
                  </a:lnTo>
                  <a:lnTo>
                    <a:pt x="1622" y="496"/>
                  </a:lnTo>
                  <a:lnTo>
                    <a:pt x="1620" y="496"/>
                  </a:lnTo>
                  <a:lnTo>
                    <a:pt x="1618" y="496"/>
                  </a:lnTo>
                  <a:lnTo>
                    <a:pt x="1615" y="499"/>
                  </a:lnTo>
                  <a:lnTo>
                    <a:pt x="1618" y="504"/>
                  </a:lnTo>
                  <a:lnTo>
                    <a:pt x="1615" y="506"/>
                  </a:lnTo>
                  <a:lnTo>
                    <a:pt x="1615" y="511"/>
                  </a:lnTo>
                  <a:lnTo>
                    <a:pt x="1618" y="511"/>
                  </a:lnTo>
                  <a:lnTo>
                    <a:pt x="1618" y="513"/>
                  </a:lnTo>
                  <a:lnTo>
                    <a:pt x="1618" y="513"/>
                  </a:lnTo>
                  <a:lnTo>
                    <a:pt x="1622" y="513"/>
                  </a:lnTo>
                  <a:lnTo>
                    <a:pt x="1622" y="513"/>
                  </a:lnTo>
                  <a:lnTo>
                    <a:pt x="1620" y="515"/>
                  </a:lnTo>
                  <a:lnTo>
                    <a:pt x="1620" y="518"/>
                  </a:lnTo>
                  <a:lnTo>
                    <a:pt x="1620" y="520"/>
                  </a:lnTo>
                  <a:lnTo>
                    <a:pt x="1618" y="522"/>
                  </a:lnTo>
                  <a:lnTo>
                    <a:pt x="1615" y="525"/>
                  </a:lnTo>
                  <a:lnTo>
                    <a:pt x="1618" y="527"/>
                  </a:lnTo>
                  <a:lnTo>
                    <a:pt x="1618" y="527"/>
                  </a:lnTo>
                  <a:lnTo>
                    <a:pt x="1613" y="532"/>
                  </a:lnTo>
                  <a:lnTo>
                    <a:pt x="1615" y="534"/>
                  </a:lnTo>
                  <a:lnTo>
                    <a:pt x="1615" y="534"/>
                  </a:lnTo>
                  <a:lnTo>
                    <a:pt x="1618" y="537"/>
                  </a:lnTo>
                  <a:lnTo>
                    <a:pt x="1618" y="539"/>
                  </a:lnTo>
                  <a:lnTo>
                    <a:pt x="1618" y="546"/>
                  </a:lnTo>
                  <a:lnTo>
                    <a:pt x="1615" y="546"/>
                  </a:lnTo>
                  <a:lnTo>
                    <a:pt x="1615" y="548"/>
                  </a:lnTo>
                  <a:lnTo>
                    <a:pt x="1618" y="548"/>
                  </a:lnTo>
                  <a:lnTo>
                    <a:pt x="1618" y="548"/>
                  </a:lnTo>
                  <a:lnTo>
                    <a:pt x="1615" y="551"/>
                  </a:lnTo>
                  <a:lnTo>
                    <a:pt x="1615" y="556"/>
                  </a:lnTo>
                  <a:lnTo>
                    <a:pt x="1615" y="556"/>
                  </a:lnTo>
                  <a:lnTo>
                    <a:pt x="1615" y="556"/>
                  </a:lnTo>
                  <a:lnTo>
                    <a:pt x="1615" y="558"/>
                  </a:lnTo>
                  <a:lnTo>
                    <a:pt x="1615" y="560"/>
                  </a:lnTo>
                  <a:lnTo>
                    <a:pt x="1613" y="560"/>
                  </a:lnTo>
                  <a:lnTo>
                    <a:pt x="1611" y="563"/>
                  </a:lnTo>
                  <a:lnTo>
                    <a:pt x="1611" y="563"/>
                  </a:lnTo>
                  <a:lnTo>
                    <a:pt x="1608" y="563"/>
                  </a:lnTo>
                  <a:lnTo>
                    <a:pt x="1608" y="565"/>
                  </a:lnTo>
                  <a:lnTo>
                    <a:pt x="1608" y="565"/>
                  </a:lnTo>
                  <a:lnTo>
                    <a:pt x="1608" y="565"/>
                  </a:lnTo>
                  <a:lnTo>
                    <a:pt x="1606" y="565"/>
                  </a:lnTo>
                  <a:lnTo>
                    <a:pt x="1606" y="565"/>
                  </a:lnTo>
                  <a:lnTo>
                    <a:pt x="1601" y="565"/>
                  </a:lnTo>
                  <a:lnTo>
                    <a:pt x="1599" y="565"/>
                  </a:lnTo>
                  <a:lnTo>
                    <a:pt x="1596" y="565"/>
                  </a:lnTo>
                  <a:lnTo>
                    <a:pt x="1596" y="565"/>
                  </a:lnTo>
                  <a:lnTo>
                    <a:pt x="1596" y="567"/>
                  </a:lnTo>
                  <a:lnTo>
                    <a:pt x="1594" y="570"/>
                  </a:lnTo>
                  <a:lnTo>
                    <a:pt x="1596" y="574"/>
                  </a:lnTo>
                  <a:lnTo>
                    <a:pt x="1596" y="574"/>
                  </a:lnTo>
                  <a:lnTo>
                    <a:pt x="1599" y="574"/>
                  </a:lnTo>
                  <a:lnTo>
                    <a:pt x="1599" y="574"/>
                  </a:lnTo>
                  <a:lnTo>
                    <a:pt x="1599" y="574"/>
                  </a:lnTo>
                  <a:lnTo>
                    <a:pt x="1601" y="574"/>
                  </a:lnTo>
                  <a:lnTo>
                    <a:pt x="1606" y="574"/>
                  </a:lnTo>
                  <a:lnTo>
                    <a:pt x="1608" y="577"/>
                  </a:lnTo>
                  <a:lnTo>
                    <a:pt x="1608" y="577"/>
                  </a:lnTo>
                  <a:lnTo>
                    <a:pt x="1608" y="579"/>
                  </a:lnTo>
                  <a:lnTo>
                    <a:pt x="1606" y="584"/>
                  </a:lnTo>
                  <a:lnTo>
                    <a:pt x="1606" y="586"/>
                  </a:lnTo>
                  <a:lnTo>
                    <a:pt x="1606" y="586"/>
                  </a:lnTo>
                  <a:lnTo>
                    <a:pt x="1608" y="589"/>
                  </a:lnTo>
                  <a:lnTo>
                    <a:pt x="1606" y="596"/>
                  </a:lnTo>
                  <a:lnTo>
                    <a:pt x="1604" y="600"/>
                  </a:lnTo>
                  <a:lnTo>
                    <a:pt x="1604" y="603"/>
                  </a:lnTo>
                  <a:lnTo>
                    <a:pt x="1601" y="605"/>
                  </a:lnTo>
                  <a:lnTo>
                    <a:pt x="1601" y="607"/>
                  </a:lnTo>
                  <a:lnTo>
                    <a:pt x="1601" y="607"/>
                  </a:lnTo>
                  <a:lnTo>
                    <a:pt x="1601" y="612"/>
                  </a:lnTo>
                  <a:lnTo>
                    <a:pt x="1601" y="612"/>
                  </a:lnTo>
                  <a:lnTo>
                    <a:pt x="1601" y="615"/>
                  </a:lnTo>
                  <a:lnTo>
                    <a:pt x="1601" y="617"/>
                  </a:lnTo>
                  <a:lnTo>
                    <a:pt x="1599" y="619"/>
                  </a:lnTo>
                  <a:lnTo>
                    <a:pt x="1599" y="619"/>
                  </a:lnTo>
                  <a:lnTo>
                    <a:pt x="1599" y="622"/>
                  </a:lnTo>
                  <a:lnTo>
                    <a:pt x="1599" y="622"/>
                  </a:lnTo>
                  <a:lnTo>
                    <a:pt x="1596" y="624"/>
                  </a:lnTo>
                  <a:lnTo>
                    <a:pt x="1594" y="624"/>
                  </a:lnTo>
                  <a:lnTo>
                    <a:pt x="1592" y="629"/>
                  </a:lnTo>
                  <a:lnTo>
                    <a:pt x="1592" y="629"/>
                  </a:lnTo>
                  <a:lnTo>
                    <a:pt x="1589" y="631"/>
                  </a:lnTo>
                  <a:lnTo>
                    <a:pt x="1589" y="631"/>
                  </a:lnTo>
                  <a:lnTo>
                    <a:pt x="1587" y="633"/>
                  </a:lnTo>
                  <a:lnTo>
                    <a:pt x="1587" y="633"/>
                  </a:lnTo>
                  <a:lnTo>
                    <a:pt x="1585" y="633"/>
                  </a:lnTo>
                  <a:lnTo>
                    <a:pt x="1582" y="631"/>
                  </a:lnTo>
                  <a:lnTo>
                    <a:pt x="1580" y="631"/>
                  </a:lnTo>
                  <a:lnTo>
                    <a:pt x="1580" y="633"/>
                  </a:lnTo>
                  <a:lnTo>
                    <a:pt x="1582" y="633"/>
                  </a:lnTo>
                  <a:lnTo>
                    <a:pt x="1582" y="638"/>
                  </a:lnTo>
                  <a:lnTo>
                    <a:pt x="1580" y="641"/>
                  </a:lnTo>
                  <a:lnTo>
                    <a:pt x="1580" y="643"/>
                  </a:lnTo>
                  <a:lnTo>
                    <a:pt x="1580" y="643"/>
                  </a:lnTo>
                  <a:lnTo>
                    <a:pt x="1580" y="645"/>
                  </a:lnTo>
                  <a:lnTo>
                    <a:pt x="1578" y="648"/>
                  </a:lnTo>
                  <a:lnTo>
                    <a:pt x="1578" y="650"/>
                  </a:lnTo>
                  <a:lnTo>
                    <a:pt x="1578" y="650"/>
                  </a:lnTo>
                  <a:lnTo>
                    <a:pt x="1578" y="650"/>
                  </a:lnTo>
                  <a:lnTo>
                    <a:pt x="1580" y="650"/>
                  </a:lnTo>
                  <a:lnTo>
                    <a:pt x="1582" y="648"/>
                  </a:lnTo>
                  <a:lnTo>
                    <a:pt x="1582" y="648"/>
                  </a:lnTo>
                  <a:lnTo>
                    <a:pt x="1582" y="650"/>
                  </a:lnTo>
                  <a:lnTo>
                    <a:pt x="1582" y="650"/>
                  </a:lnTo>
                  <a:lnTo>
                    <a:pt x="1582" y="652"/>
                  </a:lnTo>
                  <a:lnTo>
                    <a:pt x="1580" y="655"/>
                  </a:lnTo>
                  <a:lnTo>
                    <a:pt x="1580" y="657"/>
                  </a:lnTo>
                  <a:lnTo>
                    <a:pt x="1580" y="659"/>
                  </a:lnTo>
                  <a:lnTo>
                    <a:pt x="1580" y="659"/>
                  </a:lnTo>
                  <a:lnTo>
                    <a:pt x="1580" y="659"/>
                  </a:lnTo>
                  <a:lnTo>
                    <a:pt x="1580" y="662"/>
                  </a:lnTo>
                  <a:lnTo>
                    <a:pt x="1580" y="664"/>
                  </a:lnTo>
                  <a:lnTo>
                    <a:pt x="1580" y="667"/>
                  </a:lnTo>
                  <a:lnTo>
                    <a:pt x="1580" y="667"/>
                  </a:lnTo>
                  <a:lnTo>
                    <a:pt x="1580" y="669"/>
                  </a:lnTo>
                  <a:lnTo>
                    <a:pt x="1582" y="669"/>
                  </a:lnTo>
                  <a:lnTo>
                    <a:pt x="1582" y="669"/>
                  </a:lnTo>
                  <a:lnTo>
                    <a:pt x="1578" y="671"/>
                  </a:lnTo>
                  <a:lnTo>
                    <a:pt x="1575" y="671"/>
                  </a:lnTo>
                  <a:lnTo>
                    <a:pt x="1573" y="671"/>
                  </a:lnTo>
                  <a:lnTo>
                    <a:pt x="1573" y="671"/>
                  </a:lnTo>
                  <a:lnTo>
                    <a:pt x="1573" y="671"/>
                  </a:lnTo>
                  <a:lnTo>
                    <a:pt x="1573" y="674"/>
                  </a:lnTo>
                  <a:lnTo>
                    <a:pt x="1573" y="674"/>
                  </a:lnTo>
                  <a:lnTo>
                    <a:pt x="1573" y="676"/>
                  </a:lnTo>
                  <a:lnTo>
                    <a:pt x="1573" y="676"/>
                  </a:lnTo>
                  <a:lnTo>
                    <a:pt x="1573" y="676"/>
                  </a:lnTo>
                  <a:lnTo>
                    <a:pt x="1570" y="678"/>
                  </a:lnTo>
                  <a:lnTo>
                    <a:pt x="1570" y="681"/>
                  </a:lnTo>
                  <a:lnTo>
                    <a:pt x="1568" y="681"/>
                  </a:lnTo>
                  <a:lnTo>
                    <a:pt x="1566" y="683"/>
                  </a:lnTo>
                  <a:lnTo>
                    <a:pt x="1563" y="683"/>
                  </a:lnTo>
                  <a:lnTo>
                    <a:pt x="1563" y="683"/>
                  </a:lnTo>
                  <a:lnTo>
                    <a:pt x="1561" y="683"/>
                  </a:lnTo>
                  <a:lnTo>
                    <a:pt x="1561" y="688"/>
                  </a:lnTo>
                  <a:lnTo>
                    <a:pt x="1561" y="688"/>
                  </a:lnTo>
                  <a:lnTo>
                    <a:pt x="1559" y="685"/>
                  </a:lnTo>
                  <a:lnTo>
                    <a:pt x="1556" y="685"/>
                  </a:lnTo>
                  <a:lnTo>
                    <a:pt x="1556" y="685"/>
                  </a:lnTo>
                  <a:lnTo>
                    <a:pt x="1556" y="688"/>
                  </a:lnTo>
                  <a:lnTo>
                    <a:pt x="1556" y="688"/>
                  </a:lnTo>
                  <a:lnTo>
                    <a:pt x="1554" y="688"/>
                  </a:lnTo>
                  <a:lnTo>
                    <a:pt x="1554" y="690"/>
                  </a:lnTo>
                  <a:lnTo>
                    <a:pt x="1554" y="690"/>
                  </a:lnTo>
                  <a:lnTo>
                    <a:pt x="1554" y="690"/>
                  </a:lnTo>
                  <a:lnTo>
                    <a:pt x="1554" y="690"/>
                  </a:lnTo>
                  <a:lnTo>
                    <a:pt x="1552" y="690"/>
                  </a:lnTo>
                  <a:lnTo>
                    <a:pt x="1549" y="695"/>
                  </a:lnTo>
                  <a:lnTo>
                    <a:pt x="1552" y="695"/>
                  </a:lnTo>
                  <a:lnTo>
                    <a:pt x="1552" y="697"/>
                  </a:lnTo>
                  <a:lnTo>
                    <a:pt x="1552" y="695"/>
                  </a:lnTo>
                  <a:lnTo>
                    <a:pt x="1552" y="697"/>
                  </a:lnTo>
                  <a:lnTo>
                    <a:pt x="1552" y="697"/>
                  </a:lnTo>
                  <a:lnTo>
                    <a:pt x="1554" y="700"/>
                  </a:lnTo>
                  <a:lnTo>
                    <a:pt x="1554" y="700"/>
                  </a:lnTo>
                  <a:lnTo>
                    <a:pt x="1554" y="700"/>
                  </a:lnTo>
                  <a:lnTo>
                    <a:pt x="1554" y="700"/>
                  </a:lnTo>
                  <a:lnTo>
                    <a:pt x="1554" y="702"/>
                  </a:lnTo>
                  <a:lnTo>
                    <a:pt x="1554" y="704"/>
                  </a:lnTo>
                  <a:lnTo>
                    <a:pt x="1556" y="707"/>
                  </a:lnTo>
                  <a:lnTo>
                    <a:pt x="1556" y="704"/>
                  </a:lnTo>
                  <a:lnTo>
                    <a:pt x="1559" y="704"/>
                  </a:lnTo>
                  <a:lnTo>
                    <a:pt x="1559" y="704"/>
                  </a:lnTo>
                  <a:lnTo>
                    <a:pt x="1559" y="704"/>
                  </a:lnTo>
                  <a:lnTo>
                    <a:pt x="1559" y="704"/>
                  </a:lnTo>
                  <a:lnTo>
                    <a:pt x="1559" y="707"/>
                  </a:lnTo>
                  <a:lnTo>
                    <a:pt x="1559" y="707"/>
                  </a:lnTo>
                  <a:lnTo>
                    <a:pt x="1561" y="707"/>
                  </a:lnTo>
                  <a:lnTo>
                    <a:pt x="1561" y="709"/>
                  </a:lnTo>
                  <a:lnTo>
                    <a:pt x="1561" y="709"/>
                  </a:lnTo>
                  <a:lnTo>
                    <a:pt x="1561" y="709"/>
                  </a:lnTo>
                  <a:lnTo>
                    <a:pt x="1561" y="709"/>
                  </a:lnTo>
                  <a:lnTo>
                    <a:pt x="1561" y="709"/>
                  </a:lnTo>
                  <a:lnTo>
                    <a:pt x="1561" y="709"/>
                  </a:lnTo>
                  <a:lnTo>
                    <a:pt x="1563" y="709"/>
                  </a:lnTo>
                  <a:lnTo>
                    <a:pt x="1561" y="709"/>
                  </a:lnTo>
                  <a:lnTo>
                    <a:pt x="1561" y="711"/>
                  </a:lnTo>
                  <a:lnTo>
                    <a:pt x="1559" y="709"/>
                  </a:lnTo>
                  <a:lnTo>
                    <a:pt x="1556" y="709"/>
                  </a:lnTo>
                  <a:lnTo>
                    <a:pt x="1556" y="709"/>
                  </a:lnTo>
                  <a:lnTo>
                    <a:pt x="1556" y="709"/>
                  </a:lnTo>
                  <a:lnTo>
                    <a:pt x="1556" y="711"/>
                  </a:lnTo>
                  <a:lnTo>
                    <a:pt x="1559" y="711"/>
                  </a:lnTo>
                  <a:lnTo>
                    <a:pt x="1556" y="714"/>
                  </a:lnTo>
                  <a:lnTo>
                    <a:pt x="1554" y="711"/>
                  </a:lnTo>
                  <a:lnTo>
                    <a:pt x="1554" y="711"/>
                  </a:lnTo>
                  <a:lnTo>
                    <a:pt x="1554" y="714"/>
                  </a:lnTo>
                  <a:lnTo>
                    <a:pt x="1554" y="714"/>
                  </a:lnTo>
                  <a:lnTo>
                    <a:pt x="1554" y="714"/>
                  </a:lnTo>
                  <a:lnTo>
                    <a:pt x="1554" y="714"/>
                  </a:lnTo>
                  <a:lnTo>
                    <a:pt x="1554" y="716"/>
                  </a:lnTo>
                  <a:lnTo>
                    <a:pt x="1554" y="716"/>
                  </a:lnTo>
                  <a:lnTo>
                    <a:pt x="1552" y="716"/>
                  </a:lnTo>
                  <a:lnTo>
                    <a:pt x="1552" y="716"/>
                  </a:lnTo>
                  <a:lnTo>
                    <a:pt x="1549" y="716"/>
                  </a:lnTo>
                  <a:lnTo>
                    <a:pt x="1549" y="716"/>
                  </a:lnTo>
                  <a:lnTo>
                    <a:pt x="1549" y="716"/>
                  </a:lnTo>
                  <a:lnTo>
                    <a:pt x="1552" y="718"/>
                  </a:lnTo>
                  <a:lnTo>
                    <a:pt x="1552" y="718"/>
                  </a:lnTo>
                  <a:lnTo>
                    <a:pt x="1552" y="721"/>
                  </a:lnTo>
                  <a:lnTo>
                    <a:pt x="1552" y="721"/>
                  </a:lnTo>
                  <a:lnTo>
                    <a:pt x="1552" y="723"/>
                  </a:lnTo>
                  <a:lnTo>
                    <a:pt x="1552" y="723"/>
                  </a:lnTo>
                  <a:lnTo>
                    <a:pt x="1552" y="723"/>
                  </a:lnTo>
                  <a:lnTo>
                    <a:pt x="1552" y="726"/>
                  </a:lnTo>
                  <a:lnTo>
                    <a:pt x="1552" y="726"/>
                  </a:lnTo>
                  <a:lnTo>
                    <a:pt x="1554" y="726"/>
                  </a:lnTo>
                  <a:lnTo>
                    <a:pt x="1554" y="728"/>
                  </a:lnTo>
                  <a:lnTo>
                    <a:pt x="1552" y="728"/>
                  </a:lnTo>
                  <a:lnTo>
                    <a:pt x="1552" y="728"/>
                  </a:lnTo>
                  <a:lnTo>
                    <a:pt x="1552" y="728"/>
                  </a:lnTo>
                  <a:lnTo>
                    <a:pt x="1554" y="730"/>
                  </a:lnTo>
                  <a:lnTo>
                    <a:pt x="1552" y="730"/>
                  </a:lnTo>
                  <a:lnTo>
                    <a:pt x="1552" y="730"/>
                  </a:lnTo>
                  <a:lnTo>
                    <a:pt x="1549" y="730"/>
                  </a:lnTo>
                  <a:lnTo>
                    <a:pt x="1549" y="733"/>
                  </a:lnTo>
                  <a:lnTo>
                    <a:pt x="1552" y="733"/>
                  </a:lnTo>
                  <a:lnTo>
                    <a:pt x="1549" y="735"/>
                  </a:lnTo>
                  <a:lnTo>
                    <a:pt x="1552" y="735"/>
                  </a:lnTo>
                  <a:lnTo>
                    <a:pt x="1549" y="735"/>
                  </a:lnTo>
                  <a:lnTo>
                    <a:pt x="1549" y="740"/>
                  </a:lnTo>
                  <a:lnTo>
                    <a:pt x="1549" y="740"/>
                  </a:lnTo>
                  <a:lnTo>
                    <a:pt x="1549" y="742"/>
                  </a:lnTo>
                  <a:lnTo>
                    <a:pt x="1549" y="744"/>
                  </a:lnTo>
                  <a:lnTo>
                    <a:pt x="1547" y="742"/>
                  </a:lnTo>
                  <a:lnTo>
                    <a:pt x="1544" y="744"/>
                  </a:lnTo>
                  <a:lnTo>
                    <a:pt x="1547" y="747"/>
                  </a:lnTo>
                  <a:lnTo>
                    <a:pt x="1544" y="749"/>
                  </a:lnTo>
                  <a:lnTo>
                    <a:pt x="1544" y="749"/>
                  </a:lnTo>
                  <a:lnTo>
                    <a:pt x="1544" y="744"/>
                  </a:lnTo>
                  <a:lnTo>
                    <a:pt x="1544" y="744"/>
                  </a:lnTo>
                  <a:lnTo>
                    <a:pt x="1542" y="747"/>
                  </a:lnTo>
                  <a:lnTo>
                    <a:pt x="1542" y="747"/>
                  </a:lnTo>
                  <a:lnTo>
                    <a:pt x="1542" y="747"/>
                  </a:lnTo>
                  <a:lnTo>
                    <a:pt x="1540" y="747"/>
                  </a:lnTo>
                  <a:lnTo>
                    <a:pt x="1542" y="749"/>
                  </a:lnTo>
                  <a:lnTo>
                    <a:pt x="1542" y="749"/>
                  </a:lnTo>
                  <a:lnTo>
                    <a:pt x="1542" y="749"/>
                  </a:lnTo>
                  <a:lnTo>
                    <a:pt x="1544" y="752"/>
                  </a:lnTo>
                  <a:lnTo>
                    <a:pt x="1542" y="752"/>
                  </a:lnTo>
                  <a:lnTo>
                    <a:pt x="1542" y="752"/>
                  </a:lnTo>
                  <a:lnTo>
                    <a:pt x="1540" y="752"/>
                  </a:lnTo>
                  <a:lnTo>
                    <a:pt x="1542" y="754"/>
                  </a:lnTo>
                  <a:lnTo>
                    <a:pt x="1540" y="756"/>
                  </a:lnTo>
                  <a:lnTo>
                    <a:pt x="1537" y="754"/>
                  </a:lnTo>
                  <a:lnTo>
                    <a:pt x="1537" y="754"/>
                  </a:lnTo>
                  <a:lnTo>
                    <a:pt x="1540" y="756"/>
                  </a:lnTo>
                  <a:lnTo>
                    <a:pt x="1540" y="756"/>
                  </a:lnTo>
                  <a:lnTo>
                    <a:pt x="1537" y="759"/>
                  </a:lnTo>
                  <a:lnTo>
                    <a:pt x="1540" y="759"/>
                  </a:lnTo>
                  <a:lnTo>
                    <a:pt x="1540" y="759"/>
                  </a:lnTo>
                  <a:lnTo>
                    <a:pt x="1540" y="761"/>
                  </a:lnTo>
                  <a:lnTo>
                    <a:pt x="1537" y="759"/>
                  </a:lnTo>
                  <a:lnTo>
                    <a:pt x="1537" y="759"/>
                  </a:lnTo>
                  <a:lnTo>
                    <a:pt x="1535" y="761"/>
                  </a:lnTo>
                  <a:lnTo>
                    <a:pt x="1537" y="761"/>
                  </a:lnTo>
                  <a:lnTo>
                    <a:pt x="1535" y="763"/>
                  </a:lnTo>
                  <a:lnTo>
                    <a:pt x="1535" y="763"/>
                  </a:lnTo>
                  <a:lnTo>
                    <a:pt x="1535" y="761"/>
                  </a:lnTo>
                  <a:lnTo>
                    <a:pt x="1533" y="763"/>
                  </a:lnTo>
                  <a:lnTo>
                    <a:pt x="1533" y="766"/>
                  </a:lnTo>
                  <a:lnTo>
                    <a:pt x="1533" y="766"/>
                  </a:lnTo>
                  <a:lnTo>
                    <a:pt x="1533" y="766"/>
                  </a:lnTo>
                  <a:lnTo>
                    <a:pt x="1530" y="766"/>
                  </a:lnTo>
                  <a:lnTo>
                    <a:pt x="1533" y="768"/>
                  </a:lnTo>
                  <a:lnTo>
                    <a:pt x="1530" y="770"/>
                  </a:lnTo>
                  <a:lnTo>
                    <a:pt x="1533" y="770"/>
                  </a:lnTo>
                  <a:lnTo>
                    <a:pt x="1533" y="773"/>
                  </a:lnTo>
                  <a:lnTo>
                    <a:pt x="1530" y="773"/>
                  </a:lnTo>
                  <a:lnTo>
                    <a:pt x="1530" y="773"/>
                  </a:lnTo>
                  <a:lnTo>
                    <a:pt x="1528" y="773"/>
                  </a:lnTo>
                  <a:lnTo>
                    <a:pt x="1528" y="773"/>
                  </a:lnTo>
                  <a:lnTo>
                    <a:pt x="1528" y="775"/>
                  </a:lnTo>
                  <a:lnTo>
                    <a:pt x="1528" y="775"/>
                  </a:lnTo>
                  <a:lnTo>
                    <a:pt x="1526" y="775"/>
                  </a:lnTo>
                  <a:lnTo>
                    <a:pt x="1526" y="773"/>
                  </a:lnTo>
                  <a:lnTo>
                    <a:pt x="1526" y="773"/>
                  </a:lnTo>
                  <a:lnTo>
                    <a:pt x="1526" y="775"/>
                  </a:lnTo>
                  <a:lnTo>
                    <a:pt x="1526" y="775"/>
                  </a:lnTo>
                  <a:lnTo>
                    <a:pt x="1523" y="778"/>
                  </a:lnTo>
                  <a:lnTo>
                    <a:pt x="1523" y="775"/>
                  </a:lnTo>
                  <a:lnTo>
                    <a:pt x="1523" y="775"/>
                  </a:lnTo>
                  <a:lnTo>
                    <a:pt x="1523" y="775"/>
                  </a:lnTo>
                  <a:lnTo>
                    <a:pt x="1521" y="778"/>
                  </a:lnTo>
                  <a:lnTo>
                    <a:pt x="1521" y="778"/>
                  </a:lnTo>
                  <a:lnTo>
                    <a:pt x="1521" y="778"/>
                  </a:lnTo>
                  <a:lnTo>
                    <a:pt x="1521" y="778"/>
                  </a:lnTo>
                  <a:lnTo>
                    <a:pt x="1521" y="780"/>
                  </a:lnTo>
                  <a:lnTo>
                    <a:pt x="1518" y="778"/>
                  </a:lnTo>
                  <a:lnTo>
                    <a:pt x="1518" y="780"/>
                  </a:lnTo>
                  <a:lnTo>
                    <a:pt x="1518" y="780"/>
                  </a:lnTo>
                  <a:lnTo>
                    <a:pt x="1518" y="780"/>
                  </a:lnTo>
                  <a:lnTo>
                    <a:pt x="1518" y="780"/>
                  </a:lnTo>
                  <a:lnTo>
                    <a:pt x="1516" y="780"/>
                  </a:lnTo>
                  <a:lnTo>
                    <a:pt x="1516" y="780"/>
                  </a:lnTo>
                  <a:lnTo>
                    <a:pt x="1516" y="782"/>
                  </a:lnTo>
                  <a:lnTo>
                    <a:pt x="1516" y="782"/>
                  </a:lnTo>
                  <a:lnTo>
                    <a:pt x="1516" y="782"/>
                  </a:lnTo>
                  <a:lnTo>
                    <a:pt x="1516" y="785"/>
                  </a:lnTo>
                  <a:lnTo>
                    <a:pt x="1516" y="787"/>
                  </a:lnTo>
                  <a:lnTo>
                    <a:pt x="1516" y="787"/>
                  </a:lnTo>
                  <a:lnTo>
                    <a:pt x="1516" y="787"/>
                  </a:lnTo>
                  <a:lnTo>
                    <a:pt x="1516" y="787"/>
                  </a:lnTo>
                  <a:lnTo>
                    <a:pt x="1514" y="787"/>
                  </a:lnTo>
                  <a:lnTo>
                    <a:pt x="1514" y="789"/>
                  </a:lnTo>
                  <a:lnTo>
                    <a:pt x="1516" y="789"/>
                  </a:lnTo>
                  <a:lnTo>
                    <a:pt x="1516" y="789"/>
                  </a:lnTo>
                  <a:lnTo>
                    <a:pt x="1514" y="789"/>
                  </a:lnTo>
                  <a:lnTo>
                    <a:pt x="1516" y="792"/>
                  </a:lnTo>
                  <a:lnTo>
                    <a:pt x="1514" y="792"/>
                  </a:lnTo>
                  <a:lnTo>
                    <a:pt x="1514" y="792"/>
                  </a:lnTo>
                  <a:lnTo>
                    <a:pt x="1516" y="792"/>
                  </a:lnTo>
                  <a:lnTo>
                    <a:pt x="1516" y="794"/>
                  </a:lnTo>
                  <a:lnTo>
                    <a:pt x="1514" y="792"/>
                  </a:lnTo>
                  <a:lnTo>
                    <a:pt x="1514" y="796"/>
                  </a:lnTo>
                  <a:lnTo>
                    <a:pt x="1514" y="796"/>
                  </a:lnTo>
                  <a:lnTo>
                    <a:pt x="1514" y="796"/>
                  </a:lnTo>
                  <a:lnTo>
                    <a:pt x="1511" y="796"/>
                  </a:lnTo>
                  <a:lnTo>
                    <a:pt x="1511" y="796"/>
                  </a:lnTo>
                  <a:lnTo>
                    <a:pt x="1514" y="799"/>
                  </a:lnTo>
                  <a:lnTo>
                    <a:pt x="1511" y="799"/>
                  </a:lnTo>
                  <a:lnTo>
                    <a:pt x="1511" y="799"/>
                  </a:lnTo>
                  <a:lnTo>
                    <a:pt x="1509" y="801"/>
                  </a:lnTo>
                  <a:lnTo>
                    <a:pt x="1509" y="801"/>
                  </a:lnTo>
                  <a:lnTo>
                    <a:pt x="1507" y="801"/>
                  </a:lnTo>
                  <a:lnTo>
                    <a:pt x="1507" y="804"/>
                  </a:lnTo>
                  <a:lnTo>
                    <a:pt x="1507" y="804"/>
                  </a:lnTo>
                  <a:lnTo>
                    <a:pt x="1507" y="806"/>
                  </a:lnTo>
                  <a:lnTo>
                    <a:pt x="1504" y="806"/>
                  </a:lnTo>
                  <a:lnTo>
                    <a:pt x="1504" y="806"/>
                  </a:lnTo>
                  <a:lnTo>
                    <a:pt x="1504" y="806"/>
                  </a:lnTo>
                  <a:lnTo>
                    <a:pt x="1504" y="806"/>
                  </a:lnTo>
                  <a:lnTo>
                    <a:pt x="1504" y="808"/>
                  </a:lnTo>
                  <a:lnTo>
                    <a:pt x="1504" y="808"/>
                  </a:lnTo>
                  <a:lnTo>
                    <a:pt x="1504" y="811"/>
                  </a:lnTo>
                  <a:lnTo>
                    <a:pt x="1504" y="811"/>
                  </a:lnTo>
                  <a:lnTo>
                    <a:pt x="1504" y="813"/>
                  </a:lnTo>
                  <a:lnTo>
                    <a:pt x="1502" y="813"/>
                  </a:lnTo>
                  <a:lnTo>
                    <a:pt x="1504" y="813"/>
                  </a:lnTo>
                  <a:lnTo>
                    <a:pt x="1502" y="815"/>
                  </a:lnTo>
                  <a:lnTo>
                    <a:pt x="1504" y="815"/>
                  </a:lnTo>
                  <a:lnTo>
                    <a:pt x="1502" y="815"/>
                  </a:lnTo>
                  <a:lnTo>
                    <a:pt x="1504" y="815"/>
                  </a:lnTo>
                  <a:lnTo>
                    <a:pt x="1502" y="815"/>
                  </a:lnTo>
                  <a:lnTo>
                    <a:pt x="1502" y="815"/>
                  </a:lnTo>
                  <a:lnTo>
                    <a:pt x="1502" y="818"/>
                  </a:lnTo>
                  <a:lnTo>
                    <a:pt x="1502" y="818"/>
                  </a:lnTo>
                  <a:lnTo>
                    <a:pt x="1502" y="818"/>
                  </a:lnTo>
                  <a:lnTo>
                    <a:pt x="1504" y="818"/>
                  </a:lnTo>
                  <a:lnTo>
                    <a:pt x="1504" y="818"/>
                  </a:lnTo>
                  <a:lnTo>
                    <a:pt x="1502" y="820"/>
                  </a:lnTo>
                  <a:lnTo>
                    <a:pt x="1502" y="825"/>
                  </a:lnTo>
                  <a:lnTo>
                    <a:pt x="1502" y="825"/>
                  </a:lnTo>
                  <a:lnTo>
                    <a:pt x="1500" y="827"/>
                  </a:lnTo>
                  <a:lnTo>
                    <a:pt x="1502" y="827"/>
                  </a:lnTo>
                  <a:lnTo>
                    <a:pt x="1502" y="830"/>
                  </a:lnTo>
                  <a:lnTo>
                    <a:pt x="1500" y="832"/>
                  </a:lnTo>
                  <a:lnTo>
                    <a:pt x="1500" y="832"/>
                  </a:lnTo>
                  <a:lnTo>
                    <a:pt x="1500" y="834"/>
                  </a:lnTo>
                  <a:lnTo>
                    <a:pt x="1500" y="834"/>
                  </a:lnTo>
                  <a:lnTo>
                    <a:pt x="1500" y="837"/>
                  </a:lnTo>
                  <a:lnTo>
                    <a:pt x="1500" y="837"/>
                  </a:lnTo>
                  <a:lnTo>
                    <a:pt x="1500" y="839"/>
                  </a:lnTo>
                  <a:lnTo>
                    <a:pt x="1497" y="839"/>
                  </a:lnTo>
                  <a:lnTo>
                    <a:pt x="1497" y="841"/>
                  </a:lnTo>
                  <a:lnTo>
                    <a:pt x="1497" y="844"/>
                  </a:lnTo>
                  <a:lnTo>
                    <a:pt x="1495" y="844"/>
                  </a:lnTo>
                  <a:lnTo>
                    <a:pt x="1495" y="846"/>
                  </a:lnTo>
                  <a:lnTo>
                    <a:pt x="1495" y="846"/>
                  </a:lnTo>
                  <a:lnTo>
                    <a:pt x="1493" y="846"/>
                  </a:lnTo>
                  <a:lnTo>
                    <a:pt x="1493" y="846"/>
                  </a:lnTo>
                  <a:lnTo>
                    <a:pt x="1490" y="846"/>
                  </a:lnTo>
                  <a:lnTo>
                    <a:pt x="1490" y="848"/>
                  </a:lnTo>
                  <a:lnTo>
                    <a:pt x="1490" y="851"/>
                  </a:lnTo>
                  <a:lnTo>
                    <a:pt x="1490" y="848"/>
                  </a:lnTo>
                  <a:lnTo>
                    <a:pt x="1488" y="851"/>
                  </a:lnTo>
                  <a:lnTo>
                    <a:pt x="1488" y="851"/>
                  </a:lnTo>
                  <a:lnTo>
                    <a:pt x="1488" y="853"/>
                  </a:lnTo>
                  <a:lnTo>
                    <a:pt x="1485" y="855"/>
                  </a:lnTo>
                  <a:lnTo>
                    <a:pt x="1485" y="855"/>
                  </a:lnTo>
                  <a:lnTo>
                    <a:pt x="1485" y="855"/>
                  </a:lnTo>
                  <a:lnTo>
                    <a:pt x="1485" y="858"/>
                  </a:lnTo>
                  <a:lnTo>
                    <a:pt x="1485" y="858"/>
                  </a:lnTo>
                  <a:lnTo>
                    <a:pt x="1485" y="860"/>
                  </a:lnTo>
                  <a:lnTo>
                    <a:pt x="1483" y="858"/>
                  </a:lnTo>
                  <a:lnTo>
                    <a:pt x="1483" y="860"/>
                  </a:lnTo>
                  <a:lnTo>
                    <a:pt x="1481" y="860"/>
                  </a:lnTo>
                  <a:lnTo>
                    <a:pt x="1481" y="863"/>
                  </a:lnTo>
                  <a:lnTo>
                    <a:pt x="1481" y="863"/>
                  </a:lnTo>
                  <a:lnTo>
                    <a:pt x="1478" y="863"/>
                  </a:lnTo>
                  <a:lnTo>
                    <a:pt x="1478" y="863"/>
                  </a:lnTo>
                  <a:lnTo>
                    <a:pt x="1474" y="865"/>
                  </a:lnTo>
                  <a:lnTo>
                    <a:pt x="1474" y="865"/>
                  </a:lnTo>
                  <a:lnTo>
                    <a:pt x="1474" y="865"/>
                  </a:lnTo>
                  <a:lnTo>
                    <a:pt x="1471" y="867"/>
                  </a:lnTo>
                  <a:lnTo>
                    <a:pt x="1471" y="867"/>
                  </a:lnTo>
                  <a:lnTo>
                    <a:pt x="1471" y="867"/>
                  </a:lnTo>
                  <a:lnTo>
                    <a:pt x="1471" y="870"/>
                  </a:lnTo>
                  <a:lnTo>
                    <a:pt x="1469" y="870"/>
                  </a:lnTo>
                  <a:lnTo>
                    <a:pt x="1469" y="870"/>
                  </a:lnTo>
                  <a:lnTo>
                    <a:pt x="1469" y="870"/>
                  </a:lnTo>
                  <a:lnTo>
                    <a:pt x="1469" y="870"/>
                  </a:lnTo>
                  <a:lnTo>
                    <a:pt x="1469" y="870"/>
                  </a:lnTo>
                  <a:lnTo>
                    <a:pt x="1467" y="870"/>
                  </a:lnTo>
                  <a:lnTo>
                    <a:pt x="1467" y="872"/>
                  </a:lnTo>
                  <a:lnTo>
                    <a:pt x="1467" y="872"/>
                  </a:lnTo>
                  <a:lnTo>
                    <a:pt x="1467" y="872"/>
                  </a:lnTo>
                  <a:lnTo>
                    <a:pt x="1467" y="874"/>
                  </a:lnTo>
                  <a:lnTo>
                    <a:pt x="1464" y="874"/>
                  </a:lnTo>
                  <a:lnTo>
                    <a:pt x="1464" y="877"/>
                  </a:lnTo>
                  <a:lnTo>
                    <a:pt x="1464" y="877"/>
                  </a:lnTo>
                  <a:lnTo>
                    <a:pt x="1464" y="879"/>
                  </a:lnTo>
                  <a:lnTo>
                    <a:pt x="1464" y="881"/>
                  </a:lnTo>
                  <a:lnTo>
                    <a:pt x="1464" y="881"/>
                  </a:lnTo>
                  <a:lnTo>
                    <a:pt x="1464" y="881"/>
                  </a:lnTo>
                  <a:lnTo>
                    <a:pt x="1464" y="884"/>
                  </a:lnTo>
                  <a:lnTo>
                    <a:pt x="1464" y="886"/>
                  </a:lnTo>
                  <a:lnTo>
                    <a:pt x="1464" y="886"/>
                  </a:lnTo>
                  <a:lnTo>
                    <a:pt x="1464" y="886"/>
                  </a:lnTo>
                  <a:lnTo>
                    <a:pt x="1462" y="886"/>
                  </a:lnTo>
                  <a:lnTo>
                    <a:pt x="1462" y="886"/>
                  </a:lnTo>
                  <a:lnTo>
                    <a:pt x="1462" y="889"/>
                  </a:lnTo>
                  <a:lnTo>
                    <a:pt x="1462" y="889"/>
                  </a:lnTo>
                  <a:lnTo>
                    <a:pt x="1462" y="891"/>
                  </a:lnTo>
                  <a:lnTo>
                    <a:pt x="1462" y="891"/>
                  </a:lnTo>
                  <a:lnTo>
                    <a:pt x="1459" y="891"/>
                  </a:lnTo>
                  <a:lnTo>
                    <a:pt x="1462" y="896"/>
                  </a:lnTo>
                  <a:lnTo>
                    <a:pt x="1459" y="896"/>
                  </a:lnTo>
                  <a:lnTo>
                    <a:pt x="1459" y="896"/>
                  </a:lnTo>
                  <a:lnTo>
                    <a:pt x="1457" y="898"/>
                  </a:lnTo>
                  <a:lnTo>
                    <a:pt x="1457" y="898"/>
                  </a:lnTo>
                  <a:lnTo>
                    <a:pt x="1455" y="898"/>
                  </a:lnTo>
                  <a:lnTo>
                    <a:pt x="1455" y="898"/>
                  </a:lnTo>
                  <a:lnTo>
                    <a:pt x="1455" y="900"/>
                  </a:lnTo>
                  <a:lnTo>
                    <a:pt x="1452" y="900"/>
                  </a:lnTo>
                  <a:lnTo>
                    <a:pt x="1452" y="900"/>
                  </a:lnTo>
                  <a:lnTo>
                    <a:pt x="1452" y="900"/>
                  </a:lnTo>
                  <a:lnTo>
                    <a:pt x="1448" y="903"/>
                  </a:lnTo>
                  <a:lnTo>
                    <a:pt x="1450" y="905"/>
                  </a:lnTo>
                  <a:lnTo>
                    <a:pt x="1448" y="905"/>
                  </a:lnTo>
                  <a:lnTo>
                    <a:pt x="1448" y="907"/>
                  </a:lnTo>
                  <a:lnTo>
                    <a:pt x="1448" y="907"/>
                  </a:lnTo>
                  <a:lnTo>
                    <a:pt x="1448" y="907"/>
                  </a:lnTo>
                  <a:lnTo>
                    <a:pt x="1445" y="910"/>
                  </a:lnTo>
                  <a:lnTo>
                    <a:pt x="1445" y="912"/>
                  </a:lnTo>
                  <a:lnTo>
                    <a:pt x="1445" y="915"/>
                  </a:lnTo>
                  <a:lnTo>
                    <a:pt x="1445" y="915"/>
                  </a:lnTo>
                  <a:lnTo>
                    <a:pt x="1443" y="917"/>
                  </a:lnTo>
                  <a:lnTo>
                    <a:pt x="1441" y="919"/>
                  </a:lnTo>
                  <a:lnTo>
                    <a:pt x="1436" y="924"/>
                  </a:lnTo>
                  <a:lnTo>
                    <a:pt x="1436" y="929"/>
                  </a:lnTo>
                  <a:lnTo>
                    <a:pt x="1431" y="933"/>
                  </a:lnTo>
                  <a:lnTo>
                    <a:pt x="1431" y="936"/>
                  </a:lnTo>
                  <a:lnTo>
                    <a:pt x="1429" y="936"/>
                  </a:lnTo>
                  <a:lnTo>
                    <a:pt x="1426" y="936"/>
                  </a:lnTo>
                  <a:lnTo>
                    <a:pt x="1426" y="938"/>
                  </a:lnTo>
                  <a:lnTo>
                    <a:pt x="1422" y="943"/>
                  </a:lnTo>
                  <a:lnTo>
                    <a:pt x="1419" y="941"/>
                  </a:lnTo>
                  <a:lnTo>
                    <a:pt x="1417" y="941"/>
                  </a:lnTo>
                  <a:lnTo>
                    <a:pt x="1417" y="941"/>
                  </a:lnTo>
                  <a:lnTo>
                    <a:pt x="1415" y="941"/>
                  </a:lnTo>
                  <a:lnTo>
                    <a:pt x="1415" y="941"/>
                  </a:lnTo>
                  <a:lnTo>
                    <a:pt x="1412" y="938"/>
                  </a:lnTo>
                  <a:lnTo>
                    <a:pt x="1412" y="938"/>
                  </a:lnTo>
                  <a:lnTo>
                    <a:pt x="1407" y="938"/>
                  </a:lnTo>
                  <a:lnTo>
                    <a:pt x="1407" y="941"/>
                  </a:lnTo>
                  <a:lnTo>
                    <a:pt x="1405" y="943"/>
                  </a:lnTo>
                  <a:lnTo>
                    <a:pt x="1389" y="955"/>
                  </a:lnTo>
                  <a:lnTo>
                    <a:pt x="1379" y="964"/>
                  </a:lnTo>
                  <a:lnTo>
                    <a:pt x="1374" y="969"/>
                  </a:lnTo>
                  <a:lnTo>
                    <a:pt x="1372" y="969"/>
                  </a:lnTo>
                  <a:lnTo>
                    <a:pt x="1358" y="981"/>
                  </a:lnTo>
                  <a:lnTo>
                    <a:pt x="1355" y="983"/>
                  </a:lnTo>
                  <a:lnTo>
                    <a:pt x="1332" y="1002"/>
                  </a:lnTo>
                  <a:lnTo>
                    <a:pt x="1330" y="1004"/>
                  </a:lnTo>
                  <a:lnTo>
                    <a:pt x="1327" y="1002"/>
                  </a:lnTo>
                  <a:lnTo>
                    <a:pt x="1327" y="1002"/>
                  </a:lnTo>
                  <a:lnTo>
                    <a:pt x="1325" y="1004"/>
                  </a:lnTo>
                  <a:lnTo>
                    <a:pt x="1327" y="1007"/>
                  </a:lnTo>
                  <a:lnTo>
                    <a:pt x="1325" y="1007"/>
                  </a:lnTo>
                  <a:lnTo>
                    <a:pt x="1322" y="1009"/>
                  </a:lnTo>
                  <a:lnTo>
                    <a:pt x="1311" y="1018"/>
                  </a:lnTo>
                  <a:lnTo>
                    <a:pt x="1287" y="1037"/>
                  </a:lnTo>
                  <a:lnTo>
                    <a:pt x="1287" y="1040"/>
                  </a:lnTo>
                  <a:lnTo>
                    <a:pt x="1287" y="1040"/>
                  </a:lnTo>
                  <a:lnTo>
                    <a:pt x="1287" y="1040"/>
                  </a:lnTo>
                  <a:lnTo>
                    <a:pt x="1289" y="1042"/>
                  </a:lnTo>
                  <a:lnTo>
                    <a:pt x="1289" y="1042"/>
                  </a:lnTo>
                  <a:lnTo>
                    <a:pt x="1289" y="1042"/>
                  </a:lnTo>
                  <a:lnTo>
                    <a:pt x="1296" y="1042"/>
                  </a:lnTo>
                  <a:lnTo>
                    <a:pt x="1299" y="1044"/>
                  </a:lnTo>
                  <a:lnTo>
                    <a:pt x="1299" y="1044"/>
                  </a:lnTo>
                  <a:lnTo>
                    <a:pt x="1301" y="1047"/>
                  </a:lnTo>
                  <a:lnTo>
                    <a:pt x="1306" y="1047"/>
                  </a:lnTo>
                  <a:lnTo>
                    <a:pt x="1306" y="1047"/>
                  </a:lnTo>
                  <a:lnTo>
                    <a:pt x="1311" y="1047"/>
                  </a:lnTo>
                  <a:lnTo>
                    <a:pt x="1318" y="1049"/>
                  </a:lnTo>
                  <a:lnTo>
                    <a:pt x="1320" y="1049"/>
                  </a:lnTo>
                  <a:lnTo>
                    <a:pt x="1322" y="1047"/>
                  </a:lnTo>
                  <a:lnTo>
                    <a:pt x="1322" y="1047"/>
                  </a:lnTo>
                  <a:lnTo>
                    <a:pt x="1325" y="1047"/>
                  </a:lnTo>
                  <a:lnTo>
                    <a:pt x="1325" y="1047"/>
                  </a:lnTo>
                  <a:lnTo>
                    <a:pt x="1325" y="1047"/>
                  </a:lnTo>
                  <a:lnTo>
                    <a:pt x="1330" y="1044"/>
                  </a:lnTo>
                  <a:lnTo>
                    <a:pt x="1332" y="1047"/>
                  </a:lnTo>
                  <a:lnTo>
                    <a:pt x="1332" y="1044"/>
                  </a:lnTo>
                  <a:lnTo>
                    <a:pt x="1332" y="1044"/>
                  </a:lnTo>
                  <a:lnTo>
                    <a:pt x="1334" y="1044"/>
                  </a:lnTo>
                  <a:lnTo>
                    <a:pt x="1334" y="1047"/>
                  </a:lnTo>
                  <a:lnTo>
                    <a:pt x="1337" y="1047"/>
                  </a:lnTo>
                  <a:lnTo>
                    <a:pt x="1339" y="1049"/>
                  </a:lnTo>
                  <a:lnTo>
                    <a:pt x="1339" y="1052"/>
                  </a:lnTo>
                  <a:lnTo>
                    <a:pt x="1339" y="1052"/>
                  </a:lnTo>
                  <a:lnTo>
                    <a:pt x="1339" y="1054"/>
                  </a:lnTo>
                  <a:lnTo>
                    <a:pt x="1341" y="1056"/>
                  </a:lnTo>
                  <a:lnTo>
                    <a:pt x="1341" y="1059"/>
                  </a:lnTo>
                  <a:lnTo>
                    <a:pt x="1341" y="1056"/>
                  </a:lnTo>
                  <a:lnTo>
                    <a:pt x="1341" y="1059"/>
                  </a:lnTo>
                  <a:lnTo>
                    <a:pt x="1344" y="1061"/>
                  </a:lnTo>
                  <a:lnTo>
                    <a:pt x="1344" y="1063"/>
                  </a:lnTo>
                  <a:lnTo>
                    <a:pt x="1346" y="1063"/>
                  </a:lnTo>
                  <a:lnTo>
                    <a:pt x="1348" y="1063"/>
                  </a:lnTo>
                  <a:lnTo>
                    <a:pt x="1353" y="1066"/>
                  </a:lnTo>
                  <a:lnTo>
                    <a:pt x="1355" y="1066"/>
                  </a:lnTo>
                  <a:lnTo>
                    <a:pt x="1358" y="1066"/>
                  </a:lnTo>
                  <a:lnTo>
                    <a:pt x="1358" y="1068"/>
                  </a:lnTo>
                  <a:lnTo>
                    <a:pt x="1360" y="1068"/>
                  </a:lnTo>
                  <a:lnTo>
                    <a:pt x="1365" y="1073"/>
                  </a:lnTo>
                  <a:lnTo>
                    <a:pt x="1365" y="1073"/>
                  </a:lnTo>
                  <a:lnTo>
                    <a:pt x="1365" y="1075"/>
                  </a:lnTo>
                  <a:lnTo>
                    <a:pt x="1363" y="1078"/>
                  </a:lnTo>
                  <a:lnTo>
                    <a:pt x="1360" y="1082"/>
                  </a:lnTo>
                  <a:lnTo>
                    <a:pt x="1360" y="1085"/>
                  </a:lnTo>
                  <a:lnTo>
                    <a:pt x="1358" y="1087"/>
                  </a:lnTo>
                  <a:lnTo>
                    <a:pt x="1358" y="1087"/>
                  </a:lnTo>
                  <a:lnTo>
                    <a:pt x="1355" y="1087"/>
                  </a:lnTo>
                  <a:lnTo>
                    <a:pt x="1353" y="1089"/>
                  </a:lnTo>
                  <a:lnTo>
                    <a:pt x="1348" y="1087"/>
                  </a:lnTo>
                  <a:lnTo>
                    <a:pt x="1346" y="1089"/>
                  </a:lnTo>
                  <a:lnTo>
                    <a:pt x="1344" y="1089"/>
                  </a:lnTo>
                  <a:lnTo>
                    <a:pt x="1344" y="1092"/>
                  </a:lnTo>
                  <a:lnTo>
                    <a:pt x="1344" y="1094"/>
                  </a:lnTo>
                  <a:lnTo>
                    <a:pt x="1344" y="1096"/>
                  </a:lnTo>
                  <a:lnTo>
                    <a:pt x="1344" y="1101"/>
                  </a:lnTo>
                  <a:lnTo>
                    <a:pt x="1344" y="1104"/>
                  </a:lnTo>
                  <a:lnTo>
                    <a:pt x="1346" y="1104"/>
                  </a:lnTo>
                  <a:lnTo>
                    <a:pt x="1348" y="1106"/>
                  </a:lnTo>
                  <a:lnTo>
                    <a:pt x="1351" y="1111"/>
                  </a:lnTo>
                  <a:lnTo>
                    <a:pt x="1351" y="1111"/>
                  </a:lnTo>
                  <a:lnTo>
                    <a:pt x="1353" y="1113"/>
                  </a:lnTo>
                  <a:lnTo>
                    <a:pt x="1353" y="1113"/>
                  </a:lnTo>
                  <a:lnTo>
                    <a:pt x="1353" y="1118"/>
                  </a:lnTo>
                  <a:lnTo>
                    <a:pt x="1351" y="1118"/>
                  </a:lnTo>
                  <a:lnTo>
                    <a:pt x="1344" y="1120"/>
                  </a:lnTo>
                  <a:lnTo>
                    <a:pt x="1344" y="1120"/>
                  </a:lnTo>
                  <a:lnTo>
                    <a:pt x="1341" y="1122"/>
                  </a:lnTo>
                  <a:lnTo>
                    <a:pt x="1339" y="1125"/>
                  </a:lnTo>
                  <a:lnTo>
                    <a:pt x="1339" y="1127"/>
                  </a:lnTo>
                  <a:lnTo>
                    <a:pt x="1339" y="1127"/>
                  </a:lnTo>
                  <a:lnTo>
                    <a:pt x="1339" y="1130"/>
                  </a:lnTo>
                  <a:lnTo>
                    <a:pt x="1344" y="1130"/>
                  </a:lnTo>
                  <a:lnTo>
                    <a:pt x="1346" y="1132"/>
                  </a:lnTo>
                  <a:lnTo>
                    <a:pt x="1346" y="1134"/>
                  </a:lnTo>
                  <a:lnTo>
                    <a:pt x="1344" y="1137"/>
                  </a:lnTo>
                  <a:lnTo>
                    <a:pt x="1344" y="1139"/>
                  </a:lnTo>
                  <a:lnTo>
                    <a:pt x="1339" y="1141"/>
                  </a:lnTo>
                  <a:lnTo>
                    <a:pt x="1334" y="1144"/>
                  </a:lnTo>
                  <a:lnTo>
                    <a:pt x="1332" y="1144"/>
                  </a:lnTo>
                  <a:lnTo>
                    <a:pt x="1330" y="1144"/>
                  </a:lnTo>
                  <a:lnTo>
                    <a:pt x="1330" y="1146"/>
                  </a:lnTo>
                  <a:lnTo>
                    <a:pt x="1327" y="1146"/>
                  </a:lnTo>
                  <a:lnTo>
                    <a:pt x="1327" y="1148"/>
                  </a:lnTo>
                  <a:lnTo>
                    <a:pt x="1327" y="1153"/>
                  </a:lnTo>
                  <a:lnTo>
                    <a:pt x="1327" y="1155"/>
                  </a:lnTo>
                  <a:lnTo>
                    <a:pt x="1330" y="1158"/>
                  </a:lnTo>
                  <a:lnTo>
                    <a:pt x="1330" y="1160"/>
                  </a:lnTo>
                  <a:lnTo>
                    <a:pt x="1330" y="1163"/>
                  </a:lnTo>
                  <a:lnTo>
                    <a:pt x="1330" y="1163"/>
                  </a:lnTo>
                  <a:lnTo>
                    <a:pt x="1330" y="1165"/>
                  </a:lnTo>
                  <a:lnTo>
                    <a:pt x="1332" y="1165"/>
                  </a:lnTo>
                  <a:lnTo>
                    <a:pt x="1332" y="1165"/>
                  </a:lnTo>
                  <a:lnTo>
                    <a:pt x="1334" y="1167"/>
                  </a:lnTo>
                  <a:lnTo>
                    <a:pt x="1334" y="1170"/>
                  </a:lnTo>
                  <a:lnTo>
                    <a:pt x="1334" y="1172"/>
                  </a:lnTo>
                  <a:lnTo>
                    <a:pt x="1332" y="1174"/>
                  </a:lnTo>
                  <a:lnTo>
                    <a:pt x="1332" y="1172"/>
                  </a:lnTo>
                  <a:lnTo>
                    <a:pt x="1327" y="1170"/>
                  </a:lnTo>
                  <a:lnTo>
                    <a:pt x="1325" y="1170"/>
                  </a:lnTo>
                  <a:lnTo>
                    <a:pt x="1318" y="1170"/>
                  </a:lnTo>
                  <a:lnTo>
                    <a:pt x="1318" y="1170"/>
                  </a:lnTo>
                  <a:lnTo>
                    <a:pt x="1315" y="1172"/>
                  </a:lnTo>
                  <a:lnTo>
                    <a:pt x="1315" y="1174"/>
                  </a:lnTo>
                  <a:lnTo>
                    <a:pt x="1313" y="1177"/>
                  </a:lnTo>
                  <a:lnTo>
                    <a:pt x="1311" y="1177"/>
                  </a:lnTo>
                  <a:lnTo>
                    <a:pt x="1304" y="1184"/>
                  </a:lnTo>
                  <a:lnTo>
                    <a:pt x="1304" y="1186"/>
                  </a:lnTo>
                  <a:lnTo>
                    <a:pt x="1301" y="1186"/>
                  </a:lnTo>
                  <a:lnTo>
                    <a:pt x="1299" y="1191"/>
                  </a:lnTo>
                  <a:lnTo>
                    <a:pt x="1299" y="1193"/>
                  </a:lnTo>
                  <a:lnTo>
                    <a:pt x="1299" y="1193"/>
                  </a:lnTo>
                  <a:lnTo>
                    <a:pt x="1296" y="1196"/>
                  </a:lnTo>
                  <a:lnTo>
                    <a:pt x="1296" y="1198"/>
                  </a:lnTo>
                  <a:lnTo>
                    <a:pt x="1299" y="1203"/>
                  </a:lnTo>
                  <a:lnTo>
                    <a:pt x="1299" y="1207"/>
                  </a:lnTo>
                  <a:lnTo>
                    <a:pt x="1299" y="1210"/>
                  </a:lnTo>
                  <a:lnTo>
                    <a:pt x="1296" y="1210"/>
                  </a:lnTo>
                  <a:lnTo>
                    <a:pt x="1294" y="1212"/>
                  </a:lnTo>
                  <a:lnTo>
                    <a:pt x="1287" y="1215"/>
                  </a:lnTo>
                  <a:lnTo>
                    <a:pt x="1285" y="1219"/>
                  </a:lnTo>
                  <a:lnTo>
                    <a:pt x="1285" y="1219"/>
                  </a:lnTo>
                  <a:lnTo>
                    <a:pt x="1282" y="1219"/>
                  </a:lnTo>
                  <a:lnTo>
                    <a:pt x="1278" y="1222"/>
                  </a:lnTo>
                  <a:lnTo>
                    <a:pt x="1278" y="1222"/>
                  </a:lnTo>
                  <a:lnTo>
                    <a:pt x="1275" y="1222"/>
                  </a:lnTo>
                  <a:lnTo>
                    <a:pt x="1275" y="1222"/>
                  </a:lnTo>
                  <a:lnTo>
                    <a:pt x="1270" y="1222"/>
                  </a:lnTo>
                  <a:lnTo>
                    <a:pt x="1266" y="1222"/>
                  </a:lnTo>
                  <a:lnTo>
                    <a:pt x="1263" y="1224"/>
                  </a:lnTo>
                  <a:lnTo>
                    <a:pt x="1261" y="1224"/>
                  </a:lnTo>
                  <a:lnTo>
                    <a:pt x="1259" y="1226"/>
                  </a:lnTo>
                  <a:lnTo>
                    <a:pt x="1252" y="1226"/>
                  </a:lnTo>
                  <a:lnTo>
                    <a:pt x="1252" y="1229"/>
                  </a:lnTo>
                  <a:lnTo>
                    <a:pt x="1249" y="1231"/>
                  </a:lnTo>
                  <a:lnTo>
                    <a:pt x="1244" y="1233"/>
                  </a:lnTo>
                  <a:lnTo>
                    <a:pt x="1240" y="1238"/>
                  </a:lnTo>
                  <a:lnTo>
                    <a:pt x="1235" y="1241"/>
                  </a:lnTo>
                  <a:lnTo>
                    <a:pt x="1233" y="1241"/>
                  </a:lnTo>
                  <a:lnTo>
                    <a:pt x="1233" y="1241"/>
                  </a:lnTo>
                  <a:lnTo>
                    <a:pt x="1230" y="1243"/>
                  </a:lnTo>
                  <a:lnTo>
                    <a:pt x="1228" y="1245"/>
                  </a:lnTo>
                  <a:lnTo>
                    <a:pt x="1228" y="1248"/>
                  </a:lnTo>
                  <a:lnTo>
                    <a:pt x="1228" y="1250"/>
                  </a:lnTo>
                  <a:lnTo>
                    <a:pt x="1228" y="1250"/>
                  </a:lnTo>
                  <a:lnTo>
                    <a:pt x="1228" y="1252"/>
                  </a:lnTo>
                  <a:lnTo>
                    <a:pt x="1230" y="1257"/>
                  </a:lnTo>
                  <a:lnTo>
                    <a:pt x="1230" y="1259"/>
                  </a:lnTo>
                  <a:lnTo>
                    <a:pt x="1230" y="1264"/>
                  </a:lnTo>
                  <a:lnTo>
                    <a:pt x="1230" y="1264"/>
                  </a:lnTo>
                  <a:lnTo>
                    <a:pt x="1230" y="1271"/>
                  </a:lnTo>
                  <a:lnTo>
                    <a:pt x="1230" y="1278"/>
                  </a:lnTo>
                  <a:lnTo>
                    <a:pt x="1233" y="1283"/>
                  </a:lnTo>
                  <a:lnTo>
                    <a:pt x="1230" y="1285"/>
                  </a:lnTo>
                  <a:lnTo>
                    <a:pt x="1228" y="1290"/>
                  </a:lnTo>
                  <a:lnTo>
                    <a:pt x="1228" y="1292"/>
                  </a:lnTo>
                  <a:lnTo>
                    <a:pt x="1226" y="1297"/>
                  </a:lnTo>
                  <a:lnTo>
                    <a:pt x="1223" y="1300"/>
                  </a:lnTo>
                  <a:lnTo>
                    <a:pt x="1221" y="1302"/>
                  </a:lnTo>
                  <a:lnTo>
                    <a:pt x="1221" y="1304"/>
                  </a:lnTo>
                  <a:lnTo>
                    <a:pt x="1218" y="1304"/>
                  </a:lnTo>
                  <a:lnTo>
                    <a:pt x="1214" y="1311"/>
                  </a:lnTo>
                  <a:lnTo>
                    <a:pt x="1211" y="1314"/>
                  </a:lnTo>
                  <a:lnTo>
                    <a:pt x="1209" y="1318"/>
                  </a:lnTo>
                  <a:lnTo>
                    <a:pt x="1207" y="1318"/>
                  </a:lnTo>
                  <a:lnTo>
                    <a:pt x="1207" y="1326"/>
                  </a:lnTo>
                  <a:lnTo>
                    <a:pt x="1207" y="1328"/>
                  </a:lnTo>
                  <a:lnTo>
                    <a:pt x="1209" y="1333"/>
                  </a:lnTo>
                  <a:lnTo>
                    <a:pt x="1209" y="1335"/>
                  </a:lnTo>
                  <a:lnTo>
                    <a:pt x="1211" y="1340"/>
                  </a:lnTo>
                  <a:lnTo>
                    <a:pt x="1211" y="1342"/>
                  </a:lnTo>
                  <a:lnTo>
                    <a:pt x="1214" y="1344"/>
                  </a:lnTo>
                  <a:lnTo>
                    <a:pt x="1218" y="1347"/>
                  </a:lnTo>
                  <a:lnTo>
                    <a:pt x="1221" y="1349"/>
                  </a:lnTo>
                  <a:lnTo>
                    <a:pt x="1223" y="1352"/>
                  </a:lnTo>
                  <a:lnTo>
                    <a:pt x="1228" y="1354"/>
                  </a:lnTo>
                  <a:lnTo>
                    <a:pt x="1230" y="1356"/>
                  </a:lnTo>
                  <a:lnTo>
                    <a:pt x="1233" y="1356"/>
                  </a:lnTo>
                  <a:lnTo>
                    <a:pt x="1235" y="1359"/>
                  </a:lnTo>
                  <a:lnTo>
                    <a:pt x="1235" y="1359"/>
                  </a:lnTo>
                  <a:lnTo>
                    <a:pt x="1235" y="1361"/>
                  </a:lnTo>
                  <a:lnTo>
                    <a:pt x="1235" y="1361"/>
                  </a:lnTo>
                  <a:lnTo>
                    <a:pt x="1233" y="1363"/>
                  </a:lnTo>
                  <a:lnTo>
                    <a:pt x="1233" y="1366"/>
                  </a:lnTo>
                  <a:lnTo>
                    <a:pt x="1233" y="1366"/>
                  </a:lnTo>
                  <a:lnTo>
                    <a:pt x="1235" y="1373"/>
                  </a:lnTo>
                  <a:lnTo>
                    <a:pt x="1233" y="1375"/>
                  </a:lnTo>
                  <a:lnTo>
                    <a:pt x="1233" y="1380"/>
                  </a:lnTo>
                  <a:lnTo>
                    <a:pt x="1233" y="1382"/>
                  </a:lnTo>
                  <a:lnTo>
                    <a:pt x="1233" y="1387"/>
                  </a:lnTo>
                  <a:lnTo>
                    <a:pt x="1233" y="1387"/>
                  </a:lnTo>
                  <a:lnTo>
                    <a:pt x="1233" y="1392"/>
                  </a:lnTo>
                  <a:lnTo>
                    <a:pt x="1233" y="1394"/>
                  </a:lnTo>
                  <a:lnTo>
                    <a:pt x="1230" y="1394"/>
                  </a:lnTo>
                  <a:lnTo>
                    <a:pt x="1230" y="1396"/>
                  </a:lnTo>
                  <a:lnTo>
                    <a:pt x="1230" y="1396"/>
                  </a:lnTo>
                  <a:lnTo>
                    <a:pt x="1230" y="1399"/>
                  </a:lnTo>
                  <a:lnTo>
                    <a:pt x="1228" y="1401"/>
                  </a:lnTo>
                  <a:lnTo>
                    <a:pt x="1230" y="1404"/>
                  </a:lnTo>
                  <a:lnTo>
                    <a:pt x="1228" y="1408"/>
                  </a:lnTo>
                  <a:lnTo>
                    <a:pt x="1228" y="1411"/>
                  </a:lnTo>
                  <a:lnTo>
                    <a:pt x="1228" y="1413"/>
                  </a:lnTo>
                  <a:lnTo>
                    <a:pt x="1226" y="1415"/>
                  </a:lnTo>
                  <a:lnTo>
                    <a:pt x="1223" y="1420"/>
                  </a:lnTo>
                  <a:lnTo>
                    <a:pt x="1221" y="1427"/>
                  </a:lnTo>
                  <a:lnTo>
                    <a:pt x="1221" y="1430"/>
                  </a:lnTo>
                  <a:lnTo>
                    <a:pt x="1218" y="1434"/>
                  </a:lnTo>
                  <a:lnTo>
                    <a:pt x="1218" y="1437"/>
                  </a:lnTo>
                  <a:lnTo>
                    <a:pt x="1214" y="1439"/>
                  </a:lnTo>
                  <a:lnTo>
                    <a:pt x="1211" y="1439"/>
                  </a:lnTo>
                  <a:lnTo>
                    <a:pt x="1211" y="1439"/>
                  </a:lnTo>
                  <a:lnTo>
                    <a:pt x="1207" y="1444"/>
                  </a:lnTo>
                  <a:lnTo>
                    <a:pt x="1207" y="1448"/>
                  </a:lnTo>
                  <a:lnTo>
                    <a:pt x="1204" y="1448"/>
                  </a:lnTo>
                  <a:lnTo>
                    <a:pt x="1204" y="1458"/>
                  </a:lnTo>
                  <a:lnTo>
                    <a:pt x="1204" y="1458"/>
                  </a:lnTo>
                  <a:lnTo>
                    <a:pt x="1202" y="1460"/>
                  </a:lnTo>
                  <a:lnTo>
                    <a:pt x="1197" y="1465"/>
                  </a:lnTo>
                  <a:lnTo>
                    <a:pt x="1197" y="1467"/>
                  </a:lnTo>
                  <a:lnTo>
                    <a:pt x="1195" y="1470"/>
                  </a:lnTo>
                  <a:lnTo>
                    <a:pt x="1195" y="1472"/>
                  </a:lnTo>
                  <a:lnTo>
                    <a:pt x="1193" y="1477"/>
                  </a:lnTo>
                  <a:lnTo>
                    <a:pt x="1185" y="1484"/>
                  </a:lnTo>
                  <a:lnTo>
                    <a:pt x="1183" y="1489"/>
                  </a:lnTo>
                  <a:lnTo>
                    <a:pt x="1181" y="1493"/>
                  </a:lnTo>
                  <a:lnTo>
                    <a:pt x="1178" y="1496"/>
                  </a:lnTo>
                  <a:lnTo>
                    <a:pt x="1176" y="1496"/>
                  </a:lnTo>
                  <a:lnTo>
                    <a:pt x="1174" y="1496"/>
                  </a:lnTo>
                  <a:lnTo>
                    <a:pt x="1169" y="1498"/>
                  </a:lnTo>
                  <a:lnTo>
                    <a:pt x="1162" y="1503"/>
                  </a:lnTo>
                  <a:lnTo>
                    <a:pt x="1159" y="1503"/>
                  </a:lnTo>
                  <a:lnTo>
                    <a:pt x="1159" y="1505"/>
                  </a:lnTo>
                  <a:lnTo>
                    <a:pt x="1157" y="1507"/>
                  </a:lnTo>
                  <a:lnTo>
                    <a:pt x="1155" y="1512"/>
                  </a:lnTo>
                  <a:lnTo>
                    <a:pt x="1155" y="1515"/>
                  </a:lnTo>
                  <a:lnTo>
                    <a:pt x="1148" y="1519"/>
                  </a:lnTo>
                  <a:lnTo>
                    <a:pt x="1148" y="1522"/>
                  </a:lnTo>
                  <a:lnTo>
                    <a:pt x="1148" y="1524"/>
                  </a:lnTo>
                  <a:lnTo>
                    <a:pt x="1145" y="1526"/>
                  </a:lnTo>
                  <a:lnTo>
                    <a:pt x="1145" y="1531"/>
                  </a:lnTo>
                  <a:lnTo>
                    <a:pt x="1141" y="1536"/>
                  </a:lnTo>
                  <a:lnTo>
                    <a:pt x="1141" y="1536"/>
                  </a:lnTo>
                  <a:lnTo>
                    <a:pt x="1141" y="1538"/>
                  </a:lnTo>
                  <a:lnTo>
                    <a:pt x="1141" y="1538"/>
                  </a:lnTo>
                  <a:lnTo>
                    <a:pt x="1136" y="1543"/>
                  </a:lnTo>
                  <a:lnTo>
                    <a:pt x="1131" y="1545"/>
                  </a:lnTo>
                  <a:lnTo>
                    <a:pt x="1129" y="1545"/>
                  </a:lnTo>
                  <a:lnTo>
                    <a:pt x="1129" y="1552"/>
                  </a:lnTo>
                  <a:lnTo>
                    <a:pt x="1124" y="1552"/>
                  </a:lnTo>
                  <a:lnTo>
                    <a:pt x="1124" y="1555"/>
                  </a:lnTo>
                  <a:lnTo>
                    <a:pt x="1122" y="1555"/>
                  </a:lnTo>
                  <a:lnTo>
                    <a:pt x="1122" y="1557"/>
                  </a:lnTo>
                  <a:lnTo>
                    <a:pt x="1122" y="1559"/>
                  </a:lnTo>
                  <a:lnTo>
                    <a:pt x="1122" y="1562"/>
                  </a:lnTo>
                  <a:lnTo>
                    <a:pt x="1122" y="1564"/>
                  </a:lnTo>
                  <a:lnTo>
                    <a:pt x="1122" y="1564"/>
                  </a:lnTo>
                  <a:lnTo>
                    <a:pt x="1119" y="1569"/>
                  </a:lnTo>
                  <a:lnTo>
                    <a:pt x="1117" y="1571"/>
                  </a:lnTo>
                  <a:lnTo>
                    <a:pt x="1115" y="1578"/>
                  </a:lnTo>
                  <a:lnTo>
                    <a:pt x="1115" y="1581"/>
                  </a:lnTo>
                  <a:lnTo>
                    <a:pt x="1115" y="1581"/>
                  </a:lnTo>
                  <a:lnTo>
                    <a:pt x="1115" y="1581"/>
                  </a:lnTo>
                  <a:lnTo>
                    <a:pt x="1115" y="1583"/>
                  </a:lnTo>
                  <a:lnTo>
                    <a:pt x="1115" y="1585"/>
                  </a:lnTo>
                  <a:lnTo>
                    <a:pt x="1117" y="1588"/>
                  </a:lnTo>
                  <a:lnTo>
                    <a:pt x="1115" y="1590"/>
                  </a:lnTo>
                  <a:lnTo>
                    <a:pt x="1115" y="1590"/>
                  </a:lnTo>
                  <a:lnTo>
                    <a:pt x="1115" y="1595"/>
                  </a:lnTo>
                  <a:lnTo>
                    <a:pt x="1112" y="1595"/>
                  </a:lnTo>
                  <a:lnTo>
                    <a:pt x="1112" y="1597"/>
                  </a:lnTo>
                  <a:lnTo>
                    <a:pt x="1110" y="1597"/>
                  </a:lnTo>
                  <a:lnTo>
                    <a:pt x="1110" y="1602"/>
                  </a:lnTo>
                  <a:lnTo>
                    <a:pt x="1110" y="1604"/>
                  </a:lnTo>
                  <a:lnTo>
                    <a:pt x="1110" y="1607"/>
                  </a:lnTo>
                  <a:lnTo>
                    <a:pt x="1107" y="1607"/>
                  </a:lnTo>
                  <a:lnTo>
                    <a:pt x="1107" y="1609"/>
                  </a:lnTo>
                  <a:lnTo>
                    <a:pt x="1103" y="1616"/>
                  </a:lnTo>
                  <a:lnTo>
                    <a:pt x="1103" y="1618"/>
                  </a:lnTo>
                  <a:lnTo>
                    <a:pt x="1100" y="1623"/>
                  </a:lnTo>
                  <a:lnTo>
                    <a:pt x="1100" y="1626"/>
                  </a:lnTo>
                  <a:lnTo>
                    <a:pt x="1100" y="1626"/>
                  </a:lnTo>
                  <a:lnTo>
                    <a:pt x="1020" y="1621"/>
                  </a:lnTo>
                  <a:lnTo>
                    <a:pt x="994" y="1618"/>
                  </a:lnTo>
                  <a:lnTo>
                    <a:pt x="963" y="1616"/>
                  </a:lnTo>
                  <a:lnTo>
                    <a:pt x="942" y="1616"/>
                  </a:lnTo>
                  <a:lnTo>
                    <a:pt x="843" y="1609"/>
                  </a:lnTo>
                  <a:lnTo>
                    <a:pt x="796" y="1604"/>
                  </a:lnTo>
                  <a:lnTo>
                    <a:pt x="789" y="1604"/>
                  </a:lnTo>
                  <a:lnTo>
                    <a:pt x="732" y="1600"/>
                  </a:lnTo>
                  <a:lnTo>
                    <a:pt x="673" y="1597"/>
                  </a:lnTo>
                  <a:lnTo>
                    <a:pt x="607" y="1590"/>
                  </a:lnTo>
                  <a:lnTo>
                    <a:pt x="543" y="1585"/>
                  </a:lnTo>
                  <a:lnTo>
                    <a:pt x="526" y="1585"/>
                  </a:lnTo>
                  <a:lnTo>
                    <a:pt x="493" y="1581"/>
                  </a:lnTo>
                  <a:lnTo>
                    <a:pt x="394" y="1574"/>
                  </a:lnTo>
                  <a:lnTo>
                    <a:pt x="347" y="1569"/>
                  </a:lnTo>
                  <a:lnTo>
                    <a:pt x="333" y="1569"/>
                  </a:lnTo>
                  <a:lnTo>
                    <a:pt x="283" y="1564"/>
                  </a:lnTo>
                  <a:lnTo>
                    <a:pt x="278" y="1564"/>
                  </a:lnTo>
                  <a:lnTo>
                    <a:pt x="276" y="1564"/>
                  </a:lnTo>
                  <a:lnTo>
                    <a:pt x="276" y="1564"/>
                  </a:lnTo>
                  <a:lnTo>
                    <a:pt x="276" y="1567"/>
                  </a:lnTo>
                  <a:lnTo>
                    <a:pt x="274" y="1569"/>
                  </a:lnTo>
                  <a:lnTo>
                    <a:pt x="271" y="1569"/>
                  </a:lnTo>
                  <a:lnTo>
                    <a:pt x="269" y="1569"/>
                  </a:lnTo>
                  <a:lnTo>
                    <a:pt x="269" y="1567"/>
                  </a:lnTo>
                  <a:lnTo>
                    <a:pt x="269" y="1564"/>
                  </a:lnTo>
                  <a:lnTo>
                    <a:pt x="269" y="1564"/>
                  </a:lnTo>
                  <a:lnTo>
                    <a:pt x="269" y="1559"/>
                  </a:lnTo>
                  <a:lnTo>
                    <a:pt x="269" y="1557"/>
                  </a:lnTo>
                  <a:lnTo>
                    <a:pt x="266" y="1557"/>
                  </a:lnTo>
                  <a:lnTo>
                    <a:pt x="264" y="1550"/>
                  </a:lnTo>
                  <a:lnTo>
                    <a:pt x="264" y="1548"/>
                  </a:lnTo>
                  <a:lnTo>
                    <a:pt x="259" y="1548"/>
                  </a:lnTo>
                  <a:lnTo>
                    <a:pt x="257" y="1545"/>
                  </a:lnTo>
                  <a:lnTo>
                    <a:pt x="257" y="1548"/>
                  </a:lnTo>
                  <a:lnTo>
                    <a:pt x="255" y="1548"/>
                  </a:lnTo>
                  <a:lnTo>
                    <a:pt x="248" y="1545"/>
                  </a:lnTo>
                  <a:lnTo>
                    <a:pt x="245" y="1545"/>
                  </a:lnTo>
                  <a:lnTo>
                    <a:pt x="241" y="1545"/>
                  </a:lnTo>
                  <a:lnTo>
                    <a:pt x="238" y="1545"/>
                  </a:lnTo>
                  <a:lnTo>
                    <a:pt x="238" y="1545"/>
                  </a:lnTo>
                  <a:lnTo>
                    <a:pt x="236" y="1543"/>
                  </a:lnTo>
                  <a:lnTo>
                    <a:pt x="236" y="1543"/>
                  </a:lnTo>
                  <a:lnTo>
                    <a:pt x="233" y="1541"/>
                  </a:lnTo>
                  <a:lnTo>
                    <a:pt x="231" y="1541"/>
                  </a:lnTo>
                  <a:lnTo>
                    <a:pt x="231" y="1538"/>
                  </a:lnTo>
                  <a:lnTo>
                    <a:pt x="233" y="1536"/>
                  </a:lnTo>
                  <a:lnTo>
                    <a:pt x="231" y="1533"/>
                  </a:lnTo>
                  <a:lnTo>
                    <a:pt x="236" y="1531"/>
                  </a:lnTo>
                  <a:lnTo>
                    <a:pt x="236" y="1529"/>
                  </a:lnTo>
                  <a:lnTo>
                    <a:pt x="233" y="1526"/>
                  </a:lnTo>
                  <a:lnTo>
                    <a:pt x="231" y="1526"/>
                  </a:lnTo>
                  <a:lnTo>
                    <a:pt x="231" y="1524"/>
                  </a:lnTo>
                  <a:lnTo>
                    <a:pt x="231" y="1524"/>
                  </a:lnTo>
                  <a:lnTo>
                    <a:pt x="229" y="1522"/>
                  </a:lnTo>
                  <a:lnTo>
                    <a:pt x="229" y="1517"/>
                  </a:lnTo>
                  <a:lnTo>
                    <a:pt x="222" y="1515"/>
                  </a:lnTo>
                  <a:lnTo>
                    <a:pt x="217" y="1507"/>
                  </a:lnTo>
                  <a:lnTo>
                    <a:pt x="215" y="1505"/>
                  </a:lnTo>
                  <a:lnTo>
                    <a:pt x="212" y="1505"/>
                  </a:lnTo>
                  <a:lnTo>
                    <a:pt x="210" y="1505"/>
                  </a:lnTo>
                  <a:lnTo>
                    <a:pt x="210" y="1503"/>
                  </a:lnTo>
                  <a:lnTo>
                    <a:pt x="207" y="1505"/>
                  </a:lnTo>
                  <a:lnTo>
                    <a:pt x="203" y="1505"/>
                  </a:lnTo>
                  <a:lnTo>
                    <a:pt x="203" y="1505"/>
                  </a:lnTo>
                  <a:lnTo>
                    <a:pt x="200" y="1505"/>
                  </a:lnTo>
                  <a:lnTo>
                    <a:pt x="200" y="1503"/>
                  </a:lnTo>
                  <a:lnTo>
                    <a:pt x="196" y="1500"/>
                  </a:lnTo>
                  <a:lnTo>
                    <a:pt x="191" y="1500"/>
                  </a:lnTo>
                  <a:lnTo>
                    <a:pt x="189" y="1498"/>
                  </a:lnTo>
                  <a:lnTo>
                    <a:pt x="186" y="1498"/>
                  </a:lnTo>
                  <a:lnTo>
                    <a:pt x="186" y="1496"/>
                  </a:lnTo>
                  <a:lnTo>
                    <a:pt x="186" y="1493"/>
                  </a:lnTo>
                  <a:lnTo>
                    <a:pt x="186" y="1489"/>
                  </a:lnTo>
                  <a:lnTo>
                    <a:pt x="186" y="1489"/>
                  </a:lnTo>
                  <a:lnTo>
                    <a:pt x="184" y="1489"/>
                  </a:lnTo>
                  <a:lnTo>
                    <a:pt x="181" y="1489"/>
                  </a:lnTo>
                  <a:lnTo>
                    <a:pt x="179" y="1486"/>
                  </a:lnTo>
                  <a:lnTo>
                    <a:pt x="172" y="1484"/>
                  </a:lnTo>
                  <a:lnTo>
                    <a:pt x="167" y="1484"/>
                  </a:lnTo>
                  <a:lnTo>
                    <a:pt x="165" y="1484"/>
                  </a:lnTo>
                  <a:lnTo>
                    <a:pt x="165" y="1481"/>
                  </a:lnTo>
                  <a:lnTo>
                    <a:pt x="165" y="1477"/>
                  </a:lnTo>
                  <a:lnTo>
                    <a:pt x="163" y="1472"/>
                  </a:lnTo>
                  <a:lnTo>
                    <a:pt x="163" y="1470"/>
                  </a:lnTo>
                  <a:lnTo>
                    <a:pt x="160" y="1470"/>
                  </a:lnTo>
                  <a:lnTo>
                    <a:pt x="163" y="1463"/>
                  </a:lnTo>
                  <a:lnTo>
                    <a:pt x="160" y="1463"/>
                  </a:lnTo>
                  <a:lnTo>
                    <a:pt x="158" y="1460"/>
                  </a:lnTo>
                  <a:lnTo>
                    <a:pt x="158" y="1460"/>
                  </a:lnTo>
                  <a:lnTo>
                    <a:pt x="158" y="1458"/>
                  </a:lnTo>
                  <a:lnTo>
                    <a:pt x="158" y="1455"/>
                  </a:lnTo>
                  <a:lnTo>
                    <a:pt x="160" y="1453"/>
                  </a:lnTo>
                  <a:lnTo>
                    <a:pt x="158" y="1453"/>
                  </a:lnTo>
                  <a:lnTo>
                    <a:pt x="155" y="1451"/>
                  </a:lnTo>
                  <a:lnTo>
                    <a:pt x="155" y="1451"/>
                  </a:lnTo>
                  <a:lnTo>
                    <a:pt x="158" y="1448"/>
                  </a:lnTo>
                  <a:lnTo>
                    <a:pt x="158" y="1446"/>
                  </a:lnTo>
                  <a:lnTo>
                    <a:pt x="153" y="1441"/>
                  </a:lnTo>
                  <a:lnTo>
                    <a:pt x="153" y="1439"/>
                  </a:lnTo>
                  <a:lnTo>
                    <a:pt x="153" y="1439"/>
                  </a:lnTo>
                  <a:lnTo>
                    <a:pt x="155" y="1434"/>
                  </a:lnTo>
                  <a:lnTo>
                    <a:pt x="155" y="1434"/>
                  </a:lnTo>
                  <a:lnTo>
                    <a:pt x="155" y="1432"/>
                  </a:lnTo>
                  <a:lnTo>
                    <a:pt x="153" y="1430"/>
                  </a:lnTo>
                  <a:lnTo>
                    <a:pt x="153" y="1427"/>
                  </a:lnTo>
                  <a:lnTo>
                    <a:pt x="153" y="1427"/>
                  </a:lnTo>
                  <a:lnTo>
                    <a:pt x="155" y="1425"/>
                  </a:lnTo>
                  <a:lnTo>
                    <a:pt x="155" y="1420"/>
                  </a:lnTo>
                  <a:lnTo>
                    <a:pt x="158" y="1415"/>
                  </a:lnTo>
                  <a:lnTo>
                    <a:pt x="158" y="1415"/>
                  </a:lnTo>
                  <a:lnTo>
                    <a:pt x="158" y="1413"/>
                  </a:lnTo>
                  <a:lnTo>
                    <a:pt x="155" y="1408"/>
                  </a:lnTo>
                  <a:lnTo>
                    <a:pt x="153" y="1408"/>
                  </a:lnTo>
                  <a:lnTo>
                    <a:pt x="151" y="1406"/>
                  </a:lnTo>
                  <a:lnTo>
                    <a:pt x="148" y="1406"/>
                  </a:lnTo>
                  <a:lnTo>
                    <a:pt x="148" y="1404"/>
                  </a:lnTo>
                  <a:lnTo>
                    <a:pt x="148" y="1396"/>
                  </a:lnTo>
                  <a:lnTo>
                    <a:pt x="141" y="1392"/>
                  </a:lnTo>
                  <a:lnTo>
                    <a:pt x="139" y="1385"/>
                  </a:lnTo>
                  <a:lnTo>
                    <a:pt x="134" y="1382"/>
                  </a:lnTo>
                  <a:lnTo>
                    <a:pt x="134" y="1380"/>
                  </a:lnTo>
                  <a:lnTo>
                    <a:pt x="134" y="1370"/>
                  </a:lnTo>
                  <a:lnTo>
                    <a:pt x="134" y="1368"/>
                  </a:lnTo>
                  <a:lnTo>
                    <a:pt x="129" y="1359"/>
                  </a:lnTo>
                  <a:lnTo>
                    <a:pt x="127" y="1354"/>
                  </a:lnTo>
                  <a:lnTo>
                    <a:pt x="127" y="1342"/>
                  </a:lnTo>
                  <a:lnTo>
                    <a:pt x="125" y="1342"/>
                  </a:lnTo>
                  <a:lnTo>
                    <a:pt x="125" y="1340"/>
                  </a:lnTo>
                  <a:lnTo>
                    <a:pt x="122" y="1340"/>
                  </a:lnTo>
                  <a:lnTo>
                    <a:pt x="120" y="1340"/>
                  </a:lnTo>
                  <a:lnTo>
                    <a:pt x="120" y="1333"/>
                  </a:lnTo>
                  <a:lnTo>
                    <a:pt x="120" y="1333"/>
                  </a:lnTo>
                  <a:lnTo>
                    <a:pt x="118" y="1323"/>
                  </a:lnTo>
                  <a:lnTo>
                    <a:pt x="113" y="1318"/>
                  </a:lnTo>
                  <a:lnTo>
                    <a:pt x="108" y="1314"/>
                  </a:lnTo>
                  <a:lnTo>
                    <a:pt x="106" y="1307"/>
                  </a:lnTo>
                  <a:lnTo>
                    <a:pt x="103" y="1304"/>
                  </a:lnTo>
                  <a:lnTo>
                    <a:pt x="99" y="1302"/>
                  </a:lnTo>
                  <a:lnTo>
                    <a:pt x="96" y="1300"/>
                  </a:lnTo>
                  <a:lnTo>
                    <a:pt x="96" y="1302"/>
                  </a:lnTo>
                  <a:lnTo>
                    <a:pt x="94" y="1300"/>
                  </a:lnTo>
                  <a:lnTo>
                    <a:pt x="92" y="1295"/>
                  </a:lnTo>
                  <a:lnTo>
                    <a:pt x="92" y="1295"/>
                  </a:lnTo>
                  <a:lnTo>
                    <a:pt x="92" y="1290"/>
                  </a:lnTo>
                  <a:lnTo>
                    <a:pt x="92" y="1285"/>
                  </a:lnTo>
                  <a:lnTo>
                    <a:pt x="89" y="1278"/>
                  </a:lnTo>
                  <a:lnTo>
                    <a:pt x="87" y="1276"/>
                  </a:lnTo>
                  <a:lnTo>
                    <a:pt x="87" y="1271"/>
                  </a:lnTo>
                  <a:lnTo>
                    <a:pt x="85" y="1271"/>
                  </a:lnTo>
                  <a:lnTo>
                    <a:pt x="85" y="1269"/>
                  </a:lnTo>
                  <a:lnTo>
                    <a:pt x="82" y="1267"/>
                  </a:lnTo>
                  <a:lnTo>
                    <a:pt x="82" y="1267"/>
                  </a:lnTo>
                  <a:lnTo>
                    <a:pt x="80" y="1264"/>
                  </a:lnTo>
                  <a:lnTo>
                    <a:pt x="75" y="1262"/>
                  </a:lnTo>
                  <a:lnTo>
                    <a:pt x="73" y="1255"/>
                  </a:lnTo>
                  <a:lnTo>
                    <a:pt x="70" y="1252"/>
                  </a:lnTo>
                  <a:lnTo>
                    <a:pt x="68" y="1250"/>
                  </a:lnTo>
                  <a:lnTo>
                    <a:pt x="66" y="1250"/>
                  </a:lnTo>
                  <a:lnTo>
                    <a:pt x="63" y="1250"/>
                  </a:lnTo>
                  <a:lnTo>
                    <a:pt x="63" y="1248"/>
                  </a:lnTo>
                  <a:lnTo>
                    <a:pt x="61" y="1248"/>
                  </a:lnTo>
                  <a:lnTo>
                    <a:pt x="59" y="1243"/>
                  </a:lnTo>
                  <a:lnTo>
                    <a:pt x="54" y="1233"/>
                  </a:lnTo>
                  <a:lnTo>
                    <a:pt x="54" y="1229"/>
                  </a:lnTo>
                  <a:lnTo>
                    <a:pt x="52" y="1226"/>
                  </a:lnTo>
                  <a:lnTo>
                    <a:pt x="52" y="1215"/>
                  </a:lnTo>
                  <a:lnTo>
                    <a:pt x="54" y="1212"/>
                  </a:lnTo>
                  <a:lnTo>
                    <a:pt x="56" y="1210"/>
                  </a:lnTo>
                  <a:lnTo>
                    <a:pt x="59" y="1205"/>
                  </a:lnTo>
                  <a:lnTo>
                    <a:pt x="66" y="1198"/>
                  </a:lnTo>
                  <a:lnTo>
                    <a:pt x="68" y="1198"/>
                  </a:lnTo>
                  <a:lnTo>
                    <a:pt x="70" y="1196"/>
                  </a:lnTo>
                  <a:lnTo>
                    <a:pt x="70" y="1193"/>
                  </a:lnTo>
                  <a:lnTo>
                    <a:pt x="73" y="1189"/>
                  </a:lnTo>
                  <a:lnTo>
                    <a:pt x="73" y="1189"/>
                  </a:lnTo>
                  <a:lnTo>
                    <a:pt x="75" y="1189"/>
                  </a:lnTo>
                  <a:lnTo>
                    <a:pt x="78" y="1189"/>
                  </a:lnTo>
                  <a:lnTo>
                    <a:pt x="78" y="1186"/>
                  </a:lnTo>
                  <a:lnTo>
                    <a:pt x="80" y="1186"/>
                  </a:lnTo>
                  <a:lnTo>
                    <a:pt x="80" y="1184"/>
                  </a:lnTo>
                  <a:lnTo>
                    <a:pt x="129" y="1073"/>
                  </a:lnTo>
                  <a:lnTo>
                    <a:pt x="151" y="1028"/>
                  </a:lnTo>
                  <a:lnTo>
                    <a:pt x="163" y="1002"/>
                  </a:lnTo>
                  <a:lnTo>
                    <a:pt x="170" y="983"/>
                  </a:lnTo>
                  <a:lnTo>
                    <a:pt x="207" y="900"/>
                  </a:lnTo>
                  <a:lnTo>
                    <a:pt x="238" y="837"/>
                  </a:lnTo>
                  <a:lnTo>
                    <a:pt x="245" y="818"/>
                  </a:lnTo>
                  <a:lnTo>
                    <a:pt x="250" y="806"/>
                  </a:lnTo>
                  <a:lnTo>
                    <a:pt x="255" y="796"/>
                  </a:lnTo>
                  <a:lnTo>
                    <a:pt x="264" y="775"/>
                  </a:lnTo>
                  <a:lnTo>
                    <a:pt x="269" y="763"/>
                  </a:lnTo>
                  <a:lnTo>
                    <a:pt x="269" y="761"/>
                  </a:lnTo>
                  <a:lnTo>
                    <a:pt x="285" y="730"/>
                  </a:lnTo>
                  <a:lnTo>
                    <a:pt x="295" y="709"/>
                  </a:lnTo>
                  <a:lnTo>
                    <a:pt x="300" y="697"/>
                  </a:lnTo>
                  <a:lnTo>
                    <a:pt x="304" y="683"/>
                  </a:lnTo>
                  <a:lnTo>
                    <a:pt x="311" y="669"/>
                  </a:lnTo>
                  <a:lnTo>
                    <a:pt x="316" y="659"/>
                  </a:lnTo>
                  <a:lnTo>
                    <a:pt x="314" y="659"/>
                  </a:lnTo>
                  <a:lnTo>
                    <a:pt x="314" y="659"/>
                  </a:lnTo>
                  <a:lnTo>
                    <a:pt x="311" y="659"/>
                  </a:lnTo>
                  <a:lnTo>
                    <a:pt x="309" y="657"/>
                  </a:lnTo>
                  <a:lnTo>
                    <a:pt x="309" y="657"/>
                  </a:lnTo>
                  <a:lnTo>
                    <a:pt x="309" y="657"/>
                  </a:lnTo>
                  <a:lnTo>
                    <a:pt x="314" y="650"/>
                  </a:lnTo>
                  <a:lnTo>
                    <a:pt x="314" y="648"/>
                  </a:lnTo>
                  <a:lnTo>
                    <a:pt x="314" y="645"/>
                  </a:lnTo>
                  <a:lnTo>
                    <a:pt x="314" y="643"/>
                  </a:lnTo>
                  <a:lnTo>
                    <a:pt x="318" y="638"/>
                  </a:lnTo>
                  <a:lnTo>
                    <a:pt x="318" y="636"/>
                  </a:lnTo>
                  <a:lnTo>
                    <a:pt x="321" y="633"/>
                  </a:lnTo>
                  <a:lnTo>
                    <a:pt x="326" y="633"/>
                  </a:lnTo>
                  <a:lnTo>
                    <a:pt x="333" y="629"/>
                  </a:lnTo>
                  <a:lnTo>
                    <a:pt x="340" y="626"/>
                  </a:lnTo>
                  <a:lnTo>
                    <a:pt x="342" y="624"/>
                  </a:lnTo>
                  <a:lnTo>
                    <a:pt x="347" y="619"/>
                  </a:lnTo>
                  <a:lnTo>
                    <a:pt x="349" y="615"/>
                  </a:lnTo>
                  <a:lnTo>
                    <a:pt x="354" y="607"/>
                  </a:lnTo>
                  <a:lnTo>
                    <a:pt x="354" y="605"/>
                  </a:lnTo>
                  <a:lnTo>
                    <a:pt x="354" y="605"/>
                  </a:lnTo>
                  <a:lnTo>
                    <a:pt x="349" y="605"/>
                  </a:lnTo>
                  <a:lnTo>
                    <a:pt x="347" y="605"/>
                  </a:lnTo>
                  <a:lnTo>
                    <a:pt x="344" y="605"/>
                  </a:lnTo>
                  <a:lnTo>
                    <a:pt x="342" y="605"/>
                  </a:lnTo>
                  <a:lnTo>
                    <a:pt x="342" y="607"/>
                  </a:lnTo>
                  <a:lnTo>
                    <a:pt x="342" y="607"/>
                  </a:lnTo>
                  <a:lnTo>
                    <a:pt x="340" y="607"/>
                  </a:lnTo>
                  <a:lnTo>
                    <a:pt x="337" y="607"/>
                  </a:lnTo>
                  <a:lnTo>
                    <a:pt x="335" y="612"/>
                  </a:lnTo>
                  <a:lnTo>
                    <a:pt x="330" y="612"/>
                  </a:lnTo>
                  <a:lnTo>
                    <a:pt x="330" y="615"/>
                  </a:lnTo>
                  <a:lnTo>
                    <a:pt x="328" y="615"/>
                  </a:lnTo>
                  <a:lnTo>
                    <a:pt x="328" y="617"/>
                  </a:lnTo>
                  <a:lnTo>
                    <a:pt x="328" y="617"/>
                  </a:lnTo>
                  <a:lnTo>
                    <a:pt x="328" y="619"/>
                  </a:lnTo>
                  <a:lnTo>
                    <a:pt x="326" y="619"/>
                  </a:lnTo>
                  <a:lnTo>
                    <a:pt x="323" y="619"/>
                  </a:lnTo>
                  <a:lnTo>
                    <a:pt x="321" y="619"/>
                  </a:lnTo>
                  <a:lnTo>
                    <a:pt x="318" y="619"/>
                  </a:lnTo>
                  <a:lnTo>
                    <a:pt x="318" y="622"/>
                  </a:lnTo>
                  <a:lnTo>
                    <a:pt x="314" y="624"/>
                  </a:lnTo>
                  <a:lnTo>
                    <a:pt x="314" y="624"/>
                  </a:lnTo>
                  <a:lnTo>
                    <a:pt x="311" y="622"/>
                  </a:lnTo>
                  <a:lnTo>
                    <a:pt x="311" y="622"/>
                  </a:lnTo>
                  <a:lnTo>
                    <a:pt x="309" y="622"/>
                  </a:lnTo>
                  <a:lnTo>
                    <a:pt x="307" y="622"/>
                  </a:lnTo>
                  <a:lnTo>
                    <a:pt x="307" y="624"/>
                  </a:lnTo>
                  <a:lnTo>
                    <a:pt x="302" y="619"/>
                  </a:lnTo>
                  <a:lnTo>
                    <a:pt x="302" y="619"/>
                  </a:lnTo>
                  <a:lnTo>
                    <a:pt x="300" y="619"/>
                  </a:lnTo>
                  <a:lnTo>
                    <a:pt x="300" y="622"/>
                  </a:lnTo>
                  <a:lnTo>
                    <a:pt x="295" y="622"/>
                  </a:lnTo>
                  <a:lnTo>
                    <a:pt x="295" y="624"/>
                  </a:lnTo>
                  <a:lnTo>
                    <a:pt x="292" y="624"/>
                  </a:lnTo>
                  <a:lnTo>
                    <a:pt x="292" y="624"/>
                  </a:lnTo>
                  <a:lnTo>
                    <a:pt x="290" y="624"/>
                  </a:lnTo>
                  <a:lnTo>
                    <a:pt x="290" y="624"/>
                  </a:lnTo>
                  <a:lnTo>
                    <a:pt x="290" y="626"/>
                  </a:lnTo>
                  <a:lnTo>
                    <a:pt x="290" y="629"/>
                  </a:lnTo>
                  <a:lnTo>
                    <a:pt x="288" y="626"/>
                  </a:lnTo>
                  <a:lnTo>
                    <a:pt x="285" y="626"/>
                  </a:lnTo>
                  <a:lnTo>
                    <a:pt x="283" y="629"/>
                  </a:lnTo>
                  <a:lnTo>
                    <a:pt x="281" y="629"/>
                  </a:lnTo>
                  <a:lnTo>
                    <a:pt x="278" y="626"/>
                  </a:lnTo>
                  <a:lnTo>
                    <a:pt x="276" y="624"/>
                  </a:lnTo>
                  <a:lnTo>
                    <a:pt x="274" y="624"/>
                  </a:lnTo>
                  <a:lnTo>
                    <a:pt x="271" y="624"/>
                  </a:lnTo>
                  <a:lnTo>
                    <a:pt x="269" y="624"/>
                  </a:lnTo>
                  <a:lnTo>
                    <a:pt x="269" y="622"/>
                  </a:lnTo>
                  <a:lnTo>
                    <a:pt x="269" y="619"/>
                  </a:lnTo>
                  <a:lnTo>
                    <a:pt x="271" y="615"/>
                  </a:lnTo>
                  <a:lnTo>
                    <a:pt x="274" y="612"/>
                  </a:lnTo>
                  <a:lnTo>
                    <a:pt x="276" y="610"/>
                  </a:lnTo>
                  <a:lnTo>
                    <a:pt x="276" y="610"/>
                  </a:lnTo>
                  <a:lnTo>
                    <a:pt x="276" y="607"/>
                  </a:lnTo>
                  <a:lnTo>
                    <a:pt x="274" y="605"/>
                  </a:lnTo>
                  <a:lnTo>
                    <a:pt x="274" y="603"/>
                  </a:lnTo>
                  <a:lnTo>
                    <a:pt x="271" y="603"/>
                  </a:lnTo>
                  <a:lnTo>
                    <a:pt x="269" y="603"/>
                  </a:lnTo>
                  <a:lnTo>
                    <a:pt x="266" y="603"/>
                  </a:lnTo>
                  <a:lnTo>
                    <a:pt x="262" y="603"/>
                  </a:lnTo>
                  <a:lnTo>
                    <a:pt x="259" y="603"/>
                  </a:lnTo>
                  <a:lnTo>
                    <a:pt x="257" y="603"/>
                  </a:lnTo>
                  <a:lnTo>
                    <a:pt x="255" y="598"/>
                  </a:lnTo>
                  <a:lnTo>
                    <a:pt x="252" y="598"/>
                  </a:lnTo>
                  <a:lnTo>
                    <a:pt x="252" y="596"/>
                  </a:lnTo>
                  <a:lnTo>
                    <a:pt x="250" y="596"/>
                  </a:lnTo>
                  <a:lnTo>
                    <a:pt x="245" y="596"/>
                  </a:lnTo>
                  <a:lnTo>
                    <a:pt x="245" y="596"/>
                  </a:lnTo>
                  <a:lnTo>
                    <a:pt x="245" y="593"/>
                  </a:lnTo>
                  <a:lnTo>
                    <a:pt x="243" y="591"/>
                  </a:lnTo>
                  <a:lnTo>
                    <a:pt x="241" y="589"/>
                  </a:lnTo>
                  <a:lnTo>
                    <a:pt x="236" y="589"/>
                  </a:lnTo>
                  <a:lnTo>
                    <a:pt x="236" y="589"/>
                  </a:lnTo>
                  <a:lnTo>
                    <a:pt x="233" y="584"/>
                  </a:lnTo>
                  <a:lnTo>
                    <a:pt x="231" y="581"/>
                  </a:lnTo>
                  <a:lnTo>
                    <a:pt x="231" y="579"/>
                  </a:lnTo>
                  <a:lnTo>
                    <a:pt x="231" y="577"/>
                  </a:lnTo>
                  <a:lnTo>
                    <a:pt x="231" y="577"/>
                  </a:lnTo>
                  <a:lnTo>
                    <a:pt x="231" y="574"/>
                  </a:lnTo>
                  <a:lnTo>
                    <a:pt x="229" y="574"/>
                  </a:lnTo>
                  <a:lnTo>
                    <a:pt x="229" y="574"/>
                  </a:lnTo>
                  <a:lnTo>
                    <a:pt x="229" y="572"/>
                  </a:lnTo>
                  <a:lnTo>
                    <a:pt x="229" y="570"/>
                  </a:lnTo>
                  <a:lnTo>
                    <a:pt x="226" y="574"/>
                  </a:lnTo>
                  <a:lnTo>
                    <a:pt x="224" y="570"/>
                  </a:lnTo>
                  <a:lnTo>
                    <a:pt x="222" y="570"/>
                  </a:lnTo>
                  <a:lnTo>
                    <a:pt x="219" y="570"/>
                  </a:lnTo>
                  <a:lnTo>
                    <a:pt x="219" y="570"/>
                  </a:lnTo>
                  <a:lnTo>
                    <a:pt x="219" y="567"/>
                  </a:lnTo>
                  <a:lnTo>
                    <a:pt x="219" y="565"/>
                  </a:lnTo>
                  <a:lnTo>
                    <a:pt x="219" y="565"/>
                  </a:lnTo>
                  <a:lnTo>
                    <a:pt x="217" y="565"/>
                  </a:lnTo>
                  <a:lnTo>
                    <a:pt x="217" y="565"/>
                  </a:lnTo>
                  <a:lnTo>
                    <a:pt x="217" y="565"/>
                  </a:lnTo>
                  <a:lnTo>
                    <a:pt x="215" y="565"/>
                  </a:lnTo>
                  <a:lnTo>
                    <a:pt x="215" y="563"/>
                  </a:lnTo>
                  <a:lnTo>
                    <a:pt x="212" y="565"/>
                  </a:lnTo>
                  <a:lnTo>
                    <a:pt x="212" y="565"/>
                  </a:lnTo>
                  <a:lnTo>
                    <a:pt x="210" y="565"/>
                  </a:lnTo>
                  <a:lnTo>
                    <a:pt x="210" y="565"/>
                  </a:lnTo>
                  <a:lnTo>
                    <a:pt x="207" y="563"/>
                  </a:lnTo>
                  <a:lnTo>
                    <a:pt x="210" y="563"/>
                  </a:lnTo>
                  <a:lnTo>
                    <a:pt x="207" y="560"/>
                  </a:lnTo>
                  <a:lnTo>
                    <a:pt x="207" y="560"/>
                  </a:lnTo>
                  <a:lnTo>
                    <a:pt x="207" y="563"/>
                  </a:lnTo>
                  <a:lnTo>
                    <a:pt x="207" y="565"/>
                  </a:lnTo>
                  <a:lnTo>
                    <a:pt x="205" y="565"/>
                  </a:lnTo>
                  <a:lnTo>
                    <a:pt x="205" y="563"/>
                  </a:lnTo>
                  <a:lnTo>
                    <a:pt x="203" y="563"/>
                  </a:lnTo>
                  <a:lnTo>
                    <a:pt x="200" y="565"/>
                  </a:lnTo>
                  <a:lnTo>
                    <a:pt x="198" y="565"/>
                  </a:lnTo>
                  <a:lnTo>
                    <a:pt x="196" y="563"/>
                  </a:lnTo>
                  <a:lnTo>
                    <a:pt x="196" y="565"/>
                  </a:lnTo>
                  <a:lnTo>
                    <a:pt x="196" y="565"/>
                  </a:lnTo>
                  <a:lnTo>
                    <a:pt x="193" y="563"/>
                  </a:lnTo>
                  <a:lnTo>
                    <a:pt x="191" y="565"/>
                  </a:lnTo>
                  <a:lnTo>
                    <a:pt x="189" y="563"/>
                  </a:lnTo>
                  <a:lnTo>
                    <a:pt x="191" y="563"/>
                  </a:lnTo>
                  <a:lnTo>
                    <a:pt x="191" y="560"/>
                  </a:lnTo>
                  <a:lnTo>
                    <a:pt x="191" y="560"/>
                  </a:lnTo>
                  <a:lnTo>
                    <a:pt x="189" y="560"/>
                  </a:lnTo>
                  <a:lnTo>
                    <a:pt x="189" y="558"/>
                  </a:lnTo>
                  <a:lnTo>
                    <a:pt x="186" y="558"/>
                  </a:lnTo>
                  <a:lnTo>
                    <a:pt x="186" y="560"/>
                  </a:lnTo>
                  <a:lnTo>
                    <a:pt x="184" y="560"/>
                  </a:lnTo>
                  <a:lnTo>
                    <a:pt x="184" y="558"/>
                  </a:lnTo>
                  <a:lnTo>
                    <a:pt x="184" y="558"/>
                  </a:lnTo>
                  <a:lnTo>
                    <a:pt x="179" y="558"/>
                  </a:lnTo>
                  <a:lnTo>
                    <a:pt x="179" y="558"/>
                  </a:lnTo>
                  <a:lnTo>
                    <a:pt x="179" y="556"/>
                  </a:lnTo>
                  <a:lnTo>
                    <a:pt x="177" y="556"/>
                  </a:lnTo>
                  <a:lnTo>
                    <a:pt x="177" y="556"/>
                  </a:lnTo>
                  <a:lnTo>
                    <a:pt x="174" y="553"/>
                  </a:lnTo>
                  <a:lnTo>
                    <a:pt x="172" y="556"/>
                  </a:lnTo>
                  <a:lnTo>
                    <a:pt x="174" y="551"/>
                  </a:lnTo>
                  <a:lnTo>
                    <a:pt x="172" y="551"/>
                  </a:lnTo>
                  <a:lnTo>
                    <a:pt x="172" y="548"/>
                  </a:lnTo>
                  <a:lnTo>
                    <a:pt x="170" y="548"/>
                  </a:lnTo>
                  <a:lnTo>
                    <a:pt x="167" y="548"/>
                  </a:lnTo>
                  <a:lnTo>
                    <a:pt x="165" y="548"/>
                  </a:lnTo>
                  <a:lnTo>
                    <a:pt x="165" y="548"/>
                  </a:lnTo>
                  <a:lnTo>
                    <a:pt x="165" y="546"/>
                  </a:lnTo>
                  <a:lnTo>
                    <a:pt x="165" y="546"/>
                  </a:lnTo>
                  <a:lnTo>
                    <a:pt x="163" y="544"/>
                  </a:lnTo>
                  <a:lnTo>
                    <a:pt x="163" y="546"/>
                  </a:lnTo>
                  <a:lnTo>
                    <a:pt x="163" y="546"/>
                  </a:lnTo>
                  <a:lnTo>
                    <a:pt x="158" y="546"/>
                  </a:lnTo>
                  <a:lnTo>
                    <a:pt x="155" y="546"/>
                  </a:lnTo>
                  <a:lnTo>
                    <a:pt x="153" y="548"/>
                  </a:lnTo>
                  <a:lnTo>
                    <a:pt x="153" y="546"/>
                  </a:lnTo>
                  <a:lnTo>
                    <a:pt x="151" y="546"/>
                  </a:lnTo>
                  <a:lnTo>
                    <a:pt x="151" y="544"/>
                  </a:lnTo>
                  <a:lnTo>
                    <a:pt x="151" y="541"/>
                  </a:lnTo>
                  <a:lnTo>
                    <a:pt x="148" y="539"/>
                  </a:lnTo>
                  <a:lnTo>
                    <a:pt x="148" y="534"/>
                  </a:lnTo>
                  <a:lnTo>
                    <a:pt x="148" y="537"/>
                  </a:lnTo>
                  <a:lnTo>
                    <a:pt x="146" y="534"/>
                  </a:lnTo>
                  <a:lnTo>
                    <a:pt x="146" y="537"/>
                  </a:lnTo>
                  <a:lnTo>
                    <a:pt x="144" y="534"/>
                  </a:lnTo>
                  <a:lnTo>
                    <a:pt x="141" y="537"/>
                  </a:lnTo>
                  <a:lnTo>
                    <a:pt x="141" y="537"/>
                  </a:lnTo>
                  <a:lnTo>
                    <a:pt x="141" y="534"/>
                  </a:lnTo>
                  <a:lnTo>
                    <a:pt x="141" y="534"/>
                  </a:lnTo>
                  <a:lnTo>
                    <a:pt x="139" y="534"/>
                  </a:lnTo>
                  <a:lnTo>
                    <a:pt x="139" y="534"/>
                  </a:lnTo>
                  <a:lnTo>
                    <a:pt x="139" y="532"/>
                  </a:lnTo>
                  <a:lnTo>
                    <a:pt x="137" y="532"/>
                  </a:lnTo>
                  <a:lnTo>
                    <a:pt x="137" y="530"/>
                  </a:lnTo>
                  <a:lnTo>
                    <a:pt x="137" y="530"/>
                  </a:lnTo>
                  <a:lnTo>
                    <a:pt x="137" y="527"/>
                  </a:lnTo>
                  <a:lnTo>
                    <a:pt x="134" y="527"/>
                  </a:lnTo>
                  <a:lnTo>
                    <a:pt x="134" y="525"/>
                  </a:lnTo>
                  <a:lnTo>
                    <a:pt x="129" y="525"/>
                  </a:lnTo>
                  <a:lnTo>
                    <a:pt x="129" y="525"/>
                  </a:lnTo>
                  <a:lnTo>
                    <a:pt x="127" y="527"/>
                  </a:lnTo>
                  <a:lnTo>
                    <a:pt x="125" y="525"/>
                  </a:lnTo>
                  <a:lnTo>
                    <a:pt x="125" y="525"/>
                  </a:lnTo>
                  <a:lnTo>
                    <a:pt x="125" y="525"/>
                  </a:lnTo>
                  <a:lnTo>
                    <a:pt x="125" y="522"/>
                  </a:lnTo>
                  <a:lnTo>
                    <a:pt x="125" y="522"/>
                  </a:lnTo>
                  <a:lnTo>
                    <a:pt x="120" y="522"/>
                  </a:lnTo>
                  <a:lnTo>
                    <a:pt x="120" y="522"/>
                  </a:lnTo>
                  <a:lnTo>
                    <a:pt x="118" y="522"/>
                  </a:lnTo>
                  <a:lnTo>
                    <a:pt x="118" y="520"/>
                  </a:lnTo>
                  <a:lnTo>
                    <a:pt x="115" y="520"/>
                  </a:lnTo>
                  <a:lnTo>
                    <a:pt x="115" y="518"/>
                  </a:lnTo>
                  <a:lnTo>
                    <a:pt x="118" y="515"/>
                  </a:lnTo>
                  <a:lnTo>
                    <a:pt x="115" y="515"/>
                  </a:lnTo>
                  <a:lnTo>
                    <a:pt x="113" y="515"/>
                  </a:lnTo>
                  <a:lnTo>
                    <a:pt x="113" y="513"/>
                  </a:lnTo>
                  <a:lnTo>
                    <a:pt x="113" y="511"/>
                  </a:lnTo>
                  <a:lnTo>
                    <a:pt x="113" y="511"/>
                  </a:lnTo>
                  <a:lnTo>
                    <a:pt x="113" y="508"/>
                  </a:lnTo>
                  <a:lnTo>
                    <a:pt x="118" y="501"/>
                  </a:lnTo>
                  <a:lnTo>
                    <a:pt x="118" y="499"/>
                  </a:lnTo>
                  <a:lnTo>
                    <a:pt x="118" y="496"/>
                  </a:lnTo>
                  <a:lnTo>
                    <a:pt x="115" y="494"/>
                  </a:lnTo>
                  <a:lnTo>
                    <a:pt x="118" y="492"/>
                  </a:lnTo>
                  <a:lnTo>
                    <a:pt x="118" y="492"/>
                  </a:lnTo>
                  <a:lnTo>
                    <a:pt x="115" y="489"/>
                  </a:lnTo>
                  <a:lnTo>
                    <a:pt x="113" y="489"/>
                  </a:lnTo>
                  <a:lnTo>
                    <a:pt x="111" y="487"/>
                  </a:lnTo>
                  <a:lnTo>
                    <a:pt x="111" y="485"/>
                  </a:lnTo>
                  <a:lnTo>
                    <a:pt x="111" y="485"/>
                  </a:lnTo>
                  <a:lnTo>
                    <a:pt x="108" y="482"/>
                  </a:lnTo>
                  <a:lnTo>
                    <a:pt x="108" y="482"/>
                  </a:lnTo>
                  <a:lnTo>
                    <a:pt x="103" y="487"/>
                  </a:lnTo>
                  <a:lnTo>
                    <a:pt x="101" y="487"/>
                  </a:lnTo>
                  <a:lnTo>
                    <a:pt x="103" y="489"/>
                  </a:lnTo>
                  <a:lnTo>
                    <a:pt x="101" y="492"/>
                  </a:lnTo>
                  <a:lnTo>
                    <a:pt x="99" y="492"/>
                  </a:lnTo>
                  <a:lnTo>
                    <a:pt x="99" y="494"/>
                  </a:lnTo>
                  <a:lnTo>
                    <a:pt x="96" y="494"/>
                  </a:lnTo>
                  <a:lnTo>
                    <a:pt x="94" y="499"/>
                  </a:lnTo>
                  <a:lnTo>
                    <a:pt x="92" y="501"/>
                  </a:lnTo>
                  <a:lnTo>
                    <a:pt x="89" y="496"/>
                  </a:lnTo>
                  <a:lnTo>
                    <a:pt x="89" y="496"/>
                  </a:lnTo>
                  <a:lnTo>
                    <a:pt x="85" y="492"/>
                  </a:lnTo>
                  <a:lnTo>
                    <a:pt x="82" y="492"/>
                  </a:lnTo>
                  <a:lnTo>
                    <a:pt x="80" y="487"/>
                  </a:lnTo>
                  <a:lnTo>
                    <a:pt x="80" y="487"/>
                  </a:lnTo>
                  <a:lnTo>
                    <a:pt x="80" y="487"/>
                  </a:lnTo>
                  <a:lnTo>
                    <a:pt x="73" y="489"/>
                  </a:lnTo>
                  <a:lnTo>
                    <a:pt x="73" y="487"/>
                  </a:lnTo>
                  <a:lnTo>
                    <a:pt x="70" y="487"/>
                  </a:lnTo>
                  <a:lnTo>
                    <a:pt x="70" y="485"/>
                  </a:lnTo>
                  <a:lnTo>
                    <a:pt x="68" y="485"/>
                  </a:lnTo>
                  <a:lnTo>
                    <a:pt x="68" y="485"/>
                  </a:lnTo>
                  <a:lnTo>
                    <a:pt x="68" y="482"/>
                  </a:lnTo>
                  <a:lnTo>
                    <a:pt x="66" y="482"/>
                  </a:lnTo>
                  <a:lnTo>
                    <a:pt x="66" y="478"/>
                  </a:lnTo>
                  <a:lnTo>
                    <a:pt x="63" y="475"/>
                  </a:lnTo>
                  <a:lnTo>
                    <a:pt x="63" y="475"/>
                  </a:lnTo>
                  <a:lnTo>
                    <a:pt x="63" y="475"/>
                  </a:lnTo>
                  <a:lnTo>
                    <a:pt x="61" y="475"/>
                  </a:lnTo>
                  <a:lnTo>
                    <a:pt x="61" y="475"/>
                  </a:lnTo>
                  <a:lnTo>
                    <a:pt x="59" y="473"/>
                  </a:lnTo>
                  <a:lnTo>
                    <a:pt x="61" y="470"/>
                  </a:lnTo>
                  <a:lnTo>
                    <a:pt x="59" y="470"/>
                  </a:lnTo>
                  <a:lnTo>
                    <a:pt x="61" y="468"/>
                  </a:lnTo>
                  <a:lnTo>
                    <a:pt x="61" y="468"/>
                  </a:lnTo>
                  <a:lnTo>
                    <a:pt x="61" y="466"/>
                  </a:lnTo>
                  <a:lnTo>
                    <a:pt x="61" y="466"/>
                  </a:lnTo>
                  <a:lnTo>
                    <a:pt x="59" y="466"/>
                  </a:lnTo>
                  <a:lnTo>
                    <a:pt x="59" y="463"/>
                  </a:lnTo>
                  <a:lnTo>
                    <a:pt x="56" y="461"/>
                  </a:lnTo>
                  <a:lnTo>
                    <a:pt x="56" y="459"/>
                  </a:lnTo>
                  <a:lnTo>
                    <a:pt x="56" y="456"/>
                  </a:lnTo>
                  <a:lnTo>
                    <a:pt x="59" y="456"/>
                  </a:lnTo>
                  <a:lnTo>
                    <a:pt x="59" y="454"/>
                  </a:lnTo>
                  <a:lnTo>
                    <a:pt x="54" y="452"/>
                  </a:lnTo>
                  <a:lnTo>
                    <a:pt x="54" y="452"/>
                  </a:lnTo>
                  <a:lnTo>
                    <a:pt x="54" y="452"/>
                  </a:lnTo>
                  <a:lnTo>
                    <a:pt x="54" y="452"/>
                  </a:lnTo>
                  <a:lnTo>
                    <a:pt x="52" y="452"/>
                  </a:lnTo>
                  <a:lnTo>
                    <a:pt x="52" y="452"/>
                  </a:lnTo>
                  <a:lnTo>
                    <a:pt x="52" y="449"/>
                  </a:lnTo>
                  <a:lnTo>
                    <a:pt x="52" y="447"/>
                  </a:lnTo>
                  <a:lnTo>
                    <a:pt x="49" y="449"/>
                  </a:lnTo>
                  <a:lnTo>
                    <a:pt x="49" y="447"/>
                  </a:lnTo>
                  <a:lnTo>
                    <a:pt x="47" y="449"/>
                  </a:lnTo>
                  <a:lnTo>
                    <a:pt x="47" y="449"/>
                  </a:lnTo>
                  <a:lnTo>
                    <a:pt x="47" y="447"/>
                  </a:lnTo>
                  <a:lnTo>
                    <a:pt x="42" y="444"/>
                  </a:lnTo>
                  <a:lnTo>
                    <a:pt x="42" y="442"/>
                  </a:lnTo>
                  <a:lnTo>
                    <a:pt x="42" y="442"/>
                  </a:lnTo>
                  <a:lnTo>
                    <a:pt x="42" y="442"/>
                  </a:lnTo>
                  <a:lnTo>
                    <a:pt x="40" y="442"/>
                  </a:lnTo>
                  <a:lnTo>
                    <a:pt x="37" y="440"/>
                  </a:lnTo>
                  <a:lnTo>
                    <a:pt x="37" y="440"/>
                  </a:lnTo>
                  <a:lnTo>
                    <a:pt x="37" y="440"/>
                  </a:lnTo>
                  <a:lnTo>
                    <a:pt x="35" y="437"/>
                  </a:lnTo>
                  <a:lnTo>
                    <a:pt x="33" y="433"/>
                  </a:lnTo>
                  <a:lnTo>
                    <a:pt x="30" y="433"/>
                  </a:lnTo>
                  <a:lnTo>
                    <a:pt x="30" y="433"/>
                  </a:lnTo>
                  <a:lnTo>
                    <a:pt x="28" y="433"/>
                  </a:lnTo>
                  <a:lnTo>
                    <a:pt x="28" y="430"/>
                  </a:lnTo>
                  <a:lnTo>
                    <a:pt x="26" y="428"/>
                  </a:lnTo>
                  <a:lnTo>
                    <a:pt x="23" y="428"/>
                  </a:lnTo>
                  <a:lnTo>
                    <a:pt x="23" y="428"/>
                  </a:lnTo>
                  <a:lnTo>
                    <a:pt x="23" y="423"/>
                  </a:lnTo>
                  <a:lnTo>
                    <a:pt x="21" y="423"/>
                  </a:lnTo>
                  <a:lnTo>
                    <a:pt x="21" y="423"/>
                  </a:lnTo>
                  <a:lnTo>
                    <a:pt x="21" y="421"/>
                  </a:lnTo>
                  <a:lnTo>
                    <a:pt x="21" y="418"/>
                  </a:lnTo>
                  <a:lnTo>
                    <a:pt x="21" y="418"/>
                  </a:lnTo>
                  <a:lnTo>
                    <a:pt x="21" y="416"/>
                  </a:lnTo>
                  <a:lnTo>
                    <a:pt x="21" y="414"/>
                  </a:lnTo>
                  <a:lnTo>
                    <a:pt x="21" y="411"/>
                  </a:lnTo>
                  <a:lnTo>
                    <a:pt x="21" y="411"/>
                  </a:lnTo>
                  <a:lnTo>
                    <a:pt x="23" y="411"/>
                  </a:lnTo>
                  <a:lnTo>
                    <a:pt x="23" y="409"/>
                  </a:lnTo>
                  <a:lnTo>
                    <a:pt x="23" y="407"/>
                  </a:lnTo>
                  <a:lnTo>
                    <a:pt x="21" y="404"/>
                  </a:lnTo>
                  <a:lnTo>
                    <a:pt x="21" y="404"/>
                  </a:lnTo>
                  <a:lnTo>
                    <a:pt x="21" y="402"/>
                  </a:lnTo>
                  <a:lnTo>
                    <a:pt x="21" y="397"/>
                  </a:lnTo>
                  <a:lnTo>
                    <a:pt x="21" y="395"/>
                  </a:lnTo>
                  <a:lnTo>
                    <a:pt x="18" y="395"/>
                  </a:lnTo>
                  <a:lnTo>
                    <a:pt x="18" y="393"/>
                  </a:lnTo>
                  <a:lnTo>
                    <a:pt x="16" y="393"/>
                  </a:lnTo>
                  <a:lnTo>
                    <a:pt x="14" y="390"/>
                  </a:lnTo>
                  <a:lnTo>
                    <a:pt x="11" y="390"/>
                  </a:lnTo>
                  <a:lnTo>
                    <a:pt x="11" y="390"/>
                  </a:lnTo>
                  <a:lnTo>
                    <a:pt x="11" y="390"/>
                  </a:lnTo>
                  <a:lnTo>
                    <a:pt x="9" y="390"/>
                  </a:lnTo>
                  <a:lnTo>
                    <a:pt x="9" y="388"/>
                  </a:lnTo>
                  <a:lnTo>
                    <a:pt x="7" y="385"/>
                  </a:lnTo>
                  <a:lnTo>
                    <a:pt x="2" y="383"/>
                  </a:lnTo>
                  <a:lnTo>
                    <a:pt x="2" y="378"/>
                  </a:lnTo>
                  <a:lnTo>
                    <a:pt x="2" y="376"/>
                  </a:lnTo>
                  <a:lnTo>
                    <a:pt x="2" y="376"/>
                  </a:lnTo>
                  <a:lnTo>
                    <a:pt x="2" y="374"/>
                  </a:lnTo>
                  <a:lnTo>
                    <a:pt x="2" y="374"/>
                  </a:lnTo>
                  <a:lnTo>
                    <a:pt x="2" y="369"/>
                  </a:lnTo>
                  <a:lnTo>
                    <a:pt x="2" y="364"/>
                  </a:lnTo>
                  <a:lnTo>
                    <a:pt x="4" y="359"/>
                  </a:lnTo>
                  <a:lnTo>
                    <a:pt x="4" y="357"/>
                  </a:lnTo>
                  <a:lnTo>
                    <a:pt x="2" y="357"/>
                  </a:lnTo>
                  <a:lnTo>
                    <a:pt x="4" y="350"/>
                  </a:lnTo>
                  <a:lnTo>
                    <a:pt x="2" y="348"/>
                  </a:lnTo>
                  <a:lnTo>
                    <a:pt x="2" y="348"/>
                  </a:lnTo>
                  <a:lnTo>
                    <a:pt x="0" y="348"/>
                  </a:lnTo>
                  <a:lnTo>
                    <a:pt x="0" y="343"/>
                  </a:lnTo>
                  <a:lnTo>
                    <a:pt x="0" y="341"/>
                  </a:lnTo>
                  <a:lnTo>
                    <a:pt x="0" y="341"/>
                  </a:lnTo>
                  <a:lnTo>
                    <a:pt x="0" y="305"/>
                  </a:lnTo>
                  <a:lnTo>
                    <a:pt x="0" y="178"/>
                  </a:lnTo>
                  <a:close/>
                  <a:moveTo>
                    <a:pt x="1625" y="480"/>
                  </a:moveTo>
                  <a:lnTo>
                    <a:pt x="1625" y="478"/>
                  </a:lnTo>
                  <a:lnTo>
                    <a:pt x="1625" y="478"/>
                  </a:lnTo>
                  <a:lnTo>
                    <a:pt x="1625" y="478"/>
                  </a:lnTo>
                  <a:lnTo>
                    <a:pt x="1627" y="478"/>
                  </a:lnTo>
                  <a:lnTo>
                    <a:pt x="1625" y="478"/>
                  </a:lnTo>
                  <a:lnTo>
                    <a:pt x="1627" y="478"/>
                  </a:lnTo>
                  <a:lnTo>
                    <a:pt x="1627" y="482"/>
                  </a:lnTo>
                  <a:lnTo>
                    <a:pt x="1627" y="485"/>
                  </a:lnTo>
                  <a:lnTo>
                    <a:pt x="1627" y="482"/>
                  </a:lnTo>
                  <a:lnTo>
                    <a:pt x="1625" y="480"/>
                  </a:lnTo>
                  <a:lnTo>
                    <a:pt x="1625" y="480"/>
                  </a:lnTo>
                  <a:close/>
                  <a:moveTo>
                    <a:pt x="1507" y="433"/>
                  </a:moveTo>
                  <a:lnTo>
                    <a:pt x="1507" y="433"/>
                  </a:lnTo>
                  <a:lnTo>
                    <a:pt x="1507" y="433"/>
                  </a:lnTo>
                  <a:close/>
                  <a:moveTo>
                    <a:pt x="1611" y="461"/>
                  </a:moveTo>
                  <a:lnTo>
                    <a:pt x="1611" y="463"/>
                  </a:lnTo>
                  <a:lnTo>
                    <a:pt x="1608" y="463"/>
                  </a:lnTo>
                  <a:lnTo>
                    <a:pt x="1608" y="461"/>
                  </a:lnTo>
                  <a:lnTo>
                    <a:pt x="1611" y="461"/>
                  </a:lnTo>
                  <a:close/>
                  <a:moveTo>
                    <a:pt x="1504" y="433"/>
                  </a:moveTo>
                  <a:lnTo>
                    <a:pt x="1504" y="433"/>
                  </a:lnTo>
                  <a:lnTo>
                    <a:pt x="1504" y="433"/>
                  </a:lnTo>
                  <a:lnTo>
                    <a:pt x="1504" y="433"/>
                  </a:lnTo>
                  <a:lnTo>
                    <a:pt x="1504" y="433"/>
                  </a:lnTo>
                  <a:close/>
                  <a:moveTo>
                    <a:pt x="1559" y="447"/>
                  </a:moveTo>
                  <a:lnTo>
                    <a:pt x="1559" y="447"/>
                  </a:lnTo>
                  <a:lnTo>
                    <a:pt x="1559" y="447"/>
                  </a:lnTo>
                  <a:lnTo>
                    <a:pt x="1559" y="447"/>
                  </a:lnTo>
                  <a:lnTo>
                    <a:pt x="1559" y="447"/>
                  </a:lnTo>
                  <a:close/>
                  <a:moveTo>
                    <a:pt x="1594" y="463"/>
                  </a:moveTo>
                  <a:lnTo>
                    <a:pt x="1594" y="463"/>
                  </a:lnTo>
                  <a:lnTo>
                    <a:pt x="1594" y="463"/>
                  </a:lnTo>
                  <a:lnTo>
                    <a:pt x="1596" y="463"/>
                  </a:lnTo>
                  <a:lnTo>
                    <a:pt x="1594" y="463"/>
                  </a:lnTo>
                  <a:lnTo>
                    <a:pt x="1596" y="463"/>
                  </a:lnTo>
                  <a:lnTo>
                    <a:pt x="1594" y="463"/>
                  </a:lnTo>
                  <a:close/>
                  <a:moveTo>
                    <a:pt x="1580" y="470"/>
                  </a:moveTo>
                  <a:lnTo>
                    <a:pt x="1578" y="470"/>
                  </a:lnTo>
                  <a:lnTo>
                    <a:pt x="1580" y="470"/>
                  </a:lnTo>
                  <a:lnTo>
                    <a:pt x="1580" y="470"/>
                  </a:lnTo>
                  <a:lnTo>
                    <a:pt x="1580" y="470"/>
                  </a:lnTo>
                  <a:lnTo>
                    <a:pt x="1580" y="470"/>
                  </a:lnTo>
                  <a:lnTo>
                    <a:pt x="1580" y="470"/>
                  </a:lnTo>
                  <a:close/>
                  <a:moveTo>
                    <a:pt x="1403" y="426"/>
                  </a:moveTo>
                  <a:lnTo>
                    <a:pt x="1403" y="423"/>
                  </a:lnTo>
                  <a:lnTo>
                    <a:pt x="1403" y="426"/>
                  </a:lnTo>
                  <a:lnTo>
                    <a:pt x="1403" y="426"/>
                  </a:lnTo>
                  <a:lnTo>
                    <a:pt x="1403" y="426"/>
                  </a:lnTo>
                  <a:lnTo>
                    <a:pt x="1403" y="428"/>
                  </a:lnTo>
                  <a:lnTo>
                    <a:pt x="1403" y="426"/>
                  </a:lnTo>
                  <a:lnTo>
                    <a:pt x="1403" y="426"/>
                  </a:lnTo>
                  <a:close/>
                  <a:moveTo>
                    <a:pt x="1587" y="470"/>
                  </a:moveTo>
                  <a:lnTo>
                    <a:pt x="1587" y="468"/>
                  </a:lnTo>
                  <a:lnTo>
                    <a:pt x="1587" y="468"/>
                  </a:lnTo>
                  <a:lnTo>
                    <a:pt x="1589" y="468"/>
                  </a:lnTo>
                  <a:lnTo>
                    <a:pt x="1587" y="468"/>
                  </a:lnTo>
                  <a:lnTo>
                    <a:pt x="1587" y="473"/>
                  </a:lnTo>
                  <a:lnTo>
                    <a:pt x="1587" y="473"/>
                  </a:lnTo>
                  <a:lnTo>
                    <a:pt x="1587" y="470"/>
                  </a:lnTo>
                  <a:close/>
                  <a:moveTo>
                    <a:pt x="1504" y="430"/>
                  </a:moveTo>
                  <a:lnTo>
                    <a:pt x="1507" y="430"/>
                  </a:lnTo>
                  <a:lnTo>
                    <a:pt x="1507" y="430"/>
                  </a:lnTo>
                  <a:lnTo>
                    <a:pt x="1507" y="430"/>
                  </a:lnTo>
                  <a:lnTo>
                    <a:pt x="1507" y="430"/>
                  </a:lnTo>
                  <a:lnTo>
                    <a:pt x="1504" y="430"/>
                  </a:lnTo>
                  <a:lnTo>
                    <a:pt x="1504" y="430"/>
                  </a:lnTo>
                  <a:close/>
                  <a:moveTo>
                    <a:pt x="1585" y="463"/>
                  </a:moveTo>
                  <a:lnTo>
                    <a:pt x="1585" y="463"/>
                  </a:lnTo>
                  <a:lnTo>
                    <a:pt x="1582" y="463"/>
                  </a:lnTo>
                  <a:lnTo>
                    <a:pt x="1582" y="466"/>
                  </a:lnTo>
                  <a:lnTo>
                    <a:pt x="1580" y="468"/>
                  </a:lnTo>
                  <a:lnTo>
                    <a:pt x="1580" y="466"/>
                  </a:lnTo>
                  <a:lnTo>
                    <a:pt x="1582" y="463"/>
                  </a:lnTo>
                  <a:lnTo>
                    <a:pt x="1582" y="461"/>
                  </a:lnTo>
                  <a:lnTo>
                    <a:pt x="1582" y="461"/>
                  </a:lnTo>
                  <a:lnTo>
                    <a:pt x="1585" y="461"/>
                  </a:lnTo>
                  <a:lnTo>
                    <a:pt x="1585" y="463"/>
                  </a:lnTo>
                  <a:lnTo>
                    <a:pt x="1585" y="46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 cap="flat">
              <a:solidFill>
                <a:schemeClr val="bg2">
                  <a:lumMod val="7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>
                <a:solidFill>
                  <a:srgbClr val="000000"/>
                </a:solidFill>
              </a:endParaRPr>
            </a:p>
          </p:txBody>
        </p:sp>
        <p:sp>
          <p:nvSpPr>
            <p:cNvPr id="104" name="Freeform 32"/>
            <p:cNvSpPr>
              <a:spLocks/>
            </p:cNvSpPr>
            <p:nvPr/>
          </p:nvSpPr>
          <p:spPr bwMode="gray">
            <a:xfrm>
              <a:off x="921989" y="3753331"/>
              <a:ext cx="721584" cy="657411"/>
            </a:xfrm>
            <a:custGeom>
              <a:avLst/>
              <a:gdLst/>
              <a:ahLst/>
              <a:cxnLst>
                <a:cxn ang="0">
                  <a:pos x="54" y="191"/>
                </a:cxn>
                <a:cxn ang="0">
                  <a:pos x="106" y="191"/>
                </a:cxn>
                <a:cxn ang="0">
                  <a:pos x="146" y="196"/>
                </a:cxn>
                <a:cxn ang="0">
                  <a:pos x="179" y="179"/>
                </a:cxn>
                <a:cxn ang="0">
                  <a:pos x="222" y="189"/>
                </a:cxn>
                <a:cxn ang="0">
                  <a:pos x="241" y="142"/>
                </a:cxn>
                <a:cxn ang="0">
                  <a:pos x="297" y="132"/>
                </a:cxn>
                <a:cxn ang="0">
                  <a:pos x="342" y="99"/>
                </a:cxn>
                <a:cxn ang="0">
                  <a:pos x="359" y="59"/>
                </a:cxn>
                <a:cxn ang="0">
                  <a:pos x="404" y="9"/>
                </a:cxn>
                <a:cxn ang="0">
                  <a:pos x="526" y="35"/>
                </a:cxn>
                <a:cxn ang="0">
                  <a:pos x="564" y="57"/>
                </a:cxn>
                <a:cxn ang="0">
                  <a:pos x="588" y="90"/>
                </a:cxn>
                <a:cxn ang="0">
                  <a:pos x="628" y="111"/>
                </a:cxn>
                <a:cxn ang="0">
                  <a:pos x="663" y="111"/>
                </a:cxn>
                <a:cxn ang="0">
                  <a:pos x="670" y="170"/>
                </a:cxn>
                <a:cxn ang="0">
                  <a:pos x="663" y="198"/>
                </a:cxn>
                <a:cxn ang="0">
                  <a:pos x="663" y="231"/>
                </a:cxn>
                <a:cxn ang="0">
                  <a:pos x="663" y="279"/>
                </a:cxn>
                <a:cxn ang="0">
                  <a:pos x="675" y="321"/>
                </a:cxn>
                <a:cxn ang="0">
                  <a:pos x="675" y="366"/>
                </a:cxn>
                <a:cxn ang="0">
                  <a:pos x="807" y="399"/>
                </a:cxn>
                <a:cxn ang="0">
                  <a:pos x="829" y="409"/>
                </a:cxn>
                <a:cxn ang="0">
                  <a:pos x="864" y="413"/>
                </a:cxn>
                <a:cxn ang="0">
                  <a:pos x="874" y="446"/>
                </a:cxn>
                <a:cxn ang="0">
                  <a:pos x="850" y="475"/>
                </a:cxn>
                <a:cxn ang="0">
                  <a:pos x="850" y="501"/>
                </a:cxn>
                <a:cxn ang="0">
                  <a:pos x="867" y="517"/>
                </a:cxn>
                <a:cxn ang="0">
                  <a:pos x="876" y="555"/>
                </a:cxn>
                <a:cxn ang="0">
                  <a:pos x="871" y="593"/>
                </a:cxn>
                <a:cxn ang="0">
                  <a:pos x="843" y="657"/>
                </a:cxn>
                <a:cxn ang="0">
                  <a:pos x="822" y="690"/>
                </a:cxn>
                <a:cxn ang="0">
                  <a:pos x="810" y="723"/>
                </a:cxn>
                <a:cxn ang="0">
                  <a:pos x="777" y="742"/>
                </a:cxn>
                <a:cxn ang="0">
                  <a:pos x="746" y="730"/>
                </a:cxn>
                <a:cxn ang="0">
                  <a:pos x="725" y="723"/>
                </a:cxn>
                <a:cxn ang="0">
                  <a:pos x="701" y="723"/>
                </a:cxn>
                <a:cxn ang="0">
                  <a:pos x="659" y="725"/>
                </a:cxn>
                <a:cxn ang="0">
                  <a:pos x="630" y="730"/>
                </a:cxn>
                <a:cxn ang="0">
                  <a:pos x="609" y="706"/>
                </a:cxn>
                <a:cxn ang="0">
                  <a:pos x="588" y="678"/>
                </a:cxn>
                <a:cxn ang="0">
                  <a:pos x="559" y="675"/>
                </a:cxn>
                <a:cxn ang="0">
                  <a:pos x="529" y="661"/>
                </a:cxn>
                <a:cxn ang="0">
                  <a:pos x="503" y="652"/>
                </a:cxn>
                <a:cxn ang="0">
                  <a:pos x="472" y="621"/>
                </a:cxn>
                <a:cxn ang="0">
                  <a:pos x="451" y="616"/>
                </a:cxn>
                <a:cxn ang="0">
                  <a:pos x="396" y="588"/>
                </a:cxn>
                <a:cxn ang="0">
                  <a:pos x="349" y="593"/>
                </a:cxn>
                <a:cxn ang="0">
                  <a:pos x="321" y="595"/>
                </a:cxn>
                <a:cxn ang="0">
                  <a:pos x="264" y="548"/>
                </a:cxn>
                <a:cxn ang="0">
                  <a:pos x="243" y="529"/>
                </a:cxn>
                <a:cxn ang="0">
                  <a:pos x="212" y="491"/>
                </a:cxn>
                <a:cxn ang="0">
                  <a:pos x="191" y="442"/>
                </a:cxn>
                <a:cxn ang="0">
                  <a:pos x="193" y="380"/>
                </a:cxn>
                <a:cxn ang="0">
                  <a:pos x="179" y="326"/>
                </a:cxn>
                <a:cxn ang="0">
                  <a:pos x="186" y="238"/>
                </a:cxn>
                <a:cxn ang="0">
                  <a:pos x="153" y="243"/>
                </a:cxn>
                <a:cxn ang="0">
                  <a:pos x="134" y="238"/>
                </a:cxn>
                <a:cxn ang="0">
                  <a:pos x="118" y="234"/>
                </a:cxn>
                <a:cxn ang="0">
                  <a:pos x="89" y="241"/>
                </a:cxn>
                <a:cxn ang="0">
                  <a:pos x="66" y="246"/>
                </a:cxn>
                <a:cxn ang="0">
                  <a:pos x="40" y="253"/>
                </a:cxn>
              </a:cxnLst>
              <a:rect l="0" t="0" r="r" b="b"/>
              <a:pathLst>
                <a:path w="893" h="751">
                  <a:moveTo>
                    <a:pt x="0" y="243"/>
                  </a:moveTo>
                  <a:lnTo>
                    <a:pt x="4" y="238"/>
                  </a:lnTo>
                  <a:lnTo>
                    <a:pt x="4" y="236"/>
                  </a:lnTo>
                  <a:lnTo>
                    <a:pt x="2" y="236"/>
                  </a:lnTo>
                  <a:lnTo>
                    <a:pt x="4" y="234"/>
                  </a:lnTo>
                  <a:lnTo>
                    <a:pt x="4" y="236"/>
                  </a:lnTo>
                  <a:lnTo>
                    <a:pt x="7" y="236"/>
                  </a:lnTo>
                  <a:lnTo>
                    <a:pt x="11" y="236"/>
                  </a:lnTo>
                  <a:lnTo>
                    <a:pt x="14" y="234"/>
                  </a:lnTo>
                  <a:lnTo>
                    <a:pt x="16" y="231"/>
                  </a:lnTo>
                  <a:lnTo>
                    <a:pt x="16" y="229"/>
                  </a:lnTo>
                  <a:lnTo>
                    <a:pt x="23" y="224"/>
                  </a:lnTo>
                  <a:lnTo>
                    <a:pt x="26" y="224"/>
                  </a:lnTo>
                  <a:lnTo>
                    <a:pt x="28" y="224"/>
                  </a:lnTo>
                  <a:lnTo>
                    <a:pt x="28" y="224"/>
                  </a:lnTo>
                  <a:lnTo>
                    <a:pt x="33" y="222"/>
                  </a:lnTo>
                  <a:lnTo>
                    <a:pt x="35" y="220"/>
                  </a:lnTo>
                  <a:lnTo>
                    <a:pt x="40" y="220"/>
                  </a:lnTo>
                  <a:lnTo>
                    <a:pt x="40" y="217"/>
                  </a:lnTo>
                  <a:lnTo>
                    <a:pt x="40" y="217"/>
                  </a:lnTo>
                  <a:lnTo>
                    <a:pt x="40" y="215"/>
                  </a:lnTo>
                  <a:lnTo>
                    <a:pt x="44" y="212"/>
                  </a:lnTo>
                  <a:lnTo>
                    <a:pt x="47" y="208"/>
                  </a:lnTo>
                  <a:lnTo>
                    <a:pt x="49" y="205"/>
                  </a:lnTo>
                  <a:lnTo>
                    <a:pt x="54" y="201"/>
                  </a:lnTo>
                  <a:lnTo>
                    <a:pt x="54" y="196"/>
                  </a:lnTo>
                  <a:lnTo>
                    <a:pt x="52" y="194"/>
                  </a:lnTo>
                  <a:lnTo>
                    <a:pt x="49" y="191"/>
                  </a:lnTo>
                  <a:lnTo>
                    <a:pt x="49" y="191"/>
                  </a:lnTo>
                  <a:lnTo>
                    <a:pt x="49" y="189"/>
                  </a:lnTo>
                  <a:lnTo>
                    <a:pt x="54" y="191"/>
                  </a:lnTo>
                  <a:lnTo>
                    <a:pt x="56" y="191"/>
                  </a:lnTo>
                  <a:lnTo>
                    <a:pt x="56" y="191"/>
                  </a:lnTo>
                  <a:lnTo>
                    <a:pt x="59" y="191"/>
                  </a:lnTo>
                  <a:lnTo>
                    <a:pt x="61" y="191"/>
                  </a:lnTo>
                  <a:lnTo>
                    <a:pt x="63" y="191"/>
                  </a:lnTo>
                  <a:lnTo>
                    <a:pt x="63" y="194"/>
                  </a:lnTo>
                  <a:lnTo>
                    <a:pt x="63" y="194"/>
                  </a:lnTo>
                  <a:lnTo>
                    <a:pt x="66" y="194"/>
                  </a:lnTo>
                  <a:lnTo>
                    <a:pt x="66" y="191"/>
                  </a:lnTo>
                  <a:lnTo>
                    <a:pt x="66" y="189"/>
                  </a:lnTo>
                  <a:lnTo>
                    <a:pt x="68" y="189"/>
                  </a:lnTo>
                  <a:lnTo>
                    <a:pt x="68" y="189"/>
                  </a:lnTo>
                  <a:lnTo>
                    <a:pt x="73" y="191"/>
                  </a:lnTo>
                  <a:lnTo>
                    <a:pt x="73" y="191"/>
                  </a:lnTo>
                  <a:lnTo>
                    <a:pt x="75" y="191"/>
                  </a:lnTo>
                  <a:lnTo>
                    <a:pt x="75" y="191"/>
                  </a:lnTo>
                  <a:lnTo>
                    <a:pt x="80" y="194"/>
                  </a:lnTo>
                  <a:lnTo>
                    <a:pt x="82" y="191"/>
                  </a:lnTo>
                  <a:lnTo>
                    <a:pt x="82" y="191"/>
                  </a:lnTo>
                  <a:lnTo>
                    <a:pt x="85" y="189"/>
                  </a:lnTo>
                  <a:lnTo>
                    <a:pt x="87" y="189"/>
                  </a:lnTo>
                  <a:lnTo>
                    <a:pt x="87" y="189"/>
                  </a:lnTo>
                  <a:lnTo>
                    <a:pt x="89" y="191"/>
                  </a:lnTo>
                  <a:lnTo>
                    <a:pt x="94" y="191"/>
                  </a:lnTo>
                  <a:lnTo>
                    <a:pt x="96" y="189"/>
                  </a:lnTo>
                  <a:lnTo>
                    <a:pt x="96" y="189"/>
                  </a:lnTo>
                  <a:lnTo>
                    <a:pt x="99" y="189"/>
                  </a:lnTo>
                  <a:lnTo>
                    <a:pt x="101" y="189"/>
                  </a:lnTo>
                  <a:lnTo>
                    <a:pt x="104" y="189"/>
                  </a:lnTo>
                  <a:lnTo>
                    <a:pt x="106" y="189"/>
                  </a:lnTo>
                  <a:lnTo>
                    <a:pt x="106" y="191"/>
                  </a:lnTo>
                  <a:lnTo>
                    <a:pt x="108" y="191"/>
                  </a:lnTo>
                  <a:lnTo>
                    <a:pt x="108" y="194"/>
                  </a:lnTo>
                  <a:lnTo>
                    <a:pt x="111" y="196"/>
                  </a:lnTo>
                  <a:lnTo>
                    <a:pt x="113" y="198"/>
                  </a:lnTo>
                  <a:lnTo>
                    <a:pt x="113" y="198"/>
                  </a:lnTo>
                  <a:lnTo>
                    <a:pt x="115" y="201"/>
                  </a:lnTo>
                  <a:lnTo>
                    <a:pt x="118" y="201"/>
                  </a:lnTo>
                  <a:lnTo>
                    <a:pt x="120" y="203"/>
                  </a:lnTo>
                  <a:lnTo>
                    <a:pt x="120" y="203"/>
                  </a:lnTo>
                  <a:lnTo>
                    <a:pt x="122" y="203"/>
                  </a:lnTo>
                  <a:lnTo>
                    <a:pt x="122" y="205"/>
                  </a:lnTo>
                  <a:lnTo>
                    <a:pt x="122" y="205"/>
                  </a:lnTo>
                  <a:lnTo>
                    <a:pt x="125" y="205"/>
                  </a:lnTo>
                  <a:lnTo>
                    <a:pt x="125" y="210"/>
                  </a:lnTo>
                  <a:lnTo>
                    <a:pt x="127" y="210"/>
                  </a:lnTo>
                  <a:lnTo>
                    <a:pt x="127" y="210"/>
                  </a:lnTo>
                  <a:lnTo>
                    <a:pt x="127" y="212"/>
                  </a:lnTo>
                  <a:lnTo>
                    <a:pt x="130" y="212"/>
                  </a:lnTo>
                  <a:lnTo>
                    <a:pt x="130" y="210"/>
                  </a:lnTo>
                  <a:lnTo>
                    <a:pt x="132" y="210"/>
                  </a:lnTo>
                  <a:lnTo>
                    <a:pt x="132" y="210"/>
                  </a:lnTo>
                  <a:lnTo>
                    <a:pt x="134" y="208"/>
                  </a:lnTo>
                  <a:lnTo>
                    <a:pt x="134" y="208"/>
                  </a:lnTo>
                  <a:lnTo>
                    <a:pt x="137" y="210"/>
                  </a:lnTo>
                  <a:lnTo>
                    <a:pt x="137" y="210"/>
                  </a:lnTo>
                  <a:lnTo>
                    <a:pt x="141" y="203"/>
                  </a:lnTo>
                  <a:lnTo>
                    <a:pt x="141" y="201"/>
                  </a:lnTo>
                  <a:lnTo>
                    <a:pt x="144" y="196"/>
                  </a:lnTo>
                  <a:lnTo>
                    <a:pt x="144" y="196"/>
                  </a:lnTo>
                  <a:lnTo>
                    <a:pt x="146" y="196"/>
                  </a:lnTo>
                  <a:lnTo>
                    <a:pt x="146" y="196"/>
                  </a:lnTo>
                  <a:lnTo>
                    <a:pt x="148" y="194"/>
                  </a:lnTo>
                  <a:lnTo>
                    <a:pt x="148" y="191"/>
                  </a:lnTo>
                  <a:lnTo>
                    <a:pt x="151" y="191"/>
                  </a:lnTo>
                  <a:lnTo>
                    <a:pt x="153" y="191"/>
                  </a:lnTo>
                  <a:lnTo>
                    <a:pt x="155" y="191"/>
                  </a:lnTo>
                  <a:lnTo>
                    <a:pt x="158" y="191"/>
                  </a:lnTo>
                  <a:lnTo>
                    <a:pt x="158" y="191"/>
                  </a:lnTo>
                  <a:lnTo>
                    <a:pt x="163" y="196"/>
                  </a:lnTo>
                  <a:lnTo>
                    <a:pt x="165" y="196"/>
                  </a:lnTo>
                  <a:lnTo>
                    <a:pt x="165" y="196"/>
                  </a:lnTo>
                  <a:lnTo>
                    <a:pt x="165" y="196"/>
                  </a:lnTo>
                  <a:lnTo>
                    <a:pt x="165" y="198"/>
                  </a:lnTo>
                  <a:lnTo>
                    <a:pt x="167" y="198"/>
                  </a:lnTo>
                  <a:lnTo>
                    <a:pt x="170" y="198"/>
                  </a:lnTo>
                  <a:lnTo>
                    <a:pt x="170" y="196"/>
                  </a:lnTo>
                  <a:lnTo>
                    <a:pt x="172" y="198"/>
                  </a:lnTo>
                  <a:lnTo>
                    <a:pt x="174" y="196"/>
                  </a:lnTo>
                  <a:lnTo>
                    <a:pt x="174" y="198"/>
                  </a:lnTo>
                  <a:lnTo>
                    <a:pt x="174" y="196"/>
                  </a:lnTo>
                  <a:lnTo>
                    <a:pt x="172" y="191"/>
                  </a:lnTo>
                  <a:lnTo>
                    <a:pt x="172" y="189"/>
                  </a:lnTo>
                  <a:lnTo>
                    <a:pt x="172" y="189"/>
                  </a:lnTo>
                  <a:lnTo>
                    <a:pt x="172" y="184"/>
                  </a:lnTo>
                  <a:lnTo>
                    <a:pt x="172" y="182"/>
                  </a:lnTo>
                  <a:lnTo>
                    <a:pt x="172" y="179"/>
                  </a:lnTo>
                  <a:lnTo>
                    <a:pt x="172" y="179"/>
                  </a:lnTo>
                  <a:lnTo>
                    <a:pt x="172" y="177"/>
                  </a:lnTo>
                  <a:lnTo>
                    <a:pt x="174" y="177"/>
                  </a:lnTo>
                  <a:lnTo>
                    <a:pt x="177" y="179"/>
                  </a:lnTo>
                  <a:lnTo>
                    <a:pt x="179" y="179"/>
                  </a:lnTo>
                  <a:lnTo>
                    <a:pt x="179" y="179"/>
                  </a:lnTo>
                  <a:lnTo>
                    <a:pt x="181" y="179"/>
                  </a:lnTo>
                  <a:lnTo>
                    <a:pt x="181" y="179"/>
                  </a:lnTo>
                  <a:lnTo>
                    <a:pt x="184" y="179"/>
                  </a:lnTo>
                  <a:lnTo>
                    <a:pt x="186" y="177"/>
                  </a:lnTo>
                  <a:lnTo>
                    <a:pt x="191" y="172"/>
                  </a:lnTo>
                  <a:lnTo>
                    <a:pt x="193" y="172"/>
                  </a:lnTo>
                  <a:lnTo>
                    <a:pt x="198" y="170"/>
                  </a:lnTo>
                  <a:lnTo>
                    <a:pt x="198" y="170"/>
                  </a:lnTo>
                  <a:lnTo>
                    <a:pt x="203" y="172"/>
                  </a:lnTo>
                  <a:lnTo>
                    <a:pt x="203" y="172"/>
                  </a:lnTo>
                  <a:lnTo>
                    <a:pt x="203" y="175"/>
                  </a:lnTo>
                  <a:lnTo>
                    <a:pt x="203" y="175"/>
                  </a:lnTo>
                  <a:lnTo>
                    <a:pt x="203" y="177"/>
                  </a:lnTo>
                  <a:lnTo>
                    <a:pt x="205" y="182"/>
                  </a:lnTo>
                  <a:lnTo>
                    <a:pt x="205" y="184"/>
                  </a:lnTo>
                  <a:lnTo>
                    <a:pt x="205" y="184"/>
                  </a:lnTo>
                  <a:lnTo>
                    <a:pt x="207" y="187"/>
                  </a:lnTo>
                  <a:lnTo>
                    <a:pt x="207" y="189"/>
                  </a:lnTo>
                  <a:lnTo>
                    <a:pt x="205" y="191"/>
                  </a:lnTo>
                  <a:lnTo>
                    <a:pt x="205" y="191"/>
                  </a:lnTo>
                  <a:lnTo>
                    <a:pt x="205" y="191"/>
                  </a:lnTo>
                  <a:lnTo>
                    <a:pt x="207" y="191"/>
                  </a:lnTo>
                  <a:lnTo>
                    <a:pt x="210" y="194"/>
                  </a:lnTo>
                  <a:lnTo>
                    <a:pt x="212" y="196"/>
                  </a:lnTo>
                  <a:lnTo>
                    <a:pt x="215" y="191"/>
                  </a:lnTo>
                  <a:lnTo>
                    <a:pt x="217" y="191"/>
                  </a:lnTo>
                  <a:lnTo>
                    <a:pt x="219" y="191"/>
                  </a:lnTo>
                  <a:lnTo>
                    <a:pt x="217" y="189"/>
                  </a:lnTo>
                  <a:lnTo>
                    <a:pt x="219" y="189"/>
                  </a:lnTo>
                  <a:lnTo>
                    <a:pt x="219" y="189"/>
                  </a:lnTo>
                  <a:lnTo>
                    <a:pt x="222" y="189"/>
                  </a:lnTo>
                  <a:lnTo>
                    <a:pt x="224" y="189"/>
                  </a:lnTo>
                  <a:lnTo>
                    <a:pt x="224" y="187"/>
                  </a:lnTo>
                  <a:lnTo>
                    <a:pt x="224" y="184"/>
                  </a:lnTo>
                  <a:lnTo>
                    <a:pt x="224" y="182"/>
                  </a:lnTo>
                  <a:lnTo>
                    <a:pt x="224" y="182"/>
                  </a:lnTo>
                  <a:lnTo>
                    <a:pt x="226" y="182"/>
                  </a:lnTo>
                  <a:lnTo>
                    <a:pt x="226" y="182"/>
                  </a:lnTo>
                  <a:lnTo>
                    <a:pt x="229" y="182"/>
                  </a:lnTo>
                  <a:lnTo>
                    <a:pt x="229" y="179"/>
                  </a:lnTo>
                  <a:lnTo>
                    <a:pt x="229" y="177"/>
                  </a:lnTo>
                  <a:lnTo>
                    <a:pt x="229" y="175"/>
                  </a:lnTo>
                  <a:lnTo>
                    <a:pt x="231" y="175"/>
                  </a:lnTo>
                  <a:lnTo>
                    <a:pt x="233" y="175"/>
                  </a:lnTo>
                  <a:lnTo>
                    <a:pt x="236" y="172"/>
                  </a:lnTo>
                  <a:lnTo>
                    <a:pt x="236" y="172"/>
                  </a:lnTo>
                  <a:lnTo>
                    <a:pt x="238" y="170"/>
                  </a:lnTo>
                  <a:lnTo>
                    <a:pt x="238" y="170"/>
                  </a:lnTo>
                  <a:lnTo>
                    <a:pt x="238" y="168"/>
                  </a:lnTo>
                  <a:lnTo>
                    <a:pt x="238" y="165"/>
                  </a:lnTo>
                  <a:lnTo>
                    <a:pt x="241" y="165"/>
                  </a:lnTo>
                  <a:lnTo>
                    <a:pt x="238" y="163"/>
                  </a:lnTo>
                  <a:lnTo>
                    <a:pt x="238" y="163"/>
                  </a:lnTo>
                  <a:lnTo>
                    <a:pt x="238" y="161"/>
                  </a:lnTo>
                  <a:lnTo>
                    <a:pt x="238" y="161"/>
                  </a:lnTo>
                  <a:lnTo>
                    <a:pt x="238" y="156"/>
                  </a:lnTo>
                  <a:lnTo>
                    <a:pt x="238" y="156"/>
                  </a:lnTo>
                  <a:lnTo>
                    <a:pt x="238" y="153"/>
                  </a:lnTo>
                  <a:lnTo>
                    <a:pt x="238" y="153"/>
                  </a:lnTo>
                  <a:lnTo>
                    <a:pt x="238" y="151"/>
                  </a:lnTo>
                  <a:lnTo>
                    <a:pt x="241" y="146"/>
                  </a:lnTo>
                  <a:lnTo>
                    <a:pt x="241" y="142"/>
                  </a:lnTo>
                  <a:lnTo>
                    <a:pt x="241" y="142"/>
                  </a:lnTo>
                  <a:lnTo>
                    <a:pt x="241" y="142"/>
                  </a:lnTo>
                  <a:lnTo>
                    <a:pt x="243" y="142"/>
                  </a:lnTo>
                  <a:lnTo>
                    <a:pt x="243" y="139"/>
                  </a:lnTo>
                  <a:lnTo>
                    <a:pt x="245" y="137"/>
                  </a:lnTo>
                  <a:lnTo>
                    <a:pt x="250" y="135"/>
                  </a:lnTo>
                  <a:lnTo>
                    <a:pt x="252" y="135"/>
                  </a:lnTo>
                  <a:lnTo>
                    <a:pt x="255" y="135"/>
                  </a:lnTo>
                  <a:lnTo>
                    <a:pt x="257" y="135"/>
                  </a:lnTo>
                  <a:lnTo>
                    <a:pt x="257" y="135"/>
                  </a:lnTo>
                  <a:lnTo>
                    <a:pt x="259" y="139"/>
                  </a:lnTo>
                  <a:lnTo>
                    <a:pt x="259" y="139"/>
                  </a:lnTo>
                  <a:lnTo>
                    <a:pt x="262" y="137"/>
                  </a:lnTo>
                  <a:lnTo>
                    <a:pt x="267" y="135"/>
                  </a:lnTo>
                  <a:lnTo>
                    <a:pt x="267" y="135"/>
                  </a:lnTo>
                  <a:lnTo>
                    <a:pt x="269" y="135"/>
                  </a:lnTo>
                  <a:lnTo>
                    <a:pt x="269" y="135"/>
                  </a:lnTo>
                  <a:lnTo>
                    <a:pt x="271" y="137"/>
                  </a:lnTo>
                  <a:lnTo>
                    <a:pt x="274" y="137"/>
                  </a:lnTo>
                  <a:lnTo>
                    <a:pt x="276" y="137"/>
                  </a:lnTo>
                  <a:lnTo>
                    <a:pt x="278" y="137"/>
                  </a:lnTo>
                  <a:lnTo>
                    <a:pt x="281" y="137"/>
                  </a:lnTo>
                  <a:lnTo>
                    <a:pt x="281" y="137"/>
                  </a:lnTo>
                  <a:lnTo>
                    <a:pt x="283" y="137"/>
                  </a:lnTo>
                  <a:lnTo>
                    <a:pt x="283" y="135"/>
                  </a:lnTo>
                  <a:lnTo>
                    <a:pt x="283" y="135"/>
                  </a:lnTo>
                  <a:lnTo>
                    <a:pt x="285" y="135"/>
                  </a:lnTo>
                  <a:lnTo>
                    <a:pt x="285" y="132"/>
                  </a:lnTo>
                  <a:lnTo>
                    <a:pt x="288" y="132"/>
                  </a:lnTo>
                  <a:lnTo>
                    <a:pt x="293" y="135"/>
                  </a:lnTo>
                  <a:lnTo>
                    <a:pt x="297" y="132"/>
                  </a:lnTo>
                  <a:lnTo>
                    <a:pt x="297" y="132"/>
                  </a:lnTo>
                  <a:lnTo>
                    <a:pt x="300" y="132"/>
                  </a:lnTo>
                  <a:lnTo>
                    <a:pt x="302" y="132"/>
                  </a:lnTo>
                  <a:lnTo>
                    <a:pt x="304" y="132"/>
                  </a:lnTo>
                  <a:lnTo>
                    <a:pt x="307" y="130"/>
                  </a:lnTo>
                  <a:lnTo>
                    <a:pt x="314" y="127"/>
                  </a:lnTo>
                  <a:lnTo>
                    <a:pt x="316" y="127"/>
                  </a:lnTo>
                  <a:lnTo>
                    <a:pt x="316" y="127"/>
                  </a:lnTo>
                  <a:lnTo>
                    <a:pt x="316" y="130"/>
                  </a:lnTo>
                  <a:lnTo>
                    <a:pt x="314" y="135"/>
                  </a:lnTo>
                  <a:lnTo>
                    <a:pt x="314" y="135"/>
                  </a:lnTo>
                  <a:lnTo>
                    <a:pt x="316" y="135"/>
                  </a:lnTo>
                  <a:lnTo>
                    <a:pt x="318" y="135"/>
                  </a:lnTo>
                  <a:lnTo>
                    <a:pt x="323" y="135"/>
                  </a:lnTo>
                  <a:lnTo>
                    <a:pt x="326" y="135"/>
                  </a:lnTo>
                  <a:lnTo>
                    <a:pt x="333" y="132"/>
                  </a:lnTo>
                  <a:lnTo>
                    <a:pt x="337" y="132"/>
                  </a:lnTo>
                  <a:lnTo>
                    <a:pt x="337" y="130"/>
                  </a:lnTo>
                  <a:lnTo>
                    <a:pt x="337" y="127"/>
                  </a:lnTo>
                  <a:lnTo>
                    <a:pt x="337" y="123"/>
                  </a:lnTo>
                  <a:lnTo>
                    <a:pt x="337" y="118"/>
                  </a:lnTo>
                  <a:lnTo>
                    <a:pt x="335" y="116"/>
                  </a:lnTo>
                  <a:lnTo>
                    <a:pt x="335" y="116"/>
                  </a:lnTo>
                  <a:lnTo>
                    <a:pt x="335" y="116"/>
                  </a:lnTo>
                  <a:lnTo>
                    <a:pt x="340" y="113"/>
                  </a:lnTo>
                  <a:lnTo>
                    <a:pt x="340" y="111"/>
                  </a:lnTo>
                  <a:lnTo>
                    <a:pt x="337" y="106"/>
                  </a:lnTo>
                  <a:lnTo>
                    <a:pt x="337" y="104"/>
                  </a:lnTo>
                  <a:lnTo>
                    <a:pt x="340" y="99"/>
                  </a:lnTo>
                  <a:lnTo>
                    <a:pt x="340" y="99"/>
                  </a:lnTo>
                  <a:lnTo>
                    <a:pt x="342" y="99"/>
                  </a:lnTo>
                  <a:lnTo>
                    <a:pt x="344" y="99"/>
                  </a:lnTo>
                  <a:lnTo>
                    <a:pt x="347" y="99"/>
                  </a:lnTo>
                  <a:lnTo>
                    <a:pt x="347" y="99"/>
                  </a:lnTo>
                  <a:lnTo>
                    <a:pt x="352" y="99"/>
                  </a:lnTo>
                  <a:lnTo>
                    <a:pt x="352" y="97"/>
                  </a:lnTo>
                  <a:lnTo>
                    <a:pt x="354" y="92"/>
                  </a:lnTo>
                  <a:lnTo>
                    <a:pt x="354" y="92"/>
                  </a:lnTo>
                  <a:lnTo>
                    <a:pt x="354" y="90"/>
                  </a:lnTo>
                  <a:lnTo>
                    <a:pt x="356" y="90"/>
                  </a:lnTo>
                  <a:lnTo>
                    <a:pt x="356" y="87"/>
                  </a:lnTo>
                  <a:lnTo>
                    <a:pt x="356" y="87"/>
                  </a:lnTo>
                  <a:lnTo>
                    <a:pt x="359" y="83"/>
                  </a:lnTo>
                  <a:lnTo>
                    <a:pt x="359" y="80"/>
                  </a:lnTo>
                  <a:lnTo>
                    <a:pt x="359" y="80"/>
                  </a:lnTo>
                  <a:lnTo>
                    <a:pt x="361" y="83"/>
                  </a:lnTo>
                  <a:lnTo>
                    <a:pt x="361" y="83"/>
                  </a:lnTo>
                  <a:lnTo>
                    <a:pt x="361" y="85"/>
                  </a:lnTo>
                  <a:lnTo>
                    <a:pt x="363" y="85"/>
                  </a:lnTo>
                  <a:lnTo>
                    <a:pt x="366" y="80"/>
                  </a:lnTo>
                  <a:lnTo>
                    <a:pt x="366" y="78"/>
                  </a:lnTo>
                  <a:lnTo>
                    <a:pt x="366" y="78"/>
                  </a:lnTo>
                  <a:lnTo>
                    <a:pt x="363" y="78"/>
                  </a:lnTo>
                  <a:lnTo>
                    <a:pt x="363" y="73"/>
                  </a:lnTo>
                  <a:lnTo>
                    <a:pt x="361" y="71"/>
                  </a:lnTo>
                  <a:lnTo>
                    <a:pt x="359" y="68"/>
                  </a:lnTo>
                  <a:lnTo>
                    <a:pt x="359" y="68"/>
                  </a:lnTo>
                  <a:lnTo>
                    <a:pt x="363" y="64"/>
                  </a:lnTo>
                  <a:lnTo>
                    <a:pt x="363" y="64"/>
                  </a:lnTo>
                  <a:lnTo>
                    <a:pt x="361" y="61"/>
                  </a:lnTo>
                  <a:lnTo>
                    <a:pt x="359" y="61"/>
                  </a:lnTo>
                  <a:lnTo>
                    <a:pt x="359" y="59"/>
                  </a:lnTo>
                  <a:lnTo>
                    <a:pt x="363" y="57"/>
                  </a:lnTo>
                  <a:lnTo>
                    <a:pt x="363" y="50"/>
                  </a:lnTo>
                  <a:lnTo>
                    <a:pt x="366" y="47"/>
                  </a:lnTo>
                  <a:lnTo>
                    <a:pt x="368" y="50"/>
                  </a:lnTo>
                  <a:lnTo>
                    <a:pt x="368" y="47"/>
                  </a:lnTo>
                  <a:lnTo>
                    <a:pt x="370" y="45"/>
                  </a:lnTo>
                  <a:lnTo>
                    <a:pt x="370" y="42"/>
                  </a:lnTo>
                  <a:lnTo>
                    <a:pt x="373" y="42"/>
                  </a:lnTo>
                  <a:lnTo>
                    <a:pt x="373" y="42"/>
                  </a:lnTo>
                  <a:lnTo>
                    <a:pt x="375" y="45"/>
                  </a:lnTo>
                  <a:lnTo>
                    <a:pt x="378" y="45"/>
                  </a:lnTo>
                  <a:lnTo>
                    <a:pt x="382" y="50"/>
                  </a:lnTo>
                  <a:lnTo>
                    <a:pt x="385" y="50"/>
                  </a:lnTo>
                  <a:lnTo>
                    <a:pt x="385" y="47"/>
                  </a:lnTo>
                  <a:lnTo>
                    <a:pt x="387" y="45"/>
                  </a:lnTo>
                  <a:lnTo>
                    <a:pt x="387" y="42"/>
                  </a:lnTo>
                  <a:lnTo>
                    <a:pt x="387" y="40"/>
                  </a:lnTo>
                  <a:lnTo>
                    <a:pt x="392" y="38"/>
                  </a:lnTo>
                  <a:lnTo>
                    <a:pt x="387" y="33"/>
                  </a:lnTo>
                  <a:lnTo>
                    <a:pt x="387" y="31"/>
                  </a:lnTo>
                  <a:lnTo>
                    <a:pt x="389" y="28"/>
                  </a:lnTo>
                  <a:lnTo>
                    <a:pt x="394" y="26"/>
                  </a:lnTo>
                  <a:lnTo>
                    <a:pt x="396" y="21"/>
                  </a:lnTo>
                  <a:lnTo>
                    <a:pt x="399" y="21"/>
                  </a:lnTo>
                  <a:lnTo>
                    <a:pt x="399" y="19"/>
                  </a:lnTo>
                  <a:lnTo>
                    <a:pt x="399" y="16"/>
                  </a:lnTo>
                  <a:lnTo>
                    <a:pt x="399" y="16"/>
                  </a:lnTo>
                  <a:lnTo>
                    <a:pt x="401" y="14"/>
                  </a:lnTo>
                  <a:lnTo>
                    <a:pt x="401" y="12"/>
                  </a:lnTo>
                  <a:lnTo>
                    <a:pt x="404" y="9"/>
                  </a:lnTo>
                  <a:lnTo>
                    <a:pt x="404" y="9"/>
                  </a:lnTo>
                  <a:lnTo>
                    <a:pt x="404" y="7"/>
                  </a:lnTo>
                  <a:lnTo>
                    <a:pt x="404" y="0"/>
                  </a:lnTo>
                  <a:lnTo>
                    <a:pt x="415" y="2"/>
                  </a:lnTo>
                  <a:lnTo>
                    <a:pt x="420" y="2"/>
                  </a:lnTo>
                  <a:lnTo>
                    <a:pt x="441" y="2"/>
                  </a:lnTo>
                  <a:lnTo>
                    <a:pt x="500" y="2"/>
                  </a:lnTo>
                  <a:lnTo>
                    <a:pt x="500" y="5"/>
                  </a:lnTo>
                  <a:lnTo>
                    <a:pt x="503" y="5"/>
                  </a:lnTo>
                  <a:lnTo>
                    <a:pt x="503" y="5"/>
                  </a:lnTo>
                  <a:lnTo>
                    <a:pt x="505" y="5"/>
                  </a:lnTo>
                  <a:lnTo>
                    <a:pt x="505" y="7"/>
                  </a:lnTo>
                  <a:lnTo>
                    <a:pt x="507" y="9"/>
                  </a:lnTo>
                  <a:lnTo>
                    <a:pt x="510" y="9"/>
                  </a:lnTo>
                  <a:lnTo>
                    <a:pt x="515" y="12"/>
                  </a:lnTo>
                  <a:lnTo>
                    <a:pt x="517" y="14"/>
                  </a:lnTo>
                  <a:lnTo>
                    <a:pt x="519" y="16"/>
                  </a:lnTo>
                  <a:lnTo>
                    <a:pt x="522" y="16"/>
                  </a:lnTo>
                  <a:lnTo>
                    <a:pt x="522" y="19"/>
                  </a:lnTo>
                  <a:lnTo>
                    <a:pt x="524" y="21"/>
                  </a:lnTo>
                  <a:lnTo>
                    <a:pt x="524" y="21"/>
                  </a:lnTo>
                  <a:lnTo>
                    <a:pt x="524" y="24"/>
                  </a:lnTo>
                  <a:lnTo>
                    <a:pt x="524" y="24"/>
                  </a:lnTo>
                  <a:lnTo>
                    <a:pt x="524" y="26"/>
                  </a:lnTo>
                  <a:lnTo>
                    <a:pt x="524" y="26"/>
                  </a:lnTo>
                  <a:lnTo>
                    <a:pt x="524" y="28"/>
                  </a:lnTo>
                  <a:lnTo>
                    <a:pt x="524" y="28"/>
                  </a:lnTo>
                  <a:lnTo>
                    <a:pt x="524" y="31"/>
                  </a:lnTo>
                  <a:lnTo>
                    <a:pt x="526" y="31"/>
                  </a:lnTo>
                  <a:lnTo>
                    <a:pt x="526" y="35"/>
                  </a:lnTo>
                  <a:lnTo>
                    <a:pt x="526" y="35"/>
                  </a:lnTo>
                  <a:lnTo>
                    <a:pt x="526" y="35"/>
                  </a:lnTo>
                  <a:lnTo>
                    <a:pt x="533" y="40"/>
                  </a:lnTo>
                  <a:lnTo>
                    <a:pt x="533" y="40"/>
                  </a:lnTo>
                  <a:lnTo>
                    <a:pt x="533" y="42"/>
                  </a:lnTo>
                  <a:lnTo>
                    <a:pt x="536" y="40"/>
                  </a:lnTo>
                  <a:lnTo>
                    <a:pt x="536" y="42"/>
                  </a:lnTo>
                  <a:lnTo>
                    <a:pt x="536" y="42"/>
                  </a:lnTo>
                  <a:lnTo>
                    <a:pt x="538" y="42"/>
                  </a:lnTo>
                  <a:lnTo>
                    <a:pt x="538" y="42"/>
                  </a:lnTo>
                  <a:lnTo>
                    <a:pt x="541" y="45"/>
                  </a:lnTo>
                  <a:lnTo>
                    <a:pt x="538" y="47"/>
                  </a:lnTo>
                  <a:lnTo>
                    <a:pt x="541" y="47"/>
                  </a:lnTo>
                  <a:lnTo>
                    <a:pt x="541" y="50"/>
                  </a:lnTo>
                  <a:lnTo>
                    <a:pt x="541" y="50"/>
                  </a:lnTo>
                  <a:lnTo>
                    <a:pt x="541" y="52"/>
                  </a:lnTo>
                  <a:lnTo>
                    <a:pt x="541" y="52"/>
                  </a:lnTo>
                  <a:lnTo>
                    <a:pt x="543" y="54"/>
                  </a:lnTo>
                  <a:lnTo>
                    <a:pt x="543" y="54"/>
                  </a:lnTo>
                  <a:lnTo>
                    <a:pt x="543" y="54"/>
                  </a:lnTo>
                  <a:lnTo>
                    <a:pt x="543" y="54"/>
                  </a:lnTo>
                  <a:lnTo>
                    <a:pt x="545" y="52"/>
                  </a:lnTo>
                  <a:lnTo>
                    <a:pt x="548" y="52"/>
                  </a:lnTo>
                  <a:lnTo>
                    <a:pt x="550" y="50"/>
                  </a:lnTo>
                  <a:lnTo>
                    <a:pt x="550" y="50"/>
                  </a:lnTo>
                  <a:lnTo>
                    <a:pt x="550" y="50"/>
                  </a:lnTo>
                  <a:lnTo>
                    <a:pt x="552" y="52"/>
                  </a:lnTo>
                  <a:lnTo>
                    <a:pt x="552" y="52"/>
                  </a:lnTo>
                  <a:lnTo>
                    <a:pt x="555" y="54"/>
                  </a:lnTo>
                  <a:lnTo>
                    <a:pt x="559" y="54"/>
                  </a:lnTo>
                  <a:lnTo>
                    <a:pt x="559" y="54"/>
                  </a:lnTo>
                  <a:lnTo>
                    <a:pt x="562" y="54"/>
                  </a:lnTo>
                  <a:lnTo>
                    <a:pt x="564" y="57"/>
                  </a:lnTo>
                  <a:lnTo>
                    <a:pt x="564" y="57"/>
                  </a:lnTo>
                  <a:lnTo>
                    <a:pt x="564" y="59"/>
                  </a:lnTo>
                  <a:lnTo>
                    <a:pt x="564" y="61"/>
                  </a:lnTo>
                  <a:lnTo>
                    <a:pt x="562" y="64"/>
                  </a:lnTo>
                  <a:lnTo>
                    <a:pt x="564" y="68"/>
                  </a:lnTo>
                  <a:lnTo>
                    <a:pt x="564" y="71"/>
                  </a:lnTo>
                  <a:lnTo>
                    <a:pt x="564" y="71"/>
                  </a:lnTo>
                  <a:lnTo>
                    <a:pt x="564" y="73"/>
                  </a:lnTo>
                  <a:lnTo>
                    <a:pt x="567" y="73"/>
                  </a:lnTo>
                  <a:lnTo>
                    <a:pt x="569" y="73"/>
                  </a:lnTo>
                  <a:lnTo>
                    <a:pt x="567" y="78"/>
                  </a:lnTo>
                  <a:lnTo>
                    <a:pt x="569" y="78"/>
                  </a:lnTo>
                  <a:lnTo>
                    <a:pt x="569" y="80"/>
                  </a:lnTo>
                  <a:lnTo>
                    <a:pt x="567" y="83"/>
                  </a:lnTo>
                  <a:lnTo>
                    <a:pt x="567" y="83"/>
                  </a:lnTo>
                  <a:lnTo>
                    <a:pt x="567" y="85"/>
                  </a:lnTo>
                  <a:lnTo>
                    <a:pt x="574" y="90"/>
                  </a:lnTo>
                  <a:lnTo>
                    <a:pt x="574" y="90"/>
                  </a:lnTo>
                  <a:lnTo>
                    <a:pt x="574" y="87"/>
                  </a:lnTo>
                  <a:lnTo>
                    <a:pt x="571" y="85"/>
                  </a:lnTo>
                  <a:lnTo>
                    <a:pt x="571" y="83"/>
                  </a:lnTo>
                  <a:lnTo>
                    <a:pt x="574" y="83"/>
                  </a:lnTo>
                  <a:lnTo>
                    <a:pt x="574" y="80"/>
                  </a:lnTo>
                  <a:lnTo>
                    <a:pt x="576" y="80"/>
                  </a:lnTo>
                  <a:lnTo>
                    <a:pt x="578" y="80"/>
                  </a:lnTo>
                  <a:lnTo>
                    <a:pt x="581" y="83"/>
                  </a:lnTo>
                  <a:lnTo>
                    <a:pt x="583" y="83"/>
                  </a:lnTo>
                  <a:lnTo>
                    <a:pt x="585" y="83"/>
                  </a:lnTo>
                  <a:lnTo>
                    <a:pt x="588" y="85"/>
                  </a:lnTo>
                  <a:lnTo>
                    <a:pt x="588" y="87"/>
                  </a:lnTo>
                  <a:lnTo>
                    <a:pt x="588" y="90"/>
                  </a:lnTo>
                  <a:lnTo>
                    <a:pt x="585" y="90"/>
                  </a:lnTo>
                  <a:lnTo>
                    <a:pt x="583" y="90"/>
                  </a:lnTo>
                  <a:lnTo>
                    <a:pt x="588" y="92"/>
                  </a:lnTo>
                  <a:lnTo>
                    <a:pt x="588" y="94"/>
                  </a:lnTo>
                  <a:lnTo>
                    <a:pt x="588" y="97"/>
                  </a:lnTo>
                  <a:lnTo>
                    <a:pt x="588" y="97"/>
                  </a:lnTo>
                  <a:lnTo>
                    <a:pt x="590" y="99"/>
                  </a:lnTo>
                  <a:lnTo>
                    <a:pt x="590" y="99"/>
                  </a:lnTo>
                  <a:lnTo>
                    <a:pt x="590" y="101"/>
                  </a:lnTo>
                  <a:lnTo>
                    <a:pt x="590" y="101"/>
                  </a:lnTo>
                  <a:lnTo>
                    <a:pt x="593" y="111"/>
                  </a:lnTo>
                  <a:lnTo>
                    <a:pt x="597" y="111"/>
                  </a:lnTo>
                  <a:lnTo>
                    <a:pt x="600" y="109"/>
                  </a:lnTo>
                  <a:lnTo>
                    <a:pt x="604" y="109"/>
                  </a:lnTo>
                  <a:lnTo>
                    <a:pt x="607" y="109"/>
                  </a:lnTo>
                  <a:lnTo>
                    <a:pt x="607" y="113"/>
                  </a:lnTo>
                  <a:lnTo>
                    <a:pt x="609" y="113"/>
                  </a:lnTo>
                  <a:lnTo>
                    <a:pt x="611" y="116"/>
                  </a:lnTo>
                  <a:lnTo>
                    <a:pt x="611" y="118"/>
                  </a:lnTo>
                  <a:lnTo>
                    <a:pt x="611" y="120"/>
                  </a:lnTo>
                  <a:lnTo>
                    <a:pt x="614" y="118"/>
                  </a:lnTo>
                  <a:lnTo>
                    <a:pt x="618" y="120"/>
                  </a:lnTo>
                  <a:lnTo>
                    <a:pt x="618" y="120"/>
                  </a:lnTo>
                  <a:lnTo>
                    <a:pt x="623" y="120"/>
                  </a:lnTo>
                  <a:lnTo>
                    <a:pt x="623" y="118"/>
                  </a:lnTo>
                  <a:lnTo>
                    <a:pt x="626" y="118"/>
                  </a:lnTo>
                  <a:lnTo>
                    <a:pt x="628" y="116"/>
                  </a:lnTo>
                  <a:lnTo>
                    <a:pt x="628" y="113"/>
                  </a:lnTo>
                  <a:lnTo>
                    <a:pt x="628" y="113"/>
                  </a:lnTo>
                  <a:lnTo>
                    <a:pt x="628" y="113"/>
                  </a:lnTo>
                  <a:lnTo>
                    <a:pt x="628" y="111"/>
                  </a:lnTo>
                  <a:lnTo>
                    <a:pt x="628" y="109"/>
                  </a:lnTo>
                  <a:lnTo>
                    <a:pt x="630" y="106"/>
                  </a:lnTo>
                  <a:lnTo>
                    <a:pt x="630" y="104"/>
                  </a:lnTo>
                  <a:lnTo>
                    <a:pt x="630" y="101"/>
                  </a:lnTo>
                  <a:lnTo>
                    <a:pt x="633" y="101"/>
                  </a:lnTo>
                  <a:lnTo>
                    <a:pt x="635" y="104"/>
                  </a:lnTo>
                  <a:lnTo>
                    <a:pt x="637" y="104"/>
                  </a:lnTo>
                  <a:lnTo>
                    <a:pt x="637" y="104"/>
                  </a:lnTo>
                  <a:lnTo>
                    <a:pt x="640" y="101"/>
                  </a:lnTo>
                  <a:lnTo>
                    <a:pt x="640" y="101"/>
                  </a:lnTo>
                  <a:lnTo>
                    <a:pt x="642" y="99"/>
                  </a:lnTo>
                  <a:lnTo>
                    <a:pt x="642" y="99"/>
                  </a:lnTo>
                  <a:lnTo>
                    <a:pt x="642" y="99"/>
                  </a:lnTo>
                  <a:lnTo>
                    <a:pt x="642" y="97"/>
                  </a:lnTo>
                  <a:lnTo>
                    <a:pt x="642" y="97"/>
                  </a:lnTo>
                  <a:lnTo>
                    <a:pt x="644" y="97"/>
                  </a:lnTo>
                  <a:lnTo>
                    <a:pt x="647" y="94"/>
                  </a:lnTo>
                  <a:lnTo>
                    <a:pt x="647" y="97"/>
                  </a:lnTo>
                  <a:lnTo>
                    <a:pt x="647" y="99"/>
                  </a:lnTo>
                  <a:lnTo>
                    <a:pt x="652" y="97"/>
                  </a:lnTo>
                  <a:lnTo>
                    <a:pt x="654" y="99"/>
                  </a:lnTo>
                  <a:lnTo>
                    <a:pt x="654" y="99"/>
                  </a:lnTo>
                  <a:lnTo>
                    <a:pt x="656" y="99"/>
                  </a:lnTo>
                  <a:lnTo>
                    <a:pt x="656" y="101"/>
                  </a:lnTo>
                  <a:lnTo>
                    <a:pt x="656" y="104"/>
                  </a:lnTo>
                  <a:lnTo>
                    <a:pt x="656" y="104"/>
                  </a:lnTo>
                  <a:lnTo>
                    <a:pt x="661" y="109"/>
                  </a:lnTo>
                  <a:lnTo>
                    <a:pt x="661" y="109"/>
                  </a:lnTo>
                  <a:lnTo>
                    <a:pt x="663" y="109"/>
                  </a:lnTo>
                  <a:lnTo>
                    <a:pt x="663" y="111"/>
                  </a:lnTo>
                  <a:lnTo>
                    <a:pt x="663" y="111"/>
                  </a:lnTo>
                  <a:lnTo>
                    <a:pt x="668" y="113"/>
                  </a:lnTo>
                  <a:lnTo>
                    <a:pt x="668" y="113"/>
                  </a:lnTo>
                  <a:lnTo>
                    <a:pt x="670" y="113"/>
                  </a:lnTo>
                  <a:lnTo>
                    <a:pt x="670" y="113"/>
                  </a:lnTo>
                  <a:lnTo>
                    <a:pt x="670" y="113"/>
                  </a:lnTo>
                  <a:lnTo>
                    <a:pt x="670" y="116"/>
                  </a:lnTo>
                  <a:lnTo>
                    <a:pt x="673" y="118"/>
                  </a:lnTo>
                  <a:lnTo>
                    <a:pt x="675" y="120"/>
                  </a:lnTo>
                  <a:lnTo>
                    <a:pt x="675" y="123"/>
                  </a:lnTo>
                  <a:lnTo>
                    <a:pt x="678" y="125"/>
                  </a:lnTo>
                  <a:lnTo>
                    <a:pt x="675" y="127"/>
                  </a:lnTo>
                  <a:lnTo>
                    <a:pt x="673" y="130"/>
                  </a:lnTo>
                  <a:lnTo>
                    <a:pt x="670" y="137"/>
                  </a:lnTo>
                  <a:lnTo>
                    <a:pt x="670" y="139"/>
                  </a:lnTo>
                  <a:lnTo>
                    <a:pt x="670" y="142"/>
                  </a:lnTo>
                  <a:lnTo>
                    <a:pt x="668" y="144"/>
                  </a:lnTo>
                  <a:lnTo>
                    <a:pt x="668" y="144"/>
                  </a:lnTo>
                  <a:lnTo>
                    <a:pt x="666" y="144"/>
                  </a:lnTo>
                  <a:lnTo>
                    <a:pt x="666" y="146"/>
                  </a:lnTo>
                  <a:lnTo>
                    <a:pt x="666" y="149"/>
                  </a:lnTo>
                  <a:lnTo>
                    <a:pt x="666" y="151"/>
                  </a:lnTo>
                  <a:lnTo>
                    <a:pt x="666" y="153"/>
                  </a:lnTo>
                  <a:lnTo>
                    <a:pt x="668" y="156"/>
                  </a:lnTo>
                  <a:lnTo>
                    <a:pt x="668" y="156"/>
                  </a:lnTo>
                  <a:lnTo>
                    <a:pt x="670" y="158"/>
                  </a:lnTo>
                  <a:lnTo>
                    <a:pt x="670" y="161"/>
                  </a:lnTo>
                  <a:lnTo>
                    <a:pt x="670" y="161"/>
                  </a:lnTo>
                  <a:lnTo>
                    <a:pt x="670" y="163"/>
                  </a:lnTo>
                  <a:lnTo>
                    <a:pt x="670" y="165"/>
                  </a:lnTo>
                  <a:lnTo>
                    <a:pt x="670" y="168"/>
                  </a:lnTo>
                  <a:lnTo>
                    <a:pt x="670" y="170"/>
                  </a:lnTo>
                  <a:lnTo>
                    <a:pt x="668" y="168"/>
                  </a:lnTo>
                  <a:lnTo>
                    <a:pt x="666" y="168"/>
                  </a:lnTo>
                  <a:lnTo>
                    <a:pt x="663" y="168"/>
                  </a:lnTo>
                  <a:lnTo>
                    <a:pt x="661" y="168"/>
                  </a:lnTo>
                  <a:lnTo>
                    <a:pt x="661" y="170"/>
                  </a:lnTo>
                  <a:lnTo>
                    <a:pt x="656" y="170"/>
                  </a:lnTo>
                  <a:lnTo>
                    <a:pt x="656" y="170"/>
                  </a:lnTo>
                  <a:lnTo>
                    <a:pt x="656" y="172"/>
                  </a:lnTo>
                  <a:lnTo>
                    <a:pt x="656" y="172"/>
                  </a:lnTo>
                  <a:lnTo>
                    <a:pt x="659" y="172"/>
                  </a:lnTo>
                  <a:lnTo>
                    <a:pt x="659" y="172"/>
                  </a:lnTo>
                  <a:lnTo>
                    <a:pt x="659" y="175"/>
                  </a:lnTo>
                  <a:lnTo>
                    <a:pt x="659" y="177"/>
                  </a:lnTo>
                  <a:lnTo>
                    <a:pt x="659" y="179"/>
                  </a:lnTo>
                  <a:lnTo>
                    <a:pt x="656" y="179"/>
                  </a:lnTo>
                  <a:lnTo>
                    <a:pt x="656" y="182"/>
                  </a:lnTo>
                  <a:lnTo>
                    <a:pt x="656" y="184"/>
                  </a:lnTo>
                  <a:lnTo>
                    <a:pt x="659" y="182"/>
                  </a:lnTo>
                  <a:lnTo>
                    <a:pt x="659" y="184"/>
                  </a:lnTo>
                  <a:lnTo>
                    <a:pt x="661" y="184"/>
                  </a:lnTo>
                  <a:lnTo>
                    <a:pt x="663" y="184"/>
                  </a:lnTo>
                  <a:lnTo>
                    <a:pt x="666" y="187"/>
                  </a:lnTo>
                  <a:lnTo>
                    <a:pt x="666" y="187"/>
                  </a:lnTo>
                  <a:lnTo>
                    <a:pt x="666" y="189"/>
                  </a:lnTo>
                  <a:lnTo>
                    <a:pt x="666" y="191"/>
                  </a:lnTo>
                  <a:lnTo>
                    <a:pt x="666" y="191"/>
                  </a:lnTo>
                  <a:lnTo>
                    <a:pt x="666" y="194"/>
                  </a:lnTo>
                  <a:lnTo>
                    <a:pt x="666" y="194"/>
                  </a:lnTo>
                  <a:lnTo>
                    <a:pt x="663" y="196"/>
                  </a:lnTo>
                  <a:lnTo>
                    <a:pt x="663" y="196"/>
                  </a:lnTo>
                  <a:lnTo>
                    <a:pt x="663" y="198"/>
                  </a:lnTo>
                  <a:lnTo>
                    <a:pt x="663" y="198"/>
                  </a:lnTo>
                  <a:lnTo>
                    <a:pt x="666" y="198"/>
                  </a:lnTo>
                  <a:lnTo>
                    <a:pt x="670" y="201"/>
                  </a:lnTo>
                  <a:lnTo>
                    <a:pt x="666" y="203"/>
                  </a:lnTo>
                  <a:lnTo>
                    <a:pt x="666" y="203"/>
                  </a:lnTo>
                  <a:lnTo>
                    <a:pt x="670" y="205"/>
                  </a:lnTo>
                  <a:lnTo>
                    <a:pt x="670" y="205"/>
                  </a:lnTo>
                  <a:lnTo>
                    <a:pt x="670" y="208"/>
                  </a:lnTo>
                  <a:lnTo>
                    <a:pt x="673" y="208"/>
                  </a:lnTo>
                  <a:lnTo>
                    <a:pt x="673" y="210"/>
                  </a:lnTo>
                  <a:lnTo>
                    <a:pt x="673" y="210"/>
                  </a:lnTo>
                  <a:lnTo>
                    <a:pt x="673" y="210"/>
                  </a:lnTo>
                  <a:lnTo>
                    <a:pt x="673" y="210"/>
                  </a:lnTo>
                  <a:lnTo>
                    <a:pt x="673" y="212"/>
                  </a:lnTo>
                  <a:lnTo>
                    <a:pt x="673" y="217"/>
                  </a:lnTo>
                  <a:lnTo>
                    <a:pt x="673" y="217"/>
                  </a:lnTo>
                  <a:lnTo>
                    <a:pt x="675" y="217"/>
                  </a:lnTo>
                  <a:lnTo>
                    <a:pt x="675" y="217"/>
                  </a:lnTo>
                  <a:lnTo>
                    <a:pt x="675" y="217"/>
                  </a:lnTo>
                  <a:lnTo>
                    <a:pt x="675" y="217"/>
                  </a:lnTo>
                  <a:lnTo>
                    <a:pt x="675" y="220"/>
                  </a:lnTo>
                  <a:lnTo>
                    <a:pt x="673" y="222"/>
                  </a:lnTo>
                  <a:lnTo>
                    <a:pt x="673" y="222"/>
                  </a:lnTo>
                  <a:lnTo>
                    <a:pt x="673" y="224"/>
                  </a:lnTo>
                  <a:lnTo>
                    <a:pt x="673" y="227"/>
                  </a:lnTo>
                  <a:lnTo>
                    <a:pt x="670" y="227"/>
                  </a:lnTo>
                  <a:lnTo>
                    <a:pt x="670" y="229"/>
                  </a:lnTo>
                  <a:lnTo>
                    <a:pt x="668" y="229"/>
                  </a:lnTo>
                  <a:lnTo>
                    <a:pt x="666" y="229"/>
                  </a:lnTo>
                  <a:lnTo>
                    <a:pt x="663" y="229"/>
                  </a:lnTo>
                  <a:lnTo>
                    <a:pt x="663" y="231"/>
                  </a:lnTo>
                  <a:lnTo>
                    <a:pt x="666" y="231"/>
                  </a:lnTo>
                  <a:lnTo>
                    <a:pt x="670" y="234"/>
                  </a:lnTo>
                  <a:lnTo>
                    <a:pt x="670" y="236"/>
                  </a:lnTo>
                  <a:lnTo>
                    <a:pt x="666" y="238"/>
                  </a:lnTo>
                  <a:lnTo>
                    <a:pt x="668" y="238"/>
                  </a:lnTo>
                  <a:lnTo>
                    <a:pt x="670" y="241"/>
                  </a:lnTo>
                  <a:lnTo>
                    <a:pt x="670" y="241"/>
                  </a:lnTo>
                  <a:lnTo>
                    <a:pt x="670" y="243"/>
                  </a:lnTo>
                  <a:lnTo>
                    <a:pt x="670" y="243"/>
                  </a:lnTo>
                  <a:lnTo>
                    <a:pt x="670" y="246"/>
                  </a:lnTo>
                  <a:lnTo>
                    <a:pt x="673" y="248"/>
                  </a:lnTo>
                  <a:lnTo>
                    <a:pt x="673" y="250"/>
                  </a:lnTo>
                  <a:lnTo>
                    <a:pt x="673" y="253"/>
                  </a:lnTo>
                  <a:lnTo>
                    <a:pt x="670" y="255"/>
                  </a:lnTo>
                  <a:lnTo>
                    <a:pt x="670" y="257"/>
                  </a:lnTo>
                  <a:lnTo>
                    <a:pt x="670" y="257"/>
                  </a:lnTo>
                  <a:lnTo>
                    <a:pt x="670" y="260"/>
                  </a:lnTo>
                  <a:lnTo>
                    <a:pt x="670" y="260"/>
                  </a:lnTo>
                  <a:lnTo>
                    <a:pt x="670" y="260"/>
                  </a:lnTo>
                  <a:lnTo>
                    <a:pt x="668" y="262"/>
                  </a:lnTo>
                  <a:lnTo>
                    <a:pt x="670" y="262"/>
                  </a:lnTo>
                  <a:lnTo>
                    <a:pt x="670" y="264"/>
                  </a:lnTo>
                  <a:lnTo>
                    <a:pt x="668" y="267"/>
                  </a:lnTo>
                  <a:lnTo>
                    <a:pt x="668" y="267"/>
                  </a:lnTo>
                  <a:lnTo>
                    <a:pt x="666" y="272"/>
                  </a:lnTo>
                  <a:lnTo>
                    <a:pt x="663" y="274"/>
                  </a:lnTo>
                  <a:lnTo>
                    <a:pt x="663" y="274"/>
                  </a:lnTo>
                  <a:lnTo>
                    <a:pt x="663" y="274"/>
                  </a:lnTo>
                  <a:lnTo>
                    <a:pt x="663" y="279"/>
                  </a:lnTo>
                  <a:lnTo>
                    <a:pt x="663" y="279"/>
                  </a:lnTo>
                  <a:lnTo>
                    <a:pt x="663" y="279"/>
                  </a:lnTo>
                  <a:lnTo>
                    <a:pt x="661" y="281"/>
                  </a:lnTo>
                  <a:lnTo>
                    <a:pt x="661" y="283"/>
                  </a:lnTo>
                  <a:lnTo>
                    <a:pt x="661" y="288"/>
                  </a:lnTo>
                  <a:lnTo>
                    <a:pt x="661" y="288"/>
                  </a:lnTo>
                  <a:lnTo>
                    <a:pt x="663" y="288"/>
                  </a:lnTo>
                  <a:lnTo>
                    <a:pt x="663" y="288"/>
                  </a:lnTo>
                  <a:lnTo>
                    <a:pt x="666" y="290"/>
                  </a:lnTo>
                  <a:lnTo>
                    <a:pt x="666" y="290"/>
                  </a:lnTo>
                  <a:lnTo>
                    <a:pt x="666" y="293"/>
                  </a:lnTo>
                  <a:lnTo>
                    <a:pt x="666" y="293"/>
                  </a:lnTo>
                  <a:lnTo>
                    <a:pt x="663" y="293"/>
                  </a:lnTo>
                  <a:lnTo>
                    <a:pt x="663" y="295"/>
                  </a:lnTo>
                  <a:lnTo>
                    <a:pt x="663" y="298"/>
                  </a:lnTo>
                  <a:lnTo>
                    <a:pt x="663" y="300"/>
                  </a:lnTo>
                  <a:lnTo>
                    <a:pt x="663" y="300"/>
                  </a:lnTo>
                  <a:lnTo>
                    <a:pt x="666" y="302"/>
                  </a:lnTo>
                  <a:lnTo>
                    <a:pt x="668" y="307"/>
                  </a:lnTo>
                  <a:lnTo>
                    <a:pt x="666" y="307"/>
                  </a:lnTo>
                  <a:lnTo>
                    <a:pt x="666" y="309"/>
                  </a:lnTo>
                  <a:lnTo>
                    <a:pt x="668" y="309"/>
                  </a:lnTo>
                  <a:lnTo>
                    <a:pt x="668" y="309"/>
                  </a:lnTo>
                  <a:lnTo>
                    <a:pt x="670" y="309"/>
                  </a:lnTo>
                  <a:lnTo>
                    <a:pt x="670" y="309"/>
                  </a:lnTo>
                  <a:lnTo>
                    <a:pt x="673" y="312"/>
                  </a:lnTo>
                  <a:lnTo>
                    <a:pt x="673" y="312"/>
                  </a:lnTo>
                  <a:lnTo>
                    <a:pt x="673" y="316"/>
                  </a:lnTo>
                  <a:lnTo>
                    <a:pt x="673" y="319"/>
                  </a:lnTo>
                  <a:lnTo>
                    <a:pt x="675" y="319"/>
                  </a:lnTo>
                  <a:lnTo>
                    <a:pt x="675" y="319"/>
                  </a:lnTo>
                  <a:lnTo>
                    <a:pt x="678" y="319"/>
                  </a:lnTo>
                  <a:lnTo>
                    <a:pt x="675" y="321"/>
                  </a:lnTo>
                  <a:lnTo>
                    <a:pt x="675" y="321"/>
                  </a:lnTo>
                  <a:lnTo>
                    <a:pt x="678" y="321"/>
                  </a:lnTo>
                  <a:lnTo>
                    <a:pt x="678" y="321"/>
                  </a:lnTo>
                  <a:lnTo>
                    <a:pt x="678" y="326"/>
                  </a:lnTo>
                  <a:lnTo>
                    <a:pt x="675" y="326"/>
                  </a:lnTo>
                  <a:lnTo>
                    <a:pt x="678" y="328"/>
                  </a:lnTo>
                  <a:lnTo>
                    <a:pt x="675" y="331"/>
                  </a:lnTo>
                  <a:lnTo>
                    <a:pt x="675" y="335"/>
                  </a:lnTo>
                  <a:lnTo>
                    <a:pt x="678" y="338"/>
                  </a:lnTo>
                  <a:lnTo>
                    <a:pt x="678" y="340"/>
                  </a:lnTo>
                  <a:lnTo>
                    <a:pt x="675" y="340"/>
                  </a:lnTo>
                  <a:lnTo>
                    <a:pt x="675" y="345"/>
                  </a:lnTo>
                  <a:lnTo>
                    <a:pt x="675" y="345"/>
                  </a:lnTo>
                  <a:lnTo>
                    <a:pt x="675" y="347"/>
                  </a:lnTo>
                  <a:lnTo>
                    <a:pt x="675" y="349"/>
                  </a:lnTo>
                  <a:lnTo>
                    <a:pt x="675" y="349"/>
                  </a:lnTo>
                  <a:lnTo>
                    <a:pt x="675" y="349"/>
                  </a:lnTo>
                  <a:lnTo>
                    <a:pt x="675" y="352"/>
                  </a:lnTo>
                  <a:lnTo>
                    <a:pt x="675" y="354"/>
                  </a:lnTo>
                  <a:lnTo>
                    <a:pt x="675" y="354"/>
                  </a:lnTo>
                  <a:lnTo>
                    <a:pt x="675" y="354"/>
                  </a:lnTo>
                  <a:lnTo>
                    <a:pt x="673" y="357"/>
                  </a:lnTo>
                  <a:lnTo>
                    <a:pt x="673" y="359"/>
                  </a:lnTo>
                  <a:lnTo>
                    <a:pt x="675" y="361"/>
                  </a:lnTo>
                  <a:lnTo>
                    <a:pt x="675" y="361"/>
                  </a:lnTo>
                  <a:lnTo>
                    <a:pt x="675" y="361"/>
                  </a:lnTo>
                  <a:lnTo>
                    <a:pt x="675" y="361"/>
                  </a:lnTo>
                  <a:lnTo>
                    <a:pt x="675" y="364"/>
                  </a:lnTo>
                  <a:lnTo>
                    <a:pt x="675" y="364"/>
                  </a:lnTo>
                  <a:lnTo>
                    <a:pt x="675" y="366"/>
                  </a:lnTo>
                  <a:lnTo>
                    <a:pt x="675" y="366"/>
                  </a:lnTo>
                  <a:lnTo>
                    <a:pt x="675" y="371"/>
                  </a:lnTo>
                  <a:lnTo>
                    <a:pt x="675" y="371"/>
                  </a:lnTo>
                  <a:lnTo>
                    <a:pt x="675" y="371"/>
                  </a:lnTo>
                  <a:lnTo>
                    <a:pt x="675" y="371"/>
                  </a:lnTo>
                  <a:lnTo>
                    <a:pt x="673" y="371"/>
                  </a:lnTo>
                  <a:lnTo>
                    <a:pt x="673" y="368"/>
                  </a:lnTo>
                  <a:lnTo>
                    <a:pt x="673" y="371"/>
                  </a:lnTo>
                  <a:lnTo>
                    <a:pt x="673" y="371"/>
                  </a:lnTo>
                  <a:lnTo>
                    <a:pt x="673" y="373"/>
                  </a:lnTo>
                  <a:lnTo>
                    <a:pt x="673" y="373"/>
                  </a:lnTo>
                  <a:lnTo>
                    <a:pt x="673" y="375"/>
                  </a:lnTo>
                  <a:lnTo>
                    <a:pt x="670" y="378"/>
                  </a:lnTo>
                  <a:lnTo>
                    <a:pt x="670" y="380"/>
                  </a:lnTo>
                  <a:lnTo>
                    <a:pt x="670" y="383"/>
                  </a:lnTo>
                  <a:lnTo>
                    <a:pt x="670" y="383"/>
                  </a:lnTo>
                  <a:lnTo>
                    <a:pt x="670" y="383"/>
                  </a:lnTo>
                  <a:lnTo>
                    <a:pt x="670" y="385"/>
                  </a:lnTo>
                  <a:lnTo>
                    <a:pt x="670" y="385"/>
                  </a:lnTo>
                  <a:lnTo>
                    <a:pt x="670" y="387"/>
                  </a:lnTo>
                  <a:lnTo>
                    <a:pt x="670" y="390"/>
                  </a:lnTo>
                  <a:lnTo>
                    <a:pt x="670" y="392"/>
                  </a:lnTo>
                  <a:lnTo>
                    <a:pt x="670" y="392"/>
                  </a:lnTo>
                  <a:lnTo>
                    <a:pt x="670" y="394"/>
                  </a:lnTo>
                  <a:lnTo>
                    <a:pt x="668" y="394"/>
                  </a:lnTo>
                  <a:lnTo>
                    <a:pt x="666" y="394"/>
                  </a:lnTo>
                  <a:lnTo>
                    <a:pt x="666" y="394"/>
                  </a:lnTo>
                  <a:lnTo>
                    <a:pt x="682" y="397"/>
                  </a:lnTo>
                  <a:lnTo>
                    <a:pt x="737" y="397"/>
                  </a:lnTo>
                  <a:lnTo>
                    <a:pt x="805" y="397"/>
                  </a:lnTo>
                  <a:lnTo>
                    <a:pt x="807" y="397"/>
                  </a:lnTo>
                  <a:lnTo>
                    <a:pt x="807" y="399"/>
                  </a:lnTo>
                  <a:lnTo>
                    <a:pt x="807" y="399"/>
                  </a:lnTo>
                  <a:lnTo>
                    <a:pt x="807" y="399"/>
                  </a:lnTo>
                  <a:lnTo>
                    <a:pt x="807" y="404"/>
                  </a:lnTo>
                  <a:lnTo>
                    <a:pt x="807" y="404"/>
                  </a:lnTo>
                  <a:lnTo>
                    <a:pt x="810" y="401"/>
                  </a:lnTo>
                  <a:lnTo>
                    <a:pt x="810" y="404"/>
                  </a:lnTo>
                  <a:lnTo>
                    <a:pt x="812" y="404"/>
                  </a:lnTo>
                  <a:lnTo>
                    <a:pt x="810" y="406"/>
                  </a:lnTo>
                  <a:lnTo>
                    <a:pt x="812" y="406"/>
                  </a:lnTo>
                  <a:lnTo>
                    <a:pt x="812" y="406"/>
                  </a:lnTo>
                  <a:lnTo>
                    <a:pt x="812" y="409"/>
                  </a:lnTo>
                  <a:lnTo>
                    <a:pt x="812" y="409"/>
                  </a:lnTo>
                  <a:lnTo>
                    <a:pt x="812" y="409"/>
                  </a:lnTo>
                  <a:lnTo>
                    <a:pt x="815" y="411"/>
                  </a:lnTo>
                  <a:lnTo>
                    <a:pt x="815" y="411"/>
                  </a:lnTo>
                  <a:lnTo>
                    <a:pt x="817" y="411"/>
                  </a:lnTo>
                  <a:lnTo>
                    <a:pt x="817" y="411"/>
                  </a:lnTo>
                  <a:lnTo>
                    <a:pt x="819" y="411"/>
                  </a:lnTo>
                  <a:lnTo>
                    <a:pt x="819" y="411"/>
                  </a:lnTo>
                  <a:lnTo>
                    <a:pt x="819" y="411"/>
                  </a:lnTo>
                  <a:lnTo>
                    <a:pt x="819" y="409"/>
                  </a:lnTo>
                  <a:lnTo>
                    <a:pt x="819" y="409"/>
                  </a:lnTo>
                  <a:lnTo>
                    <a:pt x="822" y="409"/>
                  </a:lnTo>
                  <a:lnTo>
                    <a:pt x="824" y="406"/>
                  </a:lnTo>
                  <a:lnTo>
                    <a:pt x="824" y="406"/>
                  </a:lnTo>
                  <a:lnTo>
                    <a:pt x="826" y="404"/>
                  </a:lnTo>
                  <a:lnTo>
                    <a:pt x="826" y="406"/>
                  </a:lnTo>
                  <a:lnTo>
                    <a:pt x="826" y="406"/>
                  </a:lnTo>
                  <a:lnTo>
                    <a:pt x="829" y="406"/>
                  </a:lnTo>
                  <a:lnTo>
                    <a:pt x="829" y="406"/>
                  </a:lnTo>
                  <a:lnTo>
                    <a:pt x="829" y="409"/>
                  </a:lnTo>
                  <a:lnTo>
                    <a:pt x="829" y="409"/>
                  </a:lnTo>
                  <a:lnTo>
                    <a:pt x="829" y="411"/>
                  </a:lnTo>
                  <a:lnTo>
                    <a:pt x="829" y="411"/>
                  </a:lnTo>
                  <a:lnTo>
                    <a:pt x="831" y="411"/>
                  </a:lnTo>
                  <a:lnTo>
                    <a:pt x="833" y="411"/>
                  </a:lnTo>
                  <a:lnTo>
                    <a:pt x="836" y="411"/>
                  </a:lnTo>
                  <a:lnTo>
                    <a:pt x="836" y="411"/>
                  </a:lnTo>
                  <a:lnTo>
                    <a:pt x="838" y="411"/>
                  </a:lnTo>
                  <a:lnTo>
                    <a:pt x="838" y="413"/>
                  </a:lnTo>
                  <a:lnTo>
                    <a:pt x="841" y="411"/>
                  </a:lnTo>
                  <a:lnTo>
                    <a:pt x="841" y="411"/>
                  </a:lnTo>
                  <a:lnTo>
                    <a:pt x="843" y="411"/>
                  </a:lnTo>
                  <a:lnTo>
                    <a:pt x="845" y="411"/>
                  </a:lnTo>
                  <a:lnTo>
                    <a:pt x="845" y="411"/>
                  </a:lnTo>
                  <a:lnTo>
                    <a:pt x="848" y="411"/>
                  </a:lnTo>
                  <a:lnTo>
                    <a:pt x="848" y="411"/>
                  </a:lnTo>
                  <a:lnTo>
                    <a:pt x="850" y="411"/>
                  </a:lnTo>
                  <a:lnTo>
                    <a:pt x="850" y="411"/>
                  </a:lnTo>
                  <a:lnTo>
                    <a:pt x="850" y="411"/>
                  </a:lnTo>
                  <a:lnTo>
                    <a:pt x="852" y="411"/>
                  </a:lnTo>
                  <a:lnTo>
                    <a:pt x="852" y="411"/>
                  </a:lnTo>
                  <a:lnTo>
                    <a:pt x="852" y="411"/>
                  </a:lnTo>
                  <a:lnTo>
                    <a:pt x="855" y="411"/>
                  </a:lnTo>
                  <a:lnTo>
                    <a:pt x="855" y="413"/>
                  </a:lnTo>
                  <a:lnTo>
                    <a:pt x="857" y="413"/>
                  </a:lnTo>
                  <a:lnTo>
                    <a:pt x="859" y="413"/>
                  </a:lnTo>
                  <a:lnTo>
                    <a:pt x="859" y="413"/>
                  </a:lnTo>
                  <a:lnTo>
                    <a:pt x="859" y="413"/>
                  </a:lnTo>
                  <a:lnTo>
                    <a:pt x="862" y="413"/>
                  </a:lnTo>
                  <a:lnTo>
                    <a:pt x="862" y="413"/>
                  </a:lnTo>
                  <a:lnTo>
                    <a:pt x="864" y="413"/>
                  </a:lnTo>
                  <a:lnTo>
                    <a:pt x="864" y="413"/>
                  </a:lnTo>
                  <a:lnTo>
                    <a:pt x="864" y="413"/>
                  </a:lnTo>
                  <a:lnTo>
                    <a:pt x="867" y="413"/>
                  </a:lnTo>
                  <a:lnTo>
                    <a:pt x="867" y="416"/>
                  </a:lnTo>
                  <a:lnTo>
                    <a:pt x="864" y="416"/>
                  </a:lnTo>
                  <a:lnTo>
                    <a:pt x="867" y="418"/>
                  </a:lnTo>
                  <a:lnTo>
                    <a:pt x="864" y="418"/>
                  </a:lnTo>
                  <a:lnTo>
                    <a:pt x="864" y="418"/>
                  </a:lnTo>
                  <a:lnTo>
                    <a:pt x="864" y="418"/>
                  </a:lnTo>
                  <a:lnTo>
                    <a:pt x="864" y="420"/>
                  </a:lnTo>
                  <a:lnTo>
                    <a:pt x="867" y="420"/>
                  </a:lnTo>
                  <a:lnTo>
                    <a:pt x="867" y="420"/>
                  </a:lnTo>
                  <a:lnTo>
                    <a:pt x="867" y="423"/>
                  </a:lnTo>
                  <a:lnTo>
                    <a:pt x="869" y="423"/>
                  </a:lnTo>
                  <a:lnTo>
                    <a:pt x="867" y="423"/>
                  </a:lnTo>
                  <a:lnTo>
                    <a:pt x="867" y="423"/>
                  </a:lnTo>
                  <a:lnTo>
                    <a:pt x="867" y="423"/>
                  </a:lnTo>
                  <a:lnTo>
                    <a:pt x="867" y="425"/>
                  </a:lnTo>
                  <a:lnTo>
                    <a:pt x="867" y="427"/>
                  </a:lnTo>
                  <a:lnTo>
                    <a:pt x="867" y="430"/>
                  </a:lnTo>
                  <a:lnTo>
                    <a:pt x="867" y="432"/>
                  </a:lnTo>
                  <a:lnTo>
                    <a:pt x="869" y="435"/>
                  </a:lnTo>
                  <a:lnTo>
                    <a:pt x="869" y="437"/>
                  </a:lnTo>
                  <a:lnTo>
                    <a:pt x="871" y="437"/>
                  </a:lnTo>
                  <a:lnTo>
                    <a:pt x="874" y="439"/>
                  </a:lnTo>
                  <a:lnTo>
                    <a:pt x="874" y="442"/>
                  </a:lnTo>
                  <a:lnTo>
                    <a:pt x="874" y="444"/>
                  </a:lnTo>
                  <a:lnTo>
                    <a:pt x="874" y="444"/>
                  </a:lnTo>
                  <a:lnTo>
                    <a:pt x="874" y="444"/>
                  </a:lnTo>
                  <a:lnTo>
                    <a:pt x="874" y="444"/>
                  </a:lnTo>
                  <a:lnTo>
                    <a:pt x="874" y="446"/>
                  </a:lnTo>
                  <a:lnTo>
                    <a:pt x="874" y="449"/>
                  </a:lnTo>
                  <a:lnTo>
                    <a:pt x="874" y="449"/>
                  </a:lnTo>
                  <a:lnTo>
                    <a:pt x="874" y="451"/>
                  </a:lnTo>
                  <a:lnTo>
                    <a:pt x="874" y="453"/>
                  </a:lnTo>
                  <a:lnTo>
                    <a:pt x="871" y="453"/>
                  </a:lnTo>
                  <a:lnTo>
                    <a:pt x="871" y="453"/>
                  </a:lnTo>
                  <a:lnTo>
                    <a:pt x="871" y="453"/>
                  </a:lnTo>
                  <a:lnTo>
                    <a:pt x="869" y="456"/>
                  </a:lnTo>
                  <a:lnTo>
                    <a:pt x="867" y="456"/>
                  </a:lnTo>
                  <a:lnTo>
                    <a:pt x="864" y="458"/>
                  </a:lnTo>
                  <a:lnTo>
                    <a:pt x="864" y="461"/>
                  </a:lnTo>
                  <a:lnTo>
                    <a:pt x="862" y="461"/>
                  </a:lnTo>
                  <a:lnTo>
                    <a:pt x="862" y="463"/>
                  </a:lnTo>
                  <a:lnTo>
                    <a:pt x="859" y="463"/>
                  </a:lnTo>
                  <a:lnTo>
                    <a:pt x="859" y="463"/>
                  </a:lnTo>
                  <a:lnTo>
                    <a:pt x="859" y="463"/>
                  </a:lnTo>
                  <a:lnTo>
                    <a:pt x="859" y="463"/>
                  </a:lnTo>
                  <a:lnTo>
                    <a:pt x="857" y="465"/>
                  </a:lnTo>
                  <a:lnTo>
                    <a:pt x="857" y="468"/>
                  </a:lnTo>
                  <a:lnTo>
                    <a:pt x="857" y="468"/>
                  </a:lnTo>
                  <a:lnTo>
                    <a:pt x="855" y="470"/>
                  </a:lnTo>
                  <a:lnTo>
                    <a:pt x="855" y="470"/>
                  </a:lnTo>
                  <a:lnTo>
                    <a:pt x="852" y="470"/>
                  </a:lnTo>
                  <a:lnTo>
                    <a:pt x="852" y="472"/>
                  </a:lnTo>
                  <a:lnTo>
                    <a:pt x="852" y="470"/>
                  </a:lnTo>
                  <a:lnTo>
                    <a:pt x="850" y="472"/>
                  </a:lnTo>
                  <a:lnTo>
                    <a:pt x="852" y="472"/>
                  </a:lnTo>
                  <a:lnTo>
                    <a:pt x="850" y="472"/>
                  </a:lnTo>
                  <a:lnTo>
                    <a:pt x="852" y="472"/>
                  </a:lnTo>
                  <a:lnTo>
                    <a:pt x="850" y="472"/>
                  </a:lnTo>
                  <a:lnTo>
                    <a:pt x="850" y="475"/>
                  </a:lnTo>
                  <a:lnTo>
                    <a:pt x="850" y="475"/>
                  </a:lnTo>
                  <a:lnTo>
                    <a:pt x="850" y="475"/>
                  </a:lnTo>
                  <a:lnTo>
                    <a:pt x="848" y="475"/>
                  </a:lnTo>
                  <a:lnTo>
                    <a:pt x="850" y="475"/>
                  </a:lnTo>
                  <a:lnTo>
                    <a:pt x="848" y="477"/>
                  </a:lnTo>
                  <a:lnTo>
                    <a:pt x="850" y="477"/>
                  </a:lnTo>
                  <a:lnTo>
                    <a:pt x="848" y="479"/>
                  </a:lnTo>
                  <a:lnTo>
                    <a:pt x="850" y="479"/>
                  </a:lnTo>
                  <a:lnTo>
                    <a:pt x="848" y="482"/>
                  </a:lnTo>
                  <a:lnTo>
                    <a:pt x="850" y="482"/>
                  </a:lnTo>
                  <a:lnTo>
                    <a:pt x="848" y="482"/>
                  </a:lnTo>
                  <a:lnTo>
                    <a:pt x="848" y="484"/>
                  </a:lnTo>
                  <a:lnTo>
                    <a:pt x="848" y="484"/>
                  </a:lnTo>
                  <a:lnTo>
                    <a:pt x="848" y="487"/>
                  </a:lnTo>
                  <a:lnTo>
                    <a:pt x="848" y="487"/>
                  </a:lnTo>
                  <a:lnTo>
                    <a:pt x="848" y="487"/>
                  </a:lnTo>
                  <a:lnTo>
                    <a:pt x="848" y="489"/>
                  </a:lnTo>
                  <a:lnTo>
                    <a:pt x="848" y="491"/>
                  </a:lnTo>
                  <a:lnTo>
                    <a:pt x="848" y="491"/>
                  </a:lnTo>
                  <a:lnTo>
                    <a:pt x="850" y="491"/>
                  </a:lnTo>
                  <a:lnTo>
                    <a:pt x="848" y="494"/>
                  </a:lnTo>
                  <a:lnTo>
                    <a:pt x="850" y="496"/>
                  </a:lnTo>
                  <a:lnTo>
                    <a:pt x="850" y="496"/>
                  </a:lnTo>
                  <a:lnTo>
                    <a:pt x="850" y="496"/>
                  </a:lnTo>
                  <a:lnTo>
                    <a:pt x="850" y="498"/>
                  </a:lnTo>
                  <a:lnTo>
                    <a:pt x="850" y="498"/>
                  </a:lnTo>
                  <a:lnTo>
                    <a:pt x="850" y="498"/>
                  </a:lnTo>
                  <a:lnTo>
                    <a:pt x="850" y="501"/>
                  </a:lnTo>
                  <a:lnTo>
                    <a:pt x="850" y="501"/>
                  </a:lnTo>
                  <a:lnTo>
                    <a:pt x="850" y="501"/>
                  </a:lnTo>
                  <a:lnTo>
                    <a:pt x="850" y="501"/>
                  </a:lnTo>
                  <a:lnTo>
                    <a:pt x="850" y="501"/>
                  </a:lnTo>
                  <a:lnTo>
                    <a:pt x="850" y="503"/>
                  </a:lnTo>
                  <a:lnTo>
                    <a:pt x="850" y="503"/>
                  </a:lnTo>
                  <a:lnTo>
                    <a:pt x="850" y="503"/>
                  </a:lnTo>
                  <a:lnTo>
                    <a:pt x="850" y="503"/>
                  </a:lnTo>
                  <a:lnTo>
                    <a:pt x="850" y="505"/>
                  </a:lnTo>
                  <a:lnTo>
                    <a:pt x="850" y="505"/>
                  </a:lnTo>
                  <a:lnTo>
                    <a:pt x="850" y="505"/>
                  </a:lnTo>
                  <a:lnTo>
                    <a:pt x="850" y="508"/>
                  </a:lnTo>
                  <a:lnTo>
                    <a:pt x="850" y="505"/>
                  </a:lnTo>
                  <a:lnTo>
                    <a:pt x="850" y="508"/>
                  </a:lnTo>
                  <a:lnTo>
                    <a:pt x="850" y="508"/>
                  </a:lnTo>
                  <a:lnTo>
                    <a:pt x="850" y="510"/>
                  </a:lnTo>
                  <a:lnTo>
                    <a:pt x="850" y="510"/>
                  </a:lnTo>
                  <a:lnTo>
                    <a:pt x="852" y="510"/>
                  </a:lnTo>
                  <a:lnTo>
                    <a:pt x="852" y="510"/>
                  </a:lnTo>
                  <a:lnTo>
                    <a:pt x="852" y="510"/>
                  </a:lnTo>
                  <a:lnTo>
                    <a:pt x="852" y="510"/>
                  </a:lnTo>
                  <a:lnTo>
                    <a:pt x="855" y="512"/>
                  </a:lnTo>
                  <a:lnTo>
                    <a:pt x="855" y="512"/>
                  </a:lnTo>
                  <a:lnTo>
                    <a:pt x="855" y="512"/>
                  </a:lnTo>
                  <a:lnTo>
                    <a:pt x="855" y="515"/>
                  </a:lnTo>
                  <a:lnTo>
                    <a:pt x="857" y="515"/>
                  </a:lnTo>
                  <a:lnTo>
                    <a:pt x="857" y="515"/>
                  </a:lnTo>
                  <a:lnTo>
                    <a:pt x="859" y="515"/>
                  </a:lnTo>
                  <a:lnTo>
                    <a:pt x="859" y="515"/>
                  </a:lnTo>
                  <a:lnTo>
                    <a:pt x="859" y="515"/>
                  </a:lnTo>
                  <a:lnTo>
                    <a:pt x="862" y="515"/>
                  </a:lnTo>
                  <a:lnTo>
                    <a:pt x="864" y="517"/>
                  </a:lnTo>
                  <a:lnTo>
                    <a:pt x="864" y="517"/>
                  </a:lnTo>
                  <a:lnTo>
                    <a:pt x="867" y="517"/>
                  </a:lnTo>
                  <a:lnTo>
                    <a:pt x="864" y="520"/>
                  </a:lnTo>
                  <a:lnTo>
                    <a:pt x="867" y="522"/>
                  </a:lnTo>
                  <a:lnTo>
                    <a:pt x="867" y="522"/>
                  </a:lnTo>
                  <a:lnTo>
                    <a:pt x="867" y="522"/>
                  </a:lnTo>
                  <a:lnTo>
                    <a:pt x="864" y="522"/>
                  </a:lnTo>
                  <a:lnTo>
                    <a:pt x="867" y="524"/>
                  </a:lnTo>
                  <a:lnTo>
                    <a:pt x="867" y="527"/>
                  </a:lnTo>
                  <a:lnTo>
                    <a:pt x="867" y="527"/>
                  </a:lnTo>
                  <a:lnTo>
                    <a:pt x="867" y="527"/>
                  </a:lnTo>
                  <a:lnTo>
                    <a:pt x="867" y="527"/>
                  </a:lnTo>
                  <a:lnTo>
                    <a:pt x="867" y="527"/>
                  </a:lnTo>
                  <a:lnTo>
                    <a:pt x="867" y="529"/>
                  </a:lnTo>
                  <a:lnTo>
                    <a:pt x="867" y="529"/>
                  </a:lnTo>
                  <a:lnTo>
                    <a:pt x="867" y="531"/>
                  </a:lnTo>
                  <a:lnTo>
                    <a:pt x="867" y="531"/>
                  </a:lnTo>
                  <a:lnTo>
                    <a:pt x="867" y="531"/>
                  </a:lnTo>
                  <a:lnTo>
                    <a:pt x="867" y="534"/>
                  </a:lnTo>
                  <a:lnTo>
                    <a:pt x="869" y="536"/>
                  </a:lnTo>
                  <a:lnTo>
                    <a:pt x="869" y="536"/>
                  </a:lnTo>
                  <a:lnTo>
                    <a:pt x="869" y="536"/>
                  </a:lnTo>
                  <a:lnTo>
                    <a:pt x="869" y="536"/>
                  </a:lnTo>
                  <a:lnTo>
                    <a:pt x="871" y="536"/>
                  </a:lnTo>
                  <a:lnTo>
                    <a:pt x="874" y="538"/>
                  </a:lnTo>
                  <a:lnTo>
                    <a:pt x="874" y="541"/>
                  </a:lnTo>
                  <a:lnTo>
                    <a:pt x="874" y="541"/>
                  </a:lnTo>
                  <a:lnTo>
                    <a:pt x="876" y="543"/>
                  </a:lnTo>
                  <a:lnTo>
                    <a:pt x="876" y="548"/>
                  </a:lnTo>
                  <a:lnTo>
                    <a:pt x="876" y="550"/>
                  </a:lnTo>
                  <a:lnTo>
                    <a:pt x="876" y="550"/>
                  </a:lnTo>
                  <a:lnTo>
                    <a:pt x="876" y="553"/>
                  </a:lnTo>
                  <a:lnTo>
                    <a:pt x="876" y="555"/>
                  </a:lnTo>
                  <a:lnTo>
                    <a:pt x="876" y="557"/>
                  </a:lnTo>
                  <a:lnTo>
                    <a:pt x="876" y="557"/>
                  </a:lnTo>
                  <a:lnTo>
                    <a:pt x="876" y="560"/>
                  </a:lnTo>
                  <a:lnTo>
                    <a:pt x="876" y="560"/>
                  </a:lnTo>
                  <a:lnTo>
                    <a:pt x="876" y="560"/>
                  </a:lnTo>
                  <a:lnTo>
                    <a:pt x="878" y="560"/>
                  </a:lnTo>
                  <a:lnTo>
                    <a:pt x="893" y="574"/>
                  </a:lnTo>
                  <a:lnTo>
                    <a:pt x="890" y="574"/>
                  </a:lnTo>
                  <a:lnTo>
                    <a:pt x="888" y="576"/>
                  </a:lnTo>
                  <a:lnTo>
                    <a:pt x="888" y="576"/>
                  </a:lnTo>
                  <a:lnTo>
                    <a:pt x="885" y="579"/>
                  </a:lnTo>
                  <a:lnTo>
                    <a:pt x="885" y="579"/>
                  </a:lnTo>
                  <a:lnTo>
                    <a:pt x="885" y="579"/>
                  </a:lnTo>
                  <a:lnTo>
                    <a:pt x="885" y="581"/>
                  </a:lnTo>
                  <a:lnTo>
                    <a:pt x="885" y="583"/>
                  </a:lnTo>
                  <a:lnTo>
                    <a:pt x="883" y="583"/>
                  </a:lnTo>
                  <a:lnTo>
                    <a:pt x="883" y="588"/>
                  </a:lnTo>
                  <a:lnTo>
                    <a:pt x="883" y="590"/>
                  </a:lnTo>
                  <a:lnTo>
                    <a:pt x="883" y="590"/>
                  </a:lnTo>
                  <a:lnTo>
                    <a:pt x="881" y="593"/>
                  </a:lnTo>
                  <a:lnTo>
                    <a:pt x="878" y="590"/>
                  </a:lnTo>
                  <a:lnTo>
                    <a:pt x="878" y="590"/>
                  </a:lnTo>
                  <a:lnTo>
                    <a:pt x="876" y="590"/>
                  </a:lnTo>
                  <a:lnTo>
                    <a:pt x="876" y="590"/>
                  </a:lnTo>
                  <a:lnTo>
                    <a:pt x="876" y="590"/>
                  </a:lnTo>
                  <a:lnTo>
                    <a:pt x="874" y="590"/>
                  </a:lnTo>
                  <a:lnTo>
                    <a:pt x="874" y="590"/>
                  </a:lnTo>
                  <a:lnTo>
                    <a:pt x="874" y="593"/>
                  </a:lnTo>
                  <a:lnTo>
                    <a:pt x="871" y="593"/>
                  </a:lnTo>
                  <a:lnTo>
                    <a:pt x="871" y="593"/>
                  </a:lnTo>
                  <a:lnTo>
                    <a:pt x="871" y="593"/>
                  </a:lnTo>
                  <a:lnTo>
                    <a:pt x="869" y="595"/>
                  </a:lnTo>
                  <a:lnTo>
                    <a:pt x="867" y="598"/>
                  </a:lnTo>
                  <a:lnTo>
                    <a:pt x="864" y="598"/>
                  </a:lnTo>
                  <a:lnTo>
                    <a:pt x="862" y="600"/>
                  </a:lnTo>
                  <a:lnTo>
                    <a:pt x="859" y="602"/>
                  </a:lnTo>
                  <a:lnTo>
                    <a:pt x="859" y="602"/>
                  </a:lnTo>
                  <a:lnTo>
                    <a:pt x="859" y="605"/>
                  </a:lnTo>
                  <a:lnTo>
                    <a:pt x="859" y="607"/>
                  </a:lnTo>
                  <a:lnTo>
                    <a:pt x="857" y="607"/>
                  </a:lnTo>
                  <a:lnTo>
                    <a:pt x="857" y="607"/>
                  </a:lnTo>
                  <a:lnTo>
                    <a:pt x="855" y="609"/>
                  </a:lnTo>
                  <a:lnTo>
                    <a:pt x="855" y="612"/>
                  </a:lnTo>
                  <a:lnTo>
                    <a:pt x="855" y="612"/>
                  </a:lnTo>
                  <a:lnTo>
                    <a:pt x="855" y="614"/>
                  </a:lnTo>
                  <a:lnTo>
                    <a:pt x="855" y="619"/>
                  </a:lnTo>
                  <a:lnTo>
                    <a:pt x="852" y="624"/>
                  </a:lnTo>
                  <a:lnTo>
                    <a:pt x="852" y="624"/>
                  </a:lnTo>
                  <a:lnTo>
                    <a:pt x="852" y="626"/>
                  </a:lnTo>
                  <a:lnTo>
                    <a:pt x="855" y="631"/>
                  </a:lnTo>
                  <a:lnTo>
                    <a:pt x="855" y="633"/>
                  </a:lnTo>
                  <a:lnTo>
                    <a:pt x="852" y="638"/>
                  </a:lnTo>
                  <a:lnTo>
                    <a:pt x="855" y="642"/>
                  </a:lnTo>
                  <a:lnTo>
                    <a:pt x="852" y="647"/>
                  </a:lnTo>
                  <a:lnTo>
                    <a:pt x="850" y="649"/>
                  </a:lnTo>
                  <a:lnTo>
                    <a:pt x="848" y="654"/>
                  </a:lnTo>
                  <a:lnTo>
                    <a:pt x="848" y="654"/>
                  </a:lnTo>
                  <a:lnTo>
                    <a:pt x="845" y="657"/>
                  </a:lnTo>
                  <a:lnTo>
                    <a:pt x="845" y="654"/>
                  </a:lnTo>
                  <a:lnTo>
                    <a:pt x="845" y="654"/>
                  </a:lnTo>
                  <a:lnTo>
                    <a:pt x="843" y="654"/>
                  </a:lnTo>
                  <a:lnTo>
                    <a:pt x="843" y="657"/>
                  </a:lnTo>
                  <a:lnTo>
                    <a:pt x="841" y="654"/>
                  </a:lnTo>
                  <a:lnTo>
                    <a:pt x="838" y="657"/>
                  </a:lnTo>
                  <a:lnTo>
                    <a:pt x="838" y="657"/>
                  </a:lnTo>
                  <a:lnTo>
                    <a:pt x="838" y="657"/>
                  </a:lnTo>
                  <a:lnTo>
                    <a:pt x="838" y="659"/>
                  </a:lnTo>
                  <a:lnTo>
                    <a:pt x="836" y="659"/>
                  </a:lnTo>
                  <a:lnTo>
                    <a:pt x="836" y="661"/>
                  </a:lnTo>
                  <a:lnTo>
                    <a:pt x="836" y="661"/>
                  </a:lnTo>
                  <a:lnTo>
                    <a:pt x="836" y="664"/>
                  </a:lnTo>
                  <a:lnTo>
                    <a:pt x="833" y="664"/>
                  </a:lnTo>
                  <a:lnTo>
                    <a:pt x="833" y="666"/>
                  </a:lnTo>
                  <a:lnTo>
                    <a:pt x="831" y="666"/>
                  </a:lnTo>
                  <a:lnTo>
                    <a:pt x="831" y="666"/>
                  </a:lnTo>
                  <a:lnTo>
                    <a:pt x="829" y="668"/>
                  </a:lnTo>
                  <a:lnTo>
                    <a:pt x="829" y="668"/>
                  </a:lnTo>
                  <a:lnTo>
                    <a:pt x="829" y="671"/>
                  </a:lnTo>
                  <a:lnTo>
                    <a:pt x="826" y="671"/>
                  </a:lnTo>
                  <a:lnTo>
                    <a:pt x="829" y="673"/>
                  </a:lnTo>
                  <a:lnTo>
                    <a:pt x="829" y="673"/>
                  </a:lnTo>
                  <a:lnTo>
                    <a:pt x="829" y="675"/>
                  </a:lnTo>
                  <a:lnTo>
                    <a:pt x="829" y="675"/>
                  </a:lnTo>
                  <a:lnTo>
                    <a:pt x="829" y="678"/>
                  </a:lnTo>
                  <a:lnTo>
                    <a:pt x="829" y="678"/>
                  </a:lnTo>
                  <a:lnTo>
                    <a:pt x="826" y="683"/>
                  </a:lnTo>
                  <a:lnTo>
                    <a:pt x="826" y="683"/>
                  </a:lnTo>
                  <a:lnTo>
                    <a:pt x="824" y="683"/>
                  </a:lnTo>
                  <a:lnTo>
                    <a:pt x="824" y="685"/>
                  </a:lnTo>
                  <a:lnTo>
                    <a:pt x="824" y="685"/>
                  </a:lnTo>
                  <a:lnTo>
                    <a:pt x="822" y="687"/>
                  </a:lnTo>
                  <a:lnTo>
                    <a:pt x="822" y="690"/>
                  </a:lnTo>
                  <a:lnTo>
                    <a:pt x="822" y="690"/>
                  </a:lnTo>
                  <a:lnTo>
                    <a:pt x="822" y="692"/>
                  </a:lnTo>
                  <a:lnTo>
                    <a:pt x="822" y="692"/>
                  </a:lnTo>
                  <a:lnTo>
                    <a:pt x="819" y="694"/>
                  </a:lnTo>
                  <a:lnTo>
                    <a:pt x="819" y="694"/>
                  </a:lnTo>
                  <a:lnTo>
                    <a:pt x="819" y="697"/>
                  </a:lnTo>
                  <a:lnTo>
                    <a:pt x="819" y="697"/>
                  </a:lnTo>
                  <a:lnTo>
                    <a:pt x="817" y="699"/>
                  </a:lnTo>
                  <a:lnTo>
                    <a:pt x="817" y="697"/>
                  </a:lnTo>
                  <a:lnTo>
                    <a:pt x="817" y="699"/>
                  </a:lnTo>
                  <a:lnTo>
                    <a:pt x="817" y="699"/>
                  </a:lnTo>
                  <a:lnTo>
                    <a:pt x="817" y="701"/>
                  </a:lnTo>
                  <a:lnTo>
                    <a:pt x="817" y="701"/>
                  </a:lnTo>
                  <a:lnTo>
                    <a:pt x="817" y="704"/>
                  </a:lnTo>
                  <a:lnTo>
                    <a:pt x="817" y="704"/>
                  </a:lnTo>
                  <a:lnTo>
                    <a:pt x="817" y="704"/>
                  </a:lnTo>
                  <a:lnTo>
                    <a:pt x="817" y="706"/>
                  </a:lnTo>
                  <a:lnTo>
                    <a:pt x="817" y="706"/>
                  </a:lnTo>
                  <a:lnTo>
                    <a:pt x="817" y="706"/>
                  </a:lnTo>
                  <a:lnTo>
                    <a:pt x="817" y="709"/>
                  </a:lnTo>
                  <a:lnTo>
                    <a:pt x="815" y="709"/>
                  </a:lnTo>
                  <a:lnTo>
                    <a:pt x="815" y="711"/>
                  </a:lnTo>
                  <a:lnTo>
                    <a:pt x="817" y="713"/>
                  </a:lnTo>
                  <a:lnTo>
                    <a:pt x="815" y="713"/>
                  </a:lnTo>
                  <a:lnTo>
                    <a:pt x="815" y="713"/>
                  </a:lnTo>
                  <a:lnTo>
                    <a:pt x="815" y="716"/>
                  </a:lnTo>
                  <a:lnTo>
                    <a:pt x="815" y="718"/>
                  </a:lnTo>
                  <a:lnTo>
                    <a:pt x="812" y="718"/>
                  </a:lnTo>
                  <a:lnTo>
                    <a:pt x="812" y="720"/>
                  </a:lnTo>
                  <a:lnTo>
                    <a:pt x="812" y="720"/>
                  </a:lnTo>
                  <a:lnTo>
                    <a:pt x="810" y="723"/>
                  </a:lnTo>
                  <a:lnTo>
                    <a:pt x="810" y="723"/>
                  </a:lnTo>
                  <a:lnTo>
                    <a:pt x="805" y="723"/>
                  </a:lnTo>
                  <a:lnTo>
                    <a:pt x="805" y="723"/>
                  </a:lnTo>
                  <a:lnTo>
                    <a:pt x="803" y="723"/>
                  </a:lnTo>
                  <a:lnTo>
                    <a:pt x="803" y="725"/>
                  </a:lnTo>
                  <a:lnTo>
                    <a:pt x="803" y="723"/>
                  </a:lnTo>
                  <a:lnTo>
                    <a:pt x="800" y="725"/>
                  </a:lnTo>
                  <a:lnTo>
                    <a:pt x="796" y="727"/>
                  </a:lnTo>
                  <a:lnTo>
                    <a:pt x="796" y="730"/>
                  </a:lnTo>
                  <a:lnTo>
                    <a:pt x="793" y="730"/>
                  </a:lnTo>
                  <a:lnTo>
                    <a:pt x="793" y="730"/>
                  </a:lnTo>
                  <a:lnTo>
                    <a:pt x="793" y="730"/>
                  </a:lnTo>
                  <a:lnTo>
                    <a:pt x="793" y="732"/>
                  </a:lnTo>
                  <a:lnTo>
                    <a:pt x="791" y="732"/>
                  </a:lnTo>
                  <a:lnTo>
                    <a:pt x="789" y="732"/>
                  </a:lnTo>
                  <a:lnTo>
                    <a:pt x="789" y="735"/>
                  </a:lnTo>
                  <a:lnTo>
                    <a:pt x="789" y="735"/>
                  </a:lnTo>
                  <a:lnTo>
                    <a:pt x="786" y="732"/>
                  </a:lnTo>
                  <a:lnTo>
                    <a:pt x="784" y="735"/>
                  </a:lnTo>
                  <a:lnTo>
                    <a:pt x="784" y="735"/>
                  </a:lnTo>
                  <a:lnTo>
                    <a:pt x="781" y="735"/>
                  </a:lnTo>
                  <a:lnTo>
                    <a:pt x="781" y="737"/>
                  </a:lnTo>
                  <a:lnTo>
                    <a:pt x="781" y="737"/>
                  </a:lnTo>
                  <a:lnTo>
                    <a:pt x="781" y="737"/>
                  </a:lnTo>
                  <a:lnTo>
                    <a:pt x="781" y="739"/>
                  </a:lnTo>
                  <a:lnTo>
                    <a:pt x="779" y="739"/>
                  </a:lnTo>
                  <a:lnTo>
                    <a:pt x="779" y="739"/>
                  </a:lnTo>
                  <a:lnTo>
                    <a:pt x="779" y="739"/>
                  </a:lnTo>
                  <a:lnTo>
                    <a:pt x="779" y="739"/>
                  </a:lnTo>
                  <a:lnTo>
                    <a:pt x="777" y="742"/>
                  </a:lnTo>
                  <a:lnTo>
                    <a:pt x="777" y="742"/>
                  </a:lnTo>
                  <a:lnTo>
                    <a:pt x="777" y="742"/>
                  </a:lnTo>
                  <a:lnTo>
                    <a:pt x="774" y="744"/>
                  </a:lnTo>
                  <a:lnTo>
                    <a:pt x="777" y="744"/>
                  </a:lnTo>
                  <a:lnTo>
                    <a:pt x="774" y="744"/>
                  </a:lnTo>
                  <a:lnTo>
                    <a:pt x="774" y="744"/>
                  </a:lnTo>
                  <a:lnTo>
                    <a:pt x="774" y="744"/>
                  </a:lnTo>
                  <a:lnTo>
                    <a:pt x="774" y="744"/>
                  </a:lnTo>
                  <a:lnTo>
                    <a:pt x="774" y="746"/>
                  </a:lnTo>
                  <a:lnTo>
                    <a:pt x="774" y="746"/>
                  </a:lnTo>
                  <a:lnTo>
                    <a:pt x="774" y="746"/>
                  </a:lnTo>
                  <a:lnTo>
                    <a:pt x="774" y="749"/>
                  </a:lnTo>
                  <a:lnTo>
                    <a:pt x="772" y="749"/>
                  </a:lnTo>
                  <a:lnTo>
                    <a:pt x="772" y="749"/>
                  </a:lnTo>
                  <a:lnTo>
                    <a:pt x="774" y="749"/>
                  </a:lnTo>
                  <a:lnTo>
                    <a:pt x="772" y="751"/>
                  </a:lnTo>
                  <a:lnTo>
                    <a:pt x="770" y="749"/>
                  </a:lnTo>
                  <a:lnTo>
                    <a:pt x="767" y="749"/>
                  </a:lnTo>
                  <a:lnTo>
                    <a:pt x="765" y="749"/>
                  </a:lnTo>
                  <a:lnTo>
                    <a:pt x="765" y="746"/>
                  </a:lnTo>
                  <a:lnTo>
                    <a:pt x="765" y="746"/>
                  </a:lnTo>
                  <a:lnTo>
                    <a:pt x="763" y="744"/>
                  </a:lnTo>
                  <a:lnTo>
                    <a:pt x="760" y="744"/>
                  </a:lnTo>
                  <a:lnTo>
                    <a:pt x="760" y="742"/>
                  </a:lnTo>
                  <a:lnTo>
                    <a:pt x="758" y="742"/>
                  </a:lnTo>
                  <a:lnTo>
                    <a:pt x="756" y="742"/>
                  </a:lnTo>
                  <a:lnTo>
                    <a:pt x="753" y="739"/>
                  </a:lnTo>
                  <a:lnTo>
                    <a:pt x="751" y="739"/>
                  </a:lnTo>
                  <a:lnTo>
                    <a:pt x="748" y="735"/>
                  </a:lnTo>
                  <a:lnTo>
                    <a:pt x="746" y="735"/>
                  </a:lnTo>
                  <a:lnTo>
                    <a:pt x="746" y="732"/>
                  </a:lnTo>
                  <a:lnTo>
                    <a:pt x="746" y="730"/>
                  </a:lnTo>
                  <a:lnTo>
                    <a:pt x="746" y="730"/>
                  </a:lnTo>
                  <a:lnTo>
                    <a:pt x="746" y="730"/>
                  </a:lnTo>
                  <a:lnTo>
                    <a:pt x="744" y="732"/>
                  </a:lnTo>
                  <a:lnTo>
                    <a:pt x="741" y="732"/>
                  </a:lnTo>
                  <a:lnTo>
                    <a:pt x="741" y="730"/>
                  </a:lnTo>
                  <a:lnTo>
                    <a:pt x="739" y="730"/>
                  </a:lnTo>
                  <a:lnTo>
                    <a:pt x="739" y="730"/>
                  </a:lnTo>
                  <a:lnTo>
                    <a:pt x="739" y="730"/>
                  </a:lnTo>
                  <a:lnTo>
                    <a:pt x="739" y="730"/>
                  </a:lnTo>
                  <a:lnTo>
                    <a:pt x="737" y="732"/>
                  </a:lnTo>
                  <a:lnTo>
                    <a:pt x="734" y="727"/>
                  </a:lnTo>
                  <a:lnTo>
                    <a:pt x="737" y="727"/>
                  </a:lnTo>
                  <a:lnTo>
                    <a:pt x="737" y="730"/>
                  </a:lnTo>
                  <a:lnTo>
                    <a:pt x="737" y="727"/>
                  </a:lnTo>
                  <a:lnTo>
                    <a:pt x="737" y="727"/>
                  </a:lnTo>
                  <a:lnTo>
                    <a:pt x="737" y="725"/>
                  </a:lnTo>
                  <a:lnTo>
                    <a:pt x="737" y="725"/>
                  </a:lnTo>
                  <a:lnTo>
                    <a:pt x="737" y="725"/>
                  </a:lnTo>
                  <a:lnTo>
                    <a:pt x="739" y="725"/>
                  </a:lnTo>
                  <a:lnTo>
                    <a:pt x="734" y="723"/>
                  </a:lnTo>
                  <a:lnTo>
                    <a:pt x="734" y="723"/>
                  </a:lnTo>
                  <a:lnTo>
                    <a:pt x="732" y="723"/>
                  </a:lnTo>
                  <a:lnTo>
                    <a:pt x="730" y="723"/>
                  </a:lnTo>
                  <a:lnTo>
                    <a:pt x="730" y="723"/>
                  </a:lnTo>
                  <a:lnTo>
                    <a:pt x="730" y="723"/>
                  </a:lnTo>
                  <a:lnTo>
                    <a:pt x="732" y="725"/>
                  </a:lnTo>
                  <a:lnTo>
                    <a:pt x="732" y="725"/>
                  </a:lnTo>
                  <a:lnTo>
                    <a:pt x="730" y="725"/>
                  </a:lnTo>
                  <a:lnTo>
                    <a:pt x="730" y="725"/>
                  </a:lnTo>
                  <a:lnTo>
                    <a:pt x="727" y="725"/>
                  </a:lnTo>
                  <a:lnTo>
                    <a:pt x="727" y="725"/>
                  </a:lnTo>
                  <a:lnTo>
                    <a:pt x="725" y="723"/>
                  </a:lnTo>
                  <a:lnTo>
                    <a:pt x="725" y="723"/>
                  </a:lnTo>
                  <a:lnTo>
                    <a:pt x="725" y="725"/>
                  </a:lnTo>
                  <a:lnTo>
                    <a:pt x="725" y="727"/>
                  </a:lnTo>
                  <a:lnTo>
                    <a:pt x="725" y="727"/>
                  </a:lnTo>
                  <a:lnTo>
                    <a:pt x="722" y="730"/>
                  </a:lnTo>
                  <a:lnTo>
                    <a:pt x="720" y="727"/>
                  </a:lnTo>
                  <a:lnTo>
                    <a:pt x="718" y="730"/>
                  </a:lnTo>
                  <a:lnTo>
                    <a:pt x="720" y="725"/>
                  </a:lnTo>
                  <a:lnTo>
                    <a:pt x="718" y="725"/>
                  </a:lnTo>
                  <a:lnTo>
                    <a:pt x="718" y="727"/>
                  </a:lnTo>
                  <a:lnTo>
                    <a:pt x="718" y="727"/>
                  </a:lnTo>
                  <a:lnTo>
                    <a:pt x="718" y="730"/>
                  </a:lnTo>
                  <a:lnTo>
                    <a:pt x="718" y="727"/>
                  </a:lnTo>
                  <a:lnTo>
                    <a:pt x="718" y="727"/>
                  </a:lnTo>
                  <a:lnTo>
                    <a:pt x="715" y="725"/>
                  </a:lnTo>
                  <a:lnTo>
                    <a:pt x="713" y="725"/>
                  </a:lnTo>
                  <a:lnTo>
                    <a:pt x="713" y="725"/>
                  </a:lnTo>
                  <a:lnTo>
                    <a:pt x="713" y="727"/>
                  </a:lnTo>
                  <a:lnTo>
                    <a:pt x="713" y="727"/>
                  </a:lnTo>
                  <a:lnTo>
                    <a:pt x="711" y="730"/>
                  </a:lnTo>
                  <a:lnTo>
                    <a:pt x="711" y="727"/>
                  </a:lnTo>
                  <a:lnTo>
                    <a:pt x="708" y="730"/>
                  </a:lnTo>
                  <a:lnTo>
                    <a:pt x="708" y="727"/>
                  </a:lnTo>
                  <a:lnTo>
                    <a:pt x="706" y="727"/>
                  </a:lnTo>
                  <a:lnTo>
                    <a:pt x="706" y="725"/>
                  </a:lnTo>
                  <a:lnTo>
                    <a:pt x="706" y="725"/>
                  </a:lnTo>
                  <a:lnTo>
                    <a:pt x="706" y="725"/>
                  </a:lnTo>
                  <a:lnTo>
                    <a:pt x="704" y="725"/>
                  </a:lnTo>
                  <a:lnTo>
                    <a:pt x="701" y="725"/>
                  </a:lnTo>
                  <a:lnTo>
                    <a:pt x="701" y="725"/>
                  </a:lnTo>
                  <a:lnTo>
                    <a:pt x="701" y="723"/>
                  </a:lnTo>
                  <a:lnTo>
                    <a:pt x="699" y="723"/>
                  </a:lnTo>
                  <a:lnTo>
                    <a:pt x="699" y="723"/>
                  </a:lnTo>
                  <a:lnTo>
                    <a:pt x="699" y="725"/>
                  </a:lnTo>
                  <a:lnTo>
                    <a:pt x="696" y="725"/>
                  </a:lnTo>
                  <a:lnTo>
                    <a:pt x="694" y="725"/>
                  </a:lnTo>
                  <a:lnTo>
                    <a:pt x="694" y="727"/>
                  </a:lnTo>
                  <a:lnTo>
                    <a:pt x="692" y="727"/>
                  </a:lnTo>
                  <a:lnTo>
                    <a:pt x="687" y="727"/>
                  </a:lnTo>
                  <a:lnTo>
                    <a:pt x="685" y="727"/>
                  </a:lnTo>
                  <a:lnTo>
                    <a:pt x="685" y="730"/>
                  </a:lnTo>
                  <a:lnTo>
                    <a:pt x="685" y="730"/>
                  </a:lnTo>
                  <a:lnTo>
                    <a:pt x="685" y="730"/>
                  </a:lnTo>
                  <a:lnTo>
                    <a:pt x="682" y="730"/>
                  </a:lnTo>
                  <a:lnTo>
                    <a:pt x="678" y="732"/>
                  </a:lnTo>
                  <a:lnTo>
                    <a:pt x="675" y="730"/>
                  </a:lnTo>
                  <a:lnTo>
                    <a:pt x="673" y="730"/>
                  </a:lnTo>
                  <a:lnTo>
                    <a:pt x="670" y="730"/>
                  </a:lnTo>
                  <a:lnTo>
                    <a:pt x="668" y="730"/>
                  </a:lnTo>
                  <a:lnTo>
                    <a:pt x="668" y="727"/>
                  </a:lnTo>
                  <a:lnTo>
                    <a:pt x="666" y="727"/>
                  </a:lnTo>
                  <a:lnTo>
                    <a:pt x="666" y="727"/>
                  </a:lnTo>
                  <a:lnTo>
                    <a:pt x="663" y="727"/>
                  </a:lnTo>
                  <a:lnTo>
                    <a:pt x="663" y="725"/>
                  </a:lnTo>
                  <a:lnTo>
                    <a:pt x="663" y="723"/>
                  </a:lnTo>
                  <a:lnTo>
                    <a:pt x="663" y="723"/>
                  </a:lnTo>
                  <a:lnTo>
                    <a:pt x="663" y="723"/>
                  </a:lnTo>
                  <a:lnTo>
                    <a:pt x="663" y="725"/>
                  </a:lnTo>
                  <a:lnTo>
                    <a:pt x="661" y="725"/>
                  </a:lnTo>
                  <a:lnTo>
                    <a:pt x="659" y="725"/>
                  </a:lnTo>
                  <a:lnTo>
                    <a:pt x="659" y="725"/>
                  </a:lnTo>
                  <a:lnTo>
                    <a:pt x="659" y="725"/>
                  </a:lnTo>
                  <a:lnTo>
                    <a:pt x="656" y="725"/>
                  </a:lnTo>
                  <a:lnTo>
                    <a:pt x="656" y="725"/>
                  </a:lnTo>
                  <a:lnTo>
                    <a:pt x="656" y="725"/>
                  </a:lnTo>
                  <a:lnTo>
                    <a:pt x="654" y="725"/>
                  </a:lnTo>
                  <a:lnTo>
                    <a:pt x="654" y="727"/>
                  </a:lnTo>
                  <a:lnTo>
                    <a:pt x="654" y="727"/>
                  </a:lnTo>
                  <a:lnTo>
                    <a:pt x="652" y="725"/>
                  </a:lnTo>
                  <a:lnTo>
                    <a:pt x="652" y="725"/>
                  </a:lnTo>
                  <a:lnTo>
                    <a:pt x="649" y="725"/>
                  </a:lnTo>
                  <a:lnTo>
                    <a:pt x="647" y="725"/>
                  </a:lnTo>
                  <a:lnTo>
                    <a:pt x="649" y="725"/>
                  </a:lnTo>
                  <a:lnTo>
                    <a:pt x="647" y="725"/>
                  </a:lnTo>
                  <a:lnTo>
                    <a:pt x="644" y="727"/>
                  </a:lnTo>
                  <a:lnTo>
                    <a:pt x="644" y="727"/>
                  </a:lnTo>
                  <a:lnTo>
                    <a:pt x="644" y="727"/>
                  </a:lnTo>
                  <a:lnTo>
                    <a:pt x="642" y="727"/>
                  </a:lnTo>
                  <a:lnTo>
                    <a:pt x="642" y="727"/>
                  </a:lnTo>
                  <a:lnTo>
                    <a:pt x="640" y="727"/>
                  </a:lnTo>
                  <a:lnTo>
                    <a:pt x="642" y="730"/>
                  </a:lnTo>
                  <a:lnTo>
                    <a:pt x="640" y="730"/>
                  </a:lnTo>
                  <a:lnTo>
                    <a:pt x="640" y="730"/>
                  </a:lnTo>
                  <a:lnTo>
                    <a:pt x="640" y="727"/>
                  </a:lnTo>
                  <a:lnTo>
                    <a:pt x="637" y="727"/>
                  </a:lnTo>
                  <a:lnTo>
                    <a:pt x="637" y="730"/>
                  </a:lnTo>
                  <a:lnTo>
                    <a:pt x="637" y="730"/>
                  </a:lnTo>
                  <a:lnTo>
                    <a:pt x="635" y="730"/>
                  </a:lnTo>
                  <a:lnTo>
                    <a:pt x="633" y="727"/>
                  </a:lnTo>
                  <a:lnTo>
                    <a:pt x="633" y="730"/>
                  </a:lnTo>
                  <a:lnTo>
                    <a:pt x="633" y="730"/>
                  </a:lnTo>
                  <a:lnTo>
                    <a:pt x="633" y="730"/>
                  </a:lnTo>
                  <a:lnTo>
                    <a:pt x="630" y="730"/>
                  </a:lnTo>
                  <a:lnTo>
                    <a:pt x="630" y="732"/>
                  </a:lnTo>
                  <a:lnTo>
                    <a:pt x="630" y="730"/>
                  </a:lnTo>
                  <a:lnTo>
                    <a:pt x="630" y="730"/>
                  </a:lnTo>
                  <a:lnTo>
                    <a:pt x="630" y="727"/>
                  </a:lnTo>
                  <a:lnTo>
                    <a:pt x="628" y="727"/>
                  </a:lnTo>
                  <a:lnTo>
                    <a:pt x="628" y="730"/>
                  </a:lnTo>
                  <a:lnTo>
                    <a:pt x="626" y="730"/>
                  </a:lnTo>
                  <a:lnTo>
                    <a:pt x="626" y="725"/>
                  </a:lnTo>
                  <a:lnTo>
                    <a:pt x="626" y="725"/>
                  </a:lnTo>
                  <a:lnTo>
                    <a:pt x="626" y="723"/>
                  </a:lnTo>
                  <a:lnTo>
                    <a:pt x="626" y="720"/>
                  </a:lnTo>
                  <a:lnTo>
                    <a:pt x="623" y="716"/>
                  </a:lnTo>
                  <a:lnTo>
                    <a:pt x="623" y="716"/>
                  </a:lnTo>
                  <a:lnTo>
                    <a:pt x="621" y="716"/>
                  </a:lnTo>
                  <a:lnTo>
                    <a:pt x="621" y="716"/>
                  </a:lnTo>
                  <a:lnTo>
                    <a:pt x="618" y="716"/>
                  </a:lnTo>
                  <a:lnTo>
                    <a:pt x="618" y="713"/>
                  </a:lnTo>
                  <a:lnTo>
                    <a:pt x="616" y="713"/>
                  </a:lnTo>
                  <a:lnTo>
                    <a:pt x="616" y="713"/>
                  </a:lnTo>
                  <a:lnTo>
                    <a:pt x="616" y="713"/>
                  </a:lnTo>
                  <a:lnTo>
                    <a:pt x="614" y="713"/>
                  </a:lnTo>
                  <a:lnTo>
                    <a:pt x="614" y="711"/>
                  </a:lnTo>
                  <a:lnTo>
                    <a:pt x="614" y="711"/>
                  </a:lnTo>
                  <a:lnTo>
                    <a:pt x="614" y="711"/>
                  </a:lnTo>
                  <a:lnTo>
                    <a:pt x="614" y="709"/>
                  </a:lnTo>
                  <a:lnTo>
                    <a:pt x="614" y="706"/>
                  </a:lnTo>
                  <a:lnTo>
                    <a:pt x="609" y="706"/>
                  </a:lnTo>
                  <a:lnTo>
                    <a:pt x="609" y="706"/>
                  </a:lnTo>
                  <a:lnTo>
                    <a:pt x="611" y="706"/>
                  </a:lnTo>
                  <a:lnTo>
                    <a:pt x="609" y="709"/>
                  </a:lnTo>
                  <a:lnTo>
                    <a:pt x="609" y="706"/>
                  </a:lnTo>
                  <a:lnTo>
                    <a:pt x="609" y="701"/>
                  </a:lnTo>
                  <a:lnTo>
                    <a:pt x="607" y="701"/>
                  </a:lnTo>
                  <a:lnTo>
                    <a:pt x="607" y="701"/>
                  </a:lnTo>
                  <a:lnTo>
                    <a:pt x="607" y="704"/>
                  </a:lnTo>
                  <a:lnTo>
                    <a:pt x="604" y="701"/>
                  </a:lnTo>
                  <a:lnTo>
                    <a:pt x="602" y="701"/>
                  </a:lnTo>
                  <a:lnTo>
                    <a:pt x="602" y="697"/>
                  </a:lnTo>
                  <a:lnTo>
                    <a:pt x="600" y="697"/>
                  </a:lnTo>
                  <a:lnTo>
                    <a:pt x="600" y="697"/>
                  </a:lnTo>
                  <a:lnTo>
                    <a:pt x="600" y="697"/>
                  </a:lnTo>
                  <a:lnTo>
                    <a:pt x="597" y="697"/>
                  </a:lnTo>
                  <a:lnTo>
                    <a:pt x="597" y="694"/>
                  </a:lnTo>
                  <a:lnTo>
                    <a:pt x="595" y="692"/>
                  </a:lnTo>
                  <a:lnTo>
                    <a:pt x="595" y="692"/>
                  </a:lnTo>
                  <a:lnTo>
                    <a:pt x="597" y="690"/>
                  </a:lnTo>
                  <a:lnTo>
                    <a:pt x="597" y="687"/>
                  </a:lnTo>
                  <a:lnTo>
                    <a:pt x="595" y="687"/>
                  </a:lnTo>
                  <a:lnTo>
                    <a:pt x="595" y="683"/>
                  </a:lnTo>
                  <a:lnTo>
                    <a:pt x="595" y="680"/>
                  </a:lnTo>
                  <a:lnTo>
                    <a:pt x="595" y="680"/>
                  </a:lnTo>
                  <a:lnTo>
                    <a:pt x="593" y="678"/>
                  </a:lnTo>
                  <a:lnTo>
                    <a:pt x="593" y="678"/>
                  </a:lnTo>
                  <a:lnTo>
                    <a:pt x="593" y="680"/>
                  </a:lnTo>
                  <a:lnTo>
                    <a:pt x="590" y="680"/>
                  </a:lnTo>
                  <a:lnTo>
                    <a:pt x="590" y="678"/>
                  </a:lnTo>
                  <a:lnTo>
                    <a:pt x="590" y="678"/>
                  </a:lnTo>
                  <a:lnTo>
                    <a:pt x="588" y="678"/>
                  </a:lnTo>
                  <a:lnTo>
                    <a:pt x="588" y="675"/>
                  </a:lnTo>
                  <a:lnTo>
                    <a:pt x="588" y="675"/>
                  </a:lnTo>
                  <a:lnTo>
                    <a:pt x="588" y="675"/>
                  </a:lnTo>
                  <a:lnTo>
                    <a:pt x="588" y="678"/>
                  </a:lnTo>
                  <a:lnTo>
                    <a:pt x="588" y="678"/>
                  </a:lnTo>
                  <a:lnTo>
                    <a:pt x="585" y="680"/>
                  </a:lnTo>
                  <a:lnTo>
                    <a:pt x="583" y="678"/>
                  </a:lnTo>
                  <a:lnTo>
                    <a:pt x="583" y="675"/>
                  </a:lnTo>
                  <a:lnTo>
                    <a:pt x="583" y="673"/>
                  </a:lnTo>
                  <a:lnTo>
                    <a:pt x="581" y="673"/>
                  </a:lnTo>
                  <a:lnTo>
                    <a:pt x="581" y="675"/>
                  </a:lnTo>
                  <a:lnTo>
                    <a:pt x="581" y="675"/>
                  </a:lnTo>
                  <a:lnTo>
                    <a:pt x="578" y="675"/>
                  </a:lnTo>
                  <a:lnTo>
                    <a:pt x="578" y="678"/>
                  </a:lnTo>
                  <a:lnTo>
                    <a:pt x="576" y="678"/>
                  </a:lnTo>
                  <a:lnTo>
                    <a:pt x="576" y="678"/>
                  </a:lnTo>
                  <a:lnTo>
                    <a:pt x="574" y="678"/>
                  </a:lnTo>
                  <a:lnTo>
                    <a:pt x="576" y="680"/>
                  </a:lnTo>
                  <a:lnTo>
                    <a:pt x="574" y="680"/>
                  </a:lnTo>
                  <a:lnTo>
                    <a:pt x="574" y="678"/>
                  </a:lnTo>
                  <a:lnTo>
                    <a:pt x="571" y="678"/>
                  </a:lnTo>
                  <a:lnTo>
                    <a:pt x="571" y="678"/>
                  </a:lnTo>
                  <a:lnTo>
                    <a:pt x="569" y="678"/>
                  </a:lnTo>
                  <a:lnTo>
                    <a:pt x="569" y="678"/>
                  </a:lnTo>
                  <a:lnTo>
                    <a:pt x="569" y="678"/>
                  </a:lnTo>
                  <a:lnTo>
                    <a:pt x="567" y="678"/>
                  </a:lnTo>
                  <a:lnTo>
                    <a:pt x="567" y="678"/>
                  </a:lnTo>
                  <a:lnTo>
                    <a:pt x="567" y="678"/>
                  </a:lnTo>
                  <a:lnTo>
                    <a:pt x="567" y="678"/>
                  </a:lnTo>
                  <a:lnTo>
                    <a:pt x="564" y="678"/>
                  </a:lnTo>
                  <a:lnTo>
                    <a:pt x="564" y="678"/>
                  </a:lnTo>
                  <a:lnTo>
                    <a:pt x="562" y="678"/>
                  </a:lnTo>
                  <a:lnTo>
                    <a:pt x="562" y="675"/>
                  </a:lnTo>
                  <a:lnTo>
                    <a:pt x="559" y="678"/>
                  </a:lnTo>
                  <a:lnTo>
                    <a:pt x="559" y="675"/>
                  </a:lnTo>
                  <a:lnTo>
                    <a:pt x="559" y="675"/>
                  </a:lnTo>
                  <a:lnTo>
                    <a:pt x="559" y="673"/>
                  </a:lnTo>
                  <a:lnTo>
                    <a:pt x="557" y="675"/>
                  </a:lnTo>
                  <a:lnTo>
                    <a:pt x="557" y="675"/>
                  </a:lnTo>
                  <a:lnTo>
                    <a:pt x="555" y="673"/>
                  </a:lnTo>
                  <a:lnTo>
                    <a:pt x="555" y="671"/>
                  </a:lnTo>
                  <a:lnTo>
                    <a:pt x="555" y="668"/>
                  </a:lnTo>
                  <a:lnTo>
                    <a:pt x="552" y="668"/>
                  </a:lnTo>
                  <a:lnTo>
                    <a:pt x="552" y="671"/>
                  </a:lnTo>
                  <a:lnTo>
                    <a:pt x="552" y="671"/>
                  </a:lnTo>
                  <a:lnTo>
                    <a:pt x="552" y="668"/>
                  </a:lnTo>
                  <a:lnTo>
                    <a:pt x="552" y="668"/>
                  </a:lnTo>
                  <a:lnTo>
                    <a:pt x="552" y="668"/>
                  </a:lnTo>
                  <a:lnTo>
                    <a:pt x="550" y="668"/>
                  </a:lnTo>
                  <a:lnTo>
                    <a:pt x="550" y="668"/>
                  </a:lnTo>
                  <a:lnTo>
                    <a:pt x="550" y="666"/>
                  </a:lnTo>
                  <a:lnTo>
                    <a:pt x="550" y="666"/>
                  </a:lnTo>
                  <a:lnTo>
                    <a:pt x="548" y="668"/>
                  </a:lnTo>
                  <a:lnTo>
                    <a:pt x="550" y="668"/>
                  </a:lnTo>
                  <a:lnTo>
                    <a:pt x="545" y="671"/>
                  </a:lnTo>
                  <a:lnTo>
                    <a:pt x="543" y="668"/>
                  </a:lnTo>
                  <a:lnTo>
                    <a:pt x="543" y="668"/>
                  </a:lnTo>
                  <a:lnTo>
                    <a:pt x="541" y="668"/>
                  </a:lnTo>
                  <a:lnTo>
                    <a:pt x="538" y="668"/>
                  </a:lnTo>
                  <a:lnTo>
                    <a:pt x="531" y="664"/>
                  </a:lnTo>
                  <a:lnTo>
                    <a:pt x="531" y="661"/>
                  </a:lnTo>
                  <a:lnTo>
                    <a:pt x="533" y="661"/>
                  </a:lnTo>
                  <a:lnTo>
                    <a:pt x="533" y="661"/>
                  </a:lnTo>
                  <a:lnTo>
                    <a:pt x="531" y="661"/>
                  </a:lnTo>
                  <a:lnTo>
                    <a:pt x="531" y="661"/>
                  </a:lnTo>
                  <a:lnTo>
                    <a:pt x="529" y="661"/>
                  </a:lnTo>
                  <a:lnTo>
                    <a:pt x="531" y="659"/>
                  </a:lnTo>
                  <a:lnTo>
                    <a:pt x="531" y="659"/>
                  </a:lnTo>
                  <a:lnTo>
                    <a:pt x="529" y="659"/>
                  </a:lnTo>
                  <a:lnTo>
                    <a:pt x="526" y="659"/>
                  </a:lnTo>
                  <a:lnTo>
                    <a:pt x="529" y="657"/>
                  </a:lnTo>
                  <a:lnTo>
                    <a:pt x="529" y="654"/>
                  </a:lnTo>
                  <a:lnTo>
                    <a:pt x="526" y="654"/>
                  </a:lnTo>
                  <a:lnTo>
                    <a:pt x="526" y="657"/>
                  </a:lnTo>
                  <a:lnTo>
                    <a:pt x="526" y="657"/>
                  </a:lnTo>
                  <a:lnTo>
                    <a:pt x="524" y="659"/>
                  </a:lnTo>
                  <a:lnTo>
                    <a:pt x="522" y="659"/>
                  </a:lnTo>
                  <a:lnTo>
                    <a:pt x="522" y="659"/>
                  </a:lnTo>
                  <a:lnTo>
                    <a:pt x="522" y="659"/>
                  </a:lnTo>
                  <a:lnTo>
                    <a:pt x="519" y="659"/>
                  </a:lnTo>
                  <a:lnTo>
                    <a:pt x="517" y="659"/>
                  </a:lnTo>
                  <a:lnTo>
                    <a:pt x="517" y="661"/>
                  </a:lnTo>
                  <a:lnTo>
                    <a:pt x="517" y="661"/>
                  </a:lnTo>
                  <a:lnTo>
                    <a:pt x="517" y="661"/>
                  </a:lnTo>
                  <a:lnTo>
                    <a:pt x="515" y="661"/>
                  </a:lnTo>
                  <a:lnTo>
                    <a:pt x="515" y="659"/>
                  </a:lnTo>
                  <a:lnTo>
                    <a:pt x="515" y="659"/>
                  </a:lnTo>
                  <a:lnTo>
                    <a:pt x="515" y="661"/>
                  </a:lnTo>
                  <a:lnTo>
                    <a:pt x="510" y="661"/>
                  </a:lnTo>
                  <a:lnTo>
                    <a:pt x="510" y="659"/>
                  </a:lnTo>
                  <a:lnTo>
                    <a:pt x="507" y="654"/>
                  </a:lnTo>
                  <a:lnTo>
                    <a:pt x="507" y="654"/>
                  </a:lnTo>
                  <a:lnTo>
                    <a:pt x="507" y="652"/>
                  </a:lnTo>
                  <a:lnTo>
                    <a:pt x="507" y="652"/>
                  </a:lnTo>
                  <a:lnTo>
                    <a:pt x="505" y="649"/>
                  </a:lnTo>
                  <a:lnTo>
                    <a:pt x="505" y="652"/>
                  </a:lnTo>
                  <a:lnTo>
                    <a:pt x="503" y="652"/>
                  </a:lnTo>
                  <a:lnTo>
                    <a:pt x="503" y="652"/>
                  </a:lnTo>
                  <a:lnTo>
                    <a:pt x="500" y="652"/>
                  </a:lnTo>
                  <a:lnTo>
                    <a:pt x="503" y="649"/>
                  </a:lnTo>
                  <a:lnTo>
                    <a:pt x="500" y="647"/>
                  </a:lnTo>
                  <a:lnTo>
                    <a:pt x="500" y="647"/>
                  </a:lnTo>
                  <a:lnTo>
                    <a:pt x="498" y="645"/>
                  </a:lnTo>
                  <a:lnTo>
                    <a:pt x="496" y="642"/>
                  </a:lnTo>
                  <a:lnTo>
                    <a:pt x="496" y="640"/>
                  </a:lnTo>
                  <a:lnTo>
                    <a:pt x="496" y="640"/>
                  </a:lnTo>
                  <a:lnTo>
                    <a:pt x="493" y="638"/>
                  </a:lnTo>
                  <a:lnTo>
                    <a:pt x="491" y="638"/>
                  </a:lnTo>
                  <a:lnTo>
                    <a:pt x="491" y="640"/>
                  </a:lnTo>
                  <a:lnTo>
                    <a:pt x="491" y="640"/>
                  </a:lnTo>
                  <a:lnTo>
                    <a:pt x="489" y="640"/>
                  </a:lnTo>
                  <a:lnTo>
                    <a:pt x="489" y="640"/>
                  </a:lnTo>
                  <a:lnTo>
                    <a:pt x="489" y="640"/>
                  </a:lnTo>
                  <a:lnTo>
                    <a:pt x="486" y="640"/>
                  </a:lnTo>
                  <a:lnTo>
                    <a:pt x="486" y="640"/>
                  </a:lnTo>
                  <a:lnTo>
                    <a:pt x="486" y="640"/>
                  </a:lnTo>
                  <a:lnTo>
                    <a:pt x="486" y="640"/>
                  </a:lnTo>
                  <a:lnTo>
                    <a:pt x="481" y="638"/>
                  </a:lnTo>
                  <a:lnTo>
                    <a:pt x="481" y="638"/>
                  </a:lnTo>
                  <a:lnTo>
                    <a:pt x="481" y="633"/>
                  </a:lnTo>
                  <a:lnTo>
                    <a:pt x="479" y="633"/>
                  </a:lnTo>
                  <a:lnTo>
                    <a:pt x="479" y="631"/>
                  </a:lnTo>
                  <a:lnTo>
                    <a:pt x="479" y="631"/>
                  </a:lnTo>
                  <a:lnTo>
                    <a:pt x="477" y="626"/>
                  </a:lnTo>
                  <a:lnTo>
                    <a:pt x="477" y="624"/>
                  </a:lnTo>
                  <a:lnTo>
                    <a:pt x="474" y="624"/>
                  </a:lnTo>
                  <a:lnTo>
                    <a:pt x="472" y="624"/>
                  </a:lnTo>
                  <a:lnTo>
                    <a:pt x="472" y="621"/>
                  </a:lnTo>
                  <a:lnTo>
                    <a:pt x="474" y="619"/>
                  </a:lnTo>
                  <a:lnTo>
                    <a:pt x="474" y="619"/>
                  </a:lnTo>
                  <a:lnTo>
                    <a:pt x="474" y="619"/>
                  </a:lnTo>
                  <a:lnTo>
                    <a:pt x="472" y="619"/>
                  </a:lnTo>
                  <a:lnTo>
                    <a:pt x="470" y="619"/>
                  </a:lnTo>
                  <a:lnTo>
                    <a:pt x="470" y="616"/>
                  </a:lnTo>
                  <a:lnTo>
                    <a:pt x="472" y="616"/>
                  </a:lnTo>
                  <a:lnTo>
                    <a:pt x="472" y="614"/>
                  </a:lnTo>
                  <a:lnTo>
                    <a:pt x="470" y="614"/>
                  </a:lnTo>
                  <a:lnTo>
                    <a:pt x="467" y="614"/>
                  </a:lnTo>
                  <a:lnTo>
                    <a:pt x="467" y="614"/>
                  </a:lnTo>
                  <a:lnTo>
                    <a:pt x="467" y="612"/>
                  </a:lnTo>
                  <a:lnTo>
                    <a:pt x="465" y="614"/>
                  </a:lnTo>
                  <a:lnTo>
                    <a:pt x="465" y="612"/>
                  </a:lnTo>
                  <a:lnTo>
                    <a:pt x="465" y="612"/>
                  </a:lnTo>
                  <a:lnTo>
                    <a:pt x="463" y="612"/>
                  </a:lnTo>
                  <a:lnTo>
                    <a:pt x="463" y="609"/>
                  </a:lnTo>
                  <a:lnTo>
                    <a:pt x="463" y="609"/>
                  </a:lnTo>
                  <a:lnTo>
                    <a:pt x="463" y="609"/>
                  </a:lnTo>
                  <a:lnTo>
                    <a:pt x="463" y="612"/>
                  </a:lnTo>
                  <a:lnTo>
                    <a:pt x="460" y="612"/>
                  </a:lnTo>
                  <a:lnTo>
                    <a:pt x="460" y="612"/>
                  </a:lnTo>
                  <a:lnTo>
                    <a:pt x="458" y="609"/>
                  </a:lnTo>
                  <a:lnTo>
                    <a:pt x="458" y="612"/>
                  </a:lnTo>
                  <a:lnTo>
                    <a:pt x="458" y="612"/>
                  </a:lnTo>
                  <a:lnTo>
                    <a:pt x="458" y="614"/>
                  </a:lnTo>
                  <a:lnTo>
                    <a:pt x="458" y="614"/>
                  </a:lnTo>
                  <a:lnTo>
                    <a:pt x="455" y="614"/>
                  </a:lnTo>
                  <a:lnTo>
                    <a:pt x="453" y="614"/>
                  </a:lnTo>
                  <a:lnTo>
                    <a:pt x="451" y="614"/>
                  </a:lnTo>
                  <a:lnTo>
                    <a:pt x="451" y="616"/>
                  </a:lnTo>
                  <a:lnTo>
                    <a:pt x="453" y="616"/>
                  </a:lnTo>
                  <a:lnTo>
                    <a:pt x="453" y="616"/>
                  </a:lnTo>
                  <a:lnTo>
                    <a:pt x="453" y="619"/>
                  </a:lnTo>
                  <a:lnTo>
                    <a:pt x="453" y="619"/>
                  </a:lnTo>
                  <a:lnTo>
                    <a:pt x="451" y="619"/>
                  </a:lnTo>
                  <a:lnTo>
                    <a:pt x="451" y="619"/>
                  </a:lnTo>
                  <a:lnTo>
                    <a:pt x="451" y="619"/>
                  </a:lnTo>
                  <a:lnTo>
                    <a:pt x="446" y="619"/>
                  </a:lnTo>
                  <a:lnTo>
                    <a:pt x="441" y="616"/>
                  </a:lnTo>
                  <a:lnTo>
                    <a:pt x="439" y="614"/>
                  </a:lnTo>
                  <a:lnTo>
                    <a:pt x="437" y="614"/>
                  </a:lnTo>
                  <a:lnTo>
                    <a:pt x="434" y="614"/>
                  </a:lnTo>
                  <a:lnTo>
                    <a:pt x="432" y="612"/>
                  </a:lnTo>
                  <a:lnTo>
                    <a:pt x="432" y="609"/>
                  </a:lnTo>
                  <a:lnTo>
                    <a:pt x="430" y="607"/>
                  </a:lnTo>
                  <a:lnTo>
                    <a:pt x="427" y="609"/>
                  </a:lnTo>
                  <a:lnTo>
                    <a:pt x="427" y="607"/>
                  </a:lnTo>
                  <a:lnTo>
                    <a:pt x="427" y="607"/>
                  </a:lnTo>
                  <a:lnTo>
                    <a:pt x="430" y="607"/>
                  </a:lnTo>
                  <a:lnTo>
                    <a:pt x="427" y="605"/>
                  </a:lnTo>
                  <a:lnTo>
                    <a:pt x="427" y="602"/>
                  </a:lnTo>
                  <a:lnTo>
                    <a:pt x="422" y="602"/>
                  </a:lnTo>
                  <a:lnTo>
                    <a:pt x="418" y="602"/>
                  </a:lnTo>
                  <a:lnTo>
                    <a:pt x="415" y="600"/>
                  </a:lnTo>
                  <a:lnTo>
                    <a:pt x="413" y="595"/>
                  </a:lnTo>
                  <a:lnTo>
                    <a:pt x="411" y="593"/>
                  </a:lnTo>
                  <a:lnTo>
                    <a:pt x="408" y="593"/>
                  </a:lnTo>
                  <a:lnTo>
                    <a:pt x="406" y="593"/>
                  </a:lnTo>
                  <a:lnTo>
                    <a:pt x="404" y="590"/>
                  </a:lnTo>
                  <a:lnTo>
                    <a:pt x="399" y="588"/>
                  </a:lnTo>
                  <a:lnTo>
                    <a:pt x="396" y="588"/>
                  </a:lnTo>
                  <a:lnTo>
                    <a:pt x="396" y="588"/>
                  </a:lnTo>
                  <a:lnTo>
                    <a:pt x="389" y="586"/>
                  </a:lnTo>
                  <a:lnTo>
                    <a:pt x="387" y="586"/>
                  </a:lnTo>
                  <a:lnTo>
                    <a:pt x="385" y="583"/>
                  </a:lnTo>
                  <a:lnTo>
                    <a:pt x="382" y="586"/>
                  </a:lnTo>
                  <a:lnTo>
                    <a:pt x="380" y="586"/>
                  </a:lnTo>
                  <a:lnTo>
                    <a:pt x="380" y="588"/>
                  </a:lnTo>
                  <a:lnTo>
                    <a:pt x="380" y="586"/>
                  </a:lnTo>
                  <a:lnTo>
                    <a:pt x="378" y="588"/>
                  </a:lnTo>
                  <a:lnTo>
                    <a:pt x="375" y="588"/>
                  </a:lnTo>
                  <a:lnTo>
                    <a:pt x="373" y="586"/>
                  </a:lnTo>
                  <a:lnTo>
                    <a:pt x="370" y="586"/>
                  </a:lnTo>
                  <a:lnTo>
                    <a:pt x="370" y="588"/>
                  </a:lnTo>
                  <a:lnTo>
                    <a:pt x="370" y="588"/>
                  </a:lnTo>
                  <a:lnTo>
                    <a:pt x="368" y="593"/>
                  </a:lnTo>
                  <a:lnTo>
                    <a:pt x="368" y="593"/>
                  </a:lnTo>
                  <a:lnTo>
                    <a:pt x="368" y="595"/>
                  </a:lnTo>
                  <a:lnTo>
                    <a:pt x="368" y="595"/>
                  </a:lnTo>
                  <a:lnTo>
                    <a:pt x="366" y="595"/>
                  </a:lnTo>
                  <a:lnTo>
                    <a:pt x="363" y="598"/>
                  </a:lnTo>
                  <a:lnTo>
                    <a:pt x="361" y="598"/>
                  </a:lnTo>
                  <a:lnTo>
                    <a:pt x="361" y="598"/>
                  </a:lnTo>
                  <a:lnTo>
                    <a:pt x="356" y="595"/>
                  </a:lnTo>
                  <a:lnTo>
                    <a:pt x="356" y="595"/>
                  </a:lnTo>
                  <a:lnTo>
                    <a:pt x="356" y="595"/>
                  </a:lnTo>
                  <a:lnTo>
                    <a:pt x="356" y="595"/>
                  </a:lnTo>
                  <a:lnTo>
                    <a:pt x="354" y="595"/>
                  </a:lnTo>
                  <a:lnTo>
                    <a:pt x="352" y="595"/>
                  </a:lnTo>
                  <a:lnTo>
                    <a:pt x="352" y="595"/>
                  </a:lnTo>
                  <a:lnTo>
                    <a:pt x="349" y="593"/>
                  </a:lnTo>
                  <a:lnTo>
                    <a:pt x="349" y="593"/>
                  </a:lnTo>
                  <a:lnTo>
                    <a:pt x="347" y="593"/>
                  </a:lnTo>
                  <a:lnTo>
                    <a:pt x="347" y="593"/>
                  </a:lnTo>
                  <a:lnTo>
                    <a:pt x="344" y="593"/>
                  </a:lnTo>
                  <a:lnTo>
                    <a:pt x="344" y="593"/>
                  </a:lnTo>
                  <a:lnTo>
                    <a:pt x="344" y="593"/>
                  </a:lnTo>
                  <a:lnTo>
                    <a:pt x="344" y="593"/>
                  </a:lnTo>
                  <a:lnTo>
                    <a:pt x="342" y="593"/>
                  </a:lnTo>
                  <a:lnTo>
                    <a:pt x="342" y="595"/>
                  </a:lnTo>
                  <a:lnTo>
                    <a:pt x="340" y="595"/>
                  </a:lnTo>
                  <a:lnTo>
                    <a:pt x="340" y="593"/>
                  </a:lnTo>
                  <a:lnTo>
                    <a:pt x="340" y="590"/>
                  </a:lnTo>
                  <a:lnTo>
                    <a:pt x="340" y="590"/>
                  </a:lnTo>
                  <a:lnTo>
                    <a:pt x="337" y="590"/>
                  </a:lnTo>
                  <a:lnTo>
                    <a:pt x="337" y="595"/>
                  </a:lnTo>
                  <a:lnTo>
                    <a:pt x="337" y="595"/>
                  </a:lnTo>
                  <a:lnTo>
                    <a:pt x="335" y="595"/>
                  </a:lnTo>
                  <a:lnTo>
                    <a:pt x="335" y="595"/>
                  </a:lnTo>
                  <a:lnTo>
                    <a:pt x="335" y="595"/>
                  </a:lnTo>
                  <a:lnTo>
                    <a:pt x="333" y="595"/>
                  </a:lnTo>
                  <a:lnTo>
                    <a:pt x="335" y="593"/>
                  </a:lnTo>
                  <a:lnTo>
                    <a:pt x="335" y="588"/>
                  </a:lnTo>
                  <a:lnTo>
                    <a:pt x="333" y="588"/>
                  </a:lnTo>
                  <a:lnTo>
                    <a:pt x="333" y="590"/>
                  </a:lnTo>
                  <a:lnTo>
                    <a:pt x="330" y="590"/>
                  </a:lnTo>
                  <a:lnTo>
                    <a:pt x="330" y="588"/>
                  </a:lnTo>
                  <a:lnTo>
                    <a:pt x="328" y="588"/>
                  </a:lnTo>
                  <a:lnTo>
                    <a:pt x="326" y="588"/>
                  </a:lnTo>
                  <a:lnTo>
                    <a:pt x="323" y="590"/>
                  </a:lnTo>
                  <a:lnTo>
                    <a:pt x="321" y="593"/>
                  </a:lnTo>
                  <a:lnTo>
                    <a:pt x="321" y="593"/>
                  </a:lnTo>
                  <a:lnTo>
                    <a:pt x="321" y="595"/>
                  </a:lnTo>
                  <a:lnTo>
                    <a:pt x="318" y="593"/>
                  </a:lnTo>
                  <a:lnTo>
                    <a:pt x="318" y="593"/>
                  </a:lnTo>
                  <a:lnTo>
                    <a:pt x="318" y="590"/>
                  </a:lnTo>
                  <a:lnTo>
                    <a:pt x="318" y="588"/>
                  </a:lnTo>
                  <a:lnTo>
                    <a:pt x="314" y="588"/>
                  </a:lnTo>
                  <a:lnTo>
                    <a:pt x="311" y="588"/>
                  </a:lnTo>
                  <a:lnTo>
                    <a:pt x="304" y="588"/>
                  </a:lnTo>
                  <a:lnTo>
                    <a:pt x="304" y="586"/>
                  </a:lnTo>
                  <a:lnTo>
                    <a:pt x="302" y="586"/>
                  </a:lnTo>
                  <a:lnTo>
                    <a:pt x="300" y="581"/>
                  </a:lnTo>
                  <a:lnTo>
                    <a:pt x="297" y="579"/>
                  </a:lnTo>
                  <a:lnTo>
                    <a:pt x="295" y="579"/>
                  </a:lnTo>
                  <a:lnTo>
                    <a:pt x="293" y="576"/>
                  </a:lnTo>
                  <a:lnTo>
                    <a:pt x="293" y="574"/>
                  </a:lnTo>
                  <a:lnTo>
                    <a:pt x="293" y="574"/>
                  </a:lnTo>
                  <a:lnTo>
                    <a:pt x="293" y="572"/>
                  </a:lnTo>
                  <a:lnTo>
                    <a:pt x="293" y="567"/>
                  </a:lnTo>
                  <a:lnTo>
                    <a:pt x="293" y="562"/>
                  </a:lnTo>
                  <a:lnTo>
                    <a:pt x="293" y="557"/>
                  </a:lnTo>
                  <a:lnTo>
                    <a:pt x="293" y="557"/>
                  </a:lnTo>
                  <a:lnTo>
                    <a:pt x="290" y="557"/>
                  </a:lnTo>
                  <a:lnTo>
                    <a:pt x="285" y="560"/>
                  </a:lnTo>
                  <a:lnTo>
                    <a:pt x="285" y="560"/>
                  </a:lnTo>
                  <a:lnTo>
                    <a:pt x="283" y="557"/>
                  </a:lnTo>
                  <a:lnTo>
                    <a:pt x="283" y="557"/>
                  </a:lnTo>
                  <a:lnTo>
                    <a:pt x="281" y="557"/>
                  </a:lnTo>
                  <a:lnTo>
                    <a:pt x="278" y="557"/>
                  </a:lnTo>
                  <a:lnTo>
                    <a:pt x="271" y="555"/>
                  </a:lnTo>
                  <a:lnTo>
                    <a:pt x="267" y="553"/>
                  </a:lnTo>
                  <a:lnTo>
                    <a:pt x="267" y="550"/>
                  </a:lnTo>
                  <a:lnTo>
                    <a:pt x="264" y="548"/>
                  </a:lnTo>
                  <a:lnTo>
                    <a:pt x="267" y="546"/>
                  </a:lnTo>
                  <a:lnTo>
                    <a:pt x="267" y="541"/>
                  </a:lnTo>
                  <a:lnTo>
                    <a:pt x="267" y="541"/>
                  </a:lnTo>
                  <a:lnTo>
                    <a:pt x="267" y="538"/>
                  </a:lnTo>
                  <a:lnTo>
                    <a:pt x="264" y="541"/>
                  </a:lnTo>
                  <a:lnTo>
                    <a:pt x="262" y="541"/>
                  </a:lnTo>
                  <a:lnTo>
                    <a:pt x="262" y="543"/>
                  </a:lnTo>
                  <a:lnTo>
                    <a:pt x="262" y="546"/>
                  </a:lnTo>
                  <a:lnTo>
                    <a:pt x="262" y="548"/>
                  </a:lnTo>
                  <a:lnTo>
                    <a:pt x="259" y="548"/>
                  </a:lnTo>
                  <a:lnTo>
                    <a:pt x="259" y="548"/>
                  </a:lnTo>
                  <a:lnTo>
                    <a:pt x="259" y="548"/>
                  </a:lnTo>
                  <a:lnTo>
                    <a:pt x="259" y="543"/>
                  </a:lnTo>
                  <a:lnTo>
                    <a:pt x="259" y="541"/>
                  </a:lnTo>
                  <a:lnTo>
                    <a:pt x="259" y="541"/>
                  </a:lnTo>
                  <a:lnTo>
                    <a:pt x="257" y="538"/>
                  </a:lnTo>
                  <a:lnTo>
                    <a:pt x="255" y="538"/>
                  </a:lnTo>
                  <a:lnTo>
                    <a:pt x="252" y="541"/>
                  </a:lnTo>
                  <a:lnTo>
                    <a:pt x="250" y="546"/>
                  </a:lnTo>
                  <a:lnTo>
                    <a:pt x="250" y="546"/>
                  </a:lnTo>
                  <a:lnTo>
                    <a:pt x="250" y="543"/>
                  </a:lnTo>
                  <a:lnTo>
                    <a:pt x="250" y="541"/>
                  </a:lnTo>
                  <a:lnTo>
                    <a:pt x="250" y="538"/>
                  </a:lnTo>
                  <a:lnTo>
                    <a:pt x="252" y="538"/>
                  </a:lnTo>
                  <a:lnTo>
                    <a:pt x="252" y="536"/>
                  </a:lnTo>
                  <a:lnTo>
                    <a:pt x="252" y="534"/>
                  </a:lnTo>
                  <a:lnTo>
                    <a:pt x="250" y="531"/>
                  </a:lnTo>
                  <a:lnTo>
                    <a:pt x="250" y="529"/>
                  </a:lnTo>
                  <a:lnTo>
                    <a:pt x="248" y="529"/>
                  </a:lnTo>
                  <a:lnTo>
                    <a:pt x="248" y="529"/>
                  </a:lnTo>
                  <a:lnTo>
                    <a:pt x="243" y="529"/>
                  </a:lnTo>
                  <a:lnTo>
                    <a:pt x="241" y="531"/>
                  </a:lnTo>
                  <a:lnTo>
                    <a:pt x="238" y="531"/>
                  </a:lnTo>
                  <a:lnTo>
                    <a:pt x="236" y="529"/>
                  </a:lnTo>
                  <a:lnTo>
                    <a:pt x="236" y="527"/>
                  </a:lnTo>
                  <a:lnTo>
                    <a:pt x="233" y="529"/>
                  </a:lnTo>
                  <a:lnTo>
                    <a:pt x="233" y="531"/>
                  </a:lnTo>
                  <a:lnTo>
                    <a:pt x="231" y="531"/>
                  </a:lnTo>
                  <a:lnTo>
                    <a:pt x="231" y="531"/>
                  </a:lnTo>
                  <a:lnTo>
                    <a:pt x="229" y="527"/>
                  </a:lnTo>
                  <a:lnTo>
                    <a:pt x="229" y="527"/>
                  </a:lnTo>
                  <a:lnTo>
                    <a:pt x="226" y="529"/>
                  </a:lnTo>
                  <a:lnTo>
                    <a:pt x="224" y="529"/>
                  </a:lnTo>
                  <a:lnTo>
                    <a:pt x="224" y="527"/>
                  </a:lnTo>
                  <a:lnTo>
                    <a:pt x="226" y="524"/>
                  </a:lnTo>
                  <a:lnTo>
                    <a:pt x="224" y="524"/>
                  </a:lnTo>
                  <a:lnTo>
                    <a:pt x="224" y="524"/>
                  </a:lnTo>
                  <a:lnTo>
                    <a:pt x="224" y="524"/>
                  </a:lnTo>
                  <a:lnTo>
                    <a:pt x="226" y="522"/>
                  </a:lnTo>
                  <a:lnTo>
                    <a:pt x="229" y="515"/>
                  </a:lnTo>
                  <a:lnTo>
                    <a:pt x="226" y="515"/>
                  </a:lnTo>
                  <a:lnTo>
                    <a:pt x="224" y="512"/>
                  </a:lnTo>
                  <a:lnTo>
                    <a:pt x="222" y="512"/>
                  </a:lnTo>
                  <a:lnTo>
                    <a:pt x="219" y="510"/>
                  </a:lnTo>
                  <a:lnTo>
                    <a:pt x="219" y="510"/>
                  </a:lnTo>
                  <a:lnTo>
                    <a:pt x="222" y="505"/>
                  </a:lnTo>
                  <a:lnTo>
                    <a:pt x="222" y="501"/>
                  </a:lnTo>
                  <a:lnTo>
                    <a:pt x="219" y="494"/>
                  </a:lnTo>
                  <a:lnTo>
                    <a:pt x="219" y="491"/>
                  </a:lnTo>
                  <a:lnTo>
                    <a:pt x="219" y="491"/>
                  </a:lnTo>
                  <a:lnTo>
                    <a:pt x="217" y="491"/>
                  </a:lnTo>
                  <a:lnTo>
                    <a:pt x="212" y="491"/>
                  </a:lnTo>
                  <a:lnTo>
                    <a:pt x="205" y="491"/>
                  </a:lnTo>
                  <a:lnTo>
                    <a:pt x="205" y="494"/>
                  </a:lnTo>
                  <a:lnTo>
                    <a:pt x="207" y="494"/>
                  </a:lnTo>
                  <a:lnTo>
                    <a:pt x="207" y="496"/>
                  </a:lnTo>
                  <a:lnTo>
                    <a:pt x="207" y="496"/>
                  </a:lnTo>
                  <a:lnTo>
                    <a:pt x="205" y="496"/>
                  </a:lnTo>
                  <a:lnTo>
                    <a:pt x="200" y="494"/>
                  </a:lnTo>
                  <a:lnTo>
                    <a:pt x="196" y="491"/>
                  </a:lnTo>
                  <a:lnTo>
                    <a:pt x="196" y="491"/>
                  </a:lnTo>
                  <a:lnTo>
                    <a:pt x="196" y="489"/>
                  </a:lnTo>
                  <a:lnTo>
                    <a:pt x="200" y="487"/>
                  </a:lnTo>
                  <a:lnTo>
                    <a:pt x="203" y="482"/>
                  </a:lnTo>
                  <a:lnTo>
                    <a:pt x="203" y="482"/>
                  </a:lnTo>
                  <a:lnTo>
                    <a:pt x="200" y="477"/>
                  </a:lnTo>
                  <a:lnTo>
                    <a:pt x="200" y="477"/>
                  </a:lnTo>
                  <a:lnTo>
                    <a:pt x="200" y="475"/>
                  </a:lnTo>
                  <a:lnTo>
                    <a:pt x="200" y="475"/>
                  </a:lnTo>
                  <a:lnTo>
                    <a:pt x="200" y="472"/>
                  </a:lnTo>
                  <a:lnTo>
                    <a:pt x="203" y="470"/>
                  </a:lnTo>
                  <a:lnTo>
                    <a:pt x="203" y="468"/>
                  </a:lnTo>
                  <a:lnTo>
                    <a:pt x="203" y="465"/>
                  </a:lnTo>
                  <a:lnTo>
                    <a:pt x="200" y="465"/>
                  </a:lnTo>
                  <a:lnTo>
                    <a:pt x="196" y="465"/>
                  </a:lnTo>
                  <a:lnTo>
                    <a:pt x="191" y="463"/>
                  </a:lnTo>
                  <a:lnTo>
                    <a:pt x="191" y="463"/>
                  </a:lnTo>
                  <a:lnTo>
                    <a:pt x="191" y="463"/>
                  </a:lnTo>
                  <a:lnTo>
                    <a:pt x="189" y="453"/>
                  </a:lnTo>
                  <a:lnTo>
                    <a:pt x="189" y="449"/>
                  </a:lnTo>
                  <a:lnTo>
                    <a:pt x="186" y="444"/>
                  </a:lnTo>
                  <a:lnTo>
                    <a:pt x="186" y="442"/>
                  </a:lnTo>
                  <a:lnTo>
                    <a:pt x="191" y="442"/>
                  </a:lnTo>
                  <a:lnTo>
                    <a:pt x="193" y="439"/>
                  </a:lnTo>
                  <a:lnTo>
                    <a:pt x="191" y="439"/>
                  </a:lnTo>
                  <a:lnTo>
                    <a:pt x="186" y="439"/>
                  </a:lnTo>
                  <a:lnTo>
                    <a:pt x="186" y="437"/>
                  </a:lnTo>
                  <a:lnTo>
                    <a:pt x="184" y="430"/>
                  </a:lnTo>
                  <a:lnTo>
                    <a:pt x="184" y="427"/>
                  </a:lnTo>
                  <a:lnTo>
                    <a:pt x="184" y="425"/>
                  </a:lnTo>
                  <a:lnTo>
                    <a:pt x="189" y="425"/>
                  </a:lnTo>
                  <a:lnTo>
                    <a:pt x="189" y="423"/>
                  </a:lnTo>
                  <a:lnTo>
                    <a:pt x="189" y="423"/>
                  </a:lnTo>
                  <a:lnTo>
                    <a:pt x="186" y="423"/>
                  </a:lnTo>
                  <a:lnTo>
                    <a:pt x="186" y="423"/>
                  </a:lnTo>
                  <a:lnTo>
                    <a:pt x="184" y="423"/>
                  </a:lnTo>
                  <a:lnTo>
                    <a:pt x="184" y="418"/>
                  </a:lnTo>
                  <a:lnTo>
                    <a:pt x="184" y="416"/>
                  </a:lnTo>
                  <a:lnTo>
                    <a:pt x="184" y="413"/>
                  </a:lnTo>
                  <a:lnTo>
                    <a:pt x="186" y="411"/>
                  </a:lnTo>
                  <a:lnTo>
                    <a:pt x="193" y="409"/>
                  </a:lnTo>
                  <a:lnTo>
                    <a:pt x="193" y="409"/>
                  </a:lnTo>
                  <a:lnTo>
                    <a:pt x="193" y="406"/>
                  </a:lnTo>
                  <a:lnTo>
                    <a:pt x="191" y="401"/>
                  </a:lnTo>
                  <a:lnTo>
                    <a:pt x="191" y="401"/>
                  </a:lnTo>
                  <a:lnTo>
                    <a:pt x="196" y="399"/>
                  </a:lnTo>
                  <a:lnTo>
                    <a:pt x="198" y="397"/>
                  </a:lnTo>
                  <a:lnTo>
                    <a:pt x="198" y="394"/>
                  </a:lnTo>
                  <a:lnTo>
                    <a:pt x="196" y="392"/>
                  </a:lnTo>
                  <a:lnTo>
                    <a:pt x="193" y="390"/>
                  </a:lnTo>
                  <a:lnTo>
                    <a:pt x="193" y="387"/>
                  </a:lnTo>
                  <a:lnTo>
                    <a:pt x="193" y="387"/>
                  </a:lnTo>
                  <a:lnTo>
                    <a:pt x="196" y="387"/>
                  </a:lnTo>
                  <a:lnTo>
                    <a:pt x="193" y="380"/>
                  </a:lnTo>
                  <a:lnTo>
                    <a:pt x="189" y="373"/>
                  </a:lnTo>
                  <a:lnTo>
                    <a:pt x="186" y="373"/>
                  </a:lnTo>
                  <a:lnTo>
                    <a:pt x="184" y="373"/>
                  </a:lnTo>
                  <a:lnTo>
                    <a:pt x="184" y="371"/>
                  </a:lnTo>
                  <a:lnTo>
                    <a:pt x="184" y="368"/>
                  </a:lnTo>
                  <a:lnTo>
                    <a:pt x="184" y="368"/>
                  </a:lnTo>
                  <a:lnTo>
                    <a:pt x="186" y="366"/>
                  </a:lnTo>
                  <a:lnTo>
                    <a:pt x="184" y="364"/>
                  </a:lnTo>
                  <a:lnTo>
                    <a:pt x="186" y="361"/>
                  </a:lnTo>
                  <a:lnTo>
                    <a:pt x="186" y="357"/>
                  </a:lnTo>
                  <a:lnTo>
                    <a:pt x="184" y="354"/>
                  </a:lnTo>
                  <a:lnTo>
                    <a:pt x="184" y="352"/>
                  </a:lnTo>
                  <a:lnTo>
                    <a:pt x="181" y="352"/>
                  </a:lnTo>
                  <a:lnTo>
                    <a:pt x="179" y="352"/>
                  </a:lnTo>
                  <a:lnTo>
                    <a:pt x="177" y="349"/>
                  </a:lnTo>
                  <a:lnTo>
                    <a:pt x="177" y="349"/>
                  </a:lnTo>
                  <a:lnTo>
                    <a:pt x="177" y="349"/>
                  </a:lnTo>
                  <a:lnTo>
                    <a:pt x="177" y="347"/>
                  </a:lnTo>
                  <a:lnTo>
                    <a:pt x="177" y="347"/>
                  </a:lnTo>
                  <a:lnTo>
                    <a:pt x="177" y="345"/>
                  </a:lnTo>
                  <a:lnTo>
                    <a:pt x="179" y="345"/>
                  </a:lnTo>
                  <a:lnTo>
                    <a:pt x="179" y="345"/>
                  </a:lnTo>
                  <a:lnTo>
                    <a:pt x="179" y="342"/>
                  </a:lnTo>
                  <a:lnTo>
                    <a:pt x="177" y="340"/>
                  </a:lnTo>
                  <a:lnTo>
                    <a:pt x="177" y="338"/>
                  </a:lnTo>
                  <a:lnTo>
                    <a:pt x="177" y="333"/>
                  </a:lnTo>
                  <a:lnTo>
                    <a:pt x="174" y="331"/>
                  </a:lnTo>
                  <a:lnTo>
                    <a:pt x="174" y="331"/>
                  </a:lnTo>
                  <a:lnTo>
                    <a:pt x="174" y="328"/>
                  </a:lnTo>
                  <a:lnTo>
                    <a:pt x="177" y="328"/>
                  </a:lnTo>
                  <a:lnTo>
                    <a:pt x="179" y="326"/>
                  </a:lnTo>
                  <a:lnTo>
                    <a:pt x="181" y="324"/>
                  </a:lnTo>
                  <a:lnTo>
                    <a:pt x="181" y="319"/>
                  </a:lnTo>
                  <a:lnTo>
                    <a:pt x="179" y="316"/>
                  </a:lnTo>
                  <a:lnTo>
                    <a:pt x="181" y="312"/>
                  </a:lnTo>
                  <a:lnTo>
                    <a:pt x="184" y="312"/>
                  </a:lnTo>
                  <a:lnTo>
                    <a:pt x="186" y="309"/>
                  </a:lnTo>
                  <a:lnTo>
                    <a:pt x="189" y="307"/>
                  </a:lnTo>
                  <a:lnTo>
                    <a:pt x="191" y="300"/>
                  </a:lnTo>
                  <a:lnTo>
                    <a:pt x="191" y="300"/>
                  </a:lnTo>
                  <a:lnTo>
                    <a:pt x="191" y="298"/>
                  </a:lnTo>
                  <a:lnTo>
                    <a:pt x="193" y="298"/>
                  </a:lnTo>
                  <a:lnTo>
                    <a:pt x="193" y="295"/>
                  </a:lnTo>
                  <a:lnTo>
                    <a:pt x="193" y="295"/>
                  </a:lnTo>
                  <a:lnTo>
                    <a:pt x="191" y="290"/>
                  </a:lnTo>
                  <a:lnTo>
                    <a:pt x="191" y="288"/>
                  </a:lnTo>
                  <a:lnTo>
                    <a:pt x="191" y="286"/>
                  </a:lnTo>
                  <a:lnTo>
                    <a:pt x="191" y="281"/>
                  </a:lnTo>
                  <a:lnTo>
                    <a:pt x="189" y="279"/>
                  </a:lnTo>
                  <a:lnTo>
                    <a:pt x="189" y="274"/>
                  </a:lnTo>
                  <a:lnTo>
                    <a:pt x="186" y="274"/>
                  </a:lnTo>
                  <a:lnTo>
                    <a:pt x="189" y="267"/>
                  </a:lnTo>
                  <a:lnTo>
                    <a:pt x="189" y="264"/>
                  </a:lnTo>
                  <a:lnTo>
                    <a:pt x="186" y="262"/>
                  </a:lnTo>
                  <a:lnTo>
                    <a:pt x="186" y="260"/>
                  </a:lnTo>
                  <a:lnTo>
                    <a:pt x="186" y="257"/>
                  </a:lnTo>
                  <a:lnTo>
                    <a:pt x="189" y="255"/>
                  </a:lnTo>
                  <a:lnTo>
                    <a:pt x="193" y="250"/>
                  </a:lnTo>
                  <a:lnTo>
                    <a:pt x="193" y="246"/>
                  </a:lnTo>
                  <a:lnTo>
                    <a:pt x="193" y="246"/>
                  </a:lnTo>
                  <a:lnTo>
                    <a:pt x="189" y="243"/>
                  </a:lnTo>
                  <a:lnTo>
                    <a:pt x="186" y="238"/>
                  </a:lnTo>
                  <a:lnTo>
                    <a:pt x="186" y="234"/>
                  </a:lnTo>
                  <a:lnTo>
                    <a:pt x="184" y="231"/>
                  </a:lnTo>
                  <a:lnTo>
                    <a:pt x="184" y="229"/>
                  </a:lnTo>
                  <a:lnTo>
                    <a:pt x="179" y="227"/>
                  </a:lnTo>
                  <a:lnTo>
                    <a:pt x="172" y="224"/>
                  </a:lnTo>
                  <a:lnTo>
                    <a:pt x="172" y="224"/>
                  </a:lnTo>
                  <a:lnTo>
                    <a:pt x="174" y="224"/>
                  </a:lnTo>
                  <a:lnTo>
                    <a:pt x="174" y="227"/>
                  </a:lnTo>
                  <a:lnTo>
                    <a:pt x="172" y="227"/>
                  </a:lnTo>
                  <a:lnTo>
                    <a:pt x="170" y="229"/>
                  </a:lnTo>
                  <a:lnTo>
                    <a:pt x="167" y="229"/>
                  </a:lnTo>
                  <a:lnTo>
                    <a:pt x="167" y="229"/>
                  </a:lnTo>
                  <a:lnTo>
                    <a:pt x="167" y="229"/>
                  </a:lnTo>
                  <a:lnTo>
                    <a:pt x="167" y="231"/>
                  </a:lnTo>
                  <a:lnTo>
                    <a:pt x="165" y="231"/>
                  </a:lnTo>
                  <a:lnTo>
                    <a:pt x="165" y="236"/>
                  </a:lnTo>
                  <a:lnTo>
                    <a:pt x="165" y="238"/>
                  </a:lnTo>
                  <a:lnTo>
                    <a:pt x="165" y="238"/>
                  </a:lnTo>
                  <a:lnTo>
                    <a:pt x="165" y="238"/>
                  </a:lnTo>
                  <a:lnTo>
                    <a:pt x="160" y="238"/>
                  </a:lnTo>
                  <a:lnTo>
                    <a:pt x="160" y="241"/>
                  </a:lnTo>
                  <a:lnTo>
                    <a:pt x="158" y="241"/>
                  </a:lnTo>
                  <a:lnTo>
                    <a:pt x="158" y="243"/>
                  </a:lnTo>
                  <a:lnTo>
                    <a:pt x="158" y="243"/>
                  </a:lnTo>
                  <a:lnTo>
                    <a:pt x="158" y="246"/>
                  </a:lnTo>
                  <a:lnTo>
                    <a:pt x="158" y="246"/>
                  </a:lnTo>
                  <a:lnTo>
                    <a:pt x="158" y="246"/>
                  </a:lnTo>
                  <a:lnTo>
                    <a:pt x="158" y="246"/>
                  </a:lnTo>
                  <a:lnTo>
                    <a:pt x="153" y="246"/>
                  </a:lnTo>
                  <a:lnTo>
                    <a:pt x="153" y="243"/>
                  </a:lnTo>
                  <a:lnTo>
                    <a:pt x="153" y="243"/>
                  </a:lnTo>
                  <a:lnTo>
                    <a:pt x="151" y="246"/>
                  </a:lnTo>
                  <a:lnTo>
                    <a:pt x="151" y="246"/>
                  </a:lnTo>
                  <a:lnTo>
                    <a:pt x="148" y="246"/>
                  </a:lnTo>
                  <a:lnTo>
                    <a:pt x="148" y="241"/>
                  </a:lnTo>
                  <a:lnTo>
                    <a:pt x="148" y="241"/>
                  </a:lnTo>
                  <a:lnTo>
                    <a:pt x="146" y="243"/>
                  </a:lnTo>
                  <a:lnTo>
                    <a:pt x="146" y="243"/>
                  </a:lnTo>
                  <a:lnTo>
                    <a:pt x="146" y="241"/>
                  </a:lnTo>
                  <a:lnTo>
                    <a:pt x="148" y="238"/>
                  </a:lnTo>
                  <a:lnTo>
                    <a:pt x="146" y="238"/>
                  </a:lnTo>
                  <a:lnTo>
                    <a:pt x="146" y="238"/>
                  </a:lnTo>
                  <a:lnTo>
                    <a:pt x="144" y="238"/>
                  </a:lnTo>
                  <a:lnTo>
                    <a:pt x="141" y="241"/>
                  </a:lnTo>
                  <a:lnTo>
                    <a:pt x="141" y="243"/>
                  </a:lnTo>
                  <a:lnTo>
                    <a:pt x="139" y="241"/>
                  </a:lnTo>
                  <a:lnTo>
                    <a:pt x="141" y="238"/>
                  </a:lnTo>
                  <a:lnTo>
                    <a:pt x="139" y="236"/>
                  </a:lnTo>
                  <a:lnTo>
                    <a:pt x="139" y="236"/>
                  </a:lnTo>
                  <a:lnTo>
                    <a:pt x="139" y="236"/>
                  </a:lnTo>
                  <a:lnTo>
                    <a:pt x="141" y="236"/>
                  </a:lnTo>
                  <a:lnTo>
                    <a:pt x="141" y="236"/>
                  </a:lnTo>
                  <a:lnTo>
                    <a:pt x="144" y="236"/>
                  </a:lnTo>
                  <a:lnTo>
                    <a:pt x="141" y="236"/>
                  </a:lnTo>
                  <a:lnTo>
                    <a:pt x="141" y="234"/>
                  </a:lnTo>
                  <a:lnTo>
                    <a:pt x="141" y="234"/>
                  </a:lnTo>
                  <a:lnTo>
                    <a:pt x="139" y="236"/>
                  </a:lnTo>
                  <a:lnTo>
                    <a:pt x="139" y="236"/>
                  </a:lnTo>
                  <a:lnTo>
                    <a:pt x="137" y="236"/>
                  </a:lnTo>
                  <a:lnTo>
                    <a:pt x="137" y="236"/>
                  </a:lnTo>
                  <a:lnTo>
                    <a:pt x="137" y="238"/>
                  </a:lnTo>
                  <a:lnTo>
                    <a:pt x="134" y="238"/>
                  </a:lnTo>
                  <a:lnTo>
                    <a:pt x="132" y="236"/>
                  </a:lnTo>
                  <a:lnTo>
                    <a:pt x="132" y="236"/>
                  </a:lnTo>
                  <a:lnTo>
                    <a:pt x="132" y="234"/>
                  </a:lnTo>
                  <a:lnTo>
                    <a:pt x="132" y="231"/>
                  </a:lnTo>
                  <a:lnTo>
                    <a:pt x="130" y="234"/>
                  </a:lnTo>
                  <a:lnTo>
                    <a:pt x="130" y="234"/>
                  </a:lnTo>
                  <a:lnTo>
                    <a:pt x="132" y="236"/>
                  </a:lnTo>
                  <a:lnTo>
                    <a:pt x="130" y="236"/>
                  </a:lnTo>
                  <a:lnTo>
                    <a:pt x="130" y="238"/>
                  </a:lnTo>
                  <a:lnTo>
                    <a:pt x="130" y="238"/>
                  </a:lnTo>
                  <a:lnTo>
                    <a:pt x="127" y="238"/>
                  </a:lnTo>
                  <a:lnTo>
                    <a:pt x="127" y="238"/>
                  </a:lnTo>
                  <a:lnTo>
                    <a:pt x="127" y="238"/>
                  </a:lnTo>
                  <a:lnTo>
                    <a:pt x="127" y="236"/>
                  </a:lnTo>
                  <a:lnTo>
                    <a:pt x="127" y="236"/>
                  </a:lnTo>
                  <a:lnTo>
                    <a:pt x="127" y="236"/>
                  </a:lnTo>
                  <a:lnTo>
                    <a:pt x="127" y="236"/>
                  </a:lnTo>
                  <a:lnTo>
                    <a:pt x="127" y="234"/>
                  </a:lnTo>
                  <a:lnTo>
                    <a:pt x="125" y="234"/>
                  </a:lnTo>
                  <a:lnTo>
                    <a:pt x="125" y="236"/>
                  </a:lnTo>
                  <a:lnTo>
                    <a:pt x="122" y="236"/>
                  </a:lnTo>
                  <a:lnTo>
                    <a:pt x="122" y="238"/>
                  </a:lnTo>
                  <a:lnTo>
                    <a:pt x="122" y="238"/>
                  </a:lnTo>
                  <a:lnTo>
                    <a:pt x="122" y="238"/>
                  </a:lnTo>
                  <a:lnTo>
                    <a:pt x="120" y="238"/>
                  </a:lnTo>
                  <a:lnTo>
                    <a:pt x="118" y="238"/>
                  </a:lnTo>
                  <a:lnTo>
                    <a:pt x="120" y="238"/>
                  </a:lnTo>
                  <a:lnTo>
                    <a:pt x="120" y="236"/>
                  </a:lnTo>
                  <a:lnTo>
                    <a:pt x="120" y="236"/>
                  </a:lnTo>
                  <a:lnTo>
                    <a:pt x="120" y="236"/>
                  </a:lnTo>
                  <a:lnTo>
                    <a:pt x="118" y="234"/>
                  </a:lnTo>
                  <a:lnTo>
                    <a:pt x="118" y="234"/>
                  </a:lnTo>
                  <a:lnTo>
                    <a:pt x="115" y="236"/>
                  </a:lnTo>
                  <a:lnTo>
                    <a:pt x="115" y="236"/>
                  </a:lnTo>
                  <a:lnTo>
                    <a:pt x="113" y="236"/>
                  </a:lnTo>
                  <a:lnTo>
                    <a:pt x="113" y="234"/>
                  </a:lnTo>
                  <a:lnTo>
                    <a:pt x="113" y="234"/>
                  </a:lnTo>
                  <a:lnTo>
                    <a:pt x="111" y="236"/>
                  </a:lnTo>
                  <a:lnTo>
                    <a:pt x="113" y="236"/>
                  </a:lnTo>
                  <a:lnTo>
                    <a:pt x="111" y="236"/>
                  </a:lnTo>
                  <a:lnTo>
                    <a:pt x="111" y="236"/>
                  </a:lnTo>
                  <a:lnTo>
                    <a:pt x="111" y="236"/>
                  </a:lnTo>
                  <a:lnTo>
                    <a:pt x="111" y="236"/>
                  </a:lnTo>
                  <a:lnTo>
                    <a:pt x="108" y="236"/>
                  </a:lnTo>
                  <a:lnTo>
                    <a:pt x="106" y="236"/>
                  </a:lnTo>
                  <a:lnTo>
                    <a:pt x="106" y="241"/>
                  </a:lnTo>
                  <a:lnTo>
                    <a:pt x="108" y="241"/>
                  </a:lnTo>
                  <a:lnTo>
                    <a:pt x="106" y="241"/>
                  </a:lnTo>
                  <a:lnTo>
                    <a:pt x="104" y="241"/>
                  </a:lnTo>
                  <a:lnTo>
                    <a:pt x="104" y="243"/>
                  </a:lnTo>
                  <a:lnTo>
                    <a:pt x="104" y="241"/>
                  </a:lnTo>
                  <a:lnTo>
                    <a:pt x="104" y="241"/>
                  </a:lnTo>
                  <a:lnTo>
                    <a:pt x="104" y="238"/>
                  </a:lnTo>
                  <a:lnTo>
                    <a:pt x="101" y="243"/>
                  </a:lnTo>
                  <a:lnTo>
                    <a:pt x="99" y="243"/>
                  </a:lnTo>
                  <a:lnTo>
                    <a:pt x="99" y="238"/>
                  </a:lnTo>
                  <a:lnTo>
                    <a:pt x="94" y="238"/>
                  </a:lnTo>
                  <a:lnTo>
                    <a:pt x="92" y="238"/>
                  </a:lnTo>
                  <a:lnTo>
                    <a:pt x="92" y="241"/>
                  </a:lnTo>
                  <a:lnTo>
                    <a:pt x="92" y="241"/>
                  </a:lnTo>
                  <a:lnTo>
                    <a:pt x="92" y="243"/>
                  </a:lnTo>
                  <a:lnTo>
                    <a:pt x="89" y="241"/>
                  </a:lnTo>
                  <a:lnTo>
                    <a:pt x="89" y="238"/>
                  </a:lnTo>
                  <a:lnTo>
                    <a:pt x="89" y="238"/>
                  </a:lnTo>
                  <a:lnTo>
                    <a:pt x="89" y="238"/>
                  </a:lnTo>
                  <a:lnTo>
                    <a:pt x="87" y="238"/>
                  </a:lnTo>
                  <a:lnTo>
                    <a:pt x="87" y="238"/>
                  </a:lnTo>
                  <a:lnTo>
                    <a:pt x="87" y="238"/>
                  </a:lnTo>
                  <a:lnTo>
                    <a:pt x="87" y="238"/>
                  </a:lnTo>
                  <a:lnTo>
                    <a:pt x="85" y="238"/>
                  </a:lnTo>
                  <a:lnTo>
                    <a:pt x="85" y="238"/>
                  </a:lnTo>
                  <a:lnTo>
                    <a:pt x="85" y="238"/>
                  </a:lnTo>
                  <a:lnTo>
                    <a:pt x="82" y="238"/>
                  </a:lnTo>
                  <a:lnTo>
                    <a:pt x="80" y="238"/>
                  </a:lnTo>
                  <a:lnTo>
                    <a:pt x="80" y="241"/>
                  </a:lnTo>
                  <a:lnTo>
                    <a:pt x="78" y="241"/>
                  </a:lnTo>
                  <a:lnTo>
                    <a:pt x="78" y="243"/>
                  </a:lnTo>
                  <a:lnTo>
                    <a:pt x="78" y="243"/>
                  </a:lnTo>
                  <a:lnTo>
                    <a:pt x="78" y="243"/>
                  </a:lnTo>
                  <a:lnTo>
                    <a:pt x="78" y="243"/>
                  </a:lnTo>
                  <a:lnTo>
                    <a:pt x="78" y="243"/>
                  </a:lnTo>
                  <a:lnTo>
                    <a:pt x="75" y="246"/>
                  </a:lnTo>
                  <a:lnTo>
                    <a:pt x="75" y="246"/>
                  </a:lnTo>
                  <a:lnTo>
                    <a:pt x="75" y="243"/>
                  </a:lnTo>
                  <a:lnTo>
                    <a:pt x="73" y="243"/>
                  </a:lnTo>
                  <a:lnTo>
                    <a:pt x="73" y="243"/>
                  </a:lnTo>
                  <a:lnTo>
                    <a:pt x="70" y="243"/>
                  </a:lnTo>
                  <a:lnTo>
                    <a:pt x="70" y="243"/>
                  </a:lnTo>
                  <a:lnTo>
                    <a:pt x="70" y="246"/>
                  </a:lnTo>
                  <a:lnTo>
                    <a:pt x="68" y="246"/>
                  </a:lnTo>
                  <a:lnTo>
                    <a:pt x="68" y="246"/>
                  </a:lnTo>
                  <a:lnTo>
                    <a:pt x="68" y="243"/>
                  </a:lnTo>
                  <a:lnTo>
                    <a:pt x="66" y="246"/>
                  </a:lnTo>
                  <a:lnTo>
                    <a:pt x="66" y="246"/>
                  </a:lnTo>
                  <a:lnTo>
                    <a:pt x="66" y="246"/>
                  </a:lnTo>
                  <a:lnTo>
                    <a:pt x="63" y="246"/>
                  </a:lnTo>
                  <a:lnTo>
                    <a:pt x="63" y="246"/>
                  </a:lnTo>
                  <a:lnTo>
                    <a:pt x="63" y="246"/>
                  </a:lnTo>
                  <a:lnTo>
                    <a:pt x="61" y="246"/>
                  </a:lnTo>
                  <a:lnTo>
                    <a:pt x="59" y="246"/>
                  </a:lnTo>
                  <a:lnTo>
                    <a:pt x="56" y="246"/>
                  </a:lnTo>
                  <a:lnTo>
                    <a:pt x="56" y="248"/>
                  </a:lnTo>
                  <a:lnTo>
                    <a:pt x="56" y="248"/>
                  </a:lnTo>
                  <a:lnTo>
                    <a:pt x="54" y="250"/>
                  </a:lnTo>
                  <a:lnTo>
                    <a:pt x="52" y="248"/>
                  </a:lnTo>
                  <a:lnTo>
                    <a:pt x="52" y="250"/>
                  </a:lnTo>
                  <a:lnTo>
                    <a:pt x="49" y="250"/>
                  </a:lnTo>
                  <a:lnTo>
                    <a:pt x="49" y="253"/>
                  </a:lnTo>
                  <a:lnTo>
                    <a:pt x="49" y="253"/>
                  </a:lnTo>
                  <a:lnTo>
                    <a:pt x="49" y="253"/>
                  </a:lnTo>
                  <a:lnTo>
                    <a:pt x="49" y="253"/>
                  </a:lnTo>
                  <a:lnTo>
                    <a:pt x="49" y="253"/>
                  </a:lnTo>
                  <a:lnTo>
                    <a:pt x="49" y="253"/>
                  </a:lnTo>
                  <a:lnTo>
                    <a:pt x="47" y="253"/>
                  </a:lnTo>
                  <a:lnTo>
                    <a:pt x="49" y="250"/>
                  </a:lnTo>
                  <a:lnTo>
                    <a:pt x="47" y="248"/>
                  </a:lnTo>
                  <a:lnTo>
                    <a:pt x="47" y="250"/>
                  </a:lnTo>
                  <a:lnTo>
                    <a:pt x="44" y="250"/>
                  </a:lnTo>
                  <a:lnTo>
                    <a:pt x="44" y="250"/>
                  </a:lnTo>
                  <a:lnTo>
                    <a:pt x="44" y="250"/>
                  </a:lnTo>
                  <a:lnTo>
                    <a:pt x="42" y="250"/>
                  </a:lnTo>
                  <a:lnTo>
                    <a:pt x="42" y="250"/>
                  </a:lnTo>
                  <a:lnTo>
                    <a:pt x="40" y="250"/>
                  </a:lnTo>
                  <a:lnTo>
                    <a:pt x="40" y="253"/>
                  </a:lnTo>
                  <a:lnTo>
                    <a:pt x="40" y="253"/>
                  </a:lnTo>
                  <a:lnTo>
                    <a:pt x="40" y="250"/>
                  </a:lnTo>
                  <a:lnTo>
                    <a:pt x="37" y="250"/>
                  </a:lnTo>
                  <a:lnTo>
                    <a:pt x="37" y="253"/>
                  </a:lnTo>
                  <a:lnTo>
                    <a:pt x="35" y="253"/>
                  </a:lnTo>
                  <a:lnTo>
                    <a:pt x="33" y="250"/>
                  </a:lnTo>
                  <a:lnTo>
                    <a:pt x="33" y="253"/>
                  </a:lnTo>
                  <a:lnTo>
                    <a:pt x="30" y="253"/>
                  </a:lnTo>
                  <a:lnTo>
                    <a:pt x="30" y="253"/>
                  </a:lnTo>
                  <a:lnTo>
                    <a:pt x="30" y="253"/>
                  </a:lnTo>
                  <a:lnTo>
                    <a:pt x="30" y="253"/>
                  </a:lnTo>
                  <a:lnTo>
                    <a:pt x="30" y="253"/>
                  </a:lnTo>
                  <a:lnTo>
                    <a:pt x="28" y="253"/>
                  </a:lnTo>
                  <a:lnTo>
                    <a:pt x="28" y="255"/>
                  </a:lnTo>
                  <a:lnTo>
                    <a:pt x="28" y="253"/>
                  </a:lnTo>
                  <a:lnTo>
                    <a:pt x="23" y="253"/>
                  </a:lnTo>
                  <a:lnTo>
                    <a:pt x="0" y="24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 cap="flat">
              <a:solidFill>
                <a:schemeClr val="bg2">
                  <a:lumMod val="7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>
                <a:solidFill>
                  <a:srgbClr val="000000"/>
                </a:solidFill>
              </a:endParaRPr>
            </a:p>
          </p:txBody>
        </p:sp>
        <p:sp>
          <p:nvSpPr>
            <p:cNvPr id="105" name="Freeform 33"/>
            <p:cNvSpPr>
              <a:spLocks/>
            </p:cNvSpPr>
            <p:nvPr/>
          </p:nvSpPr>
          <p:spPr bwMode="gray">
            <a:xfrm>
              <a:off x="1125616" y="2237173"/>
              <a:ext cx="607650" cy="786092"/>
            </a:xfrm>
            <a:custGeom>
              <a:avLst/>
              <a:gdLst/>
              <a:ahLst/>
              <a:cxnLst>
                <a:cxn ang="0">
                  <a:pos x="17" y="166"/>
                </a:cxn>
                <a:cxn ang="0">
                  <a:pos x="69" y="152"/>
                </a:cxn>
                <a:cxn ang="0">
                  <a:pos x="114" y="178"/>
                </a:cxn>
                <a:cxn ang="0">
                  <a:pos x="142" y="175"/>
                </a:cxn>
                <a:cxn ang="0">
                  <a:pos x="163" y="187"/>
                </a:cxn>
                <a:cxn ang="0">
                  <a:pos x="187" y="173"/>
                </a:cxn>
                <a:cxn ang="0">
                  <a:pos x="222" y="201"/>
                </a:cxn>
                <a:cxn ang="0">
                  <a:pos x="258" y="206"/>
                </a:cxn>
                <a:cxn ang="0">
                  <a:pos x="258" y="175"/>
                </a:cxn>
                <a:cxn ang="0">
                  <a:pos x="289" y="159"/>
                </a:cxn>
                <a:cxn ang="0">
                  <a:pos x="305" y="145"/>
                </a:cxn>
                <a:cxn ang="0">
                  <a:pos x="338" y="156"/>
                </a:cxn>
                <a:cxn ang="0">
                  <a:pos x="359" y="145"/>
                </a:cxn>
                <a:cxn ang="0">
                  <a:pos x="383" y="142"/>
                </a:cxn>
                <a:cxn ang="0">
                  <a:pos x="404" y="135"/>
                </a:cxn>
                <a:cxn ang="0">
                  <a:pos x="430" y="111"/>
                </a:cxn>
                <a:cxn ang="0">
                  <a:pos x="449" y="97"/>
                </a:cxn>
                <a:cxn ang="0">
                  <a:pos x="485" y="100"/>
                </a:cxn>
                <a:cxn ang="0">
                  <a:pos x="508" y="71"/>
                </a:cxn>
                <a:cxn ang="0">
                  <a:pos x="537" y="41"/>
                </a:cxn>
                <a:cxn ang="0">
                  <a:pos x="529" y="8"/>
                </a:cxn>
                <a:cxn ang="0">
                  <a:pos x="572" y="10"/>
                </a:cxn>
                <a:cxn ang="0">
                  <a:pos x="610" y="26"/>
                </a:cxn>
                <a:cxn ang="0">
                  <a:pos x="607" y="71"/>
                </a:cxn>
                <a:cxn ang="0">
                  <a:pos x="600" y="100"/>
                </a:cxn>
                <a:cxn ang="0">
                  <a:pos x="624" y="109"/>
                </a:cxn>
                <a:cxn ang="0">
                  <a:pos x="650" y="123"/>
                </a:cxn>
                <a:cxn ang="0">
                  <a:pos x="662" y="166"/>
                </a:cxn>
                <a:cxn ang="0">
                  <a:pos x="669" y="178"/>
                </a:cxn>
                <a:cxn ang="0">
                  <a:pos x="655" y="196"/>
                </a:cxn>
                <a:cxn ang="0">
                  <a:pos x="633" y="218"/>
                </a:cxn>
                <a:cxn ang="0">
                  <a:pos x="636" y="248"/>
                </a:cxn>
                <a:cxn ang="0">
                  <a:pos x="624" y="282"/>
                </a:cxn>
                <a:cxn ang="0">
                  <a:pos x="612" y="333"/>
                </a:cxn>
                <a:cxn ang="0">
                  <a:pos x="624" y="378"/>
                </a:cxn>
                <a:cxn ang="0">
                  <a:pos x="645" y="407"/>
                </a:cxn>
                <a:cxn ang="0">
                  <a:pos x="643" y="442"/>
                </a:cxn>
                <a:cxn ang="0">
                  <a:pos x="655" y="463"/>
                </a:cxn>
                <a:cxn ang="0">
                  <a:pos x="685" y="485"/>
                </a:cxn>
                <a:cxn ang="0">
                  <a:pos x="702" y="506"/>
                </a:cxn>
                <a:cxn ang="0">
                  <a:pos x="740" y="518"/>
                </a:cxn>
                <a:cxn ang="0">
                  <a:pos x="596" y="681"/>
                </a:cxn>
                <a:cxn ang="0">
                  <a:pos x="574" y="726"/>
                </a:cxn>
                <a:cxn ang="0">
                  <a:pos x="565" y="770"/>
                </a:cxn>
                <a:cxn ang="0">
                  <a:pos x="548" y="796"/>
                </a:cxn>
                <a:cxn ang="0">
                  <a:pos x="515" y="799"/>
                </a:cxn>
                <a:cxn ang="0">
                  <a:pos x="494" y="763"/>
                </a:cxn>
                <a:cxn ang="0">
                  <a:pos x="449" y="766"/>
                </a:cxn>
                <a:cxn ang="0">
                  <a:pos x="411" y="815"/>
                </a:cxn>
                <a:cxn ang="0">
                  <a:pos x="411" y="865"/>
                </a:cxn>
                <a:cxn ang="0">
                  <a:pos x="388" y="872"/>
                </a:cxn>
                <a:cxn ang="0">
                  <a:pos x="338" y="825"/>
                </a:cxn>
                <a:cxn ang="0">
                  <a:pos x="300" y="796"/>
                </a:cxn>
                <a:cxn ang="0">
                  <a:pos x="310" y="780"/>
                </a:cxn>
                <a:cxn ang="0">
                  <a:pos x="322" y="754"/>
                </a:cxn>
                <a:cxn ang="0">
                  <a:pos x="326" y="719"/>
                </a:cxn>
                <a:cxn ang="0">
                  <a:pos x="298" y="655"/>
                </a:cxn>
                <a:cxn ang="0">
                  <a:pos x="300" y="563"/>
                </a:cxn>
                <a:cxn ang="0">
                  <a:pos x="263" y="489"/>
                </a:cxn>
                <a:cxn ang="0">
                  <a:pos x="215" y="414"/>
                </a:cxn>
                <a:cxn ang="0">
                  <a:pos x="118" y="374"/>
                </a:cxn>
                <a:cxn ang="0">
                  <a:pos x="107" y="341"/>
                </a:cxn>
                <a:cxn ang="0">
                  <a:pos x="74" y="282"/>
                </a:cxn>
              </a:cxnLst>
              <a:rect l="0" t="0" r="r" b="b"/>
              <a:pathLst>
                <a:path w="752" h="898">
                  <a:moveTo>
                    <a:pt x="81" y="234"/>
                  </a:moveTo>
                  <a:lnTo>
                    <a:pt x="81" y="232"/>
                  </a:lnTo>
                  <a:lnTo>
                    <a:pt x="81" y="230"/>
                  </a:lnTo>
                  <a:lnTo>
                    <a:pt x="81" y="225"/>
                  </a:lnTo>
                  <a:lnTo>
                    <a:pt x="78" y="222"/>
                  </a:lnTo>
                  <a:lnTo>
                    <a:pt x="74" y="218"/>
                  </a:lnTo>
                  <a:lnTo>
                    <a:pt x="71" y="213"/>
                  </a:lnTo>
                  <a:lnTo>
                    <a:pt x="69" y="213"/>
                  </a:lnTo>
                  <a:lnTo>
                    <a:pt x="69" y="211"/>
                  </a:lnTo>
                  <a:lnTo>
                    <a:pt x="66" y="206"/>
                  </a:lnTo>
                  <a:lnTo>
                    <a:pt x="62" y="204"/>
                  </a:lnTo>
                  <a:lnTo>
                    <a:pt x="62" y="204"/>
                  </a:lnTo>
                  <a:lnTo>
                    <a:pt x="55" y="199"/>
                  </a:lnTo>
                  <a:lnTo>
                    <a:pt x="52" y="199"/>
                  </a:lnTo>
                  <a:lnTo>
                    <a:pt x="50" y="196"/>
                  </a:lnTo>
                  <a:lnTo>
                    <a:pt x="48" y="196"/>
                  </a:lnTo>
                  <a:lnTo>
                    <a:pt x="43" y="196"/>
                  </a:lnTo>
                  <a:lnTo>
                    <a:pt x="43" y="196"/>
                  </a:lnTo>
                  <a:lnTo>
                    <a:pt x="41" y="192"/>
                  </a:lnTo>
                  <a:lnTo>
                    <a:pt x="38" y="187"/>
                  </a:lnTo>
                  <a:lnTo>
                    <a:pt x="33" y="185"/>
                  </a:lnTo>
                  <a:lnTo>
                    <a:pt x="31" y="182"/>
                  </a:lnTo>
                  <a:lnTo>
                    <a:pt x="31" y="178"/>
                  </a:lnTo>
                  <a:lnTo>
                    <a:pt x="29" y="175"/>
                  </a:lnTo>
                  <a:lnTo>
                    <a:pt x="26" y="175"/>
                  </a:lnTo>
                  <a:lnTo>
                    <a:pt x="24" y="171"/>
                  </a:lnTo>
                  <a:lnTo>
                    <a:pt x="22" y="168"/>
                  </a:lnTo>
                  <a:lnTo>
                    <a:pt x="19" y="168"/>
                  </a:lnTo>
                  <a:lnTo>
                    <a:pt x="19" y="166"/>
                  </a:lnTo>
                  <a:lnTo>
                    <a:pt x="17" y="166"/>
                  </a:lnTo>
                  <a:lnTo>
                    <a:pt x="17" y="163"/>
                  </a:lnTo>
                  <a:lnTo>
                    <a:pt x="15" y="159"/>
                  </a:lnTo>
                  <a:lnTo>
                    <a:pt x="12" y="154"/>
                  </a:lnTo>
                  <a:lnTo>
                    <a:pt x="10" y="152"/>
                  </a:lnTo>
                  <a:lnTo>
                    <a:pt x="7" y="149"/>
                  </a:lnTo>
                  <a:lnTo>
                    <a:pt x="5" y="147"/>
                  </a:lnTo>
                  <a:lnTo>
                    <a:pt x="0" y="145"/>
                  </a:lnTo>
                  <a:lnTo>
                    <a:pt x="0" y="140"/>
                  </a:lnTo>
                  <a:lnTo>
                    <a:pt x="0" y="135"/>
                  </a:lnTo>
                  <a:lnTo>
                    <a:pt x="0" y="133"/>
                  </a:lnTo>
                  <a:lnTo>
                    <a:pt x="3" y="130"/>
                  </a:lnTo>
                  <a:lnTo>
                    <a:pt x="5" y="130"/>
                  </a:lnTo>
                  <a:lnTo>
                    <a:pt x="17" y="135"/>
                  </a:lnTo>
                  <a:lnTo>
                    <a:pt x="22" y="140"/>
                  </a:lnTo>
                  <a:lnTo>
                    <a:pt x="24" y="149"/>
                  </a:lnTo>
                  <a:lnTo>
                    <a:pt x="29" y="154"/>
                  </a:lnTo>
                  <a:lnTo>
                    <a:pt x="33" y="154"/>
                  </a:lnTo>
                  <a:lnTo>
                    <a:pt x="36" y="154"/>
                  </a:lnTo>
                  <a:lnTo>
                    <a:pt x="38" y="154"/>
                  </a:lnTo>
                  <a:lnTo>
                    <a:pt x="41" y="154"/>
                  </a:lnTo>
                  <a:lnTo>
                    <a:pt x="41" y="154"/>
                  </a:lnTo>
                  <a:lnTo>
                    <a:pt x="45" y="152"/>
                  </a:lnTo>
                  <a:lnTo>
                    <a:pt x="50" y="149"/>
                  </a:lnTo>
                  <a:lnTo>
                    <a:pt x="52" y="149"/>
                  </a:lnTo>
                  <a:lnTo>
                    <a:pt x="55" y="149"/>
                  </a:lnTo>
                  <a:lnTo>
                    <a:pt x="62" y="152"/>
                  </a:lnTo>
                  <a:lnTo>
                    <a:pt x="64" y="149"/>
                  </a:lnTo>
                  <a:lnTo>
                    <a:pt x="66" y="149"/>
                  </a:lnTo>
                  <a:lnTo>
                    <a:pt x="69" y="149"/>
                  </a:lnTo>
                  <a:lnTo>
                    <a:pt x="69" y="152"/>
                  </a:lnTo>
                  <a:lnTo>
                    <a:pt x="71" y="152"/>
                  </a:lnTo>
                  <a:lnTo>
                    <a:pt x="71" y="152"/>
                  </a:lnTo>
                  <a:lnTo>
                    <a:pt x="74" y="152"/>
                  </a:lnTo>
                  <a:lnTo>
                    <a:pt x="76" y="154"/>
                  </a:lnTo>
                  <a:lnTo>
                    <a:pt x="81" y="154"/>
                  </a:lnTo>
                  <a:lnTo>
                    <a:pt x="83" y="152"/>
                  </a:lnTo>
                  <a:lnTo>
                    <a:pt x="83" y="152"/>
                  </a:lnTo>
                  <a:lnTo>
                    <a:pt x="85" y="154"/>
                  </a:lnTo>
                  <a:lnTo>
                    <a:pt x="88" y="154"/>
                  </a:lnTo>
                  <a:lnTo>
                    <a:pt x="90" y="156"/>
                  </a:lnTo>
                  <a:lnTo>
                    <a:pt x="92" y="161"/>
                  </a:lnTo>
                  <a:lnTo>
                    <a:pt x="92" y="163"/>
                  </a:lnTo>
                  <a:lnTo>
                    <a:pt x="90" y="163"/>
                  </a:lnTo>
                  <a:lnTo>
                    <a:pt x="92" y="166"/>
                  </a:lnTo>
                  <a:lnTo>
                    <a:pt x="95" y="168"/>
                  </a:lnTo>
                  <a:lnTo>
                    <a:pt x="97" y="175"/>
                  </a:lnTo>
                  <a:lnTo>
                    <a:pt x="100" y="175"/>
                  </a:lnTo>
                  <a:lnTo>
                    <a:pt x="100" y="175"/>
                  </a:lnTo>
                  <a:lnTo>
                    <a:pt x="104" y="178"/>
                  </a:lnTo>
                  <a:lnTo>
                    <a:pt x="104" y="180"/>
                  </a:lnTo>
                  <a:lnTo>
                    <a:pt x="107" y="182"/>
                  </a:lnTo>
                  <a:lnTo>
                    <a:pt x="107" y="182"/>
                  </a:lnTo>
                  <a:lnTo>
                    <a:pt x="109" y="185"/>
                  </a:lnTo>
                  <a:lnTo>
                    <a:pt x="109" y="185"/>
                  </a:lnTo>
                  <a:lnTo>
                    <a:pt x="109" y="182"/>
                  </a:lnTo>
                  <a:lnTo>
                    <a:pt x="109" y="182"/>
                  </a:lnTo>
                  <a:lnTo>
                    <a:pt x="109" y="182"/>
                  </a:lnTo>
                  <a:lnTo>
                    <a:pt x="111" y="182"/>
                  </a:lnTo>
                  <a:lnTo>
                    <a:pt x="111" y="180"/>
                  </a:lnTo>
                  <a:lnTo>
                    <a:pt x="114" y="178"/>
                  </a:lnTo>
                  <a:lnTo>
                    <a:pt x="114" y="178"/>
                  </a:lnTo>
                  <a:lnTo>
                    <a:pt x="116" y="178"/>
                  </a:lnTo>
                  <a:lnTo>
                    <a:pt x="116" y="178"/>
                  </a:lnTo>
                  <a:lnTo>
                    <a:pt x="116" y="175"/>
                  </a:lnTo>
                  <a:lnTo>
                    <a:pt x="118" y="178"/>
                  </a:lnTo>
                  <a:lnTo>
                    <a:pt x="121" y="175"/>
                  </a:lnTo>
                  <a:lnTo>
                    <a:pt x="123" y="175"/>
                  </a:lnTo>
                  <a:lnTo>
                    <a:pt x="123" y="175"/>
                  </a:lnTo>
                  <a:lnTo>
                    <a:pt x="123" y="175"/>
                  </a:lnTo>
                  <a:lnTo>
                    <a:pt x="123" y="175"/>
                  </a:lnTo>
                  <a:lnTo>
                    <a:pt x="126" y="175"/>
                  </a:lnTo>
                  <a:lnTo>
                    <a:pt x="126" y="175"/>
                  </a:lnTo>
                  <a:lnTo>
                    <a:pt x="128" y="175"/>
                  </a:lnTo>
                  <a:lnTo>
                    <a:pt x="130" y="178"/>
                  </a:lnTo>
                  <a:lnTo>
                    <a:pt x="133" y="175"/>
                  </a:lnTo>
                  <a:lnTo>
                    <a:pt x="135" y="175"/>
                  </a:lnTo>
                  <a:lnTo>
                    <a:pt x="137" y="178"/>
                  </a:lnTo>
                  <a:lnTo>
                    <a:pt x="137" y="178"/>
                  </a:lnTo>
                  <a:lnTo>
                    <a:pt x="137" y="178"/>
                  </a:lnTo>
                  <a:lnTo>
                    <a:pt x="140" y="180"/>
                  </a:lnTo>
                  <a:lnTo>
                    <a:pt x="140" y="180"/>
                  </a:lnTo>
                  <a:lnTo>
                    <a:pt x="142" y="180"/>
                  </a:lnTo>
                  <a:lnTo>
                    <a:pt x="142" y="180"/>
                  </a:lnTo>
                  <a:lnTo>
                    <a:pt x="142" y="180"/>
                  </a:lnTo>
                  <a:lnTo>
                    <a:pt x="144" y="180"/>
                  </a:lnTo>
                  <a:lnTo>
                    <a:pt x="147" y="178"/>
                  </a:lnTo>
                  <a:lnTo>
                    <a:pt x="144" y="178"/>
                  </a:lnTo>
                  <a:lnTo>
                    <a:pt x="144" y="178"/>
                  </a:lnTo>
                  <a:lnTo>
                    <a:pt x="144" y="175"/>
                  </a:lnTo>
                  <a:lnTo>
                    <a:pt x="142" y="175"/>
                  </a:lnTo>
                  <a:lnTo>
                    <a:pt x="142" y="175"/>
                  </a:lnTo>
                  <a:lnTo>
                    <a:pt x="142" y="175"/>
                  </a:lnTo>
                  <a:lnTo>
                    <a:pt x="142" y="173"/>
                  </a:lnTo>
                  <a:lnTo>
                    <a:pt x="142" y="173"/>
                  </a:lnTo>
                  <a:lnTo>
                    <a:pt x="144" y="171"/>
                  </a:lnTo>
                  <a:lnTo>
                    <a:pt x="144" y="168"/>
                  </a:lnTo>
                  <a:lnTo>
                    <a:pt x="144" y="168"/>
                  </a:lnTo>
                  <a:lnTo>
                    <a:pt x="144" y="166"/>
                  </a:lnTo>
                  <a:lnTo>
                    <a:pt x="144" y="166"/>
                  </a:lnTo>
                  <a:lnTo>
                    <a:pt x="144" y="166"/>
                  </a:lnTo>
                  <a:lnTo>
                    <a:pt x="147" y="166"/>
                  </a:lnTo>
                  <a:lnTo>
                    <a:pt x="147" y="168"/>
                  </a:lnTo>
                  <a:lnTo>
                    <a:pt x="149" y="171"/>
                  </a:lnTo>
                  <a:lnTo>
                    <a:pt x="152" y="173"/>
                  </a:lnTo>
                  <a:lnTo>
                    <a:pt x="154" y="175"/>
                  </a:lnTo>
                  <a:lnTo>
                    <a:pt x="156" y="178"/>
                  </a:lnTo>
                  <a:lnTo>
                    <a:pt x="156" y="178"/>
                  </a:lnTo>
                  <a:lnTo>
                    <a:pt x="156" y="180"/>
                  </a:lnTo>
                  <a:lnTo>
                    <a:pt x="156" y="182"/>
                  </a:lnTo>
                  <a:lnTo>
                    <a:pt x="156" y="182"/>
                  </a:lnTo>
                  <a:lnTo>
                    <a:pt x="156" y="182"/>
                  </a:lnTo>
                  <a:lnTo>
                    <a:pt x="156" y="182"/>
                  </a:lnTo>
                  <a:lnTo>
                    <a:pt x="159" y="182"/>
                  </a:lnTo>
                  <a:lnTo>
                    <a:pt x="161" y="182"/>
                  </a:lnTo>
                  <a:lnTo>
                    <a:pt x="161" y="185"/>
                  </a:lnTo>
                  <a:lnTo>
                    <a:pt x="161" y="185"/>
                  </a:lnTo>
                  <a:lnTo>
                    <a:pt x="161" y="185"/>
                  </a:lnTo>
                  <a:lnTo>
                    <a:pt x="163" y="185"/>
                  </a:lnTo>
                  <a:lnTo>
                    <a:pt x="163" y="187"/>
                  </a:lnTo>
                  <a:lnTo>
                    <a:pt x="163" y="187"/>
                  </a:lnTo>
                  <a:lnTo>
                    <a:pt x="166" y="187"/>
                  </a:lnTo>
                  <a:lnTo>
                    <a:pt x="166" y="187"/>
                  </a:lnTo>
                  <a:lnTo>
                    <a:pt x="168" y="189"/>
                  </a:lnTo>
                  <a:lnTo>
                    <a:pt x="168" y="187"/>
                  </a:lnTo>
                  <a:lnTo>
                    <a:pt x="166" y="185"/>
                  </a:lnTo>
                  <a:lnTo>
                    <a:pt x="168" y="185"/>
                  </a:lnTo>
                  <a:lnTo>
                    <a:pt x="168" y="185"/>
                  </a:lnTo>
                  <a:lnTo>
                    <a:pt x="168" y="185"/>
                  </a:lnTo>
                  <a:lnTo>
                    <a:pt x="170" y="185"/>
                  </a:lnTo>
                  <a:lnTo>
                    <a:pt x="170" y="185"/>
                  </a:lnTo>
                  <a:lnTo>
                    <a:pt x="173" y="185"/>
                  </a:lnTo>
                  <a:lnTo>
                    <a:pt x="173" y="187"/>
                  </a:lnTo>
                  <a:lnTo>
                    <a:pt x="175" y="185"/>
                  </a:lnTo>
                  <a:lnTo>
                    <a:pt x="175" y="185"/>
                  </a:lnTo>
                  <a:lnTo>
                    <a:pt x="175" y="182"/>
                  </a:lnTo>
                  <a:lnTo>
                    <a:pt x="178" y="180"/>
                  </a:lnTo>
                  <a:lnTo>
                    <a:pt x="180" y="180"/>
                  </a:lnTo>
                  <a:lnTo>
                    <a:pt x="178" y="178"/>
                  </a:lnTo>
                  <a:lnTo>
                    <a:pt x="178" y="178"/>
                  </a:lnTo>
                  <a:lnTo>
                    <a:pt x="178" y="175"/>
                  </a:lnTo>
                  <a:lnTo>
                    <a:pt x="175" y="175"/>
                  </a:lnTo>
                  <a:lnTo>
                    <a:pt x="175" y="175"/>
                  </a:lnTo>
                  <a:lnTo>
                    <a:pt x="175" y="175"/>
                  </a:lnTo>
                  <a:lnTo>
                    <a:pt x="175" y="175"/>
                  </a:lnTo>
                  <a:lnTo>
                    <a:pt x="173" y="175"/>
                  </a:lnTo>
                  <a:lnTo>
                    <a:pt x="173" y="173"/>
                  </a:lnTo>
                  <a:lnTo>
                    <a:pt x="175" y="171"/>
                  </a:lnTo>
                  <a:lnTo>
                    <a:pt x="178" y="171"/>
                  </a:lnTo>
                  <a:lnTo>
                    <a:pt x="180" y="171"/>
                  </a:lnTo>
                  <a:lnTo>
                    <a:pt x="187" y="173"/>
                  </a:lnTo>
                  <a:lnTo>
                    <a:pt x="189" y="173"/>
                  </a:lnTo>
                  <a:lnTo>
                    <a:pt x="189" y="173"/>
                  </a:lnTo>
                  <a:lnTo>
                    <a:pt x="192" y="173"/>
                  </a:lnTo>
                  <a:lnTo>
                    <a:pt x="192" y="173"/>
                  </a:lnTo>
                  <a:lnTo>
                    <a:pt x="192" y="171"/>
                  </a:lnTo>
                  <a:lnTo>
                    <a:pt x="192" y="171"/>
                  </a:lnTo>
                  <a:lnTo>
                    <a:pt x="194" y="173"/>
                  </a:lnTo>
                  <a:lnTo>
                    <a:pt x="194" y="173"/>
                  </a:lnTo>
                  <a:lnTo>
                    <a:pt x="196" y="173"/>
                  </a:lnTo>
                  <a:lnTo>
                    <a:pt x="199" y="173"/>
                  </a:lnTo>
                  <a:lnTo>
                    <a:pt x="199" y="173"/>
                  </a:lnTo>
                  <a:lnTo>
                    <a:pt x="203" y="175"/>
                  </a:lnTo>
                  <a:lnTo>
                    <a:pt x="206" y="175"/>
                  </a:lnTo>
                  <a:lnTo>
                    <a:pt x="203" y="182"/>
                  </a:lnTo>
                  <a:lnTo>
                    <a:pt x="201" y="182"/>
                  </a:lnTo>
                  <a:lnTo>
                    <a:pt x="201" y="187"/>
                  </a:lnTo>
                  <a:lnTo>
                    <a:pt x="201" y="187"/>
                  </a:lnTo>
                  <a:lnTo>
                    <a:pt x="201" y="189"/>
                  </a:lnTo>
                  <a:lnTo>
                    <a:pt x="206" y="192"/>
                  </a:lnTo>
                  <a:lnTo>
                    <a:pt x="206" y="192"/>
                  </a:lnTo>
                  <a:lnTo>
                    <a:pt x="208" y="192"/>
                  </a:lnTo>
                  <a:lnTo>
                    <a:pt x="211" y="194"/>
                  </a:lnTo>
                  <a:lnTo>
                    <a:pt x="211" y="194"/>
                  </a:lnTo>
                  <a:lnTo>
                    <a:pt x="213" y="194"/>
                  </a:lnTo>
                  <a:lnTo>
                    <a:pt x="215" y="194"/>
                  </a:lnTo>
                  <a:lnTo>
                    <a:pt x="218" y="194"/>
                  </a:lnTo>
                  <a:lnTo>
                    <a:pt x="220" y="196"/>
                  </a:lnTo>
                  <a:lnTo>
                    <a:pt x="220" y="199"/>
                  </a:lnTo>
                  <a:lnTo>
                    <a:pt x="222" y="201"/>
                  </a:lnTo>
                  <a:lnTo>
                    <a:pt x="222" y="201"/>
                  </a:lnTo>
                  <a:lnTo>
                    <a:pt x="225" y="201"/>
                  </a:lnTo>
                  <a:lnTo>
                    <a:pt x="225" y="201"/>
                  </a:lnTo>
                  <a:lnTo>
                    <a:pt x="222" y="204"/>
                  </a:lnTo>
                  <a:lnTo>
                    <a:pt x="222" y="206"/>
                  </a:lnTo>
                  <a:lnTo>
                    <a:pt x="222" y="208"/>
                  </a:lnTo>
                  <a:lnTo>
                    <a:pt x="220" y="208"/>
                  </a:lnTo>
                  <a:lnTo>
                    <a:pt x="222" y="208"/>
                  </a:lnTo>
                  <a:lnTo>
                    <a:pt x="227" y="211"/>
                  </a:lnTo>
                  <a:lnTo>
                    <a:pt x="227" y="213"/>
                  </a:lnTo>
                  <a:lnTo>
                    <a:pt x="229" y="213"/>
                  </a:lnTo>
                  <a:lnTo>
                    <a:pt x="229" y="218"/>
                  </a:lnTo>
                  <a:lnTo>
                    <a:pt x="232" y="218"/>
                  </a:lnTo>
                  <a:lnTo>
                    <a:pt x="234" y="220"/>
                  </a:lnTo>
                  <a:lnTo>
                    <a:pt x="234" y="220"/>
                  </a:lnTo>
                  <a:lnTo>
                    <a:pt x="237" y="220"/>
                  </a:lnTo>
                  <a:lnTo>
                    <a:pt x="237" y="218"/>
                  </a:lnTo>
                  <a:lnTo>
                    <a:pt x="239" y="215"/>
                  </a:lnTo>
                  <a:lnTo>
                    <a:pt x="241" y="213"/>
                  </a:lnTo>
                  <a:lnTo>
                    <a:pt x="241" y="211"/>
                  </a:lnTo>
                  <a:lnTo>
                    <a:pt x="244" y="211"/>
                  </a:lnTo>
                  <a:lnTo>
                    <a:pt x="246" y="208"/>
                  </a:lnTo>
                  <a:lnTo>
                    <a:pt x="246" y="206"/>
                  </a:lnTo>
                  <a:lnTo>
                    <a:pt x="248" y="206"/>
                  </a:lnTo>
                  <a:lnTo>
                    <a:pt x="253" y="201"/>
                  </a:lnTo>
                  <a:lnTo>
                    <a:pt x="253" y="204"/>
                  </a:lnTo>
                  <a:lnTo>
                    <a:pt x="255" y="204"/>
                  </a:lnTo>
                  <a:lnTo>
                    <a:pt x="255" y="204"/>
                  </a:lnTo>
                  <a:lnTo>
                    <a:pt x="255" y="204"/>
                  </a:lnTo>
                  <a:lnTo>
                    <a:pt x="258" y="204"/>
                  </a:lnTo>
                  <a:lnTo>
                    <a:pt x="258" y="206"/>
                  </a:lnTo>
                  <a:lnTo>
                    <a:pt x="258" y="206"/>
                  </a:lnTo>
                  <a:lnTo>
                    <a:pt x="260" y="208"/>
                  </a:lnTo>
                  <a:lnTo>
                    <a:pt x="263" y="211"/>
                  </a:lnTo>
                  <a:lnTo>
                    <a:pt x="263" y="211"/>
                  </a:lnTo>
                  <a:lnTo>
                    <a:pt x="263" y="208"/>
                  </a:lnTo>
                  <a:lnTo>
                    <a:pt x="265" y="208"/>
                  </a:lnTo>
                  <a:lnTo>
                    <a:pt x="265" y="206"/>
                  </a:lnTo>
                  <a:lnTo>
                    <a:pt x="265" y="206"/>
                  </a:lnTo>
                  <a:lnTo>
                    <a:pt x="265" y="204"/>
                  </a:lnTo>
                  <a:lnTo>
                    <a:pt x="265" y="201"/>
                  </a:lnTo>
                  <a:lnTo>
                    <a:pt x="265" y="199"/>
                  </a:lnTo>
                  <a:lnTo>
                    <a:pt x="265" y="196"/>
                  </a:lnTo>
                  <a:lnTo>
                    <a:pt x="263" y="196"/>
                  </a:lnTo>
                  <a:lnTo>
                    <a:pt x="265" y="194"/>
                  </a:lnTo>
                  <a:lnTo>
                    <a:pt x="265" y="194"/>
                  </a:lnTo>
                  <a:lnTo>
                    <a:pt x="263" y="194"/>
                  </a:lnTo>
                  <a:lnTo>
                    <a:pt x="263" y="192"/>
                  </a:lnTo>
                  <a:lnTo>
                    <a:pt x="260" y="189"/>
                  </a:lnTo>
                  <a:lnTo>
                    <a:pt x="260" y="189"/>
                  </a:lnTo>
                  <a:lnTo>
                    <a:pt x="263" y="187"/>
                  </a:lnTo>
                  <a:lnTo>
                    <a:pt x="263" y="187"/>
                  </a:lnTo>
                  <a:lnTo>
                    <a:pt x="263" y="187"/>
                  </a:lnTo>
                  <a:lnTo>
                    <a:pt x="260" y="185"/>
                  </a:lnTo>
                  <a:lnTo>
                    <a:pt x="258" y="185"/>
                  </a:lnTo>
                  <a:lnTo>
                    <a:pt x="258" y="182"/>
                  </a:lnTo>
                  <a:lnTo>
                    <a:pt x="258" y="182"/>
                  </a:lnTo>
                  <a:lnTo>
                    <a:pt x="258" y="178"/>
                  </a:lnTo>
                  <a:lnTo>
                    <a:pt x="258" y="178"/>
                  </a:lnTo>
                  <a:lnTo>
                    <a:pt x="258" y="178"/>
                  </a:lnTo>
                  <a:lnTo>
                    <a:pt x="258" y="175"/>
                  </a:lnTo>
                  <a:lnTo>
                    <a:pt x="260" y="175"/>
                  </a:lnTo>
                  <a:lnTo>
                    <a:pt x="263" y="173"/>
                  </a:lnTo>
                  <a:lnTo>
                    <a:pt x="263" y="171"/>
                  </a:lnTo>
                  <a:lnTo>
                    <a:pt x="260" y="171"/>
                  </a:lnTo>
                  <a:lnTo>
                    <a:pt x="260" y="166"/>
                  </a:lnTo>
                  <a:lnTo>
                    <a:pt x="260" y="166"/>
                  </a:lnTo>
                  <a:lnTo>
                    <a:pt x="263" y="166"/>
                  </a:lnTo>
                  <a:lnTo>
                    <a:pt x="263" y="163"/>
                  </a:lnTo>
                  <a:lnTo>
                    <a:pt x="263" y="163"/>
                  </a:lnTo>
                  <a:lnTo>
                    <a:pt x="265" y="163"/>
                  </a:lnTo>
                  <a:lnTo>
                    <a:pt x="270" y="163"/>
                  </a:lnTo>
                  <a:lnTo>
                    <a:pt x="270" y="163"/>
                  </a:lnTo>
                  <a:lnTo>
                    <a:pt x="272" y="163"/>
                  </a:lnTo>
                  <a:lnTo>
                    <a:pt x="274" y="163"/>
                  </a:lnTo>
                  <a:lnTo>
                    <a:pt x="274" y="163"/>
                  </a:lnTo>
                  <a:lnTo>
                    <a:pt x="274" y="161"/>
                  </a:lnTo>
                  <a:lnTo>
                    <a:pt x="279" y="163"/>
                  </a:lnTo>
                  <a:lnTo>
                    <a:pt x="281" y="163"/>
                  </a:lnTo>
                  <a:lnTo>
                    <a:pt x="281" y="163"/>
                  </a:lnTo>
                  <a:lnTo>
                    <a:pt x="284" y="163"/>
                  </a:lnTo>
                  <a:lnTo>
                    <a:pt x="284" y="166"/>
                  </a:lnTo>
                  <a:lnTo>
                    <a:pt x="284" y="166"/>
                  </a:lnTo>
                  <a:lnTo>
                    <a:pt x="284" y="166"/>
                  </a:lnTo>
                  <a:lnTo>
                    <a:pt x="289" y="166"/>
                  </a:lnTo>
                  <a:lnTo>
                    <a:pt x="286" y="166"/>
                  </a:lnTo>
                  <a:lnTo>
                    <a:pt x="286" y="163"/>
                  </a:lnTo>
                  <a:lnTo>
                    <a:pt x="289" y="163"/>
                  </a:lnTo>
                  <a:lnTo>
                    <a:pt x="289" y="163"/>
                  </a:lnTo>
                  <a:lnTo>
                    <a:pt x="291" y="161"/>
                  </a:lnTo>
                  <a:lnTo>
                    <a:pt x="289" y="159"/>
                  </a:lnTo>
                  <a:lnTo>
                    <a:pt x="289" y="156"/>
                  </a:lnTo>
                  <a:lnTo>
                    <a:pt x="289" y="159"/>
                  </a:lnTo>
                  <a:lnTo>
                    <a:pt x="286" y="156"/>
                  </a:lnTo>
                  <a:lnTo>
                    <a:pt x="289" y="156"/>
                  </a:lnTo>
                  <a:lnTo>
                    <a:pt x="289" y="156"/>
                  </a:lnTo>
                  <a:lnTo>
                    <a:pt x="289" y="154"/>
                  </a:lnTo>
                  <a:lnTo>
                    <a:pt x="289" y="154"/>
                  </a:lnTo>
                  <a:lnTo>
                    <a:pt x="291" y="154"/>
                  </a:lnTo>
                  <a:lnTo>
                    <a:pt x="291" y="152"/>
                  </a:lnTo>
                  <a:lnTo>
                    <a:pt x="291" y="149"/>
                  </a:lnTo>
                  <a:lnTo>
                    <a:pt x="293" y="152"/>
                  </a:lnTo>
                  <a:lnTo>
                    <a:pt x="293" y="149"/>
                  </a:lnTo>
                  <a:lnTo>
                    <a:pt x="293" y="149"/>
                  </a:lnTo>
                  <a:lnTo>
                    <a:pt x="296" y="149"/>
                  </a:lnTo>
                  <a:lnTo>
                    <a:pt x="296" y="149"/>
                  </a:lnTo>
                  <a:lnTo>
                    <a:pt x="298" y="152"/>
                  </a:lnTo>
                  <a:lnTo>
                    <a:pt x="298" y="149"/>
                  </a:lnTo>
                  <a:lnTo>
                    <a:pt x="298" y="149"/>
                  </a:lnTo>
                  <a:lnTo>
                    <a:pt x="300" y="149"/>
                  </a:lnTo>
                  <a:lnTo>
                    <a:pt x="300" y="147"/>
                  </a:lnTo>
                  <a:lnTo>
                    <a:pt x="300" y="147"/>
                  </a:lnTo>
                  <a:lnTo>
                    <a:pt x="300" y="147"/>
                  </a:lnTo>
                  <a:lnTo>
                    <a:pt x="298" y="147"/>
                  </a:lnTo>
                  <a:lnTo>
                    <a:pt x="298" y="145"/>
                  </a:lnTo>
                  <a:lnTo>
                    <a:pt x="300" y="145"/>
                  </a:lnTo>
                  <a:lnTo>
                    <a:pt x="300" y="145"/>
                  </a:lnTo>
                  <a:lnTo>
                    <a:pt x="300" y="145"/>
                  </a:lnTo>
                  <a:lnTo>
                    <a:pt x="300" y="145"/>
                  </a:lnTo>
                  <a:lnTo>
                    <a:pt x="303" y="145"/>
                  </a:lnTo>
                  <a:lnTo>
                    <a:pt x="305" y="145"/>
                  </a:lnTo>
                  <a:lnTo>
                    <a:pt x="305" y="145"/>
                  </a:lnTo>
                  <a:lnTo>
                    <a:pt x="305" y="145"/>
                  </a:lnTo>
                  <a:lnTo>
                    <a:pt x="307" y="145"/>
                  </a:lnTo>
                  <a:lnTo>
                    <a:pt x="307" y="145"/>
                  </a:lnTo>
                  <a:lnTo>
                    <a:pt x="307" y="145"/>
                  </a:lnTo>
                  <a:lnTo>
                    <a:pt x="307" y="145"/>
                  </a:lnTo>
                  <a:lnTo>
                    <a:pt x="310" y="147"/>
                  </a:lnTo>
                  <a:lnTo>
                    <a:pt x="312" y="147"/>
                  </a:lnTo>
                  <a:lnTo>
                    <a:pt x="312" y="147"/>
                  </a:lnTo>
                  <a:lnTo>
                    <a:pt x="312" y="147"/>
                  </a:lnTo>
                  <a:lnTo>
                    <a:pt x="312" y="149"/>
                  </a:lnTo>
                  <a:lnTo>
                    <a:pt x="315" y="149"/>
                  </a:lnTo>
                  <a:lnTo>
                    <a:pt x="317" y="149"/>
                  </a:lnTo>
                  <a:lnTo>
                    <a:pt x="317" y="149"/>
                  </a:lnTo>
                  <a:lnTo>
                    <a:pt x="317" y="149"/>
                  </a:lnTo>
                  <a:lnTo>
                    <a:pt x="317" y="149"/>
                  </a:lnTo>
                  <a:lnTo>
                    <a:pt x="319" y="149"/>
                  </a:lnTo>
                  <a:lnTo>
                    <a:pt x="322" y="149"/>
                  </a:lnTo>
                  <a:lnTo>
                    <a:pt x="322" y="152"/>
                  </a:lnTo>
                  <a:lnTo>
                    <a:pt x="326" y="152"/>
                  </a:lnTo>
                  <a:lnTo>
                    <a:pt x="326" y="154"/>
                  </a:lnTo>
                  <a:lnTo>
                    <a:pt x="329" y="152"/>
                  </a:lnTo>
                  <a:lnTo>
                    <a:pt x="329" y="154"/>
                  </a:lnTo>
                  <a:lnTo>
                    <a:pt x="331" y="154"/>
                  </a:lnTo>
                  <a:lnTo>
                    <a:pt x="333" y="154"/>
                  </a:lnTo>
                  <a:lnTo>
                    <a:pt x="333" y="154"/>
                  </a:lnTo>
                  <a:lnTo>
                    <a:pt x="333" y="156"/>
                  </a:lnTo>
                  <a:lnTo>
                    <a:pt x="336" y="156"/>
                  </a:lnTo>
                  <a:lnTo>
                    <a:pt x="336" y="156"/>
                  </a:lnTo>
                  <a:lnTo>
                    <a:pt x="338" y="156"/>
                  </a:lnTo>
                  <a:lnTo>
                    <a:pt x="338" y="156"/>
                  </a:lnTo>
                  <a:lnTo>
                    <a:pt x="338" y="159"/>
                  </a:lnTo>
                  <a:lnTo>
                    <a:pt x="341" y="156"/>
                  </a:lnTo>
                  <a:lnTo>
                    <a:pt x="341" y="156"/>
                  </a:lnTo>
                  <a:lnTo>
                    <a:pt x="343" y="156"/>
                  </a:lnTo>
                  <a:lnTo>
                    <a:pt x="343" y="156"/>
                  </a:lnTo>
                  <a:lnTo>
                    <a:pt x="343" y="154"/>
                  </a:lnTo>
                  <a:lnTo>
                    <a:pt x="343" y="154"/>
                  </a:lnTo>
                  <a:lnTo>
                    <a:pt x="343" y="154"/>
                  </a:lnTo>
                  <a:lnTo>
                    <a:pt x="345" y="154"/>
                  </a:lnTo>
                  <a:lnTo>
                    <a:pt x="345" y="152"/>
                  </a:lnTo>
                  <a:lnTo>
                    <a:pt x="345" y="152"/>
                  </a:lnTo>
                  <a:lnTo>
                    <a:pt x="345" y="152"/>
                  </a:lnTo>
                  <a:lnTo>
                    <a:pt x="348" y="152"/>
                  </a:lnTo>
                  <a:lnTo>
                    <a:pt x="348" y="152"/>
                  </a:lnTo>
                  <a:lnTo>
                    <a:pt x="348" y="152"/>
                  </a:lnTo>
                  <a:lnTo>
                    <a:pt x="348" y="149"/>
                  </a:lnTo>
                  <a:lnTo>
                    <a:pt x="348" y="149"/>
                  </a:lnTo>
                  <a:lnTo>
                    <a:pt x="348" y="147"/>
                  </a:lnTo>
                  <a:lnTo>
                    <a:pt x="350" y="147"/>
                  </a:lnTo>
                  <a:lnTo>
                    <a:pt x="352" y="149"/>
                  </a:lnTo>
                  <a:lnTo>
                    <a:pt x="352" y="147"/>
                  </a:lnTo>
                  <a:lnTo>
                    <a:pt x="355" y="147"/>
                  </a:lnTo>
                  <a:lnTo>
                    <a:pt x="355" y="147"/>
                  </a:lnTo>
                  <a:lnTo>
                    <a:pt x="355" y="149"/>
                  </a:lnTo>
                  <a:lnTo>
                    <a:pt x="355" y="147"/>
                  </a:lnTo>
                  <a:lnTo>
                    <a:pt x="357" y="147"/>
                  </a:lnTo>
                  <a:lnTo>
                    <a:pt x="357" y="147"/>
                  </a:lnTo>
                  <a:lnTo>
                    <a:pt x="357" y="147"/>
                  </a:lnTo>
                  <a:lnTo>
                    <a:pt x="359" y="145"/>
                  </a:lnTo>
                  <a:lnTo>
                    <a:pt x="359" y="145"/>
                  </a:lnTo>
                  <a:lnTo>
                    <a:pt x="362" y="145"/>
                  </a:lnTo>
                  <a:lnTo>
                    <a:pt x="359" y="145"/>
                  </a:lnTo>
                  <a:lnTo>
                    <a:pt x="359" y="147"/>
                  </a:lnTo>
                  <a:lnTo>
                    <a:pt x="362" y="147"/>
                  </a:lnTo>
                  <a:lnTo>
                    <a:pt x="364" y="152"/>
                  </a:lnTo>
                  <a:lnTo>
                    <a:pt x="364" y="154"/>
                  </a:lnTo>
                  <a:lnTo>
                    <a:pt x="366" y="154"/>
                  </a:lnTo>
                  <a:lnTo>
                    <a:pt x="366" y="154"/>
                  </a:lnTo>
                  <a:lnTo>
                    <a:pt x="366" y="154"/>
                  </a:lnTo>
                  <a:lnTo>
                    <a:pt x="366" y="152"/>
                  </a:lnTo>
                  <a:lnTo>
                    <a:pt x="366" y="149"/>
                  </a:lnTo>
                  <a:lnTo>
                    <a:pt x="366" y="147"/>
                  </a:lnTo>
                  <a:lnTo>
                    <a:pt x="369" y="147"/>
                  </a:lnTo>
                  <a:lnTo>
                    <a:pt x="371" y="147"/>
                  </a:lnTo>
                  <a:lnTo>
                    <a:pt x="371" y="147"/>
                  </a:lnTo>
                  <a:lnTo>
                    <a:pt x="374" y="147"/>
                  </a:lnTo>
                  <a:lnTo>
                    <a:pt x="374" y="147"/>
                  </a:lnTo>
                  <a:lnTo>
                    <a:pt x="374" y="147"/>
                  </a:lnTo>
                  <a:lnTo>
                    <a:pt x="374" y="147"/>
                  </a:lnTo>
                  <a:lnTo>
                    <a:pt x="374" y="145"/>
                  </a:lnTo>
                  <a:lnTo>
                    <a:pt x="376" y="145"/>
                  </a:lnTo>
                  <a:lnTo>
                    <a:pt x="376" y="145"/>
                  </a:lnTo>
                  <a:lnTo>
                    <a:pt x="376" y="147"/>
                  </a:lnTo>
                  <a:lnTo>
                    <a:pt x="378" y="147"/>
                  </a:lnTo>
                  <a:lnTo>
                    <a:pt x="381" y="147"/>
                  </a:lnTo>
                  <a:lnTo>
                    <a:pt x="381" y="147"/>
                  </a:lnTo>
                  <a:lnTo>
                    <a:pt x="381" y="145"/>
                  </a:lnTo>
                  <a:lnTo>
                    <a:pt x="381" y="142"/>
                  </a:lnTo>
                  <a:lnTo>
                    <a:pt x="383" y="142"/>
                  </a:lnTo>
                  <a:lnTo>
                    <a:pt x="383" y="140"/>
                  </a:lnTo>
                  <a:lnTo>
                    <a:pt x="383" y="140"/>
                  </a:lnTo>
                  <a:lnTo>
                    <a:pt x="383" y="137"/>
                  </a:lnTo>
                  <a:lnTo>
                    <a:pt x="385" y="137"/>
                  </a:lnTo>
                  <a:lnTo>
                    <a:pt x="385" y="137"/>
                  </a:lnTo>
                  <a:lnTo>
                    <a:pt x="385" y="137"/>
                  </a:lnTo>
                  <a:lnTo>
                    <a:pt x="388" y="137"/>
                  </a:lnTo>
                  <a:lnTo>
                    <a:pt x="388" y="137"/>
                  </a:lnTo>
                  <a:lnTo>
                    <a:pt x="385" y="137"/>
                  </a:lnTo>
                  <a:lnTo>
                    <a:pt x="385" y="135"/>
                  </a:lnTo>
                  <a:lnTo>
                    <a:pt x="388" y="135"/>
                  </a:lnTo>
                  <a:lnTo>
                    <a:pt x="390" y="135"/>
                  </a:lnTo>
                  <a:lnTo>
                    <a:pt x="392" y="133"/>
                  </a:lnTo>
                  <a:lnTo>
                    <a:pt x="392" y="133"/>
                  </a:lnTo>
                  <a:lnTo>
                    <a:pt x="392" y="135"/>
                  </a:lnTo>
                  <a:lnTo>
                    <a:pt x="392" y="135"/>
                  </a:lnTo>
                  <a:lnTo>
                    <a:pt x="392" y="135"/>
                  </a:lnTo>
                  <a:lnTo>
                    <a:pt x="395" y="135"/>
                  </a:lnTo>
                  <a:lnTo>
                    <a:pt x="397" y="135"/>
                  </a:lnTo>
                  <a:lnTo>
                    <a:pt x="397" y="135"/>
                  </a:lnTo>
                  <a:lnTo>
                    <a:pt x="400" y="135"/>
                  </a:lnTo>
                  <a:lnTo>
                    <a:pt x="400" y="135"/>
                  </a:lnTo>
                  <a:lnTo>
                    <a:pt x="400" y="135"/>
                  </a:lnTo>
                  <a:lnTo>
                    <a:pt x="402" y="135"/>
                  </a:lnTo>
                  <a:lnTo>
                    <a:pt x="402" y="135"/>
                  </a:lnTo>
                  <a:lnTo>
                    <a:pt x="402" y="135"/>
                  </a:lnTo>
                  <a:lnTo>
                    <a:pt x="402" y="137"/>
                  </a:lnTo>
                  <a:lnTo>
                    <a:pt x="404" y="137"/>
                  </a:lnTo>
                  <a:lnTo>
                    <a:pt x="404" y="137"/>
                  </a:lnTo>
                  <a:lnTo>
                    <a:pt x="404" y="135"/>
                  </a:lnTo>
                  <a:lnTo>
                    <a:pt x="407" y="135"/>
                  </a:lnTo>
                  <a:lnTo>
                    <a:pt x="409" y="135"/>
                  </a:lnTo>
                  <a:lnTo>
                    <a:pt x="409" y="135"/>
                  </a:lnTo>
                  <a:lnTo>
                    <a:pt x="411" y="135"/>
                  </a:lnTo>
                  <a:lnTo>
                    <a:pt x="414" y="135"/>
                  </a:lnTo>
                  <a:lnTo>
                    <a:pt x="414" y="135"/>
                  </a:lnTo>
                  <a:lnTo>
                    <a:pt x="414" y="133"/>
                  </a:lnTo>
                  <a:lnTo>
                    <a:pt x="416" y="133"/>
                  </a:lnTo>
                  <a:lnTo>
                    <a:pt x="418" y="130"/>
                  </a:lnTo>
                  <a:lnTo>
                    <a:pt x="418" y="130"/>
                  </a:lnTo>
                  <a:lnTo>
                    <a:pt x="418" y="130"/>
                  </a:lnTo>
                  <a:lnTo>
                    <a:pt x="418" y="128"/>
                  </a:lnTo>
                  <a:lnTo>
                    <a:pt x="421" y="126"/>
                  </a:lnTo>
                  <a:lnTo>
                    <a:pt x="418" y="126"/>
                  </a:lnTo>
                  <a:lnTo>
                    <a:pt x="418" y="123"/>
                  </a:lnTo>
                  <a:lnTo>
                    <a:pt x="418" y="123"/>
                  </a:lnTo>
                  <a:lnTo>
                    <a:pt x="418" y="123"/>
                  </a:lnTo>
                  <a:lnTo>
                    <a:pt x="418" y="121"/>
                  </a:lnTo>
                  <a:lnTo>
                    <a:pt x="418" y="119"/>
                  </a:lnTo>
                  <a:lnTo>
                    <a:pt x="418" y="119"/>
                  </a:lnTo>
                  <a:lnTo>
                    <a:pt x="418" y="116"/>
                  </a:lnTo>
                  <a:lnTo>
                    <a:pt x="418" y="116"/>
                  </a:lnTo>
                  <a:lnTo>
                    <a:pt x="418" y="114"/>
                  </a:lnTo>
                  <a:lnTo>
                    <a:pt x="423" y="114"/>
                  </a:lnTo>
                  <a:lnTo>
                    <a:pt x="423" y="111"/>
                  </a:lnTo>
                  <a:lnTo>
                    <a:pt x="426" y="111"/>
                  </a:lnTo>
                  <a:lnTo>
                    <a:pt x="426" y="111"/>
                  </a:lnTo>
                  <a:lnTo>
                    <a:pt x="428" y="111"/>
                  </a:lnTo>
                  <a:lnTo>
                    <a:pt x="428" y="111"/>
                  </a:lnTo>
                  <a:lnTo>
                    <a:pt x="430" y="111"/>
                  </a:lnTo>
                  <a:lnTo>
                    <a:pt x="428" y="111"/>
                  </a:lnTo>
                  <a:lnTo>
                    <a:pt x="430" y="111"/>
                  </a:lnTo>
                  <a:lnTo>
                    <a:pt x="430" y="111"/>
                  </a:lnTo>
                  <a:lnTo>
                    <a:pt x="430" y="111"/>
                  </a:lnTo>
                  <a:lnTo>
                    <a:pt x="433" y="111"/>
                  </a:lnTo>
                  <a:lnTo>
                    <a:pt x="433" y="111"/>
                  </a:lnTo>
                  <a:lnTo>
                    <a:pt x="437" y="111"/>
                  </a:lnTo>
                  <a:lnTo>
                    <a:pt x="440" y="114"/>
                  </a:lnTo>
                  <a:lnTo>
                    <a:pt x="442" y="114"/>
                  </a:lnTo>
                  <a:lnTo>
                    <a:pt x="442" y="111"/>
                  </a:lnTo>
                  <a:lnTo>
                    <a:pt x="444" y="111"/>
                  </a:lnTo>
                  <a:lnTo>
                    <a:pt x="444" y="109"/>
                  </a:lnTo>
                  <a:lnTo>
                    <a:pt x="444" y="109"/>
                  </a:lnTo>
                  <a:lnTo>
                    <a:pt x="444" y="109"/>
                  </a:lnTo>
                  <a:lnTo>
                    <a:pt x="449" y="109"/>
                  </a:lnTo>
                  <a:lnTo>
                    <a:pt x="447" y="107"/>
                  </a:lnTo>
                  <a:lnTo>
                    <a:pt x="449" y="107"/>
                  </a:lnTo>
                  <a:lnTo>
                    <a:pt x="449" y="104"/>
                  </a:lnTo>
                  <a:lnTo>
                    <a:pt x="447" y="104"/>
                  </a:lnTo>
                  <a:lnTo>
                    <a:pt x="447" y="102"/>
                  </a:lnTo>
                  <a:lnTo>
                    <a:pt x="447" y="102"/>
                  </a:lnTo>
                  <a:lnTo>
                    <a:pt x="444" y="102"/>
                  </a:lnTo>
                  <a:lnTo>
                    <a:pt x="444" y="102"/>
                  </a:lnTo>
                  <a:lnTo>
                    <a:pt x="444" y="102"/>
                  </a:lnTo>
                  <a:lnTo>
                    <a:pt x="442" y="100"/>
                  </a:lnTo>
                  <a:lnTo>
                    <a:pt x="444" y="97"/>
                  </a:lnTo>
                  <a:lnTo>
                    <a:pt x="447" y="97"/>
                  </a:lnTo>
                  <a:lnTo>
                    <a:pt x="447" y="97"/>
                  </a:lnTo>
                  <a:lnTo>
                    <a:pt x="447" y="97"/>
                  </a:lnTo>
                  <a:lnTo>
                    <a:pt x="449" y="97"/>
                  </a:lnTo>
                  <a:lnTo>
                    <a:pt x="449" y="100"/>
                  </a:lnTo>
                  <a:lnTo>
                    <a:pt x="449" y="100"/>
                  </a:lnTo>
                  <a:lnTo>
                    <a:pt x="449" y="97"/>
                  </a:lnTo>
                  <a:lnTo>
                    <a:pt x="452" y="97"/>
                  </a:lnTo>
                  <a:lnTo>
                    <a:pt x="454" y="100"/>
                  </a:lnTo>
                  <a:lnTo>
                    <a:pt x="454" y="97"/>
                  </a:lnTo>
                  <a:lnTo>
                    <a:pt x="456" y="100"/>
                  </a:lnTo>
                  <a:lnTo>
                    <a:pt x="456" y="97"/>
                  </a:lnTo>
                  <a:lnTo>
                    <a:pt x="459" y="100"/>
                  </a:lnTo>
                  <a:lnTo>
                    <a:pt x="459" y="100"/>
                  </a:lnTo>
                  <a:lnTo>
                    <a:pt x="461" y="100"/>
                  </a:lnTo>
                  <a:lnTo>
                    <a:pt x="463" y="102"/>
                  </a:lnTo>
                  <a:lnTo>
                    <a:pt x="463" y="102"/>
                  </a:lnTo>
                  <a:lnTo>
                    <a:pt x="463" y="102"/>
                  </a:lnTo>
                  <a:lnTo>
                    <a:pt x="463" y="102"/>
                  </a:lnTo>
                  <a:lnTo>
                    <a:pt x="466" y="102"/>
                  </a:lnTo>
                  <a:lnTo>
                    <a:pt x="466" y="104"/>
                  </a:lnTo>
                  <a:lnTo>
                    <a:pt x="468" y="102"/>
                  </a:lnTo>
                  <a:lnTo>
                    <a:pt x="468" y="102"/>
                  </a:lnTo>
                  <a:lnTo>
                    <a:pt x="468" y="102"/>
                  </a:lnTo>
                  <a:lnTo>
                    <a:pt x="470" y="102"/>
                  </a:lnTo>
                  <a:lnTo>
                    <a:pt x="473" y="100"/>
                  </a:lnTo>
                  <a:lnTo>
                    <a:pt x="475" y="100"/>
                  </a:lnTo>
                  <a:lnTo>
                    <a:pt x="475" y="100"/>
                  </a:lnTo>
                  <a:lnTo>
                    <a:pt x="475" y="100"/>
                  </a:lnTo>
                  <a:lnTo>
                    <a:pt x="478" y="100"/>
                  </a:lnTo>
                  <a:lnTo>
                    <a:pt x="482" y="100"/>
                  </a:lnTo>
                  <a:lnTo>
                    <a:pt x="482" y="100"/>
                  </a:lnTo>
                  <a:lnTo>
                    <a:pt x="485" y="100"/>
                  </a:lnTo>
                  <a:lnTo>
                    <a:pt x="485" y="100"/>
                  </a:lnTo>
                  <a:lnTo>
                    <a:pt x="485" y="100"/>
                  </a:lnTo>
                  <a:lnTo>
                    <a:pt x="487" y="97"/>
                  </a:lnTo>
                  <a:lnTo>
                    <a:pt x="489" y="97"/>
                  </a:lnTo>
                  <a:lnTo>
                    <a:pt x="489" y="95"/>
                  </a:lnTo>
                  <a:lnTo>
                    <a:pt x="492" y="95"/>
                  </a:lnTo>
                  <a:lnTo>
                    <a:pt x="489" y="93"/>
                  </a:lnTo>
                  <a:lnTo>
                    <a:pt x="492" y="93"/>
                  </a:lnTo>
                  <a:lnTo>
                    <a:pt x="494" y="90"/>
                  </a:lnTo>
                  <a:lnTo>
                    <a:pt x="492" y="90"/>
                  </a:lnTo>
                  <a:lnTo>
                    <a:pt x="492" y="90"/>
                  </a:lnTo>
                  <a:lnTo>
                    <a:pt x="494" y="88"/>
                  </a:lnTo>
                  <a:lnTo>
                    <a:pt x="492" y="85"/>
                  </a:lnTo>
                  <a:lnTo>
                    <a:pt x="492" y="85"/>
                  </a:lnTo>
                  <a:lnTo>
                    <a:pt x="492" y="83"/>
                  </a:lnTo>
                  <a:lnTo>
                    <a:pt x="492" y="83"/>
                  </a:lnTo>
                  <a:lnTo>
                    <a:pt x="492" y="83"/>
                  </a:lnTo>
                  <a:lnTo>
                    <a:pt x="494" y="83"/>
                  </a:lnTo>
                  <a:lnTo>
                    <a:pt x="494" y="81"/>
                  </a:lnTo>
                  <a:lnTo>
                    <a:pt x="494" y="81"/>
                  </a:lnTo>
                  <a:lnTo>
                    <a:pt x="496" y="78"/>
                  </a:lnTo>
                  <a:lnTo>
                    <a:pt x="496" y="76"/>
                  </a:lnTo>
                  <a:lnTo>
                    <a:pt x="496" y="74"/>
                  </a:lnTo>
                  <a:lnTo>
                    <a:pt x="501" y="74"/>
                  </a:lnTo>
                  <a:lnTo>
                    <a:pt x="501" y="76"/>
                  </a:lnTo>
                  <a:lnTo>
                    <a:pt x="504" y="76"/>
                  </a:lnTo>
                  <a:lnTo>
                    <a:pt x="506" y="74"/>
                  </a:lnTo>
                  <a:lnTo>
                    <a:pt x="506" y="74"/>
                  </a:lnTo>
                  <a:lnTo>
                    <a:pt x="508" y="71"/>
                  </a:lnTo>
                  <a:lnTo>
                    <a:pt x="508" y="71"/>
                  </a:lnTo>
                  <a:lnTo>
                    <a:pt x="508" y="71"/>
                  </a:lnTo>
                  <a:lnTo>
                    <a:pt x="511" y="71"/>
                  </a:lnTo>
                  <a:lnTo>
                    <a:pt x="511" y="69"/>
                  </a:lnTo>
                  <a:lnTo>
                    <a:pt x="515" y="69"/>
                  </a:lnTo>
                  <a:lnTo>
                    <a:pt x="515" y="69"/>
                  </a:lnTo>
                  <a:lnTo>
                    <a:pt x="518" y="69"/>
                  </a:lnTo>
                  <a:lnTo>
                    <a:pt x="518" y="67"/>
                  </a:lnTo>
                  <a:lnTo>
                    <a:pt x="520" y="67"/>
                  </a:lnTo>
                  <a:lnTo>
                    <a:pt x="520" y="67"/>
                  </a:lnTo>
                  <a:lnTo>
                    <a:pt x="520" y="67"/>
                  </a:lnTo>
                  <a:lnTo>
                    <a:pt x="520" y="64"/>
                  </a:lnTo>
                  <a:lnTo>
                    <a:pt x="520" y="64"/>
                  </a:lnTo>
                  <a:lnTo>
                    <a:pt x="520" y="64"/>
                  </a:lnTo>
                  <a:lnTo>
                    <a:pt x="522" y="62"/>
                  </a:lnTo>
                  <a:lnTo>
                    <a:pt x="522" y="62"/>
                  </a:lnTo>
                  <a:lnTo>
                    <a:pt x="525" y="62"/>
                  </a:lnTo>
                  <a:lnTo>
                    <a:pt x="525" y="59"/>
                  </a:lnTo>
                  <a:lnTo>
                    <a:pt x="527" y="59"/>
                  </a:lnTo>
                  <a:lnTo>
                    <a:pt x="527" y="57"/>
                  </a:lnTo>
                  <a:lnTo>
                    <a:pt x="527" y="57"/>
                  </a:lnTo>
                  <a:lnTo>
                    <a:pt x="529" y="55"/>
                  </a:lnTo>
                  <a:lnTo>
                    <a:pt x="529" y="55"/>
                  </a:lnTo>
                  <a:lnTo>
                    <a:pt x="529" y="52"/>
                  </a:lnTo>
                  <a:lnTo>
                    <a:pt x="529" y="52"/>
                  </a:lnTo>
                  <a:lnTo>
                    <a:pt x="532" y="52"/>
                  </a:lnTo>
                  <a:lnTo>
                    <a:pt x="532" y="50"/>
                  </a:lnTo>
                  <a:lnTo>
                    <a:pt x="534" y="48"/>
                  </a:lnTo>
                  <a:lnTo>
                    <a:pt x="534" y="48"/>
                  </a:lnTo>
                  <a:lnTo>
                    <a:pt x="537" y="48"/>
                  </a:lnTo>
                  <a:lnTo>
                    <a:pt x="537" y="43"/>
                  </a:lnTo>
                  <a:lnTo>
                    <a:pt x="537" y="41"/>
                  </a:lnTo>
                  <a:lnTo>
                    <a:pt x="537" y="38"/>
                  </a:lnTo>
                  <a:lnTo>
                    <a:pt x="534" y="36"/>
                  </a:lnTo>
                  <a:lnTo>
                    <a:pt x="534" y="36"/>
                  </a:lnTo>
                  <a:lnTo>
                    <a:pt x="532" y="34"/>
                  </a:lnTo>
                  <a:lnTo>
                    <a:pt x="532" y="31"/>
                  </a:lnTo>
                  <a:lnTo>
                    <a:pt x="529" y="29"/>
                  </a:lnTo>
                  <a:lnTo>
                    <a:pt x="529" y="26"/>
                  </a:lnTo>
                  <a:lnTo>
                    <a:pt x="529" y="24"/>
                  </a:lnTo>
                  <a:lnTo>
                    <a:pt x="529" y="22"/>
                  </a:lnTo>
                  <a:lnTo>
                    <a:pt x="529" y="22"/>
                  </a:lnTo>
                  <a:lnTo>
                    <a:pt x="529" y="22"/>
                  </a:lnTo>
                  <a:lnTo>
                    <a:pt x="529" y="22"/>
                  </a:lnTo>
                  <a:lnTo>
                    <a:pt x="529" y="22"/>
                  </a:lnTo>
                  <a:lnTo>
                    <a:pt x="527" y="19"/>
                  </a:lnTo>
                  <a:lnTo>
                    <a:pt x="529" y="17"/>
                  </a:lnTo>
                  <a:lnTo>
                    <a:pt x="527" y="17"/>
                  </a:lnTo>
                  <a:lnTo>
                    <a:pt x="525" y="15"/>
                  </a:lnTo>
                  <a:lnTo>
                    <a:pt x="525" y="12"/>
                  </a:lnTo>
                  <a:lnTo>
                    <a:pt x="525" y="12"/>
                  </a:lnTo>
                  <a:lnTo>
                    <a:pt x="522" y="12"/>
                  </a:lnTo>
                  <a:lnTo>
                    <a:pt x="522" y="12"/>
                  </a:lnTo>
                  <a:lnTo>
                    <a:pt x="520" y="12"/>
                  </a:lnTo>
                  <a:lnTo>
                    <a:pt x="518" y="10"/>
                  </a:lnTo>
                  <a:lnTo>
                    <a:pt x="520" y="8"/>
                  </a:lnTo>
                  <a:lnTo>
                    <a:pt x="522" y="8"/>
                  </a:lnTo>
                  <a:lnTo>
                    <a:pt x="522" y="8"/>
                  </a:lnTo>
                  <a:lnTo>
                    <a:pt x="525" y="8"/>
                  </a:lnTo>
                  <a:lnTo>
                    <a:pt x="527" y="8"/>
                  </a:lnTo>
                  <a:lnTo>
                    <a:pt x="529" y="8"/>
                  </a:lnTo>
                  <a:lnTo>
                    <a:pt x="529" y="8"/>
                  </a:lnTo>
                  <a:lnTo>
                    <a:pt x="532" y="10"/>
                  </a:lnTo>
                  <a:lnTo>
                    <a:pt x="534" y="8"/>
                  </a:lnTo>
                  <a:lnTo>
                    <a:pt x="534" y="10"/>
                  </a:lnTo>
                  <a:lnTo>
                    <a:pt x="537" y="8"/>
                  </a:lnTo>
                  <a:lnTo>
                    <a:pt x="537" y="8"/>
                  </a:lnTo>
                  <a:lnTo>
                    <a:pt x="537" y="10"/>
                  </a:lnTo>
                  <a:lnTo>
                    <a:pt x="539" y="12"/>
                  </a:lnTo>
                  <a:lnTo>
                    <a:pt x="541" y="12"/>
                  </a:lnTo>
                  <a:lnTo>
                    <a:pt x="544" y="10"/>
                  </a:lnTo>
                  <a:lnTo>
                    <a:pt x="546" y="10"/>
                  </a:lnTo>
                  <a:lnTo>
                    <a:pt x="548" y="10"/>
                  </a:lnTo>
                  <a:lnTo>
                    <a:pt x="551" y="10"/>
                  </a:lnTo>
                  <a:lnTo>
                    <a:pt x="551" y="10"/>
                  </a:lnTo>
                  <a:lnTo>
                    <a:pt x="553" y="10"/>
                  </a:lnTo>
                  <a:lnTo>
                    <a:pt x="555" y="10"/>
                  </a:lnTo>
                  <a:lnTo>
                    <a:pt x="555" y="12"/>
                  </a:lnTo>
                  <a:lnTo>
                    <a:pt x="555" y="12"/>
                  </a:lnTo>
                  <a:lnTo>
                    <a:pt x="558" y="12"/>
                  </a:lnTo>
                  <a:lnTo>
                    <a:pt x="558" y="10"/>
                  </a:lnTo>
                  <a:lnTo>
                    <a:pt x="558" y="10"/>
                  </a:lnTo>
                  <a:lnTo>
                    <a:pt x="560" y="10"/>
                  </a:lnTo>
                  <a:lnTo>
                    <a:pt x="563" y="8"/>
                  </a:lnTo>
                  <a:lnTo>
                    <a:pt x="565" y="10"/>
                  </a:lnTo>
                  <a:lnTo>
                    <a:pt x="565" y="10"/>
                  </a:lnTo>
                  <a:lnTo>
                    <a:pt x="565" y="10"/>
                  </a:lnTo>
                  <a:lnTo>
                    <a:pt x="567" y="10"/>
                  </a:lnTo>
                  <a:lnTo>
                    <a:pt x="567" y="10"/>
                  </a:lnTo>
                  <a:lnTo>
                    <a:pt x="570" y="10"/>
                  </a:lnTo>
                  <a:lnTo>
                    <a:pt x="570" y="10"/>
                  </a:lnTo>
                  <a:lnTo>
                    <a:pt x="572" y="10"/>
                  </a:lnTo>
                  <a:lnTo>
                    <a:pt x="572" y="8"/>
                  </a:lnTo>
                  <a:lnTo>
                    <a:pt x="577" y="8"/>
                  </a:lnTo>
                  <a:lnTo>
                    <a:pt x="577" y="8"/>
                  </a:lnTo>
                  <a:lnTo>
                    <a:pt x="577" y="8"/>
                  </a:lnTo>
                  <a:lnTo>
                    <a:pt x="577" y="5"/>
                  </a:lnTo>
                  <a:lnTo>
                    <a:pt x="577" y="3"/>
                  </a:lnTo>
                  <a:lnTo>
                    <a:pt x="579" y="3"/>
                  </a:lnTo>
                  <a:lnTo>
                    <a:pt x="581" y="3"/>
                  </a:lnTo>
                  <a:lnTo>
                    <a:pt x="584" y="3"/>
                  </a:lnTo>
                  <a:lnTo>
                    <a:pt x="584" y="0"/>
                  </a:lnTo>
                  <a:lnTo>
                    <a:pt x="586" y="3"/>
                  </a:lnTo>
                  <a:lnTo>
                    <a:pt x="586" y="3"/>
                  </a:lnTo>
                  <a:lnTo>
                    <a:pt x="586" y="5"/>
                  </a:lnTo>
                  <a:lnTo>
                    <a:pt x="589" y="8"/>
                  </a:lnTo>
                  <a:lnTo>
                    <a:pt x="591" y="8"/>
                  </a:lnTo>
                  <a:lnTo>
                    <a:pt x="593" y="5"/>
                  </a:lnTo>
                  <a:lnTo>
                    <a:pt x="596" y="8"/>
                  </a:lnTo>
                  <a:lnTo>
                    <a:pt x="598" y="12"/>
                  </a:lnTo>
                  <a:lnTo>
                    <a:pt x="598" y="17"/>
                  </a:lnTo>
                  <a:lnTo>
                    <a:pt x="598" y="19"/>
                  </a:lnTo>
                  <a:lnTo>
                    <a:pt x="603" y="19"/>
                  </a:lnTo>
                  <a:lnTo>
                    <a:pt x="603" y="19"/>
                  </a:lnTo>
                  <a:lnTo>
                    <a:pt x="603" y="19"/>
                  </a:lnTo>
                  <a:lnTo>
                    <a:pt x="603" y="22"/>
                  </a:lnTo>
                  <a:lnTo>
                    <a:pt x="605" y="22"/>
                  </a:lnTo>
                  <a:lnTo>
                    <a:pt x="605" y="22"/>
                  </a:lnTo>
                  <a:lnTo>
                    <a:pt x="607" y="24"/>
                  </a:lnTo>
                  <a:lnTo>
                    <a:pt x="607" y="26"/>
                  </a:lnTo>
                  <a:lnTo>
                    <a:pt x="607" y="24"/>
                  </a:lnTo>
                  <a:lnTo>
                    <a:pt x="610" y="26"/>
                  </a:lnTo>
                  <a:lnTo>
                    <a:pt x="612" y="26"/>
                  </a:lnTo>
                  <a:lnTo>
                    <a:pt x="612" y="26"/>
                  </a:lnTo>
                  <a:lnTo>
                    <a:pt x="612" y="26"/>
                  </a:lnTo>
                  <a:lnTo>
                    <a:pt x="612" y="29"/>
                  </a:lnTo>
                  <a:lnTo>
                    <a:pt x="610" y="29"/>
                  </a:lnTo>
                  <a:lnTo>
                    <a:pt x="612" y="31"/>
                  </a:lnTo>
                  <a:lnTo>
                    <a:pt x="612" y="31"/>
                  </a:lnTo>
                  <a:lnTo>
                    <a:pt x="612" y="31"/>
                  </a:lnTo>
                  <a:lnTo>
                    <a:pt x="612" y="34"/>
                  </a:lnTo>
                  <a:lnTo>
                    <a:pt x="612" y="34"/>
                  </a:lnTo>
                  <a:lnTo>
                    <a:pt x="612" y="36"/>
                  </a:lnTo>
                  <a:lnTo>
                    <a:pt x="612" y="38"/>
                  </a:lnTo>
                  <a:lnTo>
                    <a:pt x="612" y="41"/>
                  </a:lnTo>
                  <a:lnTo>
                    <a:pt x="612" y="41"/>
                  </a:lnTo>
                  <a:lnTo>
                    <a:pt x="612" y="43"/>
                  </a:lnTo>
                  <a:lnTo>
                    <a:pt x="612" y="45"/>
                  </a:lnTo>
                  <a:lnTo>
                    <a:pt x="612" y="45"/>
                  </a:lnTo>
                  <a:lnTo>
                    <a:pt x="612" y="45"/>
                  </a:lnTo>
                  <a:lnTo>
                    <a:pt x="612" y="48"/>
                  </a:lnTo>
                  <a:lnTo>
                    <a:pt x="610" y="50"/>
                  </a:lnTo>
                  <a:lnTo>
                    <a:pt x="610" y="57"/>
                  </a:lnTo>
                  <a:lnTo>
                    <a:pt x="607" y="59"/>
                  </a:lnTo>
                  <a:lnTo>
                    <a:pt x="607" y="59"/>
                  </a:lnTo>
                  <a:lnTo>
                    <a:pt x="607" y="62"/>
                  </a:lnTo>
                  <a:lnTo>
                    <a:pt x="607" y="62"/>
                  </a:lnTo>
                  <a:lnTo>
                    <a:pt x="607" y="64"/>
                  </a:lnTo>
                  <a:lnTo>
                    <a:pt x="605" y="64"/>
                  </a:lnTo>
                  <a:lnTo>
                    <a:pt x="607" y="67"/>
                  </a:lnTo>
                  <a:lnTo>
                    <a:pt x="607" y="69"/>
                  </a:lnTo>
                  <a:lnTo>
                    <a:pt x="607" y="71"/>
                  </a:lnTo>
                  <a:lnTo>
                    <a:pt x="605" y="74"/>
                  </a:lnTo>
                  <a:lnTo>
                    <a:pt x="607" y="76"/>
                  </a:lnTo>
                  <a:lnTo>
                    <a:pt x="607" y="76"/>
                  </a:lnTo>
                  <a:lnTo>
                    <a:pt x="603" y="81"/>
                  </a:lnTo>
                  <a:lnTo>
                    <a:pt x="603" y="83"/>
                  </a:lnTo>
                  <a:lnTo>
                    <a:pt x="600" y="83"/>
                  </a:lnTo>
                  <a:lnTo>
                    <a:pt x="603" y="85"/>
                  </a:lnTo>
                  <a:lnTo>
                    <a:pt x="603" y="85"/>
                  </a:lnTo>
                  <a:lnTo>
                    <a:pt x="603" y="88"/>
                  </a:lnTo>
                  <a:lnTo>
                    <a:pt x="598" y="90"/>
                  </a:lnTo>
                  <a:lnTo>
                    <a:pt x="598" y="90"/>
                  </a:lnTo>
                  <a:lnTo>
                    <a:pt x="596" y="90"/>
                  </a:lnTo>
                  <a:lnTo>
                    <a:pt x="596" y="90"/>
                  </a:lnTo>
                  <a:lnTo>
                    <a:pt x="593" y="90"/>
                  </a:lnTo>
                  <a:lnTo>
                    <a:pt x="596" y="93"/>
                  </a:lnTo>
                  <a:lnTo>
                    <a:pt x="593" y="93"/>
                  </a:lnTo>
                  <a:lnTo>
                    <a:pt x="593" y="95"/>
                  </a:lnTo>
                  <a:lnTo>
                    <a:pt x="593" y="95"/>
                  </a:lnTo>
                  <a:lnTo>
                    <a:pt x="593" y="95"/>
                  </a:lnTo>
                  <a:lnTo>
                    <a:pt x="591" y="95"/>
                  </a:lnTo>
                  <a:lnTo>
                    <a:pt x="591" y="95"/>
                  </a:lnTo>
                  <a:lnTo>
                    <a:pt x="591" y="97"/>
                  </a:lnTo>
                  <a:lnTo>
                    <a:pt x="591" y="97"/>
                  </a:lnTo>
                  <a:lnTo>
                    <a:pt x="591" y="102"/>
                  </a:lnTo>
                  <a:lnTo>
                    <a:pt x="591" y="102"/>
                  </a:lnTo>
                  <a:lnTo>
                    <a:pt x="593" y="102"/>
                  </a:lnTo>
                  <a:lnTo>
                    <a:pt x="596" y="102"/>
                  </a:lnTo>
                  <a:lnTo>
                    <a:pt x="598" y="102"/>
                  </a:lnTo>
                  <a:lnTo>
                    <a:pt x="598" y="100"/>
                  </a:lnTo>
                  <a:lnTo>
                    <a:pt x="600" y="100"/>
                  </a:lnTo>
                  <a:lnTo>
                    <a:pt x="600" y="100"/>
                  </a:lnTo>
                  <a:lnTo>
                    <a:pt x="600" y="102"/>
                  </a:lnTo>
                  <a:lnTo>
                    <a:pt x="603" y="100"/>
                  </a:lnTo>
                  <a:lnTo>
                    <a:pt x="603" y="102"/>
                  </a:lnTo>
                  <a:lnTo>
                    <a:pt x="603" y="102"/>
                  </a:lnTo>
                  <a:lnTo>
                    <a:pt x="603" y="102"/>
                  </a:lnTo>
                  <a:lnTo>
                    <a:pt x="603" y="102"/>
                  </a:lnTo>
                  <a:lnTo>
                    <a:pt x="605" y="102"/>
                  </a:lnTo>
                  <a:lnTo>
                    <a:pt x="607" y="104"/>
                  </a:lnTo>
                  <a:lnTo>
                    <a:pt x="607" y="102"/>
                  </a:lnTo>
                  <a:lnTo>
                    <a:pt x="610" y="104"/>
                  </a:lnTo>
                  <a:lnTo>
                    <a:pt x="610" y="102"/>
                  </a:lnTo>
                  <a:lnTo>
                    <a:pt x="612" y="102"/>
                  </a:lnTo>
                  <a:lnTo>
                    <a:pt x="612" y="104"/>
                  </a:lnTo>
                  <a:lnTo>
                    <a:pt x="615" y="104"/>
                  </a:lnTo>
                  <a:lnTo>
                    <a:pt x="615" y="104"/>
                  </a:lnTo>
                  <a:lnTo>
                    <a:pt x="615" y="104"/>
                  </a:lnTo>
                  <a:lnTo>
                    <a:pt x="615" y="104"/>
                  </a:lnTo>
                  <a:lnTo>
                    <a:pt x="615" y="104"/>
                  </a:lnTo>
                  <a:lnTo>
                    <a:pt x="615" y="102"/>
                  </a:lnTo>
                  <a:lnTo>
                    <a:pt x="617" y="102"/>
                  </a:lnTo>
                  <a:lnTo>
                    <a:pt x="617" y="102"/>
                  </a:lnTo>
                  <a:lnTo>
                    <a:pt x="619" y="104"/>
                  </a:lnTo>
                  <a:lnTo>
                    <a:pt x="619" y="102"/>
                  </a:lnTo>
                  <a:lnTo>
                    <a:pt x="619" y="104"/>
                  </a:lnTo>
                  <a:lnTo>
                    <a:pt x="622" y="104"/>
                  </a:lnTo>
                  <a:lnTo>
                    <a:pt x="622" y="104"/>
                  </a:lnTo>
                  <a:lnTo>
                    <a:pt x="624" y="107"/>
                  </a:lnTo>
                  <a:lnTo>
                    <a:pt x="622" y="107"/>
                  </a:lnTo>
                  <a:lnTo>
                    <a:pt x="624" y="109"/>
                  </a:lnTo>
                  <a:lnTo>
                    <a:pt x="624" y="107"/>
                  </a:lnTo>
                  <a:lnTo>
                    <a:pt x="626" y="107"/>
                  </a:lnTo>
                  <a:lnTo>
                    <a:pt x="629" y="104"/>
                  </a:lnTo>
                  <a:lnTo>
                    <a:pt x="629" y="104"/>
                  </a:lnTo>
                  <a:lnTo>
                    <a:pt x="629" y="107"/>
                  </a:lnTo>
                  <a:lnTo>
                    <a:pt x="629" y="109"/>
                  </a:lnTo>
                  <a:lnTo>
                    <a:pt x="629" y="109"/>
                  </a:lnTo>
                  <a:lnTo>
                    <a:pt x="631" y="109"/>
                  </a:lnTo>
                  <a:lnTo>
                    <a:pt x="631" y="109"/>
                  </a:lnTo>
                  <a:lnTo>
                    <a:pt x="633" y="109"/>
                  </a:lnTo>
                  <a:lnTo>
                    <a:pt x="633" y="109"/>
                  </a:lnTo>
                  <a:lnTo>
                    <a:pt x="636" y="109"/>
                  </a:lnTo>
                  <a:lnTo>
                    <a:pt x="636" y="109"/>
                  </a:lnTo>
                  <a:lnTo>
                    <a:pt x="636" y="107"/>
                  </a:lnTo>
                  <a:lnTo>
                    <a:pt x="638" y="107"/>
                  </a:lnTo>
                  <a:lnTo>
                    <a:pt x="638" y="109"/>
                  </a:lnTo>
                  <a:lnTo>
                    <a:pt x="641" y="109"/>
                  </a:lnTo>
                  <a:lnTo>
                    <a:pt x="641" y="111"/>
                  </a:lnTo>
                  <a:lnTo>
                    <a:pt x="641" y="111"/>
                  </a:lnTo>
                  <a:lnTo>
                    <a:pt x="643" y="114"/>
                  </a:lnTo>
                  <a:lnTo>
                    <a:pt x="645" y="114"/>
                  </a:lnTo>
                  <a:lnTo>
                    <a:pt x="648" y="114"/>
                  </a:lnTo>
                  <a:lnTo>
                    <a:pt x="648" y="116"/>
                  </a:lnTo>
                  <a:lnTo>
                    <a:pt x="650" y="119"/>
                  </a:lnTo>
                  <a:lnTo>
                    <a:pt x="652" y="119"/>
                  </a:lnTo>
                  <a:lnTo>
                    <a:pt x="652" y="119"/>
                  </a:lnTo>
                  <a:lnTo>
                    <a:pt x="652" y="121"/>
                  </a:lnTo>
                  <a:lnTo>
                    <a:pt x="652" y="123"/>
                  </a:lnTo>
                  <a:lnTo>
                    <a:pt x="652" y="123"/>
                  </a:lnTo>
                  <a:lnTo>
                    <a:pt x="650" y="123"/>
                  </a:lnTo>
                  <a:lnTo>
                    <a:pt x="650" y="126"/>
                  </a:lnTo>
                  <a:lnTo>
                    <a:pt x="650" y="128"/>
                  </a:lnTo>
                  <a:lnTo>
                    <a:pt x="648" y="128"/>
                  </a:lnTo>
                  <a:lnTo>
                    <a:pt x="648" y="128"/>
                  </a:lnTo>
                  <a:lnTo>
                    <a:pt x="648" y="130"/>
                  </a:lnTo>
                  <a:lnTo>
                    <a:pt x="645" y="130"/>
                  </a:lnTo>
                  <a:lnTo>
                    <a:pt x="645" y="130"/>
                  </a:lnTo>
                  <a:lnTo>
                    <a:pt x="645" y="133"/>
                  </a:lnTo>
                  <a:lnTo>
                    <a:pt x="648" y="133"/>
                  </a:lnTo>
                  <a:lnTo>
                    <a:pt x="648" y="133"/>
                  </a:lnTo>
                  <a:lnTo>
                    <a:pt x="645" y="137"/>
                  </a:lnTo>
                  <a:lnTo>
                    <a:pt x="645" y="137"/>
                  </a:lnTo>
                  <a:lnTo>
                    <a:pt x="645" y="140"/>
                  </a:lnTo>
                  <a:lnTo>
                    <a:pt x="648" y="145"/>
                  </a:lnTo>
                  <a:lnTo>
                    <a:pt x="648" y="145"/>
                  </a:lnTo>
                  <a:lnTo>
                    <a:pt x="648" y="147"/>
                  </a:lnTo>
                  <a:lnTo>
                    <a:pt x="650" y="147"/>
                  </a:lnTo>
                  <a:lnTo>
                    <a:pt x="652" y="149"/>
                  </a:lnTo>
                  <a:lnTo>
                    <a:pt x="657" y="149"/>
                  </a:lnTo>
                  <a:lnTo>
                    <a:pt x="659" y="149"/>
                  </a:lnTo>
                  <a:lnTo>
                    <a:pt x="659" y="154"/>
                  </a:lnTo>
                  <a:lnTo>
                    <a:pt x="659" y="154"/>
                  </a:lnTo>
                  <a:lnTo>
                    <a:pt x="657" y="159"/>
                  </a:lnTo>
                  <a:lnTo>
                    <a:pt x="657" y="159"/>
                  </a:lnTo>
                  <a:lnTo>
                    <a:pt x="659" y="161"/>
                  </a:lnTo>
                  <a:lnTo>
                    <a:pt x="659" y="161"/>
                  </a:lnTo>
                  <a:lnTo>
                    <a:pt x="659" y="161"/>
                  </a:lnTo>
                  <a:lnTo>
                    <a:pt x="659" y="163"/>
                  </a:lnTo>
                  <a:lnTo>
                    <a:pt x="662" y="163"/>
                  </a:lnTo>
                  <a:lnTo>
                    <a:pt x="662" y="166"/>
                  </a:lnTo>
                  <a:lnTo>
                    <a:pt x="662" y="166"/>
                  </a:lnTo>
                  <a:lnTo>
                    <a:pt x="662" y="166"/>
                  </a:lnTo>
                  <a:lnTo>
                    <a:pt x="662" y="166"/>
                  </a:lnTo>
                  <a:lnTo>
                    <a:pt x="662" y="166"/>
                  </a:lnTo>
                  <a:lnTo>
                    <a:pt x="664" y="166"/>
                  </a:lnTo>
                  <a:lnTo>
                    <a:pt x="664" y="166"/>
                  </a:lnTo>
                  <a:lnTo>
                    <a:pt x="662" y="168"/>
                  </a:lnTo>
                  <a:lnTo>
                    <a:pt x="664" y="168"/>
                  </a:lnTo>
                  <a:lnTo>
                    <a:pt x="664" y="168"/>
                  </a:lnTo>
                  <a:lnTo>
                    <a:pt x="667" y="168"/>
                  </a:lnTo>
                  <a:lnTo>
                    <a:pt x="664" y="168"/>
                  </a:lnTo>
                  <a:lnTo>
                    <a:pt x="667" y="168"/>
                  </a:lnTo>
                  <a:lnTo>
                    <a:pt x="664" y="171"/>
                  </a:lnTo>
                  <a:lnTo>
                    <a:pt x="664" y="173"/>
                  </a:lnTo>
                  <a:lnTo>
                    <a:pt x="667" y="173"/>
                  </a:lnTo>
                  <a:lnTo>
                    <a:pt x="667" y="173"/>
                  </a:lnTo>
                  <a:lnTo>
                    <a:pt x="667" y="171"/>
                  </a:lnTo>
                  <a:lnTo>
                    <a:pt x="669" y="171"/>
                  </a:lnTo>
                  <a:lnTo>
                    <a:pt x="669" y="173"/>
                  </a:lnTo>
                  <a:lnTo>
                    <a:pt x="671" y="173"/>
                  </a:lnTo>
                  <a:lnTo>
                    <a:pt x="671" y="173"/>
                  </a:lnTo>
                  <a:lnTo>
                    <a:pt x="671" y="175"/>
                  </a:lnTo>
                  <a:lnTo>
                    <a:pt x="674" y="175"/>
                  </a:lnTo>
                  <a:lnTo>
                    <a:pt x="671" y="175"/>
                  </a:lnTo>
                  <a:lnTo>
                    <a:pt x="671" y="178"/>
                  </a:lnTo>
                  <a:lnTo>
                    <a:pt x="671" y="178"/>
                  </a:lnTo>
                  <a:lnTo>
                    <a:pt x="671" y="178"/>
                  </a:lnTo>
                  <a:lnTo>
                    <a:pt x="669" y="178"/>
                  </a:lnTo>
                  <a:lnTo>
                    <a:pt x="669" y="178"/>
                  </a:lnTo>
                  <a:lnTo>
                    <a:pt x="669" y="178"/>
                  </a:lnTo>
                  <a:lnTo>
                    <a:pt x="669" y="178"/>
                  </a:lnTo>
                  <a:lnTo>
                    <a:pt x="667" y="178"/>
                  </a:lnTo>
                  <a:lnTo>
                    <a:pt x="667" y="182"/>
                  </a:lnTo>
                  <a:lnTo>
                    <a:pt x="664" y="180"/>
                  </a:lnTo>
                  <a:lnTo>
                    <a:pt x="667" y="182"/>
                  </a:lnTo>
                  <a:lnTo>
                    <a:pt x="664" y="182"/>
                  </a:lnTo>
                  <a:lnTo>
                    <a:pt x="662" y="182"/>
                  </a:lnTo>
                  <a:lnTo>
                    <a:pt x="662" y="185"/>
                  </a:lnTo>
                  <a:lnTo>
                    <a:pt x="662" y="187"/>
                  </a:lnTo>
                  <a:lnTo>
                    <a:pt x="664" y="187"/>
                  </a:lnTo>
                  <a:lnTo>
                    <a:pt x="664" y="187"/>
                  </a:lnTo>
                  <a:lnTo>
                    <a:pt x="664" y="189"/>
                  </a:lnTo>
                  <a:lnTo>
                    <a:pt x="664" y="189"/>
                  </a:lnTo>
                  <a:lnTo>
                    <a:pt x="664" y="192"/>
                  </a:lnTo>
                  <a:lnTo>
                    <a:pt x="664" y="192"/>
                  </a:lnTo>
                  <a:lnTo>
                    <a:pt x="662" y="192"/>
                  </a:lnTo>
                  <a:lnTo>
                    <a:pt x="662" y="192"/>
                  </a:lnTo>
                  <a:lnTo>
                    <a:pt x="662" y="194"/>
                  </a:lnTo>
                  <a:lnTo>
                    <a:pt x="662" y="194"/>
                  </a:lnTo>
                  <a:lnTo>
                    <a:pt x="662" y="194"/>
                  </a:lnTo>
                  <a:lnTo>
                    <a:pt x="662" y="194"/>
                  </a:lnTo>
                  <a:lnTo>
                    <a:pt x="659" y="194"/>
                  </a:lnTo>
                  <a:lnTo>
                    <a:pt x="659" y="196"/>
                  </a:lnTo>
                  <a:lnTo>
                    <a:pt x="657" y="196"/>
                  </a:lnTo>
                  <a:lnTo>
                    <a:pt x="659" y="194"/>
                  </a:lnTo>
                  <a:lnTo>
                    <a:pt x="659" y="194"/>
                  </a:lnTo>
                  <a:lnTo>
                    <a:pt x="657" y="194"/>
                  </a:lnTo>
                  <a:lnTo>
                    <a:pt x="657" y="196"/>
                  </a:lnTo>
                  <a:lnTo>
                    <a:pt x="657" y="196"/>
                  </a:lnTo>
                  <a:lnTo>
                    <a:pt x="655" y="196"/>
                  </a:lnTo>
                  <a:lnTo>
                    <a:pt x="652" y="199"/>
                  </a:lnTo>
                  <a:lnTo>
                    <a:pt x="652" y="199"/>
                  </a:lnTo>
                  <a:lnTo>
                    <a:pt x="652" y="201"/>
                  </a:lnTo>
                  <a:lnTo>
                    <a:pt x="652" y="201"/>
                  </a:lnTo>
                  <a:lnTo>
                    <a:pt x="652" y="201"/>
                  </a:lnTo>
                  <a:lnTo>
                    <a:pt x="652" y="201"/>
                  </a:lnTo>
                  <a:lnTo>
                    <a:pt x="655" y="204"/>
                  </a:lnTo>
                  <a:lnTo>
                    <a:pt x="652" y="204"/>
                  </a:lnTo>
                  <a:lnTo>
                    <a:pt x="655" y="206"/>
                  </a:lnTo>
                  <a:lnTo>
                    <a:pt x="652" y="206"/>
                  </a:lnTo>
                  <a:lnTo>
                    <a:pt x="652" y="208"/>
                  </a:lnTo>
                  <a:lnTo>
                    <a:pt x="650" y="206"/>
                  </a:lnTo>
                  <a:lnTo>
                    <a:pt x="650" y="208"/>
                  </a:lnTo>
                  <a:lnTo>
                    <a:pt x="650" y="208"/>
                  </a:lnTo>
                  <a:lnTo>
                    <a:pt x="648" y="211"/>
                  </a:lnTo>
                  <a:lnTo>
                    <a:pt x="648" y="211"/>
                  </a:lnTo>
                  <a:lnTo>
                    <a:pt x="648" y="211"/>
                  </a:lnTo>
                  <a:lnTo>
                    <a:pt x="648" y="213"/>
                  </a:lnTo>
                  <a:lnTo>
                    <a:pt x="643" y="213"/>
                  </a:lnTo>
                  <a:lnTo>
                    <a:pt x="643" y="213"/>
                  </a:lnTo>
                  <a:lnTo>
                    <a:pt x="643" y="215"/>
                  </a:lnTo>
                  <a:lnTo>
                    <a:pt x="641" y="215"/>
                  </a:lnTo>
                  <a:lnTo>
                    <a:pt x="641" y="218"/>
                  </a:lnTo>
                  <a:lnTo>
                    <a:pt x="641" y="218"/>
                  </a:lnTo>
                  <a:lnTo>
                    <a:pt x="638" y="218"/>
                  </a:lnTo>
                  <a:lnTo>
                    <a:pt x="638" y="218"/>
                  </a:lnTo>
                  <a:lnTo>
                    <a:pt x="636" y="218"/>
                  </a:lnTo>
                  <a:lnTo>
                    <a:pt x="633" y="218"/>
                  </a:lnTo>
                  <a:lnTo>
                    <a:pt x="633" y="220"/>
                  </a:lnTo>
                  <a:lnTo>
                    <a:pt x="633" y="218"/>
                  </a:lnTo>
                  <a:lnTo>
                    <a:pt x="631" y="220"/>
                  </a:lnTo>
                  <a:lnTo>
                    <a:pt x="631" y="220"/>
                  </a:lnTo>
                  <a:lnTo>
                    <a:pt x="631" y="220"/>
                  </a:lnTo>
                  <a:lnTo>
                    <a:pt x="629" y="222"/>
                  </a:lnTo>
                  <a:lnTo>
                    <a:pt x="629" y="222"/>
                  </a:lnTo>
                  <a:lnTo>
                    <a:pt x="629" y="222"/>
                  </a:lnTo>
                  <a:lnTo>
                    <a:pt x="629" y="225"/>
                  </a:lnTo>
                  <a:lnTo>
                    <a:pt x="629" y="225"/>
                  </a:lnTo>
                  <a:lnTo>
                    <a:pt x="629" y="227"/>
                  </a:lnTo>
                  <a:lnTo>
                    <a:pt x="631" y="227"/>
                  </a:lnTo>
                  <a:lnTo>
                    <a:pt x="631" y="227"/>
                  </a:lnTo>
                  <a:lnTo>
                    <a:pt x="631" y="230"/>
                  </a:lnTo>
                  <a:lnTo>
                    <a:pt x="633" y="230"/>
                  </a:lnTo>
                  <a:lnTo>
                    <a:pt x="636" y="232"/>
                  </a:lnTo>
                  <a:lnTo>
                    <a:pt x="636" y="234"/>
                  </a:lnTo>
                  <a:lnTo>
                    <a:pt x="633" y="237"/>
                  </a:lnTo>
                  <a:lnTo>
                    <a:pt x="633" y="237"/>
                  </a:lnTo>
                  <a:lnTo>
                    <a:pt x="636" y="237"/>
                  </a:lnTo>
                  <a:lnTo>
                    <a:pt x="636" y="237"/>
                  </a:lnTo>
                  <a:lnTo>
                    <a:pt x="633" y="237"/>
                  </a:lnTo>
                  <a:lnTo>
                    <a:pt x="633" y="237"/>
                  </a:lnTo>
                  <a:lnTo>
                    <a:pt x="633" y="239"/>
                  </a:lnTo>
                  <a:lnTo>
                    <a:pt x="631" y="241"/>
                  </a:lnTo>
                  <a:lnTo>
                    <a:pt x="631" y="241"/>
                  </a:lnTo>
                  <a:lnTo>
                    <a:pt x="631" y="244"/>
                  </a:lnTo>
                  <a:lnTo>
                    <a:pt x="633" y="244"/>
                  </a:lnTo>
                  <a:lnTo>
                    <a:pt x="633" y="241"/>
                  </a:lnTo>
                  <a:lnTo>
                    <a:pt x="636" y="241"/>
                  </a:lnTo>
                  <a:lnTo>
                    <a:pt x="633" y="246"/>
                  </a:lnTo>
                  <a:lnTo>
                    <a:pt x="636" y="248"/>
                  </a:lnTo>
                  <a:lnTo>
                    <a:pt x="636" y="251"/>
                  </a:lnTo>
                  <a:lnTo>
                    <a:pt x="636" y="251"/>
                  </a:lnTo>
                  <a:lnTo>
                    <a:pt x="636" y="253"/>
                  </a:lnTo>
                  <a:lnTo>
                    <a:pt x="633" y="251"/>
                  </a:lnTo>
                  <a:lnTo>
                    <a:pt x="633" y="253"/>
                  </a:lnTo>
                  <a:lnTo>
                    <a:pt x="633" y="256"/>
                  </a:lnTo>
                  <a:lnTo>
                    <a:pt x="633" y="256"/>
                  </a:lnTo>
                  <a:lnTo>
                    <a:pt x="631" y="258"/>
                  </a:lnTo>
                  <a:lnTo>
                    <a:pt x="631" y="258"/>
                  </a:lnTo>
                  <a:lnTo>
                    <a:pt x="631" y="258"/>
                  </a:lnTo>
                  <a:lnTo>
                    <a:pt x="629" y="263"/>
                  </a:lnTo>
                  <a:lnTo>
                    <a:pt x="629" y="263"/>
                  </a:lnTo>
                  <a:lnTo>
                    <a:pt x="626" y="265"/>
                  </a:lnTo>
                  <a:lnTo>
                    <a:pt x="626" y="267"/>
                  </a:lnTo>
                  <a:lnTo>
                    <a:pt x="626" y="267"/>
                  </a:lnTo>
                  <a:lnTo>
                    <a:pt x="629" y="270"/>
                  </a:lnTo>
                  <a:lnTo>
                    <a:pt x="626" y="270"/>
                  </a:lnTo>
                  <a:lnTo>
                    <a:pt x="624" y="270"/>
                  </a:lnTo>
                  <a:lnTo>
                    <a:pt x="624" y="270"/>
                  </a:lnTo>
                  <a:lnTo>
                    <a:pt x="622" y="274"/>
                  </a:lnTo>
                  <a:lnTo>
                    <a:pt x="624" y="279"/>
                  </a:lnTo>
                  <a:lnTo>
                    <a:pt x="624" y="279"/>
                  </a:lnTo>
                  <a:lnTo>
                    <a:pt x="622" y="279"/>
                  </a:lnTo>
                  <a:lnTo>
                    <a:pt x="622" y="279"/>
                  </a:lnTo>
                  <a:lnTo>
                    <a:pt x="624" y="279"/>
                  </a:lnTo>
                  <a:lnTo>
                    <a:pt x="624" y="279"/>
                  </a:lnTo>
                  <a:lnTo>
                    <a:pt x="622" y="279"/>
                  </a:lnTo>
                  <a:lnTo>
                    <a:pt x="622" y="282"/>
                  </a:lnTo>
                  <a:lnTo>
                    <a:pt x="622" y="282"/>
                  </a:lnTo>
                  <a:lnTo>
                    <a:pt x="624" y="282"/>
                  </a:lnTo>
                  <a:lnTo>
                    <a:pt x="624" y="284"/>
                  </a:lnTo>
                  <a:lnTo>
                    <a:pt x="622" y="284"/>
                  </a:lnTo>
                  <a:lnTo>
                    <a:pt x="622" y="284"/>
                  </a:lnTo>
                  <a:lnTo>
                    <a:pt x="622" y="284"/>
                  </a:lnTo>
                  <a:lnTo>
                    <a:pt x="619" y="286"/>
                  </a:lnTo>
                  <a:lnTo>
                    <a:pt x="619" y="286"/>
                  </a:lnTo>
                  <a:lnTo>
                    <a:pt x="617" y="289"/>
                  </a:lnTo>
                  <a:lnTo>
                    <a:pt x="617" y="289"/>
                  </a:lnTo>
                  <a:lnTo>
                    <a:pt x="619" y="291"/>
                  </a:lnTo>
                  <a:lnTo>
                    <a:pt x="617" y="293"/>
                  </a:lnTo>
                  <a:lnTo>
                    <a:pt x="617" y="296"/>
                  </a:lnTo>
                  <a:lnTo>
                    <a:pt x="617" y="296"/>
                  </a:lnTo>
                  <a:lnTo>
                    <a:pt x="619" y="298"/>
                  </a:lnTo>
                  <a:lnTo>
                    <a:pt x="617" y="300"/>
                  </a:lnTo>
                  <a:lnTo>
                    <a:pt x="617" y="303"/>
                  </a:lnTo>
                  <a:lnTo>
                    <a:pt x="617" y="305"/>
                  </a:lnTo>
                  <a:lnTo>
                    <a:pt x="615" y="308"/>
                  </a:lnTo>
                  <a:lnTo>
                    <a:pt x="612" y="310"/>
                  </a:lnTo>
                  <a:lnTo>
                    <a:pt x="615" y="312"/>
                  </a:lnTo>
                  <a:lnTo>
                    <a:pt x="615" y="312"/>
                  </a:lnTo>
                  <a:lnTo>
                    <a:pt x="612" y="315"/>
                  </a:lnTo>
                  <a:lnTo>
                    <a:pt x="615" y="315"/>
                  </a:lnTo>
                  <a:lnTo>
                    <a:pt x="612" y="317"/>
                  </a:lnTo>
                  <a:lnTo>
                    <a:pt x="615" y="319"/>
                  </a:lnTo>
                  <a:lnTo>
                    <a:pt x="612" y="319"/>
                  </a:lnTo>
                  <a:lnTo>
                    <a:pt x="612" y="319"/>
                  </a:lnTo>
                  <a:lnTo>
                    <a:pt x="612" y="324"/>
                  </a:lnTo>
                  <a:lnTo>
                    <a:pt x="612" y="326"/>
                  </a:lnTo>
                  <a:lnTo>
                    <a:pt x="612" y="331"/>
                  </a:lnTo>
                  <a:lnTo>
                    <a:pt x="612" y="333"/>
                  </a:lnTo>
                  <a:lnTo>
                    <a:pt x="612" y="338"/>
                  </a:lnTo>
                  <a:lnTo>
                    <a:pt x="612" y="341"/>
                  </a:lnTo>
                  <a:lnTo>
                    <a:pt x="615" y="343"/>
                  </a:lnTo>
                  <a:lnTo>
                    <a:pt x="615" y="343"/>
                  </a:lnTo>
                  <a:lnTo>
                    <a:pt x="615" y="345"/>
                  </a:lnTo>
                  <a:lnTo>
                    <a:pt x="615" y="345"/>
                  </a:lnTo>
                  <a:lnTo>
                    <a:pt x="617" y="348"/>
                  </a:lnTo>
                  <a:lnTo>
                    <a:pt x="617" y="350"/>
                  </a:lnTo>
                  <a:lnTo>
                    <a:pt x="617" y="350"/>
                  </a:lnTo>
                  <a:lnTo>
                    <a:pt x="615" y="350"/>
                  </a:lnTo>
                  <a:lnTo>
                    <a:pt x="615" y="352"/>
                  </a:lnTo>
                  <a:lnTo>
                    <a:pt x="617" y="352"/>
                  </a:lnTo>
                  <a:lnTo>
                    <a:pt x="619" y="352"/>
                  </a:lnTo>
                  <a:lnTo>
                    <a:pt x="622" y="355"/>
                  </a:lnTo>
                  <a:lnTo>
                    <a:pt x="619" y="357"/>
                  </a:lnTo>
                  <a:lnTo>
                    <a:pt x="622" y="359"/>
                  </a:lnTo>
                  <a:lnTo>
                    <a:pt x="622" y="362"/>
                  </a:lnTo>
                  <a:lnTo>
                    <a:pt x="622" y="362"/>
                  </a:lnTo>
                  <a:lnTo>
                    <a:pt x="622" y="364"/>
                  </a:lnTo>
                  <a:lnTo>
                    <a:pt x="622" y="364"/>
                  </a:lnTo>
                  <a:lnTo>
                    <a:pt x="624" y="367"/>
                  </a:lnTo>
                  <a:lnTo>
                    <a:pt x="624" y="369"/>
                  </a:lnTo>
                  <a:lnTo>
                    <a:pt x="624" y="369"/>
                  </a:lnTo>
                  <a:lnTo>
                    <a:pt x="624" y="369"/>
                  </a:lnTo>
                  <a:lnTo>
                    <a:pt x="624" y="371"/>
                  </a:lnTo>
                  <a:lnTo>
                    <a:pt x="626" y="374"/>
                  </a:lnTo>
                  <a:lnTo>
                    <a:pt x="624" y="374"/>
                  </a:lnTo>
                  <a:lnTo>
                    <a:pt x="624" y="376"/>
                  </a:lnTo>
                  <a:lnTo>
                    <a:pt x="624" y="378"/>
                  </a:lnTo>
                  <a:lnTo>
                    <a:pt x="624" y="378"/>
                  </a:lnTo>
                  <a:lnTo>
                    <a:pt x="624" y="383"/>
                  </a:lnTo>
                  <a:lnTo>
                    <a:pt x="626" y="383"/>
                  </a:lnTo>
                  <a:lnTo>
                    <a:pt x="629" y="383"/>
                  </a:lnTo>
                  <a:lnTo>
                    <a:pt x="629" y="383"/>
                  </a:lnTo>
                  <a:lnTo>
                    <a:pt x="631" y="385"/>
                  </a:lnTo>
                  <a:lnTo>
                    <a:pt x="631" y="385"/>
                  </a:lnTo>
                  <a:lnTo>
                    <a:pt x="631" y="385"/>
                  </a:lnTo>
                  <a:lnTo>
                    <a:pt x="631" y="388"/>
                  </a:lnTo>
                  <a:lnTo>
                    <a:pt x="633" y="388"/>
                  </a:lnTo>
                  <a:lnTo>
                    <a:pt x="633" y="385"/>
                  </a:lnTo>
                  <a:lnTo>
                    <a:pt x="633" y="388"/>
                  </a:lnTo>
                  <a:lnTo>
                    <a:pt x="636" y="388"/>
                  </a:lnTo>
                  <a:lnTo>
                    <a:pt x="638" y="390"/>
                  </a:lnTo>
                  <a:lnTo>
                    <a:pt x="638" y="393"/>
                  </a:lnTo>
                  <a:lnTo>
                    <a:pt x="641" y="393"/>
                  </a:lnTo>
                  <a:lnTo>
                    <a:pt x="641" y="393"/>
                  </a:lnTo>
                  <a:lnTo>
                    <a:pt x="643" y="393"/>
                  </a:lnTo>
                  <a:lnTo>
                    <a:pt x="645" y="393"/>
                  </a:lnTo>
                  <a:lnTo>
                    <a:pt x="645" y="393"/>
                  </a:lnTo>
                  <a:lnTo>
                    <a:pt x="648" y="393"/>
                  </a:lnTo>
                  <a:lnTo>
                    <a:pt x="645" y="395"/>
                  </a:lnTo>
                  <a:lnTo>
                    <a:pt x="648" y="397"/>
                  </a:lnTo>
                  <a:lnTo>
                    <a:pt x="648" y="397"/>
                  </a:lnTo>
                  <a:lnTo>
                    <a:pt x="645" y="400"/>
                  </a:lnTo>
                  <a:lnTo>
                    <a:pt x="648" y="402"/>
                  </a:lnTo>
                  <a:lnTo>
                    <a:pt x="645" y="402"/>
                  </a:lnTo>
                  <a:lnTo>
                    <a:pt x="648" y="404"/>
                  </a:lnTo>
                  <a:lnTo>
                    <a:pt x="645" y="404"/>
                  </a:lnTo>
                  <a:lnTo>
                    <a:pt x="645" y="407"/>
                  </a:lnTo>
                  <a:lnTo>
                    <a:pt x="645" y="407"/>
                  </a:lnTo>
                  <a:lnTo>
                    <a:pt x="645" y="407"/>
                  </a:lnTo>
                  <a:lnTo>
                    <a:pt x="645" y="409"/>
                  </a:lnTo>
                  <a:lnTo>
                    <a:pt x="645" y="411"/>
                  </a:lnTo>
                  <a:lnTo>
                    <a:pt x="648" y="411"/>
                  </a:lnTo>
                  <a:lnTo>
                    <a:pt x="645" y="414"/>
                  </a:lnTo>
                  <a:lnTo>
                    <a:pt x="648" y="414"/>
                  </a:lnTo>
                  <a:lnTo>
                    <a:pt x="648" y="414"/>
                  </a:lnTo>
                  <a:lnTo>
                    <a:pt x="648" y="416"/>
                  </a:lnTo>
                  <a:lnTo>
                    <a:pt x="645" y="416"/>
                  </a:lnTo>
                  <a:lnTo>
                    <a:pt x="643" y="421"/>
                  </a:lnTo>
                  <a:lnTo>
                    <a:pt x="645" y="423"/>
                  </a:lnTo>
                  <a:lnTo>
                    <a:pt x="645" y="423"/>
                  </a:lnTo>
                  <a:lnTo>
                    <a:pt x="645" y="423"/>
                  </a:lnTo>
                  <a:lnTo>
                    <a:pt x="648" y="426"/>
                  </a:lnTo>
                  <a:lnTo>
                    <a:pt x="645" y="426"/>
                  </a:lnTo>
                  <a:lnTo>
                    <a:pt x="648" y="426"/>
                  </a:lnTo>
                  <a:lnTo>
                    <a:pt x="648" y="426"/>
                  </a:lnTo>
                  <a:lnTo>
                    <a:pt x="645" y="426"/>
                  </a:lnTo>
                  <a:lnTo>
                    <a:pt x="645" y="428"/>
                  </a:lnTo>
                  <a:lnTo>
                    <a:pt x="645" y="428"/>
                  </a:lnTo>
                  <a:lnTo>
                    <a:pt x="645" y="428"/>
                  </a:lnTo>
                  <a:lnTo>
                    <a:pt x="645" y="430"/>
                  </a:lnTo>
                  <a:lnTo>
                    <a:pt x="645" y="433"/>
                  </a:lnTo>
                  <a:lnTo>
                    <a:pt x="645" y="433"/>
                  </a:lnTo>
                  <a:lnTo>
                    <a:pt x="643" y="433"/>
                  </a:lnTo>
                  <a:lnTo>
                    <a:pt x="645" y="433"/>
                  </a:lnTo>
                  <a:lnTo>
                    <a:pt x="643" y="435"/>
                  </a:lnTo>
                  <a:lnTo>
                    <a:pt x="643" y="440"/>
                  </a:lnTo>
                  <a:lnTo>
                    <a:pt x="643" y="440"/>
                  </a:lnTo>
                  <a:lnTo>
                    <a:pt x="643" y="442"/>
                  </a:lnTo>
                  <a:lnTo>
                    <a:pt x="643" y="442"/>
                  </a:lnTo>
                  <a:lnTo>
                    <a:pt x="643" y="445"/>
                  </a:lnTo>
                  <a:lnTo>
                    <a:pt x="643" y="447"/>
                  </a:lnTo>
                  <a:lnTo>
                    <a:pt x="643" y="449"/>
                  </a:lnTo>
                  <a:lnTo>
                    <a:pt x="645" y="449"/>
                  </a:lnTo>
                  <a:lnTo>
                    <a:pt x="645" y="449"/>
                  </a:lnTo>
                  <a:lnTo>
                    <a:pt x="648" y="449"/>
                  </a:lnTo>
                  <a:lnTo>
                    <a:pt x="648" y="449"/>
                  </a:lnTo>
                  <a:lnTo>
                    <a:pt x="650" y="449"/>
                  </a:lnTo>
                  <a:lnTo>
                    <a:pt x="652" y="449"/>
                  </a:lnTo>
                  <a:lnTo>
                    <a:pt x="652" y="452"/>
                  </a:lnTo>
                  <a:lnTo>
                    <a:pt x="655" y="449"/>
                  </a:lnTo>
                  <a:lnTo>
                    <a:pt x="652" y="447"/>
                  </a:lnTo>
                  <a:lnTo>
                    <a:pt x="655" y="447"/>
                  </a:lnTo>
                  <a:lnTo>
                    <a:pt x="655" y="447"/>
                  </a:lnTo>
                  <a:lnTo>
                    <a:pt x="657" y="449"/>
                  </a:lnTo>
                  <a:lnTo>
                    <a:pt x="655" y="452"/>
                  </a:lnTo>
                  <a:lnTo>
                    <a:pt x="655" y="454"/>
                  </a:lnTo>
                  <a:lnTo>
                    <a:pt x="655" y="454"/>
                  </a:lnTo>
                  <a:lnTo>
                    <a:pt x="655" y="454"/>
                  </a:lnTo>
                  <a:lnTo>
                    <a:pt x="652" y="454"/>
                  </a:lnTo>
                  <a:lnTo>
                    <a:pt x="652" y="456"/>
                  </a:lnTo>
                  <a:lnTo>
                    <a:pt x="652" y="456"/>
                  </a:lnTo>
                  <a:lnTo>
                    <a:pt x="652" y="456"/>
                  </a:lnTo>
                  <a:lnTo>
                    <a:pt x="650" y="459"/>
                  </a:lnTo>
                  <a:lnTo>
                    <a:pt x="652" y="459"/>
                  </a:lnTo>
                  <a:lnTo>
                    <a:pt x="650" y="461"/>
                  </a:lnTo>
                  <a:lnTo>
                    <a:pt x="650" y="461"/>
                  </a:lnTo>
                  <a:lnTo>
                    <a:pt x="652" y="461"/>
                  </a:lnTo>
                  <a:lnTo>
                    <a:pt x="655" y="463"/>
                  </a:lnTo>
                  <a:lnTo>
                    <a:pt x="655" y="463"/>
                  </a:lnTo>
                  <a:lnTo>
                    <a:pt x="655" y="463"/>
                  </a:lnTo>
                  <a:lnTo>
                    <a:pt x="657" y="463"/>
                  </a:lnTo>
                  <a:lnTo>
                    <a:pt x="659" y="466"/>
                  </a:lnTo>
                  <a:lnTo>
                    <a:pt x="659" y="466"/>
                  </a:lnTo>
                  <a:lnTo>
                    <a:pt x="662" y="466"/>
                  </a:lnTo>
                  <a:lnTo>
                    <a:pt x="664" y="466"/>
                  </a:lnTo>
                  <a:lnTo>
                    <a:pt x="664" y="466"/>
                  </a:lnTo>
                  <a:lnTo>
                    <a:pt x="667" y="463"/>
                  </a:lnTo>
                  <a:lnTo>
                    <a:pt x="669" y="466"/>
                  </a:lnTo>
                  <a:lnTo>
                    <a:pt x="669" y="466"/>
                  </a:lnTo>
                  <a:lnTo>
                    <a:pt x="669" y="466"/>
                  </a:lnTo>
                  <a:lnTo>
                    <a:pt x="669" y="466"/>
                  </a:lnTo>
                  <a:lnTo>
                    <a:pt x="671" y="466"/>
                  </a:lnTo>
                  <a:lnTo>
                    <a:pt x="671" y="468"/>
                  </a:lnTo>
                  <a:lnTo>
                    <a:pt x="671" y="468"/>
                  </a:lnTo>
                  <a:lnTo>
                    <a:pt x="671" y="471"/>
                  </a:lnTo>
                  <a:lnTo>
                    <a:pt x="674" y="471"/>
                  </a:lnTo>
                  <a:lnTo>
                    <a:pt x="674" y="473"/>
                  </a:lnTo>
                  <a:lnTo>
                    <a:pt x="674" y="473"/>
                  </a:lnTo>
                  <a:lnTo>
                    <a:pt x="674" y="473"/>
                  </a:lnTo>
                  <a:lnTo>
                    <a:pt x="676" y="471"/>
                  </a:lnTo>
                  <a:lnTo>
                    <a:pt x="676" y="473"/>
                  </a:lnTo>
                  <a:lnTo>
                    <a:pt x="676" y="475"/>
                  </a:lnTo>
                  <a:lnTo>
                    <a:pt x="676" y="478"/>
                  </a:lnTo>
                  <a:lnTo>
                    <a:pt x="676" y="478"/>
                  </a:lnTo>
                  <a:lnTo>
                    <a:pt x="678" y="480"/>
                  </a:lnTo>
                  <a:lnTo>
                    <a:pt x="681" y="480"/>
                  </a:lnTo>
                  <a:lnTo>
                    <a:pt x="683" y="482"/>
                  </a:lnTo>
                  <a:lnTo>
                    <a:pt x="685" y="485"/>
                  </a:lnTo>
                  <a:lnTo>
                    <a:pt x="683" y="487"/>
                  </a:lnTo>
                  <a:lnTo>
                    <a:pt x="685" y="487"/>
                  </a:lnTo>
                  <a:lnTo>
                    <a:pt x="685" y="487"/>
                  </a:lnTo>
                  <a:lnTo>
                    <a:pt x="688" y="487"/>
                  </a:lnTo>
                  <a:lnTo>
                    <a:pt x="688" y="487"/>
                  </a:lnTo>
                  <a:lnTo>
                    <a:pt x="688" y="489"/>
                  </a:lnTo>
                  <a:lnTo>
                    <a:pt x="690" y="492"/>
                  </a:lnTo>
                  <a:lnTo>
                    <a:pt x="690" y="492"/>
                  </a:lnTo>
                  <a:lnTo>
                    <a:pt x="690" y="492"/>
                  </a:lnTo>
                  <a:lnTo>
                    <a:pt x="690" y="494"/>
                  </a:lnTo>
                  <a:lnTo>
                    <a:pt x="690" y="494"/>
                  </a:lnTo>
                  <a:lnTo>
                    <a:pt x="692" y="494"/>
                  </a:lnTo>
                  <a:lnTo>
                    <a:pt x="692" y="494"/>
                  </a:lnTo>
                  <a:lnTo>
                    <a:pt x="692" y="494"/>
                  </a:lnTo>
                  <a:lnTo>
                    <a:pt x="692" y="492"/>
                  </a:lnTo>
                  <a:lnTo>
                    <a:pt x="695" y="492"/>
                  </a:lnTo>
                  <a:lnTo>
                    <a:pt x="697" y="494"/>
                  </a:lnTo>
                  <a:lnTo>
                    <a:pt x="697" y="494"/>
                  </a:lnTo>
                  <a:lnTo>
                    <a:pt x="697" y="496"/>
                  </a:lnTo>
                  <a:lnTo>
                    <a:pt x="697" y="499"/>
                  </a:lnTo>
                  <a:lnTo>
                    <a:pt x="697" y="499"/>
                  </a:lnTo>
                  <a:lnTo>
                    <a:pt x="697" y="499"/>
                  </a:lnTo>
                  <a:lnTo>
                    <a:pt x="700" y="499"/>
                  </a:lnTo>
                  <a:lnTo>
                    <a:pt x="700" y="499"/>
                  </a:lnTo>
                  <a:lnTo>
                    <a:pt x="702" y="501"/>
                  </a:lnTo>
                  <a:lnTo>
                    <a:pt x="702" y="501"/>
                  </a:lnTo>
                  <a:lnTo>
                    <a:pt x="702" y="504"/>
                  </a:lnTo>
                  <a:lnTo>
                    <a:pt x="702" y="504"/>
                  </a:lnTo>
                  <a:lnTo>
                    <a:pt x="704" y="506"/>
                  </a:lnTo>
                  <a:lnTo>
                    <a:pt x="702" y="506"/>
                  </a:lnTo>
                  <a:lnTo>
                    <a:pt x="704" y="506"/>
                  </a:lnTo>
                  <a:lnTo>
                    <a:pt x="704" y="508"/>
                  </a:lnTo>
                  <a:lnTo>
                    <a:pt x="704" y="508"/>
                  </a:lnTo>
                  <a:lnTo>
                    <a:pt x="707" y="508"/>
                  </a:lnTo>
                  <a:lnTo>
                    <a:pt x="709" y="508"/>
                  </a:lnTo>
                  <a:lnTo>
                    <a:pt x="709" y="511"/>
                  </a:lnTo>
                  <a:lnTo>
                    <a:pt x="711" y="513"/>
                  </a:lnTo>
                  <a:lnTo>
                    <a:pt x="711" y="511"/>
                  </a:lnTo>
                  <a:lnTo>
                    <a:pt x="714" y="511"/>
                  </a:lnTo>
                  <a:lnTo>
                    <a:pt x="714" y="511"/>
                  </a:lnTo>
                  <a:lnTo>
                    <a:pt x="716" y="513"/>
                  </a:lnTo>
                  <a:lnTo>
                    <a:pt x="716" y="513"/>
                  </a:lnTo>
                  <a:lnTo>
                    <a:pt x="718" y="513"/>
                  </a:lnTo>
                  <a:lnTo>
                    <a:pt x="718" y="515"/>
                  </a:lnTo>
                  <a:lnTo>
                    <a:pt x="721" y="515"/>
                  </a:lnTo>
                  <a:lnTo>
                    <a:pt x="721" y="515"/>
                  </a:lnTo>
                  <a:lnTo>
                    <a:pt x="723" y="515"/>
                  </a:lnTo>
                  <a:lnTo>
                    <a:pt x="726" y="515"/>
                  </a:lnTo>
                  <a:lnTo>
                    <a:pt x="726" y="515"/>
                  </a:lnTo>
                  <a:lnTo>
                    <a:pt x="726" y="515"/>
                  </a:lnTo>
                  <a:lnTo>
                    <a:pt x="728" y="515"/>
                  </a:lnTo>
                  <a:lnTo>
                    <a:pt x="728" y="518"/>
                  </a:lnTo>
                  <a:lnTo>
                    <a:pt x="730" y="518"/>
                  </a:lnTo>
                  <a:lnTo>
                    <a:pt x="730" y="515"/>
                  </a:lnTo>
                  <a:lnTo>
                    <a:pt x="730" y="515"/>
                  </a:lnTo>
                  <a:lnTo>
                    <a:pt x="733" y="518"/>
                  </a:lnTo>
                  <a:lnTo>
                    <a:pt x="735" y="518"/>
                  </a:lnTo>
                  <a:lnTo>
                    <a:pt x="737" y="518"/>
                  </a:lnTo>
                  <a:lnTo>
                    <a:pt x="740" y="518"/>
                  </a:lnTo>
                  <a:lnTo>
                    <a:pt x="740" y="518"/>
                  </a:lnTo>
                  <a:lnTo>
                    <a:pt x="740" y="518"/>
                  </a:lnTo>
                  <a:lnTo>
                    <a:pt x="740" y="520"/>
                  </a:lnTo>
                  <a:lnTo>
                    <a:pt x="742" y="520"/>
                  </a:lnTo>
                  <a:lnTo>
                    <a:pt x="742" y="520"/>
                  </a:lnTo>
                  <a:lnTo>
                    <a:pt x="742" y="520"/>
                  </a:lnTo>
                  <a:lnTo>
                    <a:pt x="749" y="518"/>
                  </a:lnTo>
                  <a:lnTo>
                    <a:pt x="749" y="520"/>
                  </a:lnTo>
                  <a:lnTo>
                    <a:pt x="749" y="522"/>
                  </a:lnTo>
                  <a:lnTo>
                    <a:pt x="749" y="522"/>
                  </a:lnTo>
                  <a:lnTo>
                    <a:pt x="749" y="522"/>
                  </a:lnTo>
                  <a:lnTo>
                    <a:pt x="752" y="525"/>
                  </a:lnTo>
                  <a:lnTo>
                    <a:pt x="752" y="527"/>
                  </a:lnTo>
                  <a:lnTo>
                    <a:pt x="752" y="527"/>
                  </a:lnTo>
                  <a:lnTo>
                    <a:pt x="752" y="527"/>
                  </a:lnTo>
                  <a:lnTo>
                    <a:pt x="749" y="530"/>
                  </a:lnTo>
                  <a:lnTo>
                    <a:pt x="752" y="530"/>
                  </a:lnTo>
                  <a:lnTo>
                    <a:pt x="752" y="657"/>
                  </a:lnTo>
                  <a:lnTo>
                    <a:pt x="714" y="657"/>
                  </a:lnTo>
                  <a:lnTo>
                    <a:pt x="683" y="657"/>
                  </a:lnTo>
                  <a:lnTo>
                    <a:pt x="607" y="657"/>
                  </a:lnTo>
                  <a:lnTo>
                    <a:pt x="605" y="662"/>
                  </a:lnTo>
                  <a:lnTo>
                    <a:pt x="605" y="669"/>
                  </a:lnTo>
                  <a:lnTo>
                    <a:pt x="603" y="671"/>
                  </a:lnTo>
                  <a:lnTo>
                    <a:pt x="600" y="671"/>
                  </a:lnTo>
                  <a:lnTo>
                    <a:pt x="596" y="674"/>
                  </a:lnTo>
                  <a:lnTo>
                    <a:pt x="596" y="674"/>
                  </a:lnTo>
                  <a:lnTo>
                    <a:pt x="593" y="678"/>
                  </a:lnTo>
                  <a:lnTo>
                    <a:pt x="593" y="678"/>
                  </a:lnTo>
                  <a:lnTo>
                    <a:pt x="596" y="681"/>
                  </a:lnTo>
                  <a:lnTo>
                    <a:pt x="596" y="681"/>
                  </a:lnTo>
                  <a:lnTo>
                    <a:pt x="593" y="683"/>
                  </a:lnTo>
                  <a:lnTo>
                    <a:pt x="593" y="683"/>
                  </a:lnTo>
                  <a:lnTo>
                    <a:pt x="593" y="685"/>
                  </a:lnTo>
                  <a:lnTo>
                    <a:pt x="593" y="685"/>
                  </a:lnTo>
                  <a:lnTo>
                    <a:pt x="593" y="688"/>
                  </a:lnTo>
                  <a:lnTo>
                    <a:pt x="591" y="688"/>
                  </a:lnTo>
                  <a:lnTo>
                    <a:pt x="589" y="690"/>
                  </a:lnTo>
                  <a:lnTo>
                    <a:pt x="589" y="690"/>
                  </a:lnTo>
                  <a:lnTo>
                    <a:pt x="589" y="693"/>
                  </a:lnTo>
                  <a:lnTo>
                    <a:pt x="586" y="695"/>
                  </a:lnTo>
                  <a:lnTo>
                    <a:pt x="586" y="700"/>
                  </a:lnTo>
                  <a:lnTo>
                    <a:pt x="584" y="702"/>
                  </a:lnTo>
                  <a:lnTo>
                    <a:pt x="584" y="704"/>
                  </a:lnTo>
                  <a:lnTo>
                    <a:pt x="581" y="707"/>
                  </a:lnTo>
                  <a:lnTo>
                    <a:pt x="584" y="707"/>
                  </a:lnTo>
                  <a:lnTo>
                    <a:pt x="584" y="707"/>
                  </a:lnTo>
                  <a:lnTo>
                    <a:pt x="584" y="709"/>
                  </a:lnTo>
                  <a:lnTo>
                    <a:pt x="584" y="709"/>
                  </a:lnTo>
                  <a:lnTo>
                    <a:pt x="581" y="709"/>
                  </a:lnTo>
                  <a:lnTo>
                    <a:pt x="579" y="711"/>
                  </a:lnTo>
                  <a:lnTo>
                    <a:pt x="579" y="714"/>
                  </a:lnTo>
                  <a:lnTo>
                    <a:pt x="579" y="714"/>
                  </a:lnTo>
                  <a:lnTo>
                    <a:pt x="577" y="714"/>
                  </a:lnTo>
                  <a:lnTo>
                    <a:pt x="577" y="716"/>
                  </a:lnTo>
                  <a:lnTo>
                    <a:pt x="577" y="719"/>
                  </a:lnTo>
                  <a:lnTo>
                    <a:pt x="574" y="719"/>
                  </a:lnTo>
                  <a:lnTo>
                    <a:pt x="574" y="719"/>
                  </a:lnTo>
                  <a:lnTo>
                    <a:pt x="574" y="719"/>
                  </a:lnTo>
                  <a:lnTo>
                    <a:pt x="574" y="721"/>
                  </a:lnTo>
                  <a:lnTo>
                    <a:pt x="574" y="726"/>
                  </a:lnTo>
                  <a:lnTo>
                    <a:pt x="572" y="726"/>
                  </a:lnTo>
                  <a:lnTo>
                    <a:pt x="574" y="728"/>
                  </a:lnTo>
                  <a:lnTo>
                    <a:pt x="574" y="730"/>
                  </a:lnTo>
                  <a:lnTo>
                    <a:pt x="574" y="730"/>
                  </a:lnTo>
                  <a:lnTo>
                    <a:pt x="574" y="735"/>
                  </a:lnTo>
                  <a:lnTo>
                    <a:pt x="570" y="735"/>
                  </a:lnTo>
                  <a:lnTo>
                    <a:pt x="570" y="735"/>
                  </a:lnTo>
                  <a:lnTo>
                    <a:pt x="572" y="737"/>
                  </a:lnTo>
                  <a:lnTo>
                    <a:pt x="570" y="740"/>
                  </a:lnTo>
                  <a:lnTo>
                    <a:pt x="570" y="740"/>
                  </a:lnTo>
                  <a:lnTo>
                    <a:pt x="570" y="742"/>
                  </a:lnTo>
                  <a:lnTo>
                    <a:pt x="567" y="745"/>
                  </a:lnTo>
                  <a:lnTo>
                    <a:pt x="567" y="745"/>
                  </a:lnTo>
                  <a:lnTo>
                    <a:pt x="567" y="745"/>
                  </a:lnTo>
                  <a:lnTo>
                    <a:pt x="567" y="747"/>
                  </a:lnTo>
                  <a:lnTo>
                    <a:pt x="567" y="747"/>
                  </a:lnTo>
                  <a:lnTo>
                    <a:pt x="567" y="749"/>
                  </a:lnTo>
                  <a:lnTo>
                    <a:pt x="563" y="752"/>
                  </a:lnTo>
                  <a:lnTo>
                    <a:pt x="563" y="754"/>
                  </a:lnTo>
                  <a:lnTo>
                    <a:pt x="563" y="756"/>
                  </a:lnTo>
                  <a:lnTo>
                    <a:pt x="563" y="756"/>
                  </a:lnTo>
                  <a:lnTo>
                    <a:pt x="560" y="756"/>
                  </a:lnTo>
                  <a:lnTo>
                    <a:pt x="560" y="763"/>
                  </a:lnTo>
                  <a:lnTo>
                    <a:pt x="560" y="763"/>
                  </a:lnTo>
                  <a:lnTo>
                    <a:pt x="563" y="763"/>
                  </a:lnTo>
                  <a:lnTo>
                    <a:pt x="563" y="766"/>
                  </a:lnTo>
                  <a:lnTo>
                    <a:pt x="563" y="766"/>
                  </a:lnTo>
                  <a:lnTo>
                    <a:pt x="563" y="768"/>
                  </a:lnTo>
                  <a:lnTo>
                    <a:pt x="565" y="768"/>
                  </a:lnTo>
                  <a:lnTo>
                    <a:pt x="565" y="770"/>
                  </a:lnTo>
                  <a:lnTo>
                    <a:pt x="567" y="770"/>
                  </a:lnTo>
                  <a:lnTo>
                    <a:pt x="567" y="773"/>
                  </a:lnTo>
                  <a:lnTo>
                    <a:pt x="567" y="773"/>
                  </a:lnTo>
                  <a:lnTo>
                    <a:pt x="570" y="775"/>
                  </a:lnTo>
                  <a:lnTo>
                    <a:pt x="570" y="775"/>
                  </a:lnTo>
                  <a:lnTo>
                    <a:pt x="572" y="775"/>
                  </a:lnTo>
                  <a:lnTo>
                    <a:pt x="572" y="778"/>
                  </a:lnTo>
                  <a:lnTo>
                    <a:pt x="574" y="780"/>
                  </a:lnTo>
                  <a:lnTo>
                    <a:pt x="572" y="782"/>
                  </a:lnTo>
                  <a:lnTo>
                    <a:pt x="574" y="782"/>
                  </a:lnTo>
                  <a:lnTo>
                    <a:pt x="574" y="785"/>
                  </a:lnTo>
                  <a:lnTo>
                    <a:pt x="572" y="785"/>
                  </a:lnTo>
                  <a:lnTo>
                    <a:pt x="572" y="785"/>
                  </a:lnTo>
                  <a:lnTo>
                    <a:pt x="567" y="787"/>
                  </a:lnTo>
                  <a:lnTo>
                    <a:pt x="567" y="789"/>
                  </a:lnTo>
                  <a:lnTo>
                    <a:pt x="567" y="789"/>
                  </a:lnTo>
                  <a:lnTo>
                    <a:pt x="565" y="789"/>
                  </a:lnTo>
                  <a:lnTo>
                    <a:pt x="563" y="789"/>
                  </a:lnTo>
                  <a:lnTo>
                    <a:pt x="560" y="789"/>
                  </a:lnTo>
                  <a:lnTo>
                    <a:pt x="558" y="792"/>
                  </a:lnTo>
                  <a:lnTo>
                    <a:pt x="558" y="792"/>
                  </a:lnTo>
                  <a:lnTo>
                    <a:pt x="558" y="792"/>
                  </a:lnTo>
                  <a:lnTo>
                    <a:pt x="555" y="792"/>
                  </a:lnTo>
                  <a:lnTo>
                    <a:pt x="553" y="792"/>
                  </a:lnTo>
                  <a:lnTo>
                    <a:pt x="551" y="792"/>
                  </a:lnTo>
                  <a:lnTo>
                    <a:pt x="551" y="792"/>
                  </a:lnTo>
                  <a:lnTo>
                    <a:pt x="548" y="794"/>
                  </a:lnTo>
                  <a:lnTo>
                    <a:pt x="548" y="794"/>
                  </a:lnTo>
                  <a:lnTo>
                    <a:pt x="548" y="794"/>
                  </a:lnTo>
                  <a:lnTo>
                    <a:pt x="548" y="796"/>
                  </a:lnTo>
                  <a:lnTo>
                    <a:pt x="548" y="796"/>
                  </a:lnTo>
                  <a:lnTo>
                    <a:pt x="548" y="799"/>
                  </a:lnTo>
                  <a:lnTo>
                    <a:pt x="548" y="799"/>
                  </a:lnTo>
                  <a:lnTo>
                    <a:pt x="546" y="801"/>
                  </a:lnTo>
                  <a:lnTo>
                    <a:pt x="548" y="801"/>
                  </a:lnTo>
                  <a:lnTo>
                    <a:pt x="548" y="801"/>
                  </a:lnTo>
                  <a:lnTo>
                    <a:pt x="544" y="806"/>
                  </a:lnTo>
                  <a:lnTo>
                    <a:pt x="544" y="806"/>
                  </a:lnTo>
                  <a:lnTo>
                    <a:pt x="541" y="804"/>
                  </a:lnTo>
                  <a:lnTo>
                    <a:pt x="541" y="804"/>
                  </a:lnTo>
                  <a:lnTo>
                    <a:pt x="541" y="804"/>
                  </a:lnTo>
                  <a:lnTo>
                    <a:pt x="537" y="801"/>
                  </a:lnTo>
                  <a:lnTo>
                    <a:pt x="537" y="804"/>
                  </a:lnTo>
                  <a:lnTo>
                    <a:pt x="534" y="804"/>
                  </a:lnTo>
                  <a:lnTo>
                    <a:pt x="532" y="804"/>
                  </a:lnTo>
                  <a:lnTo>
                    <a:pt x="532" y="804"/>
                  </a:lnTo>
                  <a:lnTo>
                    <a:pt x="532" y="804"/>
                  </a:lnTo>
                  <a:lnTo>
                    <a:pt x="532" y="806"/>
                  </a:lnTo>
                  <a:lnTo>
                    <a:pt x="529" y="806"/>
                  </a:lnTo>
                  <a:lnTo>
                    <a:pt x="527" y="808"/>
                  </a:lnTo>
                  <a:lnTo>
                    <a:pt x="527" y="808"/>
                  </a:lnTo>
                  <a:lnTo>
                    <a:pt x="527" y="806"/>
                  </a:lnTo>
                  <a:lnTo>
                    <a:pt x="527" y="806"/>
                  </a:lnTo>
                  <a:lnTo>
                    <a:pt x="522" y="804"/>
                  </a:lnTo>
                  <a:lnTo>
                    <a:pt x="520" y="804"/>
                  </a:lnTo>
                  <a:lnTo>
                    <a:pt x="518" y="804"/>
                  </a:lnTo>
                  <a:lnTo>
                    <a:pt x="515" y="804"/>
                  </a:lnTo>
                  <a:lnTo>
                    <a:pt x="515" y="801"/>
                  </a:lnTo>
                  <a:lnTo>
                    <a:pt x="515" y="801"/>
                  </a:lnTo>
                  <a:lnTo>
                    <a:pt x="515" y="799"/>
                  </a:lnTo>
                  <a:lnTo>
                    <a:pt x="515" y="799"/>
                  </a:lnTo>
                  <a:lnTo>
                    <a:pt x="515" y="796"/>
                  </a:lnTo>
                  <a:lnTo>
                    <a:pt x="515" y="794"/>
                  </a:lnTo>
                  <a:lnTo>
                    <a:pt x="513" y="794"/>
                  </a:lnTo>
                  <a:lnTo>
                    <a:pt x="513" y="794"/>
                  </a:lnTo>
                  <a:lnTo>
                    <a:pt x="513" y="792"/>
                  </a:lnTo>
                  <a:lnTo>
                    <a:pt x="515" y="792"/>
                  </a:lnTo>
                  <a:lnTo>
                    <a:pt x="513" y="789"/>
                  </a:lnTo>
                  <a:lnTo>
                    <a:pt x="513" y="789"/>
                  </a:lnTo>
                  <a:lnTo>
                    <a:pt x="513" y="789"/>
                  </a:lnTo>
                  <a:lnTo>
                    <a:pt x="511" y="789"/>
                  </a:lnTo>
                  <a:lnTo>
                    <a:pt x="511" y="789"/>
                  </a:lnTo>
                  <a:lnTo>
                    <a:pt x="511" y="787"/>
                  </a:lnTo>
                  <a:lnTo>
                    <a:pt x="511" y="787"/>
                  </a:lnTo>
                  <a:lnTo>
                    <a:pt x="511" y="782"/>
                  </a:lnTo>
                  <a:lnTo>
                    <a:pt x="508" y="782"/>
                  </a:lnTo>
                  <a:lnTo>
                    <a:pt x="504" y="782"/>
                  </a:lnTo>
                  <a:lnTo>
                    <a:pt x="504" y="780"/>
                  </a:lnTo>
                  <a:lnTo>
                    <a:pt x="504" y="778"/>
                  </a:lnTo>
                  <a:lnTo>
                    <a:pt x="504" y="775"/>
                  </a:lnTo>
                  <a:lnTo>
                    <a:pt x="504" y="775"/>
                  </a:lnTo>
                  <a:lnTo>
                    <a:pt x="501" y="775"/>
                  </a:lnTo>
                  <a:lnTo>
                    <a:pt x="499" y="775"/>
                  </a:lnTo>
                  <a:lnTo>
                    <a:pt x="496" y="773"/>
                  </a:lnTo>
                  <a:lnTo>
                    <a:pt x="496" y="770"/>
                  </a:lnTo>
                  <a:lnTo>
                    <a:pt x="494" y="770"/>
                  </a:lnTo>
                  <a:lnTo>
                    <a:pt x="494" y="768"/>
                  </a:lnTo>
                  <a:lnTo>
                    <a:pt x="496" y="766"/>
                  </a:lnTo>
                  <a:lnTo>
                    <a:pt x="494" y="763"/>
                  </a:lnTo>
                  <a:lnTo>
                    <a:pt x="494" y="763"/>
                  </a:lnTo>
                  <a:lnTo>
                    <a:pt x="492" y="763"/>
                  </a:lnTo>
                  <a:lnTo>
                    <a:pt x="492" y="763"/>
                  </a:lnTo>
                  <a:lnTo>
                    <a:pt x="492" y="763"/>
                  </a:lnTo>
                  <a:lnTo>
                    <a:pt x="489" y="763"/>
                  </a:lnTo>
                  <a:lnTo>
                    <a:pt x="487" y="763"/>
                  </a:lnTo>
                  <a:lnTo>
                    <a:pt x="485" y="763"/>
                  </a:lnTo>
                  <a:lnTo>
                    <a:pt x="482" y="763"/>
                  </a:lnTo>
                  <a:lnTo>
                    <a:pt x="480" y="763"/>
                  </a:lnTo>
                  <a:lnTo>
                    <a:pt x="478" y="763"/>
                  </a:lnTo>
                  <a:lnTo>
                    <a:pt x="478" y="761"/>
                  </a:lnTo>
                  <a:lnTo>
                    <a:pt x="478" y="759"/>
                  </a:lnTo>
                  <a:lnTo>
                    <a:pt x="473" y="756"/>
                  </a:lnTo>
                  <a:lnTo>
                    <a:pt x="473" y="756"/>
                  </a:lnTo>
                  <a:lnTo>
                    <a:pt x="470" y="756"/>
                  </a:lnTo>
                  <a:lnTo>
                    <a:pt x="468" y="756"/>
                  </a:lnTo>
                  <a:lnTo>
                    <a:pt x="468" y="756"/>
                  </a:lnTo>
                  <a:lnTo>
                    <a:pt x="466" y="756"/>
                  </a:lnTo>
                  <a:lnTo>
                    <a:pt x="466" y="756"/>
                  </a:lnTo>
                  <a:lnTo>
                    <a:pt x="466" y="759"/>
                  </a:lnTo>
                  <a:lnTo>
                    <a:pt x="463" y="756"/>
                  </a:lnTo>
                  <a:lnTo>
                    <a:pt x="459" y="756"/>
                  </a:lnTo>
                  <a:lnTo>
                    <a:pt x="459" y="756"/>
                  </a:lnTo>
                  <a:lnTo>
                    <a:pt x="456" y="756"/>
                  </a:lnTo>
                  <a:lnTo>
                    <a:pt x="456" y="756"/>
                  </a:lnTo>
                  <a:lnTo>
                    <a:pt x="456" y="759"/>
                  </a:lnTo>
                  <a:lnTo>
                    <a:pt x="456" y="761"/>
                  </a:lnTo>
                  <a:lnTo>
                    <a:pt x="456" y="761"/>
                  </a:lnTo>
                  <a:lnTo>
                    <a:pt x="456" y="763"/>
                  </a:lnTo>
                  <a:lnTo>
                    <a:pt x="456" y="766"/>
                  </a:lnTo>
                  <a:lnTo>
                    <a:pt x="449" y="766"/>
                  </a:lnTo>
                  <a:lnTo>
                    <a:pt x="449" y="766"/>
                  </a:lnTo>
                  <a:lnTo>
                    <a:pt x="447" y="766"/>
                  </a:lnTo>
                  <a:lnTo>
                    <a:pt x="444" y="770"/>
                  </a:lnTo>
                  <a:lnTo>
                    <a:pt x="440" y="768"/>
                  </a:lnTo>
                  <a:lnTo>
                    <a:pt x="440" y="770"/>
                  </a:lnTo>
                  <a:lnTo>
                    <a:pt x="437" y="770"/>
                  </a:lnTo>
                  <a:lnTo>
                    <a:pt x="435" y="773"/>
                  </a:lnTo>
                  <a:lnTo>
                    <a:pt x="433" y="773"/>
                  </a:lnTo>
                  <a:lnTo>
                    <a:pt x="430" y="773"/>
                  </a:lnTo>
                  <a:lnTo>
                    <a:pt x="430" y="775"/>
                  </a:lnTo>
                  <a:lnTo>
                    <a:pt x="430" y="775"/>
                  </a:lnTo>
                  <a:lnTo>
                    <a:pt x="430" y="778"/>
                  </a:lnTo>
                  <a:lnTo>
                    <a:pt x="428" y="778"/>
                  </a:lnTo>
                  <a:lnTo>
                    <a:pt x="426" y="778"/>
                  </a:lnTo>
                  <a:lnTo>
                    <a:pt x="423" y="780"/>
                  </a:lnTo>
                  <a:lnTo>
                    <a:pt x="423" y="782"/>
                  </a:lnTo>
                  <a:lnTo>
                    <a:pt x="423" y="785"/>
                  </a:lnTo>
                  <a:lnTo>
                    <a:pt x="418" y="789"/>
                  </a:lnTo>
                  <a:lnTo>
                    <a:pt x="416" y="789"/>
                  </a:lnTo>
                  <a:lnTo>
                    <a:pt x="414" y="794"/>
                  </a:lnTo>
                  <a:lnTo>
                    <a:pt x="414" y="796"/>
                  </a:lnTo>
                  <a:lnTo>
                    <a:pt x="414" y="801"/>
                  </a:lnTo>
                  <a:lnTo>
                    <a:pt x="416" y="801"/>
                  </a:lnTo>
                  <a:lnTo>
                    <a:pt x="416" y="801"/>
                  </a:lnTo>
                  <a:lnTo>
                    <a:pt x="414" y="804"/>
                  </a:lnTo>
                  <a:lnTo>
                    <a:pt x="414" y="808"/>
                  </a:lnTo>
                  <a:lnTo>
                    <a:pt x="411" y="811"/>
                  </a:lnTo>
                  <a:lnTo>
                    <a:pt x="411" y="813"/>
                  </a:lnTo>
                  <a:lnTo>
                    <a:pt x="411" y="813"/>
                  </a:lnTo>
                  <a:lnTo>
                    <a:pt x="411" y="815"/>
                  </a:lnTo>
                  <a:lnTo>
                    <a:pt x="411" y="820"/>
                  </a:lnTo>
                  <a:lnTo>
                    <a:pt x="411" y="820"/>
                  </a:lnTo>
                  <a:lnTo>
                    <a:pt x="414" y="820"/>
                  </a:lnTo>
                  <a:lnTo>
                    <a:pt x="414" y="822"/>
                  </a:lnTo>
                  <a:lnTo>
                    <a:pt x="414" y="822"/>
                  </a:lnTo>
                  <a:lnTo>
                    <a:pt x="414" y="825"/>
                  </a:lnTo>
                  <a:lnTo>
                    <a:pt x="416" y="827"/>
                  </a:lnTo>
                  <a:lnTo>
                    <a:pt x="416" y="830"/>
                  </a:lnTo>
                  <a:lnTo>
                    <a:pt x="414" y="832"/>
                  </a:lnTo>
                  <a:lnTo>
                    <a:pt x="411" y="832"/>
                  </a:lnTo>
                  <a:lnTo>
                    <a:pt x="411" y="832"/>
                  </a:lnTo>
                  <a:lnTo>
                    <a:pt x="411" y="834"/>
                  </a:lnTo>
                  <a:lnTo>
                    <a:pt x="414" y="834"/>
                  </a:lnTo>
                  <a:lnTo>
                    <a:pt x="411" y="837"/>
                  </a:lnTo>
                  <a:lnTo>
                    <a:pt x="411" y="837"/>
                  </a:lnTo>
                  <a:lnTo>
                    <a:pt x="411" y="837"/>
                  </a:lnTo>
                  <a:lnTo>
                    <a:pt x="414" y="839"/>
                  </a:lnTo>
                  <a:lnTo>
                    <a:pt x="411" y="839"/>
                  </a:lnTo>
                  <a:lnTo>
                    <a:pt x="411" y="841"/>
                  </a:lnTo>
                  <a:lnTo>
                    <a:pt x="411" y="844"/>
                  </a:lnTo>
                  <a:lnTo>
                    <a:pt x="411" y="846"/>
                  </a:lnTo>
                  <a:lnTo>
                    <a:pt x="411" y="846"/>
                  </a:lnTo>
                  <a:lnTo>
                    <a:pt x="409" y="848"/>
                  </a:lnTo>
                  <a:lnTo>
                    <a:pt x="409" y="851"/>
                  </a:lnTo>
                  <a:lnTo>
                    <a:pt x="409" y="853"/>
                  </a:lnTo>
                  <a:lnTo>
                    <a:pt x="407" y="858"/>
                  </a:lnTo>
                  <a:lnTo>
                    <a:pt x="404" y="860"/>
                  </a:lnTo>
                  <a:lnTo>
                    <a:pt x="404" y="863"/>
                  </a:lnTo>
                  <a:lnTo>
                    <a:pt x="407" y="863"/>
                  </a:lnTo>
                  <a:lnTo>
                    <a:pt x="411" y="865"/>
                  </a:lnTo>
                  <a:lnTo>
                    <a:pt x="411" y="867"/>
                  </a:lnTo>
                  <a:lnTo>
                    <a:pt x="409" y="870"/>
                  </a:lnTo>
                  <a:lnTo>
                    <a:pt x="409" y="870"/>
                  </a:lnTo>
                  <a:lnTo>
                    <a:pt x="407" y="874"/>
                  </a:lnTo>
                  <a:lnTo>
                    <a:pt x="407" y="874"/>
                  </a:lnTo>
                  <a:lnTo>
                    <a:pt x="407" y="874"/>
                  </a:lnTo>
                  <a:lnTo>
                    <a:pt x="411" y="874"/>
                  </a:lnTo>
                  <a:lnTo>
                    <a:pt x="411" y="877"/>
                  </a:lnTo>
                  <a:lnTo>
                    <a:pt x="414" y="877"/>
                  </a:lnTo>
                  <a:lnTo>
                    <a:pt x="416" y="879"/>
                  </a:lnTo>
                  <a:lnTo>
                    <a:pt x="416" y="879"/>
                  </a:lnTo>
                  <a:lnTo>
                    <a:pt x="416" y="882"/>
                  </a:lnTo>
                  <a:lnTo>
                    <a:pt x="418" y="886"/>
                  </a:lnTo>
                  <a:lnTo>
                    <a:pt x="423" y="889"/>
                  </a:lnTo>
                  <a:lnTo>
                    <a:pt x="423" y="891"/>
                  </a:lnTo>
                  <a:lnTo>
                    <a:pt x="426" y="891"/>
                  </a:lnTo>
                  <a:lnTo>
                    <a:pt x="426" y="893"/>
                  </a:lnTo>
                  <a:lnTo>
                    <a:pt x="423" y="893"/>
                  </a:lnTo>
                  <a:lnTo>
                    <a:pt x="423" y="898"/>
                  </a:lnTo>
                  <a:lnTo>
                    <a:pt x="423" y="898"/>
                  </a:lnTo>
                  <a:lnTo>
                    <a:pt x="423" y="898"/>
                  </a:lnTo>
                  <a:lnTo>
                    <a:pt x="416" y="891"/>
                  </a:lnTo>
                  <a:lnTo>
                    <a:pt x="414" y="886"/>
                  </a:lnTo>
                  <a:lnTo>
                    <a:pt x="411" y="884"/>
                  </a:lnTo>
                  <a:lnTo>
                    <a:pt x="409" y="882"/>
                  </a:lnTo>
                  <a:lnTo>
                    <a:pt x="404" y="879"/>
                  </a:lnTo>
                  <a:lnTo>
                    <a:pt x="402" y="877"/>
                  </a:lnTo>
                  <a:lnTo>
                    <a:pt x="392" y="874"/>
                  </a:lnTo>
                  <a:lnTo>
                    <a:pt x="390" y="872"/>
                  </a:lnTo>
                  <a:lnTo>
                    <a:pt x="388" y="872"/>
                  </a:lnTo>
                  <a:lnTo>
                    <a:pt x="385" y="872"/>
                  </a:lnTo>
                  <a:lnTo>
                    <a:pt x="383" y="872"/>
                  </a:lnTo>
                  <a:lnTo>
                    <a:pt x="381" y="874"/>
                  </a:lnTo>
                  <a:lnTo>
                    <a:pt x="381" y="874"/>
                  </a:lnTo>
                  <a:lnTo>
                    <a:pt x="378" y="874"/>
                  </a:lnTo>
                  <a:lnTo>
                    <a:pt x="374" y="874"/>
                  </a:lnTo>
                  <a:lnTo>
                    <a:pt x="371" y="874"/>
                  </a:lnTo>
                  <a:lnTo>
                    <a:pt x="371" y="872"/>
                  </a:lnTo>
                  <a:lnTo>
                    <a:pt x="369" y="867"/>
                  </a:lnTo>
                  <a:lnTo>
                    <a:pt x="366" y="865"/>
                  </a:lnTo>
                  <a:lnTo>
                    <a:pt x="364" y="860"/>
                  </a:lnTo>
                  <a:lnTo>
                    <a:pt x="364" y="856"/>
                  </a:lnTo>
                  <a:lnTo>
                    <a:pt x="362" y="853"/>
                  </a:lnTo>
                  <a:lnTo>
                    <a:pt x="359" y="851"/>
                  </a:lnTo>
                  <a:lnTo>
                    <a:pt x="359" y="848"/>
                  </a:lnTo>
                  <a:lnTo>
                    <a:pt x="357" y="841"/>
                  </a:lnTo>
                  <a:lnTo>
                    <a:pt x="355" y="839"/>
                  </a:lnTo>
                  <a:lnTo>
                    <a:pt x="352" y="837"/>
                  </a:lnTo>
                  <a:lnTo>
                    <a:pt x="350" y="834"/>
                  </a:lnTo>
                  <a:lnTo>
                    <a:pt x="348" y="834"/>
                  </a:lnTo>
                  <a:lnTo>
                    <a:pt x="348" y="834"/>
                  </a:lnTo>
                  <a:lnTo>
                    <a:pt x="345" y="834"/>
                  </a:lnTo>
                  <a:lnTo>
                    <a:pt x="345" y="834"/>
                  </a:lnTo>
                  <a:lnTo>
                    <a:pt x="343" y="832"/>
                  </a:lnTo>
                  <a:lnTo>
                    <a:pt x="343" y="832"/>
                  </a:lnTo>
                  <a:lnTo>
                    <a:pt x="343" y="830"/>
                  </a:lnTo>
                  <a:lnTo>
                    <a:pt x="341" y="827"/>
                  </a:lnTo>
                  <a:lnTo>
                    <a:pt x="341" y="827"/>
                  </a:lnTo>
                  <a:lnTo>
                    <a:pt x="338" y="825"/>
                  </a:lnTo>
                  <a:lnTo>
                    <a:pt x="338" y="825"/>
                  </a:lnTo>
                  <a:lnTo>
                    <a:pt x="336" y="825"/>
                  </a:lnTo>
                  <a:lnTo>
                    <a:pt x="336" y="822"/>
                  </a:lnTo>
                  <a:lnTo>
                    <a:pt x="331" y="822"/>
                  </a:lnTo>
                  <a:lnTo>
                    <a:pt x="331" y="820"/>
                  </a:lnTo>
                  <a:lnTo>
                    <a:pt x="331" y="820"/>
                  </a:lnTo>
                  <a:lnTo>
                    <a:pt x="329" y="818"/>
                  </a:lnTo>
                  <a:lnTo>
                    <a:pt x="326" y="818"/>
                  </a:lnTo>
                  <a:lnTo>
                    <a:pt x="324" y="815"/>
                  </a:lnTo>
                  <a:lnTo>
                    <a:pt x="322" y="815"/>
                  </a:lnTo>
                  <a:lnTo>
                    <a:pt x="319" y="815"/>
                  </a:lnTo>
                  <a:lnTo>
                    <a:pt x="319" y="815"/>
                  </a:lnTo>
                  <a:lnTo>
                    <a:pt x="319" y="813"/>
                  </a:lnTo>
                  <a:lnTo>
                    <a:pt x="317" y="811"/>
                  </a:lnTo>
                  <a:lnTo>
                    <a:pt x="317" y="811"/>
                  </a:lnTo>
                  <a:lnTo>
                    <a:pt x="315" y="808"/>
                  </a:lnTo>
                  <a:lnTo>
                    <a:pt x="312" y="806"/>
                  </a:lnTo>
                  <a:lnTo>
                    <a:pt x="312" y="806"/>
                  </a:lnTo>
                  <a:lnTo>
                    <a:pt x="312" y="804"/>
                  </a:lnTo>
                  <a:lnTo>
                    <a:pt x="310" y="804"/>
                  </a:lnTo>
                  <a:lnTo>
                    <a:pt x="310" y="804"/>
                  </a:lnTo>
                  <a:lnTo>
                    <a:pt x="310" y="801"/>
                  </a:lnTo>
                  <a:lnTo>
                    <a:pt x="310" y="801"/>
                  </a:lnTo>
                  <a:lnTo>
                    <a:pt x="310" y="801"/>
                  </a:lnTo>
                  <a:lnTo>
                    <a:pt x="307" y="799"/>
                  </a:lnTo>
                  <a:lnTo>
                    <a:pt x="307" y="799"/>
                  </a:lnTo>
                  <a:lnTo>
                    <a:pt x="303" y="796"/>
                  </a:lnTo>
                  <a:lnTo>
                    <a:pt x="303" y="796"/>
                  </a:lnTo>
                  <a:lnTo>
                    <a:pt x="300" y="796"/>
                  </a:lnTo>
                  <a:lnTo>
                    <a:pt x="300" y="796"/>
                  </a:lnTo>
                  <a:lnTo>
                    <a:pt x="300" y="796"/>
                  </a:lnTo>
                  <a:lnTo>
                    <a:pt x="300" y="796"/>
                  </a:lnTo>
                  <a:lnTo>
                    <a:pt x="298" y="794"/>
                  </a:lnTo>
                  <a:lnTo>
                    <a:pt x="298" y="794"/>
                  </a:lnTo>
                  <a:lnTo>
                    <a:pt x="293" y="794"/>
                  </a:lnTo>
                  <a:lnTo>
                    <a:pt x="293" y="792"/>
                  </a:lnTo>
                  <a:lnTo>
                    <a:pt x="293" y="789"/>
                  </a:lnTo>
                  <a:lnTo>
                    <a:pt x="296" y="789"/>
                  </a:lnTo>
                  <a:lnTo>
                    <a:pt x="293" y="787"/>
                  </a:lnTo>
                  <a:lnTo>
                    <a:pt x="293" y="787"/>
                  </a:lnTo>
                  <a:lnTo>
                    <a:pt x="293" y="785"/>
                  </a:lnTo>
                  <a:lnTo>
                    <a:pt x="296" y="782"/>
                  </a:lnTo>
                  <a:lnTo>
                    <a:pt x="296" y="780"/>
                  </a:lnTo>
                  <a:lnTo>
                    <a:pt x="296" y="780"/>
                  </a:lnTo>
                  <a:lnTo>
                    <a:pt x="298" y="782"/>
                  </a:lnTo>
                  <a:lnTo>
                    <a:pt x="298" y="780"/>
                  </a:lnTo>
                  <a:lnTo>
                    <a:pt x="300" y="782"/>
                  </a:lnTo>
                  <a:lnTo>
                    <a:pt x="303" y="782"/>
                  </a:lnTo>
                  <a:lnTo>
                    <a:pt x="303" y="782"/>
                  </a:lnTo>
                  <a:lnTo>
                    <a:pt x="305" y="782"/>
                  </a:lnTo>
                  <a:lnTo>
                    <a:pt x="305" y="785"/>
                  </a:lnTo>
                  <a:lnTo>
                    <a:pt x="307" y="785"/>
                  </a:lnTo>
                  <a:lnTo>
                    <a:pt x="307" y="785"/>
                  </a:lnTo>
                  <a:lnTo>
                    <a:pt x="307" y="785"/>
                  </a:lnTo>
                  <a:lnTo>
                    <a:pt x="310" y="782"/>
                  </a:lnTo>
                  <a:lnTo>
                    <a:pt x="312" y="785"/>
                  </a:lnTo>
                  <a:lnTo>
                    <a:pt x="312" y="782"/>
                  </a:lnTo>
                  <a:lnTo>
                    <a:pt x="312" y="782"/>
                  </a:lnTo>
                  <a:lnTo>
                    <a:pt x="310" y="782"/>
                  </a:lnTo>
                  <a:lnTo>
                    <a:pt x="310" y="780"/>
                  </a:lnTo>
                  <a:lnTo>
                    <a:pt x="310" y="780"/>
                  </a:lnTo>
                  <a:lnTo>
                    <a:pt x="312" y="780"/>
                  </a:lnTo>
                  <a:lnTo>
                    <a:pt x="312" y="780"/>
                  </a:lnTo>
                  <a:lnTo>
                    <a:pt x="315" y="780"/>
                  </a:lnTo>
                  <a:lnTo>
                    <a:pt x="317" y="780"/>
                  </a:lnTo>
                  <a:lnTo>
                    <a:pt x="317" y="778"/>
                  </a:lnTo>
                  <a:lnTo>
                    <a:pt x="317" y="778"/>
                  </a:lnTo>
                  <a:lnTo>
                    <a:pt x="317" y="778"/>
                  </a:lnTo>
                  <a:lnTo>
                    <a:pt x="319" y="778"/>
                  </a:lnTo>
                  <a:lnTo>
                    <a:pt x="319" y="775"/>
                  </a:lnTo>
                  <a:lnTo>
                    <a:pt x="319" y="775"/>
                  </a:lnTo>
                  <a:lnTo>
                    <a:pt x="322" y="775"/>
                  </a:lnTo>
                  <a:lnTo>
                    <a:pt x="322" y="775"/>
                  </a:lnTo>
                  <a:lnTo>
                    <a:pt x="319" y="773"/>
                  </a:lnTo>
                  <a:lnTo>
                    <a:pt x="319" y="773"/>
                  </a:lnTo>
                  <a:lnTo>
                    <a:pt x="319" y="770"/>
                  </a:lnTo>
                  <a:lnTo>
                    <a:pt x="322" y="770"/>
                  </a:lnTo>
                  <a:lnTo>
                    <a:pt x="322" y="770"/>
                  </a:lnTo>
                  <a:lnTo>
                    <a:pt x="319" y="768"/>
                  </a:lnTo>
                  <a:lnTo>
                    <a:pt x="319" y="766"/>
                  </a:lnTo>
                  <a:lnTo>
                    <a:pt x="319" y="766"/>
                  </a:lnTo>
                  <a:lnTo>
                    <a:pt x="317" y="763"/>
                  </a:lnTo>
                  <a:lnTo>
                    <a:pt x="319" y="763"/>
                  </a:lnTo>
                  <a:lnTo>
                    <a:pt x="319" y="761"/>
                  </a:lnTo>
                  <a:lnTo>
                    <a:pt x="319" y="761"/>
                  </a:lnTo>
                  <a:lnTo>
                    <a:pt x="319" y="759"/>
                  </a:lnTo>
                  <a:lnTo>
                    <a:pt x="319" y="756"/>
                  </a:lnTo>
                  <a:lnTo>
                    <a:pt x="319" y="756"/>
                  </a:lnTo>
                  <a:lnTo>
                    <a:pt x="322" y="756"/>
                  </a:lnTo>
                  <a:lnTo>
                    <a:pt x="322" y="754"/>
                  </a:lnTo>
                  <a:lnTo>
                    <a:pt x="322" y="754"/>
                  </a:lnTo>
                  <a:lnTo>
                    <a:pt x="322" y="754"/>
                  </a:lnTo>
                  <a:lnTo>
                    <a:pt x="324" y="752"/>
                  </a:lnTo>
                  <a:lnTo>
                    <a:pt x="322" y="752"/>
                  </a:lnTo>
                  <a:lnTo>
                    <a:pt x="322" y="752"/>
                  </a:lnTo>
                  <a:lnTo>
                    <a:pt x="326" y="749"/>
                  </a:lnTo>
                  <a:lnTo>
                    <a:pt x="326" y="747"/>
                  </a:lnTo>
                  <a:lnTo>
                    <a:pt x="329" y="747"/>
                  </a:lnTo>
                  <a:lnTo>
                    <a:pt x="329" y="745"/>
                  </a:lnTo>
                  <a:lnTo>
                    <a:pt x="331" y="745"/>
                  </a:lnTo>
                  <a:lnTo>
                    <a:pt x="331" y="745"/>
                  </a:lnTo>
                  <a:lnTo>
                    <a:pt x="331" y="742"/>
                  </a:lnTo>
                  <a:lnTo>
                    <a:pt x="331" y="740"/>
                  </a:lnTo>
                  <a:lnTo>
                    <a:pt x="331" y="740"/>
                  </a:lnTo>
                  <a:lnTo>
                    <a:pt x="333" y="737"/>
                  </a:lnTo>
                  <a:lnTo>
                    <a:pt x="333" y="735"/>
                  </a:lnTo>
                  <a:lnTo>
                    <a:pt x="333" y="735"/>
                  </a:lnTo>
                  <a:lnTo>
                    <a:pt x="329" y="733"/>
                  </a:lnTo>
                  <a:lnTo>
                    <a:pt x="329" y="733"/>
                  </a:lnTo>
                  <a:lnTo>
                    <a:pt x="329" y="733"/>
                  </a:lnTo>
                  <a:lnTo>
                    <a:pt x="326" y="733"/>
                  </a:lnTo>
                  <a:lnTo>
                    <a:pt x="326" y="730"/>
                  </a:lnTo>
                  <a:lnTo>
                    <a:pt x="326" y="730"/>
                  </a:lnTo>
                  <a:lnTo>
                    <a:pt x="326" y="728"/>
                  </a:lnTo>
                  <a:lnTo>
                    <a:pt x="326" y="726"/>
                  </a:lnTo>
                  <a:lnTo>
                    <a:pt x="326" y="726"/>
                  </a:lnTo>
                  <a:lnTo>
                    <a:pt x="329" y="723"/>
                  </a:lnTo>
                  <a:lnTo>
                    <a:pt x="326" y="723"/>
                  </a:lnTo>
                  <a:lnTo>
                    <a:pt x="326" y="723"/>
                  </a:lnTo>
                  <a:lnTo>
                    <a:pt x="326" y="719"/>
                  </a:lnTo>
                  <a:lnTo>
                    <a:pt x="326" y="719"/>
                  </a:lnTo>
                  <a:lnTo>
                    <a:pt x="326" y="716"/>
                  </a:lnTo>
                  <a:lnTo>
                    <a:pt x="326" y="714"/>
                  </a:lnTo>
                  <a:lnTo>
                    <a:pt x="326" y="714"/>
                  </a:lnTo>
                  <a:lnTo>
                    <a:pt x="326" y="711"/>
                  </a:lnTo>
                  <a:lnTo>
                    <a:pt x="324" y="711"/>
                  </a:lnTo>
                  <a:lnTo>
                    <a:pt x="322" y="711"/>
                  </a:lnTo>
                  <a:lnTo>
                    <a:pt x="322" y="709"/>
                  </a:lnTo>
                  <a:lnTo>
                    <a:pt x="319" y="707"/>
                  </a:lnTo>
                  <a:lnTo>
                    <a:pt x="317" y="704"/>
                  </a:lnTo>
                  <a:lnTo>
                    <a:pt x="317" y="702"/>
                  </a:lnTo>
                  <a:lnTo>
                    <a:pt x="317" y="700"/>
                  </a:lnTo>
                  <a:lnTo>
                    <a:pt x="317" y="700"/>
                  </a:lnTo>
                  <a:lnTo>
                    <a:pt x="317" y="700"/>
                  </a:lnTo>
                  <a:lnTo>
                    <a:pt x="317" y="700"/>
                  </a:lnTo>
                  <a:lnTo>
                    <a:pt x="317" y="697"/>
                  </a:lnTo>
                  <a:lnTo>
                    <a:pt x="317" y="695"/>
                  </a:lnTo>
                  <a:lnTo>
                    <a:pt x="317" y="695"/>
                  </a:lnTo>
                  <a:lnTo>
                    <a:pt x="315" y="688"/>
                  </a:lnTo>
                  <a:lnTo>
                    <a:pt x="312" y="685"/>
                  </a:lnTo>
                  <a:lnTo>
                    <a:pt x="310" y="683"/>
                  </a:lnTo>
                  <a:lnTo>
                    <a:pt x="307" y="683"/>
                  </a:lnTo>
                  <a:lnTo>
                    <a:pt x="305" y="681"/>
                  </a:lnTo>
                  <a:lnTo>
                    <a:pt x="303" y="678"/>
                  </a:lnTo>
                  <a:lnTo>
                    <a:pt x="303" y="676"/>
                  </a:lnTo>
                  <a:lnTo>
                    <a:pt x="303" y="671"/>
                  </a:lnTo>
                  <a:lnTo>
                    <a:pt x="303" y="669"/>
                  </a:lnTo>
                  <a:lnTo>
                    <a:pt x="303" y="664"/>
                  </a:lnTo>
                  <a:lnTo>
                    <a:pt x="300" y="664"/>
                  </a:lnTo>
                  <a:lnTo>
                    <a:pt x="300" y="659"/>
                  </a:lnTo>
                  <a:lnTo>
                    <a:pt x="298" y="655"/>
                  </a:lnTo>
                  <a:lnTo>
                    <a:pt x="300" y="650"/>
                  </a:lnTo>
                  <a:lnTo>
                    <a:pt x="298" y="648"/>
                  </a:lnTo>
                  <a:lnTo>
                    <a:pt x="300" y="645"/>
                  </a:lnTo>
                  <a:lnTo>
                    <a:pt x="300" y="643"/>
                  </a:lnTo>
                  <a:lnTo>
                    <a:pt x="300" y="643"/>
                  </a:lnTo>
                  <a:lnTo>
                    <a:pt x="300" y="641"/>
                  </a:lnTo>
                  <a:lnTo>
                    <a:pt x="300" y="641"/>
                  </a:lnTo>
                  <a:lnTo>
                    <a:pt x="300" y="636"/>
                  </a:lnTo>
                  <a:lnTo>
                    <a:pt x="298" y="636"/>
                  </a:lnTo>
                  <a:lnTo>
                    <a:pt x="296" y="631"/>
                  </a:lnTo>
                  <a:lnTo>
                    <a:pt x="293" y="633"/>
                  </a:lnTo>
                  <a:lnTo>
                    <a:pt x="291" y="633"/>
                  </a:lnTo>
                  <a:lnTo>
                    <a:pt x="291" y="626"/>
                  </a:lnTo>
                  <a:lnTo>
                    <a:pt x="291" y="624"/>
                  </a:lnTo>
                  <a:lnTo>
                    <a:pt x="291" y="619"/>
                  </a:lnTo>
                  <a:lnTo>
                    <a:pt x="291" y="615"/>
                  </a:lnTo>
                  <a:lnTo>
                    <a:pt x="289" y="603"/>
                  </a:lnTo>
                  <a:lnTo>
                    <a:pt x="291" y="600"/>
                  </a:lnTo>
                  <a:lnTo>
                    <a:pt x="291" y="598"/>
                  </a:lnTo>
                  <a:lnTo>
                    <a:pt x="293" y="593"/>
                  </a:lnTo>
                  <a:lnTo>
                    <a:pt x="298" y="589"/>
                  </a:lnTo>
                  <a:lnTo>
                    <a:pt x="300" y="589"/>
                  </a:lnTo>
                  <a:lnTo>
                    <a:pt x="300" y="584"/>
                  </a:lnTo>
                  <a:lnTo>
                    <a:pt x="298" y="582"/>
                  </a:lnTo>
                  <a:lnTo>
                    <a:pt x="298" y="582"/>
                  </a:lnTo>
                  <a:lnTo>
                    <a:pt x="296" y="577"/>
                  </a:lnTo>
                  <a:lnTo>
                    <a:pt x="298" y="572"/>
                  </a:lnTo>
                  <a:lnTo>
                    <a:pt x="300" y="570"/>
                  </a:lnTo>
                  <a:lnTo>
                    <a:pt x="300" y="565"/>
                  </a:lnTo>
                  <a:lnTo>
                    <a:pt x="300" y="563"/>
                  </a:lnTo>
                  <a:lnTo>
                    <a:pt x="300" y="560"/>
                  </a:lnTo>
                  <a:lnTo>
                    <a:pt x="298" y="558"/>
                  </a:lnTo>
                  <a:lnTo>
                    <a:pt x="298" y="558"/>
                  </a:lnTo>
                  <a:lnTo>
                    <a:pt x="298" y="556"/>
                  </a:lnTo>
                  <a:lnTo>
                    <a:pt x="298" y="553"/>
                  </a:lnTo>
                  <a:lnTo>
                    <a:pt x="298" y="553"/>
                  </a:lnTo>
                  <a:lnTo>
                    <a:pt x="298" y="551"/>
                  </a:lnTo>
                  <a:lnTo>
                    <a:pt x="298" y="548"/>
                  </a:lnTo>
                  <a:lnTo>
                    <a:pt x="298" y="548"/>
                  </a:lnTo>
                  <a:lnTo>
                    <a:pt x="296" y="548"/>
                  </a:lnTo>
                  <a:lnTo>
                    <a:pt x="291" y="548"/>
                  </a:lnTo>
                  <a:lnTo>
                    <a:pt x="291" y="548"/>
                  </a:lnTo>
                  <a:lnTo>
                    <a:pt x="289" y="544"/>
                  </a:lnTo>
                  <a:lnTo>
                    <a:pt x="289" y="537"/>
                  </a:lnTo>
                  <a:lnTo>
                    <a:pt x="284" y="527"/>
                  </a:lnTo>
                  <a:lnTo>
                    <a:pt x="281" y="513"/>
                  </a:lnTo>
                  <a:lnTo>
                    <a:pt x="279" y="513"/>
                  </a:lnTo>
                  <a:lnTo>
                    <a:pt x="279" y="511"/>
                  </a:lnTo>
                  <a:lnTo>
                    <a:pt x="279" y="508"/>
                  </a:lnTo>
                  <a:lnTo>
                    <a:pt x="279" y="508"/>
                  </a:lnTo>
                  <a:lnTo>
                    <a:pt x="277" y="504"/>
                  </a:lnTo>
                  <a:lnTo>
                    <a:pt x="277" y="504"/>
                  </a:lnTo>
                  <a:lnTo>
                    <a:pt x="274" y="504"/>
                  </a:lnTo>
                  <a:lnTo>
                    <a:pt x="272" y="501"/>
                  </a:lnTo>
                  <a:lnTo>
                    <a:pt x="270" y="499"/>
                  </a:lnTo>
                  <a:lnTo>
                    <a:pt x="267" y="496"/>
                  </a:lnTo>
                  <a:lnTo>
                    <a:pt x="265" y="494"/>
                  </a:lnTo>
                  <a:lnTo>
                    <a:pt x="265" y="492"/>
                  </a:lnTo>
                  <a:lnTo>
                    <a:pt x="263" y="489"/>
                  </a:lnTo>
                  <a:lnTo>
                    <a:pt x="263" y="489"/>
                  </a:lnTo>
                  <a:lnTo>
                    <a:pt x="258" y="485"/>
                  </a:lnTo>
                  <a:lnTo>
                    <a:pt x="255" y="485"/>
                  </a:lnTo>
                  <a:lnTo>
                    <a:pt x="255" y="482"/>
                  </a:lnTo>
                  <a:lnTo>
                    <a:pt x="255" y="480"/>
                  </a:lnTo>
                  <a:lnTo>
                    <a:pt x="255" y="478"/>
                  </a:lnTo>
                  <a:lnTo>
                    <a:pt x="260" y="475"/>
                  </a:lnTo>
                  <a:lnTo>
                    <a:pt x="260" y="473"/>
                  </a:lnTo>
                  <a:lnTo>
                    <a:pt x="263" y="471"/>
                  </a:lnTo>
                  <a:lnTo>
                    <a:pt x="265" y="468"/>
                  </a:lnTo>
                  <a:lnTo>
                    <a:pt x="265" y="468"/>
                  </a:lnTo>
                  <a:lnTo>
                    <a:pt x="265" y="454"/>
                  </a:lnTo>
                  <a:lnTo>
                    <a:pt x="270" y="445"/>
                  </a:lnTo>
                  <a:lnTo>
                    <a:pt x="270" y="442"/>
                  </a:lnTo>
                  <a:lnTo>
                    <a:pt x="270" y="437"/>
                  </a:lnTo>
                  <a:lnTo>
                    <a:pt x="267" y="435"/>
                  </a:lnTo>
                  <a:lnTo>
                    <a:pt x="265" y="435"/>
                  </a:lnTo>
                  <a:lnTo>
                    <a:pt x="263" y="433"/>
                  </a:lnTo>
                  <a:lnTo>
                    <a:pt x="255" y="430"/>
                  </a:lnTo>
                  <a:lnTo>
                    <a:pt x="255" y="430"/>
                  </a:lnTo>
                  <a:lnTo>
                    <a:pt x="253" y="428"/>
                  </a:lnTo>
                  <a:lnTo>
                    <a:pt x="251" y="428"/>
                  </a:lnTo>
                  <a:lnTo>
                    <a:pt x="241" y="426"/>
                  </a:lnTo>
                  <a:lnTo>
                    <a:pt x="237" y="426"/>
                  </a:lnTo>
                  <a:lnTo>
                    <a:pt x="234" y="426"/>
                  </a:lnTo>
                  <a:lnTo>
                    <a:pt x="227" y="428"/>
                  </a:lnTo>
                  <a:lnTo>
                    <a:pt x="222" y="423"/>
                  </a:lnTo>
                  <a:lnTo>
                    <a:pt x="220" y="421"/>
                  </a:lnTo>
                  <a:lnTo>
                    <a:pt x="218" y="419"/>
                  </a:lnTo>
                  <a:lnTo>
                    <a:pt x="215" y="416"/>
                  </a:lnTo>
                  <a:lnTo>
                    <a:pt x="215" y="414"/>
                  </a:lnTo>
                  <a:lnTo>
                    <a:pt x="213" y="411"/>
                  </a:lnTo>
                  <a:lnTo>
                    <a:pt x="213" y="409"/>
                  </a:lnTo>
                  <a:lnTo>
                    <a:pt x="213" y="407"/>
                  </a:lnTo>
                  <a:lnTo>
                    <a:pt x="211" y="407"/>
                  </a:lnTo>
                  <a:lnTo>
                    <a:pt x="211" y="407"/>
                  </a:lnTo>
                  <a:lnTo>
                    <a:pt x="206" y="407"/>
                  </a:lnTo>
                  <a:lnTo>
                    <a:pt x="199" y="409"/>
                  </a:lnTo>
                  <a:lnTo>
                    <a:pt x="196" y="409"/>
                  </a:lnTo>
                  <a:lnTo>
                    <a:pt x="192" y="407"/>
                  </a:lnTo>
                  <a:lnTo>
                    <a:pt x="185" y="404"/>
                  </a:lnTo>
                  <a:lnTo>
                    <a:pt x="185" y="402"/>
                  </a:lnTo>
                  <a:lnTo>
                    <a:pt x="180" y="397"/>
                  </a:lnTo>
                  <a:lnTo>
                    <a:pt x="180" y="397"/>
                  </a:lnTo>
                  <a:lnTo>
                    <a:pt x="180" y="395"/>
                  </a:lnTo>
                  <a:lnTo>
                    <a:pt x="180" y="390"/>
                  </a:lnTo>
                  <a:lnTo>
                    <a:pt x="178" y="383"/>
                  </a:lnTo>
                  <a:lnTo>
                    <a:pt x="178" y="381"/>
                  </a:lnTo>
                  <a:lnTo>
                    <a:pt x="180" y="376"/>
                  </a:lnTo>
                  <a:lnTo>
                    <a:pt x="180" y="374"/>
                  </a:lnTo>
                  <a:lnTo>
                    <a:pt x="180" y="371"/>
                  </a:lnTo>
                  <a:lnTo>
                    <a:pt x="175" y="371"/>
                  </a:lnTo>
                  <a:lnTo>
                    <a:pt x="168" y="371"/>
                  </a:lnTo>
                  <a:lnTo>
                    <a:pt x="156" y="376"/>
                  </a:lnTo>
                  <a:lnTo>
                    <a:pt x="147" y="378"/>
                  </a:lnTo>
                  <a:lnTo>
                    <a:pt x="144" y="378"/>
                  </a:lnTo>
                  <a:lnTo>
                    <a:pt x="137" y="378"/>
                  </a:lnTo>
                  <a:lnTo>
                    <a:pt x="133" y="378"/>
                  </a:lnTo>
                  <a:lnTo>
                    <a:pt x="126" y="376"/>
                  </a:lnTo>
                  <a:lnTo>
                    <a:pt x="121" y="374"/>
                  </a:lnTo>
                  <a:lnTo>
                    <a:pt x="118" y="374"/>
                  </a:lnTo>
                  <a:lnTo>
                    <a:pt x="109" y="369"/>
                  </a:lnTo>
                  <a:lnTo>
                    <a:pt x="107" y="369"/>
                  </a:lnTo>
                  <a:lnTo>
                    <a:pt x="107" y="369"/>
                  </a:lnTo>
                  <a:lnTo>
                    <a:pt x="104" y="367"/>
                  </a:lnTo>
                  <a:lnTo>
                    <a:pt x="104" y="367"/>
                  </a:lnTo>
                  <a:lnTo>
                    <a:pt x="102" y="369"/>
                  </a:lnTo>
                  <a:lnTo>
                    <a:pt x="102" y="369"/>
                  </a:lnTo>
                  <a:lnTo>
                    <a:pt x="100" y="369"/>
                  </a:lnTo>
                  <a:lnTo>
                    <a:pt x="100" y="367"/>
                  </a:lnTo>
                  <a:lnTo>
                    <a:pt x="100" y="367"/>
                  </a:lnTo>
                  <a:lnTo>
                    <a:pt x="100" y="367"/>
                  </a:lnTo>
                  <a:lnTo>
                    <a:pt x="100" y="364"/>
                  </a:lnTo>
                  <a:lnTo>
                    <a:pt x="97" y="364"/>
                  </a:lnTo>
                  <a:lnTo>
                    <a:pt x="97" y="364"/>
                  </a:lnTo>
                  <a:lnTo>
                    <a:pt x="97" y="362"/>
                  </a:lnTo>
                  <a:lnTo>
                    <a:pt x="97" y="359"/>
                  </a:lnTo>
                  <a:lnTo>
                    <a:pt x="97" y="357"/>
                  </a:lnTo>
                  <a:lnTo>
                    <a:pt x="100" y="357"/>
                  </a:lnTo>
                  <a:lnTo>
                    <a:pt x="100" y="355"/>
                  </a:lnTo>
                  <a:lnTo>
                    <a:pt x="100" y="352"/>
                  </a:lnTo>
                  <a:lnTo>
                    <a:pt x="100" y="355"/>
                  </a:lnTo>
                  <a:lnTo>
                    <a:pt x="100" y="355"/>
                  </a:lnTo>
                  <a:lnTo>
                    <a:pt x="100" y="352"/>
                  </a:lnTo>
                  <a:lnTo>
                    <a:pt x="104" y="350"/>
                  </a:lnTo>
                  <a:lnTo>
                    <a:pt x="104" y="348"/>
                  </a:lnTo>
                  <a:lnTo>
                    <a:pt x="104" y="348"/>
                  </a:lnTo>
                  <a:lnTo>
                    <a:pt x="107" y="345"/>
                  </a:lnTo>
                  <a:lnTo>
                    <a:pt x="107" y="343"/>
                  </a:lnTo>
                  <a:lnTo>
                    <a:pt x="104" y="341"/>
                  </a:lnTo>
                  <a:lnTo>
                    <a:pt x="107" y="341"/>
                  </a:lnTo>
                  <a:lnTo>
                    <a:pt x="107" y="341"/>
                  </a:lnTo>
                  <a:lnTo>
                    <a:pt x="104" y="338"/>
                  </a:lnTo>
                  <a:lnTo>
                    <a:pt x="104" y="338"/>
                  </a:lnTo>
                  <a:lnTo>
                    <a:pt x="107" y="336"/>
                  </a:lnTo>
                  <a:lnTo>
                    <a:pt x="107" y="336"/>
                  </a:lnTo>
                  <a:lnTo>
                    <a:pt x="107" y="333"/>
                  </a:lnTo>
                  <a:lnTo>
                    <a:pt x="104" y="333"/>
                  </a:lnTo>
                  <a:lnTo>
                    <a:pt x="104" y="331"/>
                  </a:lnTo>
                  <a:lnTo>
                    <a:pt x="104" y="329"/>
                  </a:lnTo>
                  <a:lnTo>
                    <a:pt x="104" y="329"/>
                  </a:lnTo>
                  <a:lnTo>
                    <a:pt x="104" y="329"/>
                  </a:lnTo>
                  <a:lnTo>
                    <a:pt x="104" y="329"/>
                  </a:lnTo>
                  <a:lnTo>
                    <a:pt x="104" y="326"/>
                  </a:lnTo>
                  <a:lnTo>
                    <a:pt x="102" y="324"/>
                  </a:lnTo>
                  <a:lnTo>
                    <a:pt x="102" y="324"/>
                  </a:lnTo>
                  <a:lnTo>
                    <a:pt x="104" y="324"/>
                  </a:lnTo>
                  <a:lnTo>
                    <a:pt x="102" y="322"/>
                  </a:lnTo>
                  <a:lnTo>
                    <a:pt x="97" y="319"/>
                  </a:lnTo>
                  <a:lnTo>
                    <a:pt x="97" y="319"/>
                  </a:lnTo>
                  <a:lnTo>
                    <a:pt x="95" y="315"/>
                  </a:lnTo>
                  <a:lnTo>
                    <a:pt x="95" y="308"/>
                  </a:lnTo>
                  <a:lnTo>
                    <a:pt x="90" y="305"/>
                  </a:lnTo>
                  <a:lnTo>
                    <a:pt x="90" y="303"/>
                  </a:lnTo>
                  <a:lnTo>
                    <a:pt x="88" y="300"/>
                  </a:lnTo>
                  <a:lnTo>
                    <a:pt x="88" y="298"/>
                  </a:lnTo>
                  <a:lnTo>
                    <a:pt x="83" y="293"/>
                  </a:lnTo>
                  <a:lnTo>
                    <a:pt x="81" y="291"/>
                  </a:lnTo>
                  <a:lnTo>
                    <a:pt x="76" y="286"/>
                  </a:lnTo>
                  <a:lnTo>
                    <a:pt x="74" y="284"/>
                  </a:lnTo>
                  <a:lnTo>
                    <a:pt x="74" y="282"/>
                  </a:lnTo>
                  <a:lnTo>
                    <a:pt x="76" y="279"/>
                  </a:lnTo>
                  <a:lnTo>
                    <a:pt x="78" y="277"/>
                  </a:lnTo>
                  <a:lnTo>
                    <a:pt x="78" y="274"/>
                  </a:lnTo>
                  <a:lnTo>
                    <a:pt x="78" y="270"/>
                  </a:lnTo>
                  <a:lnTo>
                    <a:pt x="78" y="267"/>
                  </a:lnTo>
                  <a:lnTo>
                    <a:pt x="74" y="258"/>
                  </a:lnTo>
                  <a:lnTo>
                    <a:pt x="74" y="248"/>
                  </a:lnTo>
                  <a:lnTo>
                    <a:pt x="71" y="246"/>
                  </a:lnTo>
                  <a:lnTo>
                    <a:pt x="71" y="246"/>
                  </a:lnTo>
                  <a:lnTo>
                    <a:pt x="71" y="241"/>
                  </a:lnTo>
                  <a:lnTo>
                    <a:pt x="74" y="241"/>
                  </a:lnTo>
                  <a:lnTo>
                    <a:pt x="78" y="237"/>
                  </a:lnTo>
                  <a:lnTo>
                    <a:pt x="81" y="234"/>
                  </a:lnTo>
                  <a:lnTo>
                    <a:pt x="81" y="234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 cap="flat">
              <a:solidFill>
                <a:schemeClr val="bg2">
                  <a:lumMod val="7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>
                <a:solidFill>
                  <a:srgbClr val="000000"/>
                </a:solidFill>
              </a:endParaRPr>
            </a:p>
          </p:txBody>
        </p:sp>
        <p:sp>
          <p:nvSpPr>
            <p:cNvPr id="106" name="Freeform 38"/>
            <p:cNvSpPr>
              <a:spLocks/>
            </p:cNvSpPr>
            <p:nvPr/>
          </p:nvSpPr>
          <p:spPr bwMode="gray">
            <a:xfrm>
              <a:off x="2568785" y="3434693"/>
              <a:ext cx="517148" cy="948912"/>
            </a:xfrm>
            <a:custGeom>
              <a:avLst/>
              <a:gdLst/>
              <a:ahLst/>
              <a:cxnLst>
                <a:cxn ang="0">
                  <a:pos x="14" y="739"/>
                </a:cxn>
                <a:cxn ang="0">
                  <a:pos x="40" y="673"/>
                </a:cxn>
                <a:cxn ang="0">
                  <a:pos x="78" y="579"/>
                </a:cxn>
                <a:cxn ang="0">
                  <a:pos x="121" y="496"/>
                </a:cxn>
                <a:cxn ang="0">
                  <a:pos x="196" y="388"/>
                </a:cxn>
                <a:cxn ang="0">
                  <a:pos x="175" y="302"/>
                </a:cxn>
                <a:cxn ang="0">
                  <a:pos x="232" y="206"/>
                </a:cxn>
                <a:cxn ang="0">
                  <a:pos x="300" y="151"/>
                </a:cxn>
                <a:cxn ang="0">
                  <a:pos x="314" y="90"/>
                </a:cxn>
                <a:cxn ang="0">
                  <a:pos x="305" y="36"/>
                </a:cxn>
                <a:cxn ang="0">
                  <a:pos x="260" y="19"/>
                </a:cxn>
                <a:cxn ang="0">
                  <a:pos x="357" y="10"/>
                </a:cxn>
                <a:cxn ang="0">
                  <a:pos x="421" y="114"/>
                </a:cxn>
                <a:cxn ang="0">
                  <a:pos x="409" y="217"/>
                </a:cxn>
                <a:cxn ang="0">
                  <a:pos x="411" y="276"/>
                </a:cxn>
                <a:cxn ang="0">
                  <a:pos x="425" y="319"/>
                </a:cxn>
                <a:cxn ang="0">
                  <a:pos x="440" y="336"/>
                </a:cxn>
                <a:cxn ang="0">
                  <a:pos x="459" y="359"/>
                </a:cxn>
                <a:cxn ang="0">
                  <a:pos x="482" y="369"/>
                </a:cxn>
                <a:cxn ang="0">
                  <a:pos x="508" y="359"/>
                </a:cxn>
                <a:cxn ang="0">
                  <a:pos x="536" y="390"/>
                </a:cxn>
                <a:cxn ang="0">
                  <a:pos x="501" y="423"/>
                </a:cxn>
                <a:cxn ang="0">
                  <a:pos x="487" y="444"/>
                </a:cxn>
                <a:cxn ang="0">
                  <a:pos x="482" y="463"/>
                </a:cxn>
                <a:cxn ang="0">
                  <a:pos x="473" y="494"/>
                </a:cxn>
                <a:cxn ang="0">
                  <a:pos x="482" y="508"/>
                </a:cxn>
                <a:cxn ang="0">
                  <a:pos x="494" y="536"/>
                </a:cxn>
                <a:cxn ang="0">
                  <a:pos x="529" y="567"/>
                </a:cxn>
                <a:cxn ang="0">
                  <a:pos x="541" y="619"/>
                </a:cxn>
                <a:cxn ang="0">
                  <a:pos x="607" y="664"/>
                </a:cxn>
                <a:cxn ang="0">
                  <a:pos x="617" y="690"/>
                </a:cxn>
                <a:cxn ang="0">
                  <a:pos x="572" y="737"/>
                </a:cxn>
                <a:cxn ang="0">
                  <a:pos x="532" y="810"/>
                </a:cxn>
                <a:cxn ang="0">
                  <a:pos x="581" y="841"/>
                </a:cxn>
                <a:cxn ang="0">
                  <a:pos x="558" y="865"/>
                </a:cxn>
                <a:cxn ang="0">
                  <a:pos x="555" y="891"/>
                </a:cxn>
                <a:cxn ang="0">
                  <a:pos x="560" y="931"/>
                </a:cxn>
                <a:cxn ang="0">
                  <a:pos x="572" y="962"/>
                </a:cxn>
                <a:cxn ang="0">
                  <a:pos x="565" y="1011"/>
                </a:cxn>
                <a:cxn ang="0">
                  <a:pos x="555" y="1013"/>
                </a:cxn>
                <a:cxn ang="0">
                  <a:pos x="494" y="1030"/>
                </a:cxn>
                <a:cxn ang="0">
                  <a:pos x="463" y="1047"/>
                </a:cxn>
                <a:cxn ang="0">
                  <a:pos x="437" y="1056"/>
                </a:cxn>
                <a:cxn ang="0">
                  <a:pos x="399" y="1039"/>
                </a:cxn>
                <a:cxn ang="0">
                  <a:pos x="392" y="1068"/>
                </a:cxn>
                <a:cxn ang="0">
                  <a:pos x="352" y="1065"/>
                </a:cxn>
                <a:cxn ang="0">
                  <a:pos x="329" y="1063"/>
                </a:cxn>
                <a:cxn ang="0">
                  <a:pos x="314" y="1049"/>
                </a:cxn>
                <a:cxn ang="0">
                  <a:pos x="296" y="1058"/>
                </a:cxn>
                <a:cxn ang="0">
                  <a:pos x="281" y="1044"/>
                </a:cxn>
                <a:cxn ang="0">
                  <a:pos x="274" y="1039"/>
                </a:cxn>
                <a:cxn ang="0">
                  <a:pos x="253" y="1013"/>
                </a:cxn>
                <a:cxn ang="0">
                  <a:pos x="218" y="1011"/>
                </a:cxn>
                <a:cxn ang="0">
                  <a:pos x="187" y="1016"/>
                </a:cxn>
                <a:cxn ang="0">
                  <a:pos x="90" y="1013"/>
                </a:cxn>
                <a:cxn ang="0">
                  <a:pos x="57" y="1002"/>
                </a:cxn>
                <a:cxn ang="0">
                  <a:pos x="64" y="973"/>
                </a:cxn>
                <a:cxn ang="0">
                  <a:pos x="69" y="947"/>
                </a:cxn>
                <a:cxn ang="0">
                  <a:pos x="45" y="969"/>
                </a:cxn>
                <a:cxn ang="0">
                  <a:pos x="33" y="999"/>
                </a:cxn>
                <a:cxn ang="0">
                  <a:pos x="5" y="969"/>
                </a:cxn>
                <a:cxn ang="0">
                  <a:pos x="7" y="898"/>
                </a:cxn>
                <a:cxn ang="0">
                  <a:pos x="7" y="839"/>
                </a:cxn>
              </a:cxnLst>
              <a:rect l="0" t="0" r="r" b="b"/>
              <a:pathLst>
                <a:path w="640" h="1084">
                  <a:moveTo>
                    <a:pt x="0" y="820"/>
                  </a:moveTo>
                  <a:lnTo>
                    <a:pt x="3" y="815"/>
                  </a:lnTo>
                  <a:lnTo>
                    <a:pt x="3" y="813"/>
                  </a:lnTo>
                  <a:lnTo>
                    <a:pt x="3" y="808"/>
                  </a:lnTo>
                  <a:lnTo>
                    <a:pt x="5" y="806"/>
                  </a:lnTo>
                  <a:lnTo>
                    <a:pt x="5" y="803"/>
                  </a:lnTo>
                  <a:lnTo>
                    <a:pt x="5" y="803"/>
                  </a:lnTo>
                  <a:lnTo>
                    <a:pt x="5" y="801"/>
                  </a:lnTo>
                  <a:lnTo>
                    <a:pt x="7" y="801"/>
                  </a:lnTo>
                  <a:lnTo>
                    <a:pt x="10" y="799"/>
                  </a:lnTo>
                  <a:lnTo>
                    <a:pt x="10" y="794"/>
                  </a:lnTo>
                  <a:lnTo>
                    <a:pt x="12" y="791"/>
                  </a:lnTo>
                  <a:lnTo>
                    <a:pt x="10" y="787"/>
                  </a:lnTo>
                  <a:lnTo>
                    <a:pt x="10" y="787"/>
                  </a:lnTo>
                  <a:lnTo>
                    <a:pt x="10" y="782"/>
                  </a:lnTo>
                  <a:lnTo>
                    <a:pt x="10" y="780"/>
                  </a:lnTo>
                  <a:lnTo>
                    <a:pt x="10" y="777"/>
                  </a:lnTo>
                  <a:lnTo>
                    <a:pt x="12" y="777"/>
                  </a:lnTo>
                  <a:lnTo>
                    <a:pt x="12" y="775"/>
                  </a:lnTo>
                  <a:lnTo>
                    <a:pt x="14" y="773"/>
                  </a:lnTo>
                  <a:lnTo>
                    <a:pt x="14" y="773"/>
                  </a:lnTo>
                  <a:lnTo>
                    <a:pt x="17" y="770"/>
                  </a:lnTo>
                  <a:lnTo>
                    <a:pt x="17" y="768"/>
                  </a:lnTo>
                  <a:lnTo>
                    <a:pt x="14" y="765"/>
                  </a:lnTo>
                  <a:lnTo>
                    <a:pt x="14" y="763"/>
                  </a:lnTo>
                  <a:lnTo>
                    <a:pt x="14" y="758"/>
                  </a:lnTo>
                  <a:lnTo>
                    <a:pt x="14" y="758"/>
                  </a:lnTo>
                  <a:lnTo>
                    <a:pt x="14" y="754"/>
                  </a:lnTo>
                  <a:lnTo>
                    <a:pt x="14" y="751"/>
                  </a:lnTo>
                  <a:lnTo>
                    <a:pt x="19" y="749"/>
                  </a:lnTo>
                  <a:lnTo>
                    <a:pt x="19" y="747"/>
                  </a:lnTo>
                  <a:lnTo>
                    <a:pt x="17" y="744"/>
                  </a:lnTo>
                  <a:lnTo>
                    <a:pt x="14" y="744"/>
                  </a:lnTo>
                  <a:lnTo>
                    <a:pt x="14" y="739"/>
                  </a:lnTo>
                  <a:lnTo>
                    <a:pt x="14" y="739"/>
                  </a:lnTo>
                  <a:lnTo>
                    <a:pt x="17" y="737"/>
                  </a:lnTo>
                  <a:lnTo>
                    <a:pt x="17" y="737"/>
                  </a:lnTo>
                  <a:lnTo>
                    <a:pt x="17" y="737"/>
                  </a:lnTo>
                  <a:lnTo>
                    <a:pt x="19" y="737"/>
                  </a:lnTo>
                  <a:lnTo>
                    <a:pt x="19" y="735"/>
                  </a:lnTo>
                  <a:lnTo>
                    <a:pt x="19" y="735"/>
                  </a:lnTo>
                  <a:lnTo>
                    <a:pt x="21" y="730"/>
                  </a:lnTo>
                  <a:lnTo>
                    <a:pt x="21" y="728"/>
                  </a:lnTo>
                  <a:lnTo>
                    <a:pt x="21" y="725"/>
                  </a:lnTo>
                  <a:lnTo>
                    <a:pt x="19" y="723"/>
                  </a:lnTo>
                  <a:lnTo>
                    <a:pt x="19" y="721"/>
                  </a:lnTo>
                  <a:lnTo>
                    <a:pt x="17" y="718"/>
                  </a:lnTo>
                  <a:lnTo>
                    <a:pt x="17" y="718"/>
                  </a:lnTo>
                  <a:lnTo>
                    <a:pt x="19" y="713"/>
                  </a:lnTo>
                  <a:lnTo>
                    <a:pt x="21" y="711"/>
                  </a:lnTo>
                  <a:lnTo>
                    <a:pt x="21" y="711"/>
                  </a:lnTo>
                  <a:lnTo>
                    <a:pt x="24" y="711"/>
                  </a:lnTo>
                  <a:lnTo>
                    <a:pt x="24" y="711"/>
                  </a:lnTo>
                  <a:lnTo>
                    <a:pt x="26" y="709"/>
                  </a:lnTo>
                  <a:lnTo>
                    <a:pt x="26" y="706"/>
                  </a:lnTo>
                  <a:lnTo>
                    <a:pt x="29" y="704"/>
                  </a:lnTo>
                  <a:lnTo>
                    <a:pt x="29" y="702"/>
                  </a:lnTo>
                  <a:lnTo>
                    <a:pt x="29" y="699"/>
                  </a:lnTo>
                  <a:lnTo>
                    <a:pt x="29" y="697"/>
                  </a:lnTo>
                  <a:lnTo>
                    <a:pt x="31" y="695"/>
                  </a:lnTo>
                  <a:lnTo>
                    <a:pt x="31" y="695"/>
                  </a:lnTo>
                  <a:lnTo>
                    <a:pt x="33" y="695"/>
                  </a:lnTo>
                  <a:lnTo>
                    <a:pt x="31" y="692"/>
                  </a:lnTo>
                  <a:lnTo>
                    <a:pt x="33" y="683"/>
                  </a:lnTo>
                  <a:lnTo>
                    <a:pt x="38" y="683"/>
                  </a:lnTo>
                  <a:lnTo>
                    <a:pt x="38" y="680"/>
                  </a:lnTo>
                  <a:lnTo>
                    <a:pt x="40" y="678"/>
                  </a:lnTo>
                  <a:lnTo>
                    <a:pt x="40" y="678"/>
                  </a:lnTo>
                  <a:lnTo>
                    <a:pt x="40" y="676"/>
                  </a:lnTo>
                  <a:lnTo>
                    <a:pt x="40" y="673"/>
                  </a:lnTo>
                  <a:lnTo>
                    <a:pt x="43" y="669"/>
                  </a:lnTo>
                  <a:lnTo>
                    <a:pt x="43" y="664"/>
                  </a:lnTo>
                  <a:lnTo>
                    <a:pt x="45" y="659"/>
                  </a:lnTo>
                  <a:lnTo>
                    <a:pt x="45" y="654"/>
                  </a:lnTo>
                  <a:lnTo>
                    <a:pt x="43" y="654"/>
                  </a:lnTo>
                  <a:lnTo>
                    <a:pt x="43" y="652"/>
                  </a:lnTo>
                  <a:lnTo>
                    <a:pt x="45" y="647"/>
                  </a:lnTo>
                  <a:lnTo>
                    <a:pt x="47" y="645"/>
                  </a:lnTo>
                  <a:lnTo>
                    <a:pt x="47" y="643"/>
                  </a:lnTo>
                  <a:lnTo>
                    <a:pt x="50" y="640"/>
                  </a:lnTo>
                  <a:lnTo>
                    <a:pt x="50" y="638"/>
                  </a:lnTo>
                  <a:lnTo>
                    <a:pt x="55" y="638"/>
                  </a:lnTo>
                  <a:lnTo>
                    <a:pt x="57" y="636"/>
                  </a:lnTo>
                  <a:lnTo>
                    <a:pt x="57" y="633"/>
                  </a:lnTo>
                  <a:lnTo>
                    <a:pt x="57" y="628"/>
                  </a:lnTo>
                  <a:lnTo>
                    <a:pt x="59" y="626"/>
                  </a:lnTo>
                  <a:lnTo>
                    <a:pt x="59" y="626"/>
                  </a:lnTo>
                  <a:lnTo>
                    <a:pt x="59" y="621"/>
                  </a:lnTo>
                  <a:lnTo>
                    <a:pt x="59" y="619"/>
                  </a:lnTo>
                  <a:lnTo>
                    <a:pt x="62" y="614"/>
                  </a:lnTo>
                  <a:lnTo>
                    <a:pt x="66" y="612"/>
                  </a:lnTo>
                  <a:lnTo>
                    <a:pt x="66" y="610"/>
                  </a:lnTo>
                  <a:lnTo>
                    <a:pt x="66" y="610"/>
                  </a:lnTo>
                  <a:lnTo>
                    <a:pt x="66" y="610"/>
                  </a:lnTo>
                  <a:lnTo>
                    <a:pt x="66" y="607"/>
                  </a:lnTo>
                  <a:lnTo>
                    <a:pt x="69" y="602"/>
                  </a:lnTo>
                  <a:lnTo>
                    <a:pt x="69" y="600"/>
                  </a:lnTo>
                  <a:lnTo>
                    <a:pt x="73" y="593"/>
                  </a:lnTo>
                  <a:lnTo>
                    <a:pt x="73" y="591"/>
                  </a:lnTo>
                  <a:lnTo>
                    <a:pt x="76" y="591"/>
                  </a:lnTo>
                  <a:lnTo>
                    <a:pt x="76" y="588"/>
                  </a:lnTo>
                  <a:lnTo>
                    <a:pt x="76" y="586"/>
                  </a:lnTo>
                  <a:lnTo>
                    <a:pt x="76" y="581"/>
                  </a:lnTo>
                  <a:lnTo>
                    <a:pt x="78" y="581"/>
                  </a:lnTo>
                  <a:lnTo>
                    <a:pt x="78" y="579"/>
                  </a:lnTo>
                  <a:lnTo>
                    <a:pt x="81" y="579"/>
                  </a:lnTo>
                  <a:lnTo>
                    <a:pt x="81" y="574"/>
                  </a:lnTo>
                  <a:lnTo>
                    <a:pt x="81" y="574"/>
                  </a:lnTo>
                  <a:lnTo>
                    <a:pt x="83" y="572"/>
                  </a:lnTo>
                  <a:lnTo>
                    <a:pt x="81" y="569"/>
                  </a:lnTo>
                  <a:lnTo>
                    <a:pt x="81" y="567"/>
                  </a:lnTo>
                  <a:lnTo>
                    <a:pt x="81" y="565"/>
                  </a:lnTo>
                  <a:lnTo>
                    <a:pt x="81" y="565"/>
                  </a:lnTo>
                  <a:lnTo>
                    <a:pt x="81" y="565"/>
                  </a:lnTo>
                  <a:lnTo>
                    <a:pt x="81" y="562"/>
                  </a:lnTo>
                  <a:lnTo>
                    <a:pt x="83" y="555"/>
                  </a:lnTo>
                  <a:lnTo>
                    <a:pt x="85" y="553"/>
                  </a:lnTo>
                  <a:lnTo>
                    <a:pt x="88" y="548"/>
                  </a:lnTo>
                  <a:lnTo>
                    <a:pt x="88" y="548"/>
                  </a:lnTo>
                  <a:lnTo>
                    <a:pt x="88" y="546"/>
                  </a:lnTo>
                  <a:lnTo>
                    <a:pt x="88" y="543"/>
                  </a:lnTo>
                  <a:lnTo>
                    <a:pt x="88" y="541"/>
                  </a:lnTo>
                  <a:lnTo>
                    <a:pt x="88" y="539"/>
                  </a:lnTo>
                  <a:lnTo>
                    <a:pt x="90" y="539"/>
                  </a:lnTo>
                  <a:lnTo>
                    <a:pt x="90" y="536"/>
                  </a:lnTo>
                  <a:lnTo>
                    <a:pt x="95" y="536"/>
                  </a:lnTo>
                  <a:lnTo>
                    <a:pt x="95" y="529"/>
                  </a:lnTo>
                  <a:lnTo>
                    <a:pt x="97" y="529"/>
                  </a:lnTo>
                  <a:lnTo>
                    <a:pt x="102" y="527"/>
                  </a:lnTo>
                  <a:lnTo>
                    <a:pt x="107" y="522"/>
                  </a:lnTo>
                  <a:lnTo>
                    <a:pt x="107" y="522"/>
                  </a:lnTo>
                  <a:lnTo>
                    <a:pt x="107" y="520"/>
                  </a:lnTo>
                  <a:lnTo>
                    <a:pt x="107" y="520"/>
                  </a:lnTo>
                  <a:lnTo>
                    <a:pt x="111" y="515"/>
                  </a:lnTo>
                  <a:lnTo>
                    <a:pt x="111" y="510"/>
                  </a:lnTo>
                  <a:lnTo>
                    <a:pt x="114" y="508"/>
                  </a:lnTo>
                  <a:lnTo>
                    <a:pt x="114" y="506"/>
                  </a:lnTo>
                  <a:lnTo>
                    <a:pt x="114" y="503"/>
                  </a:lnTo>
                  <a:lnTo>
                    <a:pt x="121" y="499"/>
                  </a:lnTo>
                  <a:lnTo>
                    <a:pt x="121" y="496"/>
                  </a:lnTo>
                  <a:lnTo>
                    <a:pt x="123" y="491"/>
                  </a:lnTo>
                  <a:lnTo>
                    <a:pt x="125" y="489"/>
                  </a:lnTo>
                  <a:lnTo>
                    <a:pt x="125" y="487"/>
                  </a:lnTo>
                  <a:lnTo>
                    <a:pt x="128" y="487"/>
                  </a:lnTo>
                  <a:lnTo>
                    <a:pt x="135" y="482"/>
                  </a:lnTo>
                  <a:lnTo>
                    <a:pt x="140" y="480"/>
                  </a:lnTo>
                  <a:lnTo>
                    <a:pt x="142" y="480"/>
                  </a:lnTo>
                  <a:lnTo>
                    <a:pt x="144" y="480"/>
                  </a:lnTo>
                  <a:lnTo>
                    <a:pt x="147" y="477"/>
                  </a:lnTo>
                  <a:lnTo>
                    <a:pt x="149" y="473"/>
                  </a:lnTo>
                  <a:lnTo>
                    <a:pt x="151" y="468"/>
                  </a:lnTo>
                  <a:lnTo>
                    <a:pt x="159" y="461"/>
                  </a:lnTo>
                  <a:lnTo>
                    <a:pt x="161" y="456"/>
                  </a:lnTo>
                  <a:lnTo>
                    <a:pt x="161" y="454"/>
                  </a:lnTo>
                  <a:lnTo>
                    <a:pt x="163" y="451"/>
                  </a:lnTo>
                  <a:lnTo>
                    <a:pt x="163" y="449"/>
                  </a:lnTo>
                  <a:lnTo>
                    <a:pt x="168" y="444"/>
                  </a:lnTo>
                  <a:lnTo>
                    <a:pt x="170" y="442"/>
                  </a:lnTo>
                  <a:lnTo>
                    <a:pt x="170" y="442"/>
                  </a:lnTo>
                  <a:lnTo>
                    <a:pt x="170" y="432"/>
                  </a:lnTo>
                  <a:lnTo>
                    <a:pt x="173" y="432"/>
                  </a:lnTo>
                  <a:lnTo>
                    <a:pt x="173" y="428"/>
                  </a:lnTo>
                  <a:lnTo>
                    <a:pt x="177" y="423"/>
                  </a:lnTo>
                  <a:lnTo>
                    <a:pt x="177" y="423"/>
                  </a:lnTo>
                  <a:lnTo>
                    <a:pt x="180" y="423"/>
                  </a:lnTo>
                  <a:lnTo>
                    <a:pt x="184" y="421"/>
                  </a:lnTo>
                  <a:lnTo>
                    <a:pt x="184" y="418"/>
                  </a:lnTo>
                  <a:lnTo>
                    <a:pt x="187" y="414"/>
                  </a:lnTo>
                  <a:lnTo>
                    <a:pt x="187" y="411"/>
                  </a:lnTo>
                  <a:lnTo>
                    <a:pt x="189" y="404"/>
                  </a:lnTo>
                  <a:lnTo>
                    <a:pt x="192" y="399"/>
                  </a:lnTo>
                  <a:lnTo>
                    <a:pt x="194" y="397"/>
                  </a:lnTo>
                  <a:lnTo>
                    <a:pt x="194" y="395"/>
                  </a:lnTo>
                  <a:lnTo>
                    <a:pt x="194" y="392"/>
                  </a:lnTo>
                  <a:lnTo>
                    <a:pt x="196" y="388"/>
                  </a:lnTo>
                  <a:lnTo>
                    <a:pt x="194" y="385"/>
                  </a:lnTo>
                  <a:lnTo>
                    <a:pt x="196" y="383"/>
                  </a:lnTo>
                  <a:lnTo>
                    <a:pt x="196" y="380"/>
                  </a:lnTo>
                  <a:lnTo>
                    <a:pt x="196" y="380"/>
                  </a:lnTo>
                  <a:lnTo>
                    <a:pt x="196" y="378"/>
                  </a:lnTo>
                  <a:lnTo>
                    <a:pt x="199" y="378"/>
                  </a:lnTo>
                  <a:lnTo>
                    <a:pt x="199" y="376"/>
                  </a:lnTo>
                  <a:lnTo>
                    <a:pt x="199" y="371"/>
                  </a:lnTo>
                  <a:lnTo>
                    <a:pt x="199" y="371"/>
                  </a:lnTo>
                  <a:lnTo>
                    <a:pt x="199" y="366"/>
                  </a:lnTo>
                  <a:lnTo>
                    <a:pt x="199" y="364"/>
                  </a:lnTo>
                  <a:lnTo>
                    <a:pt x="199" y="359"/>
                  </a:lnTo>
                  <a:lnTo>
                    <a:pt x="201" y="357"/>
                  </a:lnTo>
                  <a:lnTo>
                    <a:pt x="199" y="350"/>
                  </a:lnTo>
                  <a:lnTo>
                    <a:pt x="199" y="350"/>
                  </a:lnTo>
                  <a:lnTo>
                    <a:pt x="199" y="347"/>
                  </a:lnTo>
                  <a:lnTo>
                    <a:pt x="201" y="345"/>
                  </a:lnTo>
                  <a:lnTo>
                    <a:pt x="201" y="345"/>
                  </a:lnTo>
                  <a:lnTo>
                    <a:pt x="201" y="343"/>
                  </a:lnTo>
                  <a:lnTo>
                    <a:pt x="201" y="343"/>
                  </a:lnTo>
                  <a:lnTo>
                    <a:pt x="199" y="340"/>
                  </a:lnTo>
                  <a:lnTo>
                    <a:pt x="196" y="340"/>
                  </a:lnTo>
                  <a:lnTo>
                    <a:pt x="194" y="338"/>
                  </a:lnTo>
                  <a:lnTo>
                    <a:pt x="189" y="336"/>
                  </a:lnTo>
                  <a:lnTo>
                    <a:pt x="187" y="333"/>
                  </a:lnTo>
                  <a:lnTo>
                    <a:pt x="184" y="331"/>
                  </a:lnTo>
                  <a:lnTo>
                    <a:pt x="180" y="328"/>
                  </a:lnTo>
                  <a:lnTo>
                    <a:pt x="177" y="326"/>
                  </a:lnTo>
                  <a:lnTo>
                    <a:pt x="177" y="324"/>
                  </a:lnTo>
                  <a:lnTo>
                    <a:pt x="175" y="319"/>
                  </a:lnTo>
                  <a:lnTo>
                    <a:pt x="175" y="317"/>
                  </a:lnTo>
                  <a:lnTo>
                    <a:pt x="173" y="312"/>
                  </a:lnTo>
                  <a:lnTo>
                    <a:pt x="173" y="310"/>
                  </a:lnTo>
                  <a:lnTo>
                    <a:pt x="173" y="302"/>
                  </a:lnTo>
                  <a:lnTo>
                    <a:pt x="175" y="302"/>
                  </a:lnTo>
                  <a:lnTo>
                    <a:pt x="177" y="298"/>
                  </a:lnTo>
                  <a:lnTo>
                    <a:pt x="180" y="295"/>
                  </a:lnTo>
                  <a:lnTo>
                    <a:pt x="184" y="288"/>
                  </a:lnTo>
                  <a:lnTo>
                    <a:pt x="187" y="288"/>
                  </a:lnTo>
                  <a:lnTo>
                    <a:pt x="187" y="286"/>
                  </a:lnTo>
                  <a:lnTo>
                    <a:pt x="189" y="284"/>
                  </a:lnTo>
                  <a:lnTo>
                    <a:pt x="192" y="281"/>
                  </a:lnTo>
                  <a:lnTo>
                    <a:pt x="194" y="276"/>
                  </a:lnTo>
                  <a:lnTo>
                    <a:pt x="194" y="274"/>
                  </a:lnTo>
                  <a:lnTo>
                    <a:pt x="196" y="269"/>
                  </a:lnTo>
                  <a:lnTo>
                    <a:pt x="199" y="267"/>
                  </a:lnTo>
                  <a:lnTo>
                    <a:pt x="196" y="262"/>
                  </a:lnTo>
                  <a:lnTo>
                    <a:pt x="196" y="255"/>
                  </a:lnTo>
                  <a:lnTo>
                    <a:pt x="196" y="248"/>
                  </a:lnTo>
                  <a:lnTo>
                    <a:pt x="196" y="248"/>
                  </a:lnTo>
                  <a:lnTo>
                    <a:pt x="196" y="243"/>
                  </a:lnTo>
                  <a:lnTo>
                    <a:pt x="196" y="241"/>
                  </a:lnTo>
                  <a:lnTo>
                    <a:pt x="194" y="236"/>
                  </a:lnTo>
                  <a:lnTo>
                    <a:pt x="194" y="234"/>
                  </a:lnTo>
                  <a:lnTo>
                    <a:pt x="194" y="234"/>
                  </a:lnTo>
                  <a:lnTo>
                    <a:pt x="194" y="232"/>
                  </a:lnTo>
                  <a:lnTo>
                    <a:pt x="194" y="229"/>
                  </a:lnTo>
                  <a:lnTo>
                    <a:pt x="196" y="227"/>
                  </a:lnTo>
                  <a:lnTo>
                    <a:pt x="199" y="225"/>
                  </a:lnTo>
                  <a:lnTo>
                    <a:pt x="199" y="225"/>
                  </a:lnTo>
                  <a:lnTo>
                    <a:pt x="201" y="225"/>
                  </a:lnTo>
                  <a:lnTo>
                    <a:pt x="206" y="222"/>
                  </a:lnTo>
                  <a:lnTo>
                    <a:pt x="210" y="217"/>
                  </a:lnTo>
                  <a:lnTo>
                    <a:pt x="215" y="215"/>
                  </a:lnTo>
                  <a:lnTo>
                    <a:pt x="218" y="213"/>
                  </a:lnTo>
                  <a:lnTo>
                    <a:pt x="218" y="210"/>
                  </a:lnTo>
                  <a:lnTo>
                    <a:pt x="225" y="210"/>
                  </a:lnTo>
                  <a:lnTo>
                    <a:pt x="227" y="208"/>
                  </a:lnTo>
                  <a:lnTo>
                    <a:pt x="229" y="208"/>
                  </a:lnTo>
                  <a:lnTo>
                    <a:pt x="232" y="206"/>
                  </a:lnTo>
                  <a:lnTo>
                    <a:pt x="236" y="206"/>
                  </a:lnTo>
                  <a:lnTo>
                    <a:pt x="241" y="206"/>
                  </a:lnTo>
                  <a:lnTo>
                    <a:pt x="241" y="206"/>
                  </a:lnTo>
                  <a:lnTo>
                    <a:pt x="244" y="206"/>
                  </a:lnTo>
                  <a:lnTo>
                    <a:pt x="244" y="206"/>
                  </a:lnTo>
                  <a:lnTo>
                    <a:pt x="248" y="203"/>
                  </a:lnTo>
                  <a:lnTo>
                    <a:pt x="251" y="203"/>
                  </a:lnTo>
                  <a:lnTo>
                    <a:pt x="251" y="203"/>
                  </a:lnTo>
                  <a:lnTo>
                    <a:pt x="253" y="199"/>
                  </a:lnTo>
                  <a:lnTo>
                    <a:pt x="260" y="196"/>
                  </a:lnTo>
                  <a:lnTo>
                    <a:pt x="262" y="194"/>
                  </a:lnTo>
                  <a:lnTo>
                    <a:pt x="265" y="194"/>
                  </a:lnTo>
                  <a:lnTo>
                    <a:pt x="265" y="191"/>
                  </a:lnTo>
                  <a:lnTo>
                    <a:pt x="265" y="187"/>
                  </a:lnTo>
                  <a:lnTo>
                    <a:pt x="262" y="182"/>
                  </a:lnTo>
                  <a:lnTo>
                    <a:pt x="262" y="180"/>
                  </a:lnTo>
                  <a:lnTo>
                    <a:pt x="265" y="177"/>
                  </a:lnTo>
                  <a:lnTo>
                    <a:pt x="265" y="177"/>
                  </a:lnTo>
                  <a:lnTo>
                    <a:pt x="265" y="175"/>
                  </a:lnTo>
                  <a:lnTo>
                    <a:pt x="267" y="170"/>
                  </a:lnTo>
                  <a:lnTo>
                    <a:pt x="270" y="170"/>
                  </a:lnTo>
                  <a:lnTo>
                    <a:pt x="270" y="168"/>
                  </a:lnTo>
                  <a:lnTo>
                    <a:pt x="277" y="161"/>
                  </a:lnTo>
                  <a:lnTo>
                    <a:pt x="279" y="161"/>
                  </a:lnTo>
                  <a:lnTo>
                    <a:pt x="281" y="158"/>
                  </a:lnTo>
                  <a:lnTo>
                    <a:pt x="281" y="156"/>
                  </a:lnTo>
                  <a:lnTo>
                    <a:pt x="284" y="154"/>
                  </a:lnTo>
                  <a:lnTo>
                    <a:pt x="284" y="154"/>
                  </a:lnTo>
                  <a:lnTo>
                    <a:pt x="291" y="154"/>
                  </a:lnTo>
                  <a:lnTo>
                    <a:pt x="293" y="154"/>
                  </a:lnTo>
                  <a:lnTo>
                    <a:pt x="298" y="156"/>
                  </a:lnTo>
                  <a:lnTo>
                    <a:pt x="298" y="158"/>
                  </a:lnTo>
                  <a:lnTo>
                    <a:pt x="300" y="156"/>
                  </a:lnTo>
                  <a:lnTo>
                    <a:pt x="300" y="154"/>
                  </a:lnTo>
                  <a:lnTo>
                    <a:pt x="300" y="151"/>
                  </a:lnTo>
                  <a:lnTo>
                    <a:pt x="298" y="149"/>
                  </a:lnTo>
                  <a:lnTo>
                    <a:pt x="298" y="149"/>
                  </a:lnTo>
                  <a:lnTo>
                    <a:pt x="296" y="149"/>
                  </a:lnTo>
                  <a:lnTo>
                    <a:pt x="296" y="147"/>
                  </a:lnTo>
                  <a:lnTo>
                    <a:pt x="296" y="147"/>
                  </a:lnTo>
                  <a:lnTo>
                    <a:pt x="296" y="144"/>
                  </a:lnTo>
                  <a:lnTo>
                    <a:pt x="296" y="142"/>
                  </a:lnTo>
                  <a:lnTo>
                    <a:pt x="293" y="139"/>
                  </a:lnTo>
                  <a:lnTo>
                    <a:pt x="293" y="137"/>
                  </a:lnTo>
                  <a:lnTo>
                    <a:pt x="293" y="132"/>
                  </a:lnTo>
                  <a:lnTo>
                    <a:pt x="293" y="130"/>
                  </a:lnTo>
                  <a:lnTo>
                    <a:pt x="296" y="130"/>
                  </a:lnTo>
                  <a:lnTo>
                    <a:pt x="296" y="128"/>
                  </a:lnTo>
                  <a:lnTo>
                    <a:pt x="298" y="128"/>
                  </a:lnTo>
                  <a:lnTo>
                    <a:pt x="300" y="128"/>
                  </a:lnTo>
                  <a:lnTo>
                    <a:pt x="305" y="125"/>
                  </a:lnTo>
                  <a:lnTo>
                    <a:pt x="310" y="123"/>
                  </a:lnTo>
                  <a:lnTo>
                    <a:pt x="310" y="121"/>
                  </a:lnTo>
                  <a:lnTo>
                    <a:pt x="312" y="118"/>
                  </a:lnTo>
                  <a:lnTo>
                    <a:pt x="312" y="116"/>
                  </a:lnTo>
                  <a:lnTo>
                    <a:pt x="310" y="114"/>
                  </a:lnTo>
                  <a:lnTo>
                    <a:pt x="305" y="114"/>
                  </a:lnTo>
                  <a:lnTo>
                    <a:pt x="305" y="111"/>
                  </a:lnTo>
                  <a:lnTo>
                    <a:pt x="305" y="111"/>
                  </a:lnTo>
                  <a:lnTo>
                    <a:pt x="305" y="109"/>
                  </a:lnTo>
                  <a:lnTo>
                    <a:pt x="307" y="106"/>
                  </a:lnTo>
                  <a:lnTo>
                    <a:pt x="310" y="104"/>
                  </a:lnTo>
                  <a:lnTo>
                    <a:pt x="310" y="104"/>
                  </a:lnTo>
                  <a:lnTo>
                    <a:pt x="317" y="102"/>
                  </a:lnTo>
                  <a:lnTo>
                    <a:pt x="319" y="102"/>
                  </a:lnTo>
                  <a:lnTo>
                    <a:pt x="319" y="97"/>
                  </a:lnTo>
                  <a:lnTo>
                    <a:pt x="319" y="97"/>
                  </a:lnTo>
                  <a:lnTo>
                    <a:pt x="317" y="95"/>
                  </a:lnTo>
                  <a:lnTo>
                    <a:pt x="317" y="95"/>
                  </a:lnTo>
                  <a:lnTo>
                    <a:pt x="314" y="90"/>
                  </a:lnTo>
                  <a:lnTo>
                    <a:pt x="312" y="88"/>
                  </a:lnTo>
                  <a:lnTo>
                    <a:pt x="310" y="88"/>
                  </a:lnTo>
                  <a:lnTo>
                    <a:pt x="310" y="85"/>
                  </a:lnTo>
                  <a:lnTo>
                    <a:pt x="310" y="80"/>
                  </a:lnTo>
                  <a:lnTo>
                    <a:pt x="310" y="78"/>
                  </a:lnTo>
                  <a:lnTo>
                    <a:pt x="310" y="76"/>
                  </a:lnTo>
                  <a:lnTo>
                    <a:pt x="310" y="73"/>
                  </a:lnTo>
                  <a:lnTo>
                    <a:pt x="312" y="73"/>
                  </a:lnTo>
                  <a:lnTo>
                    <a:pt x="314" y="71"/>
                  </a:lnTo>
                  <a:lnTo>
                    <a:pt x="319" y="73"/>
                  </a:lnTo>
                  <a:lnTo>
                    <a:pt x="321" y="71"/>
                  </a:lnTo>
                  <a:lnTo>
                    <a:pt x="324" y="71"/>
                  </a:lnTo>
                  <a:lnTo>
                    <a:pt x="324" y="71"/>
                  </a:lnTo>
                  <a:lnTo>
                    <a:pt x="326" y="69"/>
                  </a:lnTo>
                  <a:lnTo>
                    <a:pt x="326" y="66"/>
                  </a:lnTo>
                  <a:lnTo>
                    <a:pt x="329" y="62"/>
                  </a:lnTo>
                  <a:lnTo>
                    <a:pt x="331" y="59"/>
                  </a:lnTo>
                  <a:lnTo>
                    <a:pt x="331" y="57"/>
                  </a:lnTo>
                  <a:lnTo>
                    <a:pt x="331" y="57"/>
                  </a:lnTo>
                  <a:lnTo>
                    <a:pt x="326" y="52"/>
                  </a:lnTo>
                  <a:lnTo>
                    <a:pt x="324" y="52"/>
                  </a:lnTo>
                  <a:lnTo>
                    <a:pt x="324" y="50"/>
                  </a:lnTo>
                  <a:lnTo>
                    <a:pt x="321" y="50"/>
                  </a:lnTo>
                  <a:lnTo>
                    <a:pt x="319" y="50"/>
                  </a:lnTo>
                  <a:lnTo>
                    <a:pt x="314" y="47"/>
                  </a:lnTo>
                  <a:lnTo>
                    <a:pt x="312" y="47"/>
                  </a:lnTo>
                  <a:lnTo>
                    <a:pt x="310" y="47"/>
                  </a:lnTo>
                  <a:lnTo>
                    <a:pt x="310" y="45"/>
                  </a:lnTo>
                  <a:lnTo>
                    <a:pt x="307" y="43"/>
                  </a:lnTo>
                  <a:lnTo>
                    <a:pt x="307" y="40"/>
                  </a:lnTo>
                  <a:lnTo>
                    <a:pt x="307" y="43"/>
                  </a:lnTo>
                  <a:lnTo>
                    <a:pt x="307" y="40"/>
                  </a:lnTo>
                  <a:lnTo>
                    <a:pt x="305" y="38"/>
                  </a:lnTo>
                  <a:lnTo>
                    <a:pt x="305" y="36"/>
                  </a:lnTo>
                  <a:lnTo>
                    <a:pt x="305" y="36"/>
                  </a:lnTo>
                  <a:lnTo>
                    <a:pt x="305" y="33"/>
                  </a:lnTo>
                  <a:lnTo>
                    <a:pt x="303" y="31"/>
                  </a:lnTo>
                  <a:lnTo>
                    <a:pt x="300" y="31"/>
                  </a:lnTo>
                  <a:lnTo>
                    <a:pt x="300" y="28"/>
                  </a:lnTo>
                  <a:lnTo>
                    <a:pt x="298" y="28"/>
                  </a:lnTo>
                  <a:lnTo>
                    <a:pt x="298" y="28"/>
                  </a:lnTo>
                  <a:lnTo>
                    <a:pt x="298" y="31"/>
                  </a:lnTo>
                  <a:lnTo>
                    <a:pt x="296" y="28"/>
                  </a:lnTo>
                  <a:lnTo>
                    <a:pt x="291" y="31"/>
                  </a:lnTo>
                  <a:lnTo>
                    <a:pt x="291" y="31"/>
                  </a:lnTo>
                  <a:lnTo>
                    <a:pt x="291" y="31"/>
                  </a:lnTo>
                  <a:lnTo>
                    <a:pt x="288" y="31"/>
                  </a:lnTo>
                  <a:lnTo>
                    <a:pt x="288" y="31"/>
                  </a:lnTo>
                  <a:lnTo>
                    <a:pt x="286" y="33"/>
                  </a:lnTo>
                  <a:lnTo>
                    <a:pt x="284" y="33"/>
                  </a:lnTo>
                  <a:lnTo>
                    <a:pt x="277" y="31"/>
                  </a:lnTo>
                  <a:lnTo>
                    <a:pt x="272" y="31"/>
                  </a:lnTo>
                  <a:lnTo>
                    <a:pt x="272" y="31"/>
                  </a:lnTo>
                  <a:lnTo>
                    <a:pt x="267" y="31"/>
                  </a:lnTo>
                  <a:lnTo>
                    <a:pt x="265" y="28"/>
                  </a:lnTo>
                  <a:lnTo>
                    <a:pt x="265" y="28"/>
                  </a:lnTo>
                  <a:lnTo>
                    <a:pt x="262" y="26"/>
                  </a:lnTo>
                  <a:lnTo>
                    <a:pt x="255" y="26"/>
                  </a:lnTo>
                  <a:lnTo>
                    <a:pt x="255" y="26"/>
                  </a:lnTo>
                  <a:lnTo>
                    <a:pt x="255" y="26"/>
                  </a:lnTo>
                  <a:lnTo>
                    <a:pt x="253" y="24"/>
                  </a:lnTo>
                  <a:lnTo>
                    <a:pt x="253" y="24"/>
                  </a:lnTo>
                  <a:lnTo>
                    <a:pt x="253" y="24"/>
                  </a:lnTo>
                  <a:lnTo>
                    <a:pt x="253" y="21"/>
                  </a:lnTo>
                  <a:lnTo>
                    <a:pt x="253" y="24"/>
                  </a:lnTo>
                  <a:lnTo>
                    <a:pt x="255" y="21"/>
                  </a:lnTo>
                  <a:lnTo>
                    <a:pt x="258" y="24"/>
                  </a:lnTo>
                  <a:lnTo>
                    <a:pt x="258" y="21"/>
                  </a:lnTo>
                  <a:lnTo>
                    <a:pt x="260" y="19"/>
                  </a:lnTo>
                  <a:lnTo>
                    <a:pt x="260" y="19"/>
                  </a:lnTo>
                  <a:lnTo>
                    <a:pt x="262" y="17"/>
                  </a:lnTo>
                  <a:lnTo>
                    <a:pt x="265" y="19"/>
                  </a:lnTo>
                  <a:lnTo>
                    <a:pt x="267" y="19"/>
                  </a:lnTo>
                  <a:lnTo>
                    <a:pt x="267" y="21"/>
                  </a:lnTo>
                  <a:lnTo>
                    <a:pt x="270" y="21"/>
                  </a:lnTo>
                  <a:lnTo>
                    <a:pt x="272" y="21"/>
                  </a:lnTo>
                  <a:lnTo>
                    <a:pt x="274" y="19"/>
                  </a:lnTo>
                  <a:lnTo>
                    <a:pt x="277" y="14"/>
                  </a:lnTo>
                  <a:lnTo>
                    <a:pt x="277" y="12"/>
                  </a:lnTo>
                  <a:lnTo>
                    <a:pt x="277" y="10"/>
                  </a:lnTo>
                  <a:lnTo>
                    <a:pt x="277" y="7"/>
                  </a:lnTo>
                  <a:lnTo>
                    <a:pt x="279" y="2"/>
                  </a:lnTo>
                  <a:lnTo>
                    <a:pt x="281" y="2"/>
                  </a:lnTo>
                  <a:lnTo>
                    <a:pt x="286" y="2"/>
                  </a:lnTo>
                  <a:lnTo>
                    <a:pt x="288" y="0"/>
                  </a:lnTo>
                  <a:lnTo>
                    <a:pt x="300" y="0"/>
                  </a:lnTo>
                  <a:lnTo>
                    <a:pt x="303" y="0"/>
                  </a:lnTo>
                  <a:lnTo>
                    <a:pt x="307" y="2"/>
                  </a:lnTo>
                  <a:lnTo>
                    <a:pt x="310" y="2"/>
                  </a:lnTo>
                  <a:lnTo>
                    <a:pt x="314" y="5"/>
                  </a:lnTo>
                  <a:lnTo>
                    <a:pt x="317" y="7"/>
                  </a:lnTo>
                  <a:lnTo>
                    <a:pt x="319" y="7"/>
                  </a:lnTo>
                  <a:lnTo>
                    <a:pt x="319" y="7"/>
                  </a:lnTo>
                  <a:lnTo>
                    <a:pt x="321" y="10"/>
                  </a:lnTo>
                  <a:lnTo>
                    <a:pt x="324" y="10"/>
                  </a:lnTo>
                  <a:lnTo>
                    <a:pt x="326" y="12"/>
                  </a:lnTo>
                  <a:lnTo>
                    <a:pt x="333" y="12"/>
                  </a:lnTo>
                  <a:lnTo>
                    <a:pt x="338" y="12"/>
                  </a:lnTo>
                  <a:lnTo>
                    <a:pt x="343" y="12"/>
                  </a:lnTo>
                  <a:lnTo>
                    <a:pt x="345" y="7"/>
                  </a:lnTo>
                  <a:lnTo>
                    <a:pt x="347" y="7"/>
                  </a:lnTo>
                  <a:lnTo>
                    <a:pt x="347" y="7"/>
                  </a:lnTo>
                  <a:lnTo>
                    <a:pt x="352" y="10"/>
                  </a:lnTo>
                  <a:lnTo>
                    <a:pt x="355" y="10"/>
                  </a:lnTo>
                  <a:lnTo>
                    <a:pt x="357" y="10"/>
                  </a:lnTo>
                  <a:lnTo>
                    <a:pt x="362" y="12"/>
                  </a:lnTo>
                  <a:lnTo>
                    <a:pt x="364" y="12"/>
                  </a:lnTo>
                  <a:lnTo>
                    <a:pt x="364" y="14"/>
                  </a:lnTo>
                  <a:lnTo>
                    <a:pt x="364" y="17"/>
                  </a:lnTo>
                  <a:lnTo>
                    <a:pt x="364" y="17"/>
                  </a:lnTo>
                  <a:lnTo>
                    <a:pt x="364" y="21"/>
                  </a:lnTo>
                  <a:lnTo>
                    <a:pt x="369" y="26"/>
                  </a:lnTo>
                  <a:lnTo>
                    <a:pt x="369" y="28"/>
                  </a:lnTo>
                  <a:lnTo>
                    <a:pt x="373" y="28"/>
                  </a:lnTo>
                  <a:lnTo>
                    <a:pt x="378" y="26"/>
                  </a:lnTo>
                  <a:lnTo>
                    <a:pt x="381" y="26"/>
                  </a:lnTo>
                  <a:lnTo>
                    <a:pt x="388" y="31"/>
                  </a:lnTo>
                  <a:lnTo>
                    <a:pt x="390" y="31"/>
                  </a:lnTo>
                  <a:lnTo>
                    <a:pt x="397" y="38"/>
                  </a:lnTo>
                  <a:lnTo>
                    <a:pt x="402" y="38"/>
                  </a:lnTo>
                  <a:lnTo>
                    <a:pt x="402" y="38"/>
                  </a:lnTo>
                  <a:lnTo>
                    <a:pt x="404" y="38"/>
                  </a:lnTo>
                  <a:lnTo>
                    <a:pt x="411" y="45"/>
                  </a:lnTo>
                  <a:lnTo>
                    <a:pt x="414" y="50"/>
                  </a:lnTo>
                  <a:lnTo>
                    <a:pt x="414" y="54"/>
                  </a:lnTo>
                  <a:lnTo>
                    <a:pt x="414" y="59"/>
                  </a:lnTo>
                  <a:lnTo>
                    <a:pt x="414" y="59"/>
                  </a:lnTo>
                  <a:lnTo>
                    <a:pt x="414" y="64"/>
                  </a:lnTo>
                  <a:lnTo>
                    <a:pt x="411" y="69"/>
                  </a:lnTo>
                  <a:lnTo>
                    <a:pt x="411" y="73"/>
                  </a:lnTo>
                  <a:lnTo>
                    <a:pt x="414" y="76"/>
                  </a:lnTo>
                  <a:lnTo>
                    <a:pt x="416" y="78"/>
                  </a:lnTo>
                  <a:lnTo>
                    <a:pt x="418" y="85"/>
                  </a:lnTo>
                  <a:lnTo>
                    <a:pt x="418" y="90"/>
                  </a:lnTo>
                  <a:lnTo>
                    <a:pt x="421" y="90"/>
                  </a:lnTo>
                  <a:lnTo>
                    <a:pt x="421" y="99"/>
                  </a:lnTo>
                  <a:lnTo>
                    <a:pt x="418" y="106"/>
                  </a:lnTo>
                  <a:lnTo>
                    <a:pt x="418" y="109"/>
                  </a:lnTo>
                  <a:lnTo>
                    <a:pt x="421" y="114"/>
                  </a:lnTo>
                  <a:lnTo>
                    <a:pt x="421" y="114"/>
                  </a:lnTo>
                  <a:lnTo>
                    <a:pt x="421" y="116"/>
                  </a:lnTo>
                  <a:lnTo>
                    <a:pt x="418" y="121"/>
                  </a:lnTo>
                  <a:lnTo>
                    <a:pt x="421" y="123"/>
                  </a:lnTo>
                  <a:lnTo>
                    <a:pt x="421" y="130"/>
                  </a:lnTo>
                  <a:lnTo>
                    <a:pt x="423" y="135"/>
                  </a:lnTo>
                  <a:lnTo>
                    <a:pt x="425" y="137"/>
                  </a:lnTo>
                  <a:lnTo>
                    <a:pt x="425" y="139"/>
                  </a:lnTo>
                  <a:lnTo>
                    <a:pt x="425" y="142"/>
                  </a:lnTo>
                  <a:lnTo>
                    <a:pt x="425" y="144"/>
                  </a:lnTo>
                  <a:lnTo>
                    <a:pt x="423" y="151"/>
                  </a:lnTo>
                  <a:lnTo>
                    <a:pt x="423" y="151"/>
                  </a:lnTo>
                  <a:lnTo>
                    <a:pt x="421" y="156"/>
                  </a:lnTo>
                  <a:lnTo>
                    <a:pt x="421" y="161"/>
                  </a:lnTo>
                  <a:lnTo>
                    <a:pt x="421" y="163"/>
                  </a:lnTo>
                  <a:lnTo>
                    <a:pt x="418" y="165"/>
                  </a:lnTo>
                  <a:lnTo>
                    <a:pt x="421" y="170"/>
                  </a:lnTo>
                  <a:lnTo>
                    <a:pt x="421" y="173"/>
                  </a:lnTo>
                  <a:lnTo>
                    <a:pt x="421" y="173"/>
                  </a:lnTo>
                  <a:lnTo>
                    <a:pt x="416" y="177"/>
                  </a:lnTo>
                  <a:lnTo>
                    <a:pt x="416" y="180"/>
                  </a:lnTo>
                  <a:lnTo>
                    <a:pt x="416" y="180"/>
                  </a:lnTo>
                  <a:lnTo>
                    <a:pt x="416" y="184"/>
                  </a:lnTo>
                  <a:lnTo>
                    <a:pt x="416" y="187"/>
                  </a:lnTo>
                  <a:lnTo>
                    <a:pt x="416" y="187"/>
                  </a:lnTo>
                  <a:lnTo>
                    <a:pt x="414" y="189"/>
                  </a:lnTo>
                  <a:lnTo>
                    <a:pt x="411" y="196"/>
                  </a:lnTo>
                  <a:lnTo>
                    <a:pt x="411" y="199"/>
                  </a:lnTo>
                  <a:lnTo>
                    <a:pt x="411" y="199"/>
                  </a:lnTo>
                  <a:lnTo>
                    <a:pt x="411" y="201"/>
                  </a:lnTo>
                  <a:lnTo>
                    <a:pt x="411" y="206"/>
                  </a:lnTo>
                  <a:lnTo>
                    <a:pt x="409" y="210"/>
                  </a:lnTo>
                  <a:lnTo>
                    <a:pt x="407" y="215"/>
                  </a:lnTo>
                  <a:lnTo>
                    <a:pt x="407" y="217"/>
                  </a:lnTo>
                  <a:lnTo>
                    <a:pt x="409" y="217"/>
                  </a:lnTo>
                  <a:lnTo>
                    <a:pt x="409" y="217"/>
                  </a:lnTo>
                  <a:lnTo>
                    <a:pt x="409" y="222"/>
                  </a:lnTo>
                  <a:lnTo>
                    <a:pt x="411" y="225"/>
                  </a:lnTo>
                  <a:lnTo>
                    <a:pt x="409" y="227"/>
                  </a:lnTo>
                  <a:lnTo>
                    <a:pt x="407" y="232"/>
                  </a:lnTo>
                  <a:lnTo>
                    <a:pt x="407" y="234"/>
                  </a:lnTo>
                  <a:lnTo>
                    <a:pt x="407" y="236"/>
                  </a:lnTo>
                  <a:lnTo>
                    <a:pt x="407" y="239"/>
                  </a:lnTo>
                  <a:lnTo>
                    <a:pt x="407" y="241"/>
                  </a:lnTo>
                  <a:lnTo>
                    <a:pt x="404" y="241"/>
                  </a:lnTo>
                  <a:lnTo>
                    <a:pt x="402" y="246"/>
                  </a:lnTo>
                  <a:lnTo>
                    <a:pt x="399" y="246"/>
                  </a:lnTo>
                  <a:lnTo>
                    <a:pt x="397" y="251"/>
                  </a:lnTo>
                  <a:lnTo>
                    <a:pt x="395" y="253"/>
                  </a:lnTo>
                  <a:lnTo>
                    <a:pt x="392" y="258"/>
                  </a:lnTo>
                  <a:lnTo>
                    <a:pt x="390" y="258"/>
                  </a:lnTo>
                  <a:lnTo>
                    <a:pt x="390" y="258"/>
                  </a:lnTo>
                  <a:lnTo>
                    <a:pt x="388" y="258"/>
                  </a:lnTo>
                  <a:lnTo>
                    <a:pt x="385" y="258"/>
                  </a:lnTo>
                  <a:lnTo>
                    <a:pt x="383" y="258"/>
                  </a:lnTo>
                  <a:lnTo>
                    <a:pt x="381" y="260"/>
                  </a:lnTo>
                  <a:lnTo>
                    <a:pt x="381" y="260"/>
                  </a:lnTo>
                  <a:lnTo>
                    <a:pt x="381" y="262"/>
                  </a:lnTo>
                  <a:lnTo>
                    <a:pt x="381" y="265"/>
                  </a:lnTo>
                  <a:lnTo>
                    <a:pt x="381" y="267"/>
                  </a:lnTo>
                  <a:lnTo>
                    <a:pt x="388" y="269"/>
                  </a:lnTo>
                  <a:lnTo>
                    <a:pt x="390" y="272"/>
                  </a:lnTo>
                  <a:lnTo>
                    <a:pt x="392" y="279"/>
                  </a:lnTo>
                  <a:lnTo>
                    <a:pt x="392" y="279"/>
                  </a:lnTo>
                  <a:lnTo>
                    <a:pt x="392" y="279"/>
                  </a:lnTo>
                  <a:lnTo>
                    <a:pt x="395" y="279"/>
                  </a:lnTo>
                  <a:lnTo>
                    <a:pt x="397" y="274"/>
                  </a:lnTo>
                  <a:lnTo>
                    <a:pt x="399" y="272"/>
                  </a:lnTo>
                  <a:lnTo>
                    <a:pt x="407" y="272"/>
                  </a:lnTo>
                  <a:lnTo>
                    <a:pt x="407" y="274"/>
                  </a:lnTo>
                  <a:lnTo>
                    <a:pt x="411" y="276"/>
                  </a:lnTo>
                  <a:lnTo>
                    <a:pt x="414" y="281"/>
                  </a:lnTo>
                  <a:lnTo>
                    <a:pt x="414" y="281"/>
                  </a:lnTo>
                  <a:lnTo>
                    <a:pt x="414" y="286"/>
                  </a:lnTo>
                  <a:lnTo>
                    <a:pt x="409" y="288"/>
                  </a:lnTo>
                  <a:lnTo>
                    <a:pt x="409" y="288"/>
                  </a:lnTo>
                  <a:lnTo>
                    <a:pt x="402" y="293"/>
                  </a:lnTo>
                  <a:lnTo>
                    <a:pt x="402" y="293"/>
                  </a:lnTo>
                  <a:lnTo>
                    <a:pt x="399" y="295"/>
                  </a:lnTo>
                  <a:lnTo>
                    <a:pt x="402" y="298"/>
                  </a:lnTo>
                  <a:lnTo>
                    <a:pt x="404" y="295"/>
                  </a:lnTo>
                  <a:lnTo>
                    <a:pt x="407" y="295"/>
                  </a:lnTo>
                  <a:lnTo>
                    <a:pt x="409" y="295"/>
                  </a:lnTo>
                  <a:lnTo>
                    <a:pt x="411" y="295"/>
                  </a:lnTo>
                  <a:lnTo>
                    <a:pt x="411" y="298"/>
                  </a:lnTo>
                  <a:lnTo>
                    <a:pt x="411" y="302"/>
                  </a:lnTo>
                  <a:lnTo>
                    <a:pt x="414" y="302"/>
                  </a:lnTo>
                  <a:lnTo>
                    <a:pt x="414" y="307"/>
                  </a:lnTo>
                  <a:lnTo>
                    <a:pt x="414" y="307"/>
                  </a:lnTo>
                  <a:lnTo>
                    <a:pt x="416" y="307"/>
                  </a:lnTo>
                  <a:lnTo>
                    <a:pt x="416" y="307"/>
                  </a:lnTo>
                  <a:lnTo>
                    <a:pt x="418" y="307"/>
                  </a:lnTo>
                  <a:lnTo>
                    <a:pt x="421" y="307"/>
                  </a:lnTo>
                  <a:lnTo>
                    <a:pt x="421" y="307"/>
                  </a:lnTo>
                  <a:lnTo>
                    <a:pt x="421" y="310"/>
                  </a:lnTo>
                  <a:lnTo>
                    <a:pt x="421" y="310"/>
                  </a:lnTo>
                  <a:lnTo>
                    <a:pt x="418" y="312"/>
                  </a:lnTo>
                  <a:lnTo>
                    <a:pt x="418" y="312"/>
                  </a:lnTo>
                  <a:lnTo>
                    <a:pt x="421" y="312"/>
                  </a:lnTo>
                  <a:lnTo>
                    <a:pt x="421" y="312"/>
                  </a:lnTo>
                  <a:lnTo>
                    <a:pt x="423" y="312"/>
                  </a:lnTo>
                  <a:lnTo>
                    <a:pt x="423" y="312"/>
                  </a:lnTo>
                  <a:lnTo>
                    <a:pt x="425" y="314"/>
                  </a:lnTo>
                  <a:lnTo>
                    <a:pt x="423" y="314"/>
                  </a:lnTo>
                  <a:lnTo>
                    <a:pt x="425" y="317"/>
                  </a:lnTo>
                  <a:lnTo>
                    <a:pt x="425" y="319"/>
                  </a:lnTo>
                  <a:lnTo>
                    <a:pt x="425" y="321"/>
                  </a:lnTo>
                  <a:lnTo>
                    <a:pt x="425" y="321"/>
                  </a:lnTo>
                  <a:lnTo>
                    <a:pt x="425" y="324"/>
                  </a:lnTo>
                  <a:lnTo>
                    <a:pt x="428" y="324"/>
                  </a:lnTo>
                  <a:lnTo>
                    <a:pt x="430" y="324"/>
                  </a:lnTo>
                  <a:lnTo>
                    <a:pt x="430" y="321"/>
                  </a:lnTo>
                  <a:lnTo>
                    <a:pt x="428" y="321"/>
                  </a:lnTo>
                  <a:lnTo>
                    <a:pt x="428" y="321"/>
                  </a:lnTo>
                  <a:lnTo>
                    <a:pt x="428" y="319"/>
                  </a:lnTo>
                  <a:lnTo>
                    <a:pt x="428" y="319"/>
                  </a:lnTo>
                  <a:lnTo>
                    <a:pt x="430" y="319"/>
                  </a:lnTo>
                  <a:lnTo>
                    <a:pt x="430" y="321"/>
                  </a:lnTo>
                  <a:lnTo>
                    <a:pt x="433" y="321"/>
                  </a:lnTo>
                  <a:lnTo>
                    <a:pt x="435" y="324"/>
                  </a:lnTo>
                  <a:lnTo>
                    <a:pt x="435" y="324"/>
                  </a:lnTo>
                  <a:lnTo>
                    <a:pt x="435" y="326"/>
                  </a:lnTo>
                  <a:lnTo>
                    <a:pt x="433" y="326"/>
                  </a:lnTo>
                  <a:lnTo>
                    <a:pt x="430" y="326"/>
                  </a:lnTo>
                  <a:lnTo>
                    <a:pt x="433" y="326"/>
                  </a:lnTo>
                  <a:lnTo>
                    <a:pt x="433" y="326"/>
                  </a:lnTo>
                  <a:lnTo>
                    <a:pt x="433" y="328"/>
                  </a:lnTo>
                  <a:lnTo>
                    <a:pt x="437" y="328"/>
                  </a:lnTo>
                  <a:lnTo>
                    <a:pt x="437" y="331"/>
                  </a:lnTo>
                  <a:lnTo>
                    <a:pt x="435" y="331"/>
                  </a:lnTo>
                  <a:lnTo>
                    <a:pt x="435" y="331"/>
                  </a:lnTo>
                  <a:lnTo>
                    <a:pt x="435" y="331"/>
                  </a:lnTo>
                  <a:lnTo>
                    <a:pt x="435" y="331"/>
                  </a:lnTo>
                  <a:lnTo>
                    <a:pt x="435" y="333"/>
                  </a:lnTo>
                  <a:lnTo>
                    <a:pt x="435" y="333"/>
                  </a:lnTo>
                  <a:lnTo>
                    <a:pt x="435" y="333"/>
                  </a:lnTo>
                  <a:lnTo>
                    <a:pt x="437" y="336"/>
                  </a:lnTo>
                  <a:lnTo>
                    <a:pt x="437" y="333"/>
                  </a:lnTo>
                  <a:lnTo>
                    <a:pt x="440" y="336"/>
                  </a:lnTo>
                  <a:lnTo>
                    <a:pt x="440" y="333"/>
                  </a:lnTo>
                  <a:lnTo>
                    <a:pt x="440" y="336"/>
                  </a:lnTo>
                  <a:lnTo>
                    <a:pt x="440" y="336"/>
                  </a:lnTo>
                  <a:lnTo>
                    <a:pt x="442" y="336"/>
                  </a:lnTo>
                  <a:lnTo>
                    <a:pt x="442" y="336"/>
                  </a:lnTo>
                  <a:lnTo>
                    <a:pt x="440" y="338"/>
                  </a:lnTo>
                  <a:lnTo>
                    <a:pt x="442" y="338"/>
                  </a:lnTo>
                  <a:lnTo>
                    <a:pt x="442" y="338"/>
                  </a:lnTo>
                  <a:lnTo>
                    <a:pt x="444" y="338"/>
                  </a:lnTo>
                  <a:lnTo>
                    <a:pt x="442" y="338"/>
                  </a:lnTo>
                  <a:lnTo>
                    <a:pt x="444" y="340"/>
                  </a:lnTo>
                  <a:lnTo>
                    <a:pt x="444" y="343"/>
                  </a:lnTo>
                  <a:lnTo>
                    <a:pt x="444" y="343"/>
                  </a:lnTo>
                  <a:lnTo>
                    <a:pt x="444" y="343"/>
                  </a:lnTo>
                  <a:lnTo>
                    <a:pt x="444" y="345"/>
                  </a:lnTo>
                  <a:lnTo>
                    <a:pt x="444" y="345"/>
                  </a:lnTo>
                  <a:lnTo>
                    <a:pt x="444" y="345"/>
                  </a:lnTo>
                  <a:lnTo>
                    <a:pt x="444" y="345"/>
                  </a:lnTo>
                  <a:lnTo>
                    <a:pt x="444" y="345"/>
                  </a:lnTo>
                  <a:lnTo>
                    <a:pt x="447" y="347"/>
                  </a:lnTo>
                  <a:lnTo>
                    <a:pt x="447" y="347"/>
                  </a:lnTo>
                  <a:lnTo>
                    <a:pt x="449" y="347"/>
                  </a:lnTo>
                  <a:lnTo>
                    <a:pt x="449" y="350"/>
                  </a:lnTo>
                  <a:lnTo>
                    <a:pt x="449" y="350"/>
                  </a:lnTo>
                  <a:lnTo>
                    <a:pt x="449" y="350"/>
                  </a:lnTo>
                  <a:lnTo>
                    <a:pt x="451" y="350"/>
                  </a:lnTo>
                  <a:lnTo>
                    <a:pt x="451" y="350"/>
                  </a:lnTo>
                  <a:lnTo>
                    <a:pt x="451" y="350"/>
                  </a:lnTo>
                  <a:lnTo>
                    <a:pt x="451" y="352"/>
                  </a:lnTo>
                  <a:lnTo>
                    <a:pt x="451" y="352"/>
                  </a:lnTo>
                  <a:lnTo>
                    <a:pt x="454" y="354"/>
                  </a:lnTo>
                  <a:lnTo>
                    <a:pt x="454" y="354"/>
                  </a:lnTo>
                  <a:lnTo>
                    <a:pt x="454" y="354"/>
                  </a:lnTo>
                  <a:lnTo>
                    <a:pt x="456" y="354"/>
                  </a:lnTo>
                  <a:lnTo>
                    <a:pt x="456" y="359"/>
                  </a:lnTo>
                  <a:lnTo>
                    <a:pt x="456" y="359"/>
                  </a:lnTo>
                  <a:lnTo>
                    <a:pt x="459" y="359"/>
                  </a:lnTo>
                  <a:lnTo>
                    <a:pt x="459" y="359"/>
                  </a:lnTo>
                  <a:lnTo>
                    <a:pt x="461" y="362"/>
                  </a:lnTo>
                  <a:lnTo>
                    <a:pt x="461" y="362"/>
                  </a:lnTo>
                  <a:lnTo>
                    <a:pt x="461" y="364"/>
                  </a:lnTo>
                  <a:lnTo>
                    <a:pt x="461" y="364"/>
                  </a:lnTo>
                  <a:lnTo>
                    <a:pt x="461" y="364"/>
                  </a:lnTo>
                  <a:lnTo>
                    <a:pt x="461" y="364"/>
                  </a:lnTo>
                  <a:lnTo>
                    <a:pt x="461" y="364"/>
                  </a:lnTo>
                  <a:lnTo>
                    <a:pt x="461" y="364"/>
                  </a:lnTo>
                  <a:lnTo>
                    <a:pt x="463" y="366"/>
                  </a:lnTo>
                  <a:lnTo>
                    <a:pt x="461" y="369"/>
                  </a:lnTo>
                  <a:lnTo>
                    <a:pt x="463" y="369"/>
                  </a:lnTo>
                  <a:lnTo>
                    <a:pt x="466" y="371"/>
                  </a:lnTo>
                  <a:lnTo>
                    <a:pt x="466" y="373"/>
                  </a:lnTo>
                  <a:lnTo>
                    <a:pt x="468" y="373"/>
                  </a:lnTo>
                  <a:lnTo>
                    <a:pt x="468" y="373"/>
                  </a:lnTo>
                  <a:lnTo>
                    <a:pt x="470" y="376"/>
                  </a:lnTo>
                  <a:lnTo>
                    <a:pt x="470" y="376"/>
                  </a:lnTo>
                  <a:lnTo>
                    <a:pt x="473" y="376"/>
                  </a:lnTo>
                  <a:lnTo>
                    <a:pt x="473" y="378"/>
                  </a:lnTo>
                  <a:lnTo>
                    <a:pt x="473" y="378"/>
                  </a:lnTo>
                  <a:lnTo>
                    <a:pt x="473" y="378"/>
                  </a:lnTo>
                  <a:lnTo>
                    <a:pt x="475" y="378"/>
                  </a:lnTo>
                  <a:lnTo>
                    <a:pt x="475" y="378"/>
                  </a:lnTo>
                  <a:lnTo>
                    <a:pt x="475" y="378"/>
                  </a:lnTo>
                  <a:lnTo>
                    <a:pt x="475" y="376"/>
                  </a:lnTo>
                  <a:lnTo>
                    <a:pt x="477" y="376"/>
                  </a:lnTo>
                  <a:lnTo>
                    <a:pt x="477" y="376"/>
                  </a:lnTo>
                  <a:lnTo>
                    <a:pt x="480" y="373"/>
                  </a:lnTo>
                  <a:lnTo>
                    <a:pt x="480" y="373"/>
                  </a:lnTo>
                  <a:lnTo>
                    <a:pt x="480" y="373"/>
                  </a:lnTo>
                  <a:lnTo>
                    <a:pt x="480" y="371"/>
                  </a:lnTo>
                  <a:lnTo>
                    <a:pt x="480" y="371"/>
                  </a:lnTo>
                  <a:lnTo>
                    <a:pt x="482" y="371"/>
                  </a:lnTo>
                  <a:lnTo>
                    <a:pt x="482" y="369"/>
                  </a:lnTo>
                  <a:lnTo>
                    <a:pt x="484" y="369"/>
                  </a:lnTo>
                  <a:lnTo>
                    <a:pt x="484" y="369"/>
                  </a:lnTo>
                  <a:lnTo>
                    <a:pt x="484" y="369"/>
                  </a:lnTo>
                  <a:lnTo>
                    <a:pt x="484" y="366"/>
                  </a:lnTo>
                  <a:lnTo>
                    <a:pt x="484" y="366"/>
                  </a:lnTo>
                  <a:lnTo>
                    <a:pt x="487" y="369"/>
                  </a:lnTo>
                  <a:lnTo>
                    <a:pt x="487" y="369"/>
                  </a:lnTo>
                  <a:lnTo>
                    <a:pt x="489" y="366"/>
                  </a:lnTo>
                  <a:lnTo>
                    <a:pt x="489" y="366"/>
                  </a:lnTo>
                  <a:lnTo>
                    <a:pt x="489" y="364"/>
                  </a:lnTo>
                  <a:lnTo>
                    <a:pt x="492" y="364"/>
                  </a:lnTo>
                  <a:lnTo>
                    <a:pt x="492" y="364"/>
                  </a:lnTo>
                  <a:lnTo>
                    <a:pt x="492" y="364"/>
                  </a:lnTo>
                  <a:lnTo>
                    <a:pt x="492" y="364"/>
                  </a:lnTo>
                  <a:lnTo>
                    <a:pt x="494" y="364"/>
                  </a:lnTo>
                  <a:lnTo>
                    <a:pt x="494" y="364"/>
                  </a:lnTo>
                  <a:lnTo>
                    <a:pt x="494" y="364"/>
                  </a:lnTo>
                  <a:lnTo>
                    <a:pt x="494" y="364"/>
                  </a:lnTo>
                  <a:lnTo>
                    <a:pt x="496" y="364"/>
                  </a:lnTo>
                  <a:lnTo>
                    <a:pt x="499" y="364"/>
                  </a:lnTo>
                  <a:lnTo>
                    <a:pt x="499" y="362"/>
                  </a:lnTo>
                  <a:lnTo>
                    <a:pt x="501" y="364"/>
                  </a:lnTo>
                  <a:lnTo>
                    <a:pt x="501" y="364"/>
                  </a:lnTo>
                  <a:lnTo>
                    <a:pt x="501" y="362"/>
                  </a:lnTo>
                  <a:lnTo>
                    <a:pt x="501" y="364"/>
                  </a:lnTo>
                  <a:lnTo>
                    <a:pt x="501" y="362"/>
                  </a:lnTo>
                  <a:lnTo>
                    <a:pt x="503" y="362"/>
                  </a:lnTo>
                  <a:lnTo>
                    <a:pt x="503" y="362"/>
                  </a:lnTo>
                  <a:lnTo>
                    <a:pt x="503" y="362"/>
                  </a:lnTo>
                  <a:lnTo>
                    <a:pt x="503" y="362"/>
                  </a:lnTo>
                  <a:lnTo>
                    <a:pt x="506" y="359"/>
                  </a:lnTo>
                  <a:lnTo>
                    <a:pt x="506" y="359"/>
                  </a:lnTo>
                  <a:lnTo>
                    <a:pt x="508" y="359"/>
                  </a:lnTo>
                  <a:lnTo>
                    <a:pt x="508" y="359"/>
                  </a:lnTo>
                  <a:lnTo>
                    <a:pt x="508" y="359"/>
                  </a:lnTo>
                  <a:lnTo>
                    <a:pt x="510" y="359"/>
                  </a:lnTo>
                  <a:lnTo>
                    <a:pt x="510" y="359"/>
                  </a:lnTo>
                  <a:lnTo>
                    <a:pt x="510" y="357"/>
                  </a:lnTo>
                  <a:lnTo>
                    <a:pt x="513" y="359"/>
                  </a:lnTo>
                  <a:lnTo>
                    <a:pt x="513" y="359"/>
                  </a:lnTo>
                  <a:lnTo>
                    <a:pt x="515" y="359"/>
                  </a:lnTo>
                  <a:lnTo>
                    <a:pt x="518" y="357"/>
                  </a:lnTo>
                  <a:lnTo>
                    <a:pt x="518" y="357"/>
                  </a:lnTo>
                  <a:lnTo>
                    <a:pt x="520" y="357"/>
                  </a:lnTo>
                  <a:lnTo>
                    <a:pt x="520" y="357"/>
                  </a:lnTo>
                  <a:lnTo>
                    <a:pt x="522" y="354"/>
                  </a:lnTo>
                  <a:lnTo>
                    <a:pt x="525" y="354"/>
                  </a:lnTo>
                  <a:lnTo>
                    <a:pt x="527" y="357"/>
                  </a:lnTo>
                  <a:lnTo>
                    <a:pt x="527" y="357"/>
                  </a:lnTo>
                  <a:lnTo>
                    <a:pt x="527" y="357"/>
                  </a:lnTo>
                  <a:lnTo>
                    <a:pt x="529" y="359"/>
                  </a:lnTo>
                  <a:lnTo>
                    <a:pt x="529" y="359"/>
                  </a:lnTo>
                  <a:lnTo>
                    <a:pt x="529" y="359"/>
                  </a:lnTo>
                  <a:lnTo>
                    <a:pt x="529" y="362"/>
                  </a:lnTo>
                  <a:lnTo>
                    <a:pt x="532" y="362"/>
                  </a:lnTo>
                  <a:lnTo>
                    <a:pt x="536" y="364"/>
                  </a:lnTo>
                  <a:lnTo>
                    <a:pt x="539" y="366"/>
                  </a:lnTo>
                  <a:lnTo>
                    <a:pt x="539" y="369"/>
                  </a:lnTo>
                  <a:lnTo>
                    <a:pt x="539" y="369"/>
                  </a:lnTo>
                  <a:lnTo>
                    <a:pt x="541" y="371"/>
                  </a:lnTo>
                  <a:lnTo>
                    <a:pt x="541" y="371"/>
                  </a:lnTo>
                  <a:lnTo>
                    <a:pt x="541" y="373"/>
                  </a:lnTo>
                  <a:lnTo>
                    <a:pt x="541" y="376"/>
                  </a:lnTo>
                  <a:lnTo>
                    <a:pt x="544" y="378"/>
                  </a:lnTo>
                  <a:lnTo>
                    <a:pt x="544" y="380"/>
                  </a:lnTo>
                  <a:lnTo>
                    <a:pt x="541" y="380"/>
                  </a:lnTo>
                  <a:lnTo>
                    <a:pt x="539" y="380"/>
                  </a:lnTo>
                  <a:lnTo>
                    <a:pt x="539" y="383"/>
                  </a:lnTo>
                  <a:lnTo>
                    <a:pt x="539" y="385"/>
                  </a:lnTo>
                  <a:lnTo>
                    <a:pt x="536" y="390"/>
                  </a:lnTo>
                  <a:lnTo>
                    <a:pt x="536" y="392"/>
                  </a:lnTo>
                  <a:lnTo>
                    <a:pt x="536" y="392"/>
                  </a:lnTo>
                  <a:lnTo>
                    <a:pt x="539" y="395"/>
                  </a:lnTo>
                  <a:lnTo>
                    <a:pt x="539" y="395"/>
                  </a:lnTo>
                  <a:lnTo>
                    <a:pt x="539" y="397"/>
                  </a:lnTo>
                  <a:lnTo>
                    <a:pt x="536" y="397"/>
                  </a:lnTo>
                  <a:lnTo>
                    <a:pt x="536" y="399"/>
                  </a:lnTo>
                  <a:lnTo>
                    <a:pt x="536" y="404"/>
                  </a:lnTo>
                  <a:lnTo>
                    <a:pt x="536" y="406"/>
                  </a:lnTo>
                  <a:lnTo>
                    <a:pt x="534" y="409"/>
                  </a:lnTo>
                  <a:lnTo>
                    <a:pt x="532" y="411"/>
                  </a:lnTo>
                  <a:lnTo>
                    <a:pt x="529" y="411"/>
                  </a:lnTo>
                  <a:lnTo>
                    <a:pt x="527" y="411"/>
                  </a:lnTo>
                  <a:lnTo>
                    <a:pt x="527" y="414"/>
                  </a:lnTo>
                  <a:lnTo>
                    <a:pt x="525" y="414"/>
                  </a:lnTo>
                  <a:lnTo>
                    <a:pt x="520" y="411"/>
                  </a:lnTo>
                  <a:lnTo>
                    <a:pt x="518" y="414"/>
                  </a:lnTo>
                  <a:lnTo>
                    <a:pt x="515" y="414"/>
                  </a:lnTo>
                  <a:lnTo>
                    <a:pt x="513" y="414"/>
                  </a:lnTo>
                  <a:lnTo>
                    <a:pt x="510" y="416"/>
                  </a:lnTo>
                  <a:lnTo>
                    <a:pt x="510" y="416"/>
                  </a:lnTo>
                  <a:lnTo>
                    <a:pt x="510" y="418"/>
                  </a:lnTo>
                  <a:lnTo>
                    <a:pt x="508" y="418"/>
                  </a:lnTo>
                  <a:lnTo>
                    <a:pt x="508" y="418"/>
                  </a:lnTo>
                  <a:lnTo>
                    <a:pt x="508" y="418"/>
                  </a:lnTo>
                  <a:lnTo>
                    <a:pt x="506" y="418"/>
                  </a:lnTo>
                  <a:lnTo>
                    <a:pt x="503" y="418"/>
                  </a:lnTo>
                  <a:lnTo>
                    <a:pt x="501" y="418"/>
                  </a:lnTo>
                  <a:lnTo>
                    <a:pt x="501" y="418"/>
                  </a:lnTo>
                  <a:lnTo>
                    <a:pt x="501" y="418"/>
                  </a:lnTo>
                  <a:lnTo>
                    <a:pt x="501" y="418"/>
                  </a:lnTo>
                  <a:lnTo>
                    <a:pt x="501" y="421"/>
                  </a:lnTo>
                  <a:lnTo>
                    <a:pt x="501" y="423"/>
                  </a:lnTo>
                  <a:lnTo>
                    <a:pt x="499" y="421"/>
                  </a:lnTo>
                  <a:lnTo>
                    <a:pt x="501" y="423"/>
                  </a:lnTo>
                  <a:lnTo>
                    <a:pt x="501" y="425"/>
                  </a:lnTo>
                  <a:lnTo>
                    <a:pt x="501" y="425"/>
                  </a:lnTo>
                  <a:lnTo>
                    <a:pt x="499" y="428"/>
                  </a:lnTo>
                  <a:lnTo>
                    <a:pt x="501" y="428"/>
                  </a:lnTo>
                  <a:lnTo>
                    <a:pt x="499" y="430"/>
                  </a:lnTo>
                  <a:lnTo>
                    <a:pt x="496" y="432"/>
                  </a:lnTo>
                  <a:lnTo>
                    <a:pt x="496" y="430"/>
                  </a:lnTo>
                  <a:lnTo>
                    <a:pt x="494" y="430"/>
                  </a:lnTo>
                  <a:lnTo>
                    <a:pt x="494" y="432"/>
                  </a:lnTo>
                  <a:lnTo>
                    <a:pt x="494" y="432"/>
                  </a:lnTo>
                  <a:lnTo>
                    <a:pt x="494" y="432"/>
                  </a:lnTo>
                  <a:lnTo>
                    <a:pt x="494" y="435"/>
                  </a:lnTo>
                  <a:lnTo>
                    <a:pt x="494" y="435"/>
                  </a:lnTo>
                  <a:lnTo>
                    <a:pt x="494" y="435"/>
                  </a:lnTo>
                  <a:lnTo>
                    <a:pt x="494" y="437"/>
                  </a:lnTo>
                  <a:lnTo>
                    <a:pt x="494" y="437"/>
                  </a:lnTo>
                  <a:lnTo>
                    <a:pt x="494" y="437"/>
                  </a:lnTo>
                  <a:lnTo>
                    <a:pt x="494" y="439"/>
                  </a:lnTo>
                  <a:lnTo>
                    <a:pt x="494" y="439"/>
                  </a:lnTo>
                  <a:lnTo>
                    <a:pt x="494" y="439"/>
                  </a:lnTo>
                  <a:lnTo>
                    <a:pt x="492" y="442"/>
                  </a:lnTo>
                  <a:lnTo>
                    <a:pt x="492" y="442"/>
                  </a:lnTo>
                  <a:lnTo>
                    <a:pt x="492" y="442"/>
                  </a:lnTo>
                  <a:lnTo>
                    <a:pt x="492" y="442"/>
                  </a:lnTo>
                  <a:lnTo>
                    <a:pt x="492" y="442"/>
                  </a:lnTo>
                  <a:lnTo>
                    <a:pt x="489" y="442"/>
                  </a:lnTo>
                  <a:lnTo>
                    <a:pt x="492" y="444"/>
                  </a:lnTo>
                  <a:lnTo>
                    <a:pt x="489" y="444"/>
                  </a:lnTo>
                  <a:lnTo>
                    <a:pt x="489" y="444"/>
                  </a:lnTo>
                  <a:lnTo>
                    <a:pt x="489" y="444"/>
                  </a:lnTo>
                  <a:lnTo>
                    <a:pt x="489" y="444"/>
                  </a:lnTo>
                  <a:lnTo>
                    <a:pt x="489" y="444"/>
                  </a:lnTo>
                  <a:lnTo>
                    <a:pt x="489" y="444"/>
                  </a:lnTo>
                  <a:lnTo>
                    <a:pt x="489" y="444"/>
                  </a:lnTo>
                  <a:lnTo>
                    <a:pt x="487" y="444"/>
                  </a:lnTo>
                  <a:lnTo>
                    <a:pt x="487" y="444"/>
                  </a:lnTo>
                  <a:lnTo>
                    <a:pt x="487" y="447"/>
                  </a:lnTo>
                  <a:lnTo>
                    <a:pt x="487" y="447"/>
                  </a:lnTo>
                  <a:lnTo>
                    <a:pt x="487" y="447"/>
                  </a:lnTo>
                  <a:lnTo>
                    <a:pt x="484" y="447"/>
                  </a:lnTo>
                  <a:lnTo>
                    <a:pt x="484" y="447"/>
                  </a:lnTo>
                  <a:lnTo>
                    <a:pt x="484" y="447"/>
                  </a:lnTo>
                  <a:lnTo>
                    <a:pt x="484" y="447"/>
                  </a:lnTo>
                  <a:lnTo>
                    <a:pt x="484" y="447"/>
                  </a:lnTo>
                  <a:lnTo>
                    <a:pt x="487" y="447"/>
                  </a:lnTo>
                  <a:lnTo>
                    <a:pt x="487" y="447"/>
                  </a:lnTo>
                  <a:lnTo>
                    <a:pt x="487" y="449"/>
                  </a:lnTo>
                  <a:lnTo>
                    <a:pt x="487" y="449"/>
                  </a:lnTo>
                  <a:lnTo>
                    <a:pt x="487" y="449"/>
                  </a:lnTo>
                  <a:lnTo>
                    <a:pt x="487" y="449"/>
                  </a:lnTo>
                  <a:lnTo>
                    <a:pt x="487" y="451"/>
                  </a:lnTo>
                  <a:lnTo>
                    <a:pt x="484" y="451"/>
                  </a:lnTo>
                  <a:lnTo>
                    <a:pt x="484" y="451"/>
                  </a:lnTo>
                  <a:lnTo>
                    <a:pt x="484" y="451"/>
                  </a:lnTo>
                  <a:lnTo>
                    <a:pt x="484" y="454"/>
                  </a:lnTo>
                  <a:lnTo>
                    <a:pt x="484" y="454"/>
                  </a:lnTo>
                  <a:lnTo>
                    <a:pt x="487" y="454"/>
                  </a:lnTo>
                  <a:lnTo>
                    <a:pt x="487" y="454"/>
                  </a:lnTo>
                  <a:lnTo>
                    <a:pt x="487" y="456"/>
                  </a:lnTo>
                  <a:lnTo>
                    <a:pt x="489" y="456"/>
                  </a:lnTo>
                  <a:lnTo>
                    <a:pt x="487" y="456"/>
                  </a:lnTo>
                  <a:lnTo>
                    <a:pt x="489" y="456"/>
                  </a:lnTo>
                  <a:lnTo>
                    <a:pt x="489" y="458"/>
                  </a:lnTo>
                  <a:lnTo>
                    <a:pt x="489" y="461"/>
                  </a:lnTo>
                  <a:lnTo>
                    <a:pt x="487" y="461"/>
                  </a:lnTo>
                  <a:lnTo>
                    <a:pt x="484" y="461"/>
                  </a:lnTo>
                  <a:lnTo>
                    <a:pt x="484" y="463"/>
                  </a:lnTo>
                  <a:lnTo>
                    <a:pt x="484" y="463"/>
                  </a:lnTo>
                  <a:lnTo>
                    <a:pt x="484" y="463"/>
                  </a:lnTo>
                  <a:lnTo>
                    <a:pt x="482" y="463"/>
                  </a:lnTo>
                  <a:lnTo>
                    <a:pt x="484" y="468"/>
                  </a:lnTo>
                  <a:lnTo>
                    <a:pt x="484" y="468"/>
                  </a:lnTo>
                  <a:lnTo>
                    <a:pt x="484" y="470"/>
                  </a:lnTo>
                  <a:lnTo>
                    <a:pt x="484" y="470"/>
                  </a:lnTo>
                  <a:lnTo>
                    <a:pt x="484" y="470"/>
                  </a:lnTo>
                  <a:lnTo>
                    <a:pt x="487" y="470"/>
                  </a:lnTo>
                  <a:lnTo>
                    <a:pt x="487" y="473"/>
                  </a:lnTo>
                  <a:lnTo>
                    <a:pt x="487" y="473"/>
                  </a:lnTo>
                  <a:lnTo>
                    <a:pt x="487" y="477"/>
                  </a:lnTo>
                  <a:lnTo>
                    <a:pt x="484" y="477"/>
                  </a:lnTo>
                  <a:lnTo>
                    <a:pt x="487" y="477"/>
                  </a:lnTo>
                  <a:lnTo>
                    <a:pt x="484" y="480"/>
                  </a:lnTo>
                  <a:lnTo>
                    <a:pt x="484" y="480"/>
                  </a:lnTo>
                  <a:lnTo>
                    <a:pt x="484" y="480"/>
                  </a:lnTo>
                  <a:lnTo>
                    <a:pt x="484" y="480"/>
                  </a:lnTo>
                  <a:lnTo>
                    <a:pt x="484" y="482"/>
                  </a:lnTo>
                  <a:lnTo>
                    <a:pt x="482" y="482"/>
                  </a:lnTo>
                  <a:lnTo>
                    <a:pt x="480" y="482"/>
                  </a:lnTo>
                  <a:lnTo>
                    <a:pt x="480" y="484"/>
                  </a:lnTo>
                  <a:lnTo>
                    <a:pt x="480" y="482"/>
                  </a:lnTo>
                  <a:lnTo>
                    <a:pt x="477" y="482"/>
                  </a:lnTo>
                  <a:lnTo>
                    <a:pt x="477" y="482"/>
                  </a:lnTo>
                  <a:lnTo>
                    <a:pt x="475" y="484"/>
                  </a:lnTo>
                  <a:lnTo>
                    <a:pt x="475" y="487"/>
                  </a:lnTo>
                  <a:lnTo>
                    <a:pt x="475" y="487"/>
                  </a:lnTo>
                  <a:lnTo>
                    <a:pt x="477" y="487"/>
                  </a:lnTo>
                  <a:lnTo>
                    <a:pt x="477" y="487"/>
                  </a:lnTo>
                  <a:lnTo>
                    <a:pt x="480" y="489"/>
                  </a:lnTo>
                  <a:lnTo>
                    <a:pt x="477" y="489"/>
                  </a:lnTo>
                  <a:lnTo>
                    <a:pt x="477" y="491"/>
                  </a:lnTo>
                  <a:lnTo>
                    <a:pt x="475" y="491"/>
                  </a:lnTo>
                  <a:lnTo>
                    <a:pt x="475" y="491"/>
                  </a:lnTo>
                  <a:lnTo>
                    <a:pt x="473" y="494"/>
                  </a:lnTo>
                  <a:lnTo>
                    <a:pt x="473" y="494"/>
                  </a:lnTo>
                  <a:lnTo>
                    <a:pt x="473" y="494"/>
                  </a:lnTo>
                  <a:lnTo>
                    <a:pt x="473" y="496"/>
                  </a:lnTo>
                  <a:lnTo>
                    <a:pt x="473" y="496"/>
                  </a:lnTo>
                  <a:lnTo>
                    <a:pt x="473" y="499"/>
                  </a:lnTo>
                  <a:lnTo>
                    <a:pt x="473" y="499"/>
                  </a:lnTo>
                  <a:lnTo>
                    <a:pt x="470" y="499"/>
                  </a:lnTo>
                  <a:lnTo>
                    <a:pt x="470" y="499"/>
                  </a:lnTo>
                  <a:lnTo>
                    <a:pt x="470" y="499"/>
                  </a:lnTo>
                  <a:lnTo>
                    <a:pt x="470" y="501"/>
                  </a:lnTo>
                  <a:lnTo>
                    <a:pt x="470" y="501"/>
                  </a:lnTo>
                  <a:lnTo>
                    <a:pt x="466" y="501"/>
                  </a:lnTo>
                  <a:lnTo>
                    <a:pt x="466" y="501"/>
                  </a:lnTo>
                  <a:lnTo>
                    <a:pt x="468" y="503"/>
                  </a:lnTo>
                  <a:lnTo>
                    <a:pt x="468" y="501"/>
                  </a:lnTo>
                  <a:lnTo>
                    <a:pt x="468" y="503"/>
                  </a:lnTo>
                  <a:lnTo>
                    <a:pt x="470" y="503"/>
                  </a:lnTo>
                  <a:lnTo>
                    <a:pt x="470" y="503"/>
                  </a:lnTo>
                  <a:lnTo>
                    <a:pt x="468" y="506"/>
                  </a:lnTo>
                  <a:lnTo>
                    <a:pt x="468" y="506"/>
                  </a:lnTo>
                  <a:lnTo>
                    <a:pt x="468" y="506"/>
                  </a:lnTo>
                  <a:lnTo>
                    <a:pt x="466" y="506"/>
                  </a:lnTo>
                  <a:lnTo>
                    <a:pt x="468" y="508"/>
                  </a:lnTo>
                  <a:lnTo>
                    <a:pt x="466" y="508"/>
                  </a:lnTo>
                  <a:lnTo>
                    <a:pt x="466" y="508"/>
                  </a:lnTo>
                  <a:lnTo>
                    <a:pt x="468" y="510"/>
                  </a:lnTo>
                  <a:lnTo>
                    <a:pt x="468" y="508"/>
                  </a:lnTo>
                  <a:lnTo>
                    <a:pt x="470" y="508"/>
                  </a:lnTo>
                  <a:lnTo>
                    <a:pt x="473" y="510"/>
                  </a:lnTo>
                  <a:lnTo>
                    <a:pt x="473" y="508"/>
                  </a:lnTo>
                  <a:lnTo>
                    <a:pt x="473" y="510"/>
                  </a:lnTo>
                  <a:lnTo>
                    <a:pt x="473" y="510"/>
                  </a:lnTo>
                  <a:lnTo>
                    <a:pt x="475" y="510"/>
                  </a:lnTo>
                  <a:lnTo>
                    <a:pt x="475" y="510"/>
                  </a:lnTo>
                  <a:lnTo>
                    <a:pt x="475" y="510"/>
                  </a:lnTo>
                  <a:lnTo>
                    <a:pt x="477" y="510"/>
                  </a:lnTo>
                  <a:lnTo>
                    <a:pt x="482" y="508"/>
                  </a:lnTo>
                  <a:lnTo>
                    <a:pt x="484" y="508"/>
                  </a:lnTo>
                  <a:lnTo>
                    <a:pt x="484" y="510"/>
                  </a:lnTo>
                  <a:lnTo>
                    <a:pt x="484" y="510"/>
                  </a:lnTo>
                  <a:lnTo>
                    <a:pt x="484" y="510"/>
                  </a:lnTo>
                  <a:lnTo>
                    <a:pt x="482" y="510"/>
                  </a:lnTo>
                  <a:lnTo>
                    <a:pt x="484" y="513"/>
                  </a:lnTo>
                  <a:lnTo>
                    <a:pt x="482" y="513"/>
                  </a:lnTo>
                  <a:lnTo>
                    <a:pt x="484" y="513"/>
                  </a:lnTo>
                  <a:lnTo>
                    <a:pt x="482" y="515"/>
                  </a:lnTo>
                  <a:lnTo>
                    <a:pt x="484" y="515"/>
                  </a:lnTo>
                  <a:lnTo>
                    <a:pt x="482" y="515"/>
                  </a:lnTo>
                  <a:lnTo>
                    <a:pt x="484" y="517"/>
                  </a:lnTo>
                  <a:lnTo>
                    <a:pt x="484" y="517"/>
                  </a:lnTo>
                  <a:lnTo>
                    <a:pt x="487" y="517"/>
                  </a:lnTo>
                  <a:lnTo>
                    <a:pt x="487" y="517"/>
                  </a:lnTo>
                  <a:lnTo>
                    <a:pt x="489" y="515"/>
                  </a:lnTo>
                  <a:lnTo>
                    <a:pt x="489" y="517"/>
                  </a:lnTo>
                  <a:lnTo>
                    <a:pt x="489" y="517"/>
                  </a:lnTo>
                  <a:lnTo>
                    <a:pt x="489" y="517"/>
                  </a:lnTo>
                  <a:lnTo>
                    <a:pt x="492" y="520"/>
                  </a:lnTo>
                  <a:lnTo>
                    <a:pt x="494" y="520"/>
                  </a:lnTo>
                  <a:lnTo>
                    <a:pt x="494" y="522"/>
                  </a:lnTo>
                  <a:lnTo>
                    <a:pt x="494" y="525"/>
                  </a:lnTo>
                  <a:lnTo>
                    <a:pt x="494" y="525"/>
                  </a:lnTo>
                  <a:lnTo>
                    <a:pt x="494" y="527"/>
                  </a:lnTo>
                  <a:lnTo>
                    <a:pt x="496" y="525"/>
                  </a:lnTo>
                  <a:lnTo>
                    <a:pt x="496" y="527"/>
                  </a:lnTo>
                  <a:lnTo>
                    <a:pt x="499" y="527"/>
                  </a:lnTo>
                  <a:lnTo>
                    <a:pt x="496" y="529"/>
                  </a:lnTo>
                  <a:lnTo>
                    <a:pt x="496" y="532"/>
                  </a:lnTo>
                  <a:lnTo>
                    <a:pt x="499" y="534"/>
                  </a:lnTo>
                  <a:lnTo>
                    <a:pt x="496" y="534"/>
                  </a:lnTo>
                  <a:lnTo>
                    <a:pt x="496" y="536"/>
                  </a:lnTo>
                  <a:lnTo>
                    <a:pt x="496" y="536"/>
                  </a:lnTo>
                  <a:lnTo>
                    <a:pt x="494" y="536"/>
                  </a:lnTo>
                  <a:lnTo>
                    <a:pt x="494" y="539"/>
                  </a:lnTo>
                  <a:lnTo>
                    <a:pt x="494" y="539"/>
                  </a:lnTo>
                  <a:lnTo>
                    <a:pt x="494" y="541"/>
                  </a:lnTo>
                  <a:lnTo>
                    <a:pt x="499" y="539"/>
                  </a:lnTo>
                  <a:lnTo>
                    <a:pt x="499" y="539"/>
                  </a:lnTo>
                  <a:lnTo>
                    <a:pt x="499" y="541"/>
                  </a:lnTo>
                  <a:lnTo>
                    <a:pt x="501" y="543"/>
                  </a:lnTo>
                  <a:lnTo>
                    <a:pt x="501" y="546"/>
                  </a:lnTo>
                  <a:lnTo>
                    <a:pt x="503" y="546"/>
                  </a:lnTo>
                  <a:lnTo>
                    <a:pt x="503" y="548"/>
                  </a:lnTo>
                  <a:lnTo>
                    <a:pt x="506" y="551"/>
                  </a:lnTo>
                  <a:lnTo>
                    <a:pt x="503" y="553"/>
                  </a:lnTo>
                  <a:lnTo>
                    <a:pt x="503" y="553"/>
                  </a:lnTo>
                  <a:lnTo>
                    <a:pt x="508" y="555"/>
                  </a:lnTo>
                  <a:lnTo>
                    <a:pt x="508" y="553"/>
                  </a:lnTo>
                  <a:lnTo>
                    <a:pt x="508" y="553"/>
                  </a:lnTo>
                  <a:lnTo>
                    <a:pt x="510" y="553"/>
                  </a:lnTo>
                  <a:lnTo>
                    <a:pt x="513" y="553"/>
                  </a:lnTo>
                  <a:lnTo>
                    <a:pt x="515" y="551"/>
                  </a:lnTo>
                  <a:lnTo>
                    <a:pt x="518" y="551"/>
                  </a:lnTo>
                  <a:lnTo>
                    <a:pt x="518" y="553"/>
                  </a:lnTo>
                  <a:lnTo>
                    <a:pt x="520" y="553"/>
                  </a:lnTo>
                  <a:lnTo>
                    <a:pt x="520" y="555"/>
                  </a:lnTo>
                  <a:lnTo>
                    <a:pt x="520" y="555"/>
                  </a:lnTo>
                  <a:lnTo>
                    <a:pt x="520" y="558"/>
                  </a:lnTo>
                  <a:lnTo>
                    <a:pt x="520" y="560"/>
                  </a:lnTo>
                  <a:lnTo>
                    <a:pt x="522" y="560"/>
                  </a:lnTo>
                  <a:lnTo>
                    <a:pt x="522" y="560"/>
                  </a:lnTo>
                  <a:lnTo>
                    <a:pt x="525" y="562"/>
                  </a:lnTo>
                  <a:lnTo>
                    <a:pt x="527" y="562"/>
                  </a:lnTo>
                  <a:lnTo>
                    <a:pt x="529" y="562"/>
                  </a:lnTo>
                  <a:lnTo>
                    <a:pt x="529" y="562"/>
                  </a:lnTo>
                  <a:lnTo>
                    <a:pt x="529" y="565"/>
                  </a:lnTo>
                  <a:lnTo>
                    <a:pt x="529" y="567"/>
                  </a:lnTo>
                  <a:lnTo>
                    <a:pt x="529" y="567"/>
                  </a:lnTo>
                  <a:lnTo>
                    <a:pt x="529" y="569"/>
                  </a:lnTo>
                  <a:lnTo>
                    <a:pt x="529" y="572"/>
                  </a:lnTo>
                  <a:lnTo>
                    <a:pt x="534" y="572"/>
                  </a:lnTo>
                  <a:lnTo>
                    <a:pt x="534" y="572"/>
                  </a:lnTo>
                  <a:lnTo>
                    <a:pt x="527" y="576"/>
                  </a:lnTo>
                  <a:lnTo>
                    <a:pt x="527" y="576"/>
                  </a:lnTo>
                  <a:lnTo>
                    <a:pt x="527" y="579"/>
                  </a:lnTo>
                  <a:lnTo>
                    <a:pt x="525" y="581"/>
                  </a:lnTo>
                  <a:lnTo>
                    <a:pt x="525" y="586"/>
                  </a:lnTo>
                  <a:lnTo>
                    <a:pt x="522" y="588"/>
                  </a:lnTo>
                  <a:lnTo>
                    <a:pt x="518" y="591"/>
                  </a:lnTo>
                  <a:lnTo>
                    <a:pt x="520" y="593"/>
                  </a:lnTo>
                  <a:lnTo>
                    <a:pt x="520" y="595"/>
                  </a:lnTo>
                  <a:lnTo>
                    <a:pt x="520" y="598"/>
                  </a:lnTo>
                  <a:lnTo>
                    <a:pt x="520" y="598"/>
                  </a:lnTo>
                  <a:lnTo>
                    <a:pt x="522" y="598"/>
                  </a:lnTo>
                  <a:lnTo>
                    <a:pt x="527" y="598"/>
                  </a:lnTo>
                  <a:lnTo>
                    <a:pt x="529" y="600"/>
                  </a:lnTo>
                  <a:lnTo>
                    <a:pt x="529" y="600"/>
                  </a:lnTo>
                  <a:lnTo>
                    <a:pt x="529" y="602"/>
                  </a:lnTo>
                  <a:lnTo>
                    <a:pt x="527" y="605"/>
                  </a:lnTo>
                  <a:lnTo>
                    <a:pt x="527" y="605"/>
                  </a:lnTo>
                  <a:lnTo>
                    <a:pt x="529" y="607"/>
                  </a:lnTo>
                  <a:lnTo>
                    <a:pt x="534" y="607"/>
                  </a:lnTo>
                  <a:lnTo>
                    <a:pt x="536" y="605"/>
                  </a:lnTo>
                  <a:lnTo>
                    <a:pt x="536" y="607"/>
                  </a:lnTo>
                  <a:lnTo>
                    <a:pt x="539" y="607"/>
                  </a:lnTo>
                  <a:lnTo>
                    <a:pt x="539" y="610"/>
                  </a:lnTo>
                  <a:lnTo>
                    <a:pt x="539" y="610"/>
                  </a:lnTo>
                  <a:lnTo>
                    <a:pt x="541" y="612"/>
                  </a:lnTo>
                  <a:lnTo>
                    <a:pt x="539" y="612"/>
                  </a:lnTo>
                  <a:lnTo>
                    <a:pt x="539" y="614"/>
                  </a:lnTo>
                  <a:lnTo>
                    <a:pt x="541" y="614"/>
                  </a:lnTo>
                  <a:lnTo>
                    <a:pt x="541" y="617"/>
                  </a:lnTo>
                  <a:lnTo>
                    <a:pt x="541" y="619"/>
                  </a:lnTo>
                  <a:lnTo>
                    <a:pt x="541" y="621"/>
                  </a:lnTo>
                  <a:lnTo>
                    <a:pt x="544" y="621"/>
                  </a:lnTo>
                  <a:lnTo>
                    <a:pt x="541" y="624"/>
                  </a:lnTo>
                  <a:lnTo>
                    <a:pt x="541" y="628"/>
                  </a:lnTo>
                  <a:lnTo>
                    <a:pt x="541" y="628"/>
                  </a:lnTo>
                  <a:lnTo>
                    <a:pt x="544" y="633"/>
                  </a:lnTo>
                  <a:lnTo>
                    <a:pt x="544" y="638"/>
                  </a:lnTo>
                  <a:lnTo>
                    <a:pt x="544" y="638"/>
                  </a:lnTo>
                  <a:lnTo>
                    <a:pt x="546" y="640"/>
                  </a:lnTo>
                  <a:lnTo>
                    <a:pt x="548" y="643"/>
                  </a:lnTo>
                  <a:lnTo>
                    <a:pt x="548" y="643"/>
                  </a:lnTo>
                  <a:lnTo>
                    <a:pt x="553" y="647"/>
                  </a:lnTo>
                  <a:lnTo>
                    <a:pt x="555" y="652"/>
                  </a:lnTo>
                  <a:lnTo>
                    <a:pt x="558" y="654"/>
                  </a:lnTo>
                  <a:lnTo>
                    <a:pt x="560" y="654"/>
                  </a:lnTo>
                  <a:lnTo>
                    <a:pt x="562" y="654"/>
                  </a:lnTo>
                  <a:lnTo>
                    <a:pt x="562" y="654"/>
                  </a:lnTo>
                  <a:lnTo>
                    <a:pt x="567" y="654"/>
                  </a:lnTo>
                  <a:lnTo>
                    <a:pt x="572" y="654"/>
                  </a:lnTo>
                  <a:lnTo>
                    <a:pt x="574" y="652"/>
                  </a:lnTo>
                  <a:lnTo>
                    <a:pt x="577" y="654"/>
                  </a:lnTo>
                  <a:lnTo>
                    <a:pt x="577" y="654"/>
                  </a:lnTo>
                  <a:lnTo>
                    <a:pt x="577" y="654"/>
                  </a:lnTo>
                  <a:lnTo>
                    <a:pt x="581" y="659"/>
                  </a:lnTo>
                  <a:lnTo>
                    <a:pt x="584" y="657"/>
                  </a:lnTo>
                  <a:lnTo>
                    <a:pt x="588" y="659"/>
                  </a:lnTo>
                  <a:lnTo>
                    <a:pt x="596" y="654"/>
                  </a:lnTo>
                  <a:lnTo>
                    <a:pt x="596" y="654"/>
                  </a:lnTo>
                  <a:lnTo>
                    <a:pt x="598" y="654"/>
                  </a:lnTo>
                  <a:lnTo>
                    <a:pt x="598" y="654"/>
                  </a:lnTo>
                  <a:lnTo>
                    <a:pt x="600" y="662"/>
                  </a:lnTo>
                  <a:lnTo>
                    <a:pt x="600" y="664"/>
                  </a:lnTo>
                  <a:lnTo>
                    <a:pt x="603" y="664"/>
                  </a:lnTo>
                  <a:lnTo>
                    <a:pt x="605" y="664"/>
                  </a:lnTo>
                  <a:lnTo>
                    <a:pt x="607" y="664"/>
                  </a:lnTo>
                  <a:lnTo>
                    <a:pt x="610" y="664"/>
                  </a:lnTo>
                  <a:lnTo>
                    <a:pt x="617" y="662"/>
                  </a:lnTo>
                  <a:lnTo>
                    <a:pt x="622" y="664"/>
                  </a:lnTo>
                  <a:lnTo>
                    <a:pt x="629" y="666"/>
                  </a:lnTo>
                  <a:lnTo>
                    <a:pt x="633" y="662"/>
                  </a:lnTo>
                  <a:lnTo>
                    <a:pt x="636" y="662"/>
                  </a:lnTo>
                  <a:lnTo>
                    <a:pt x="636" y="657"/>
                  </a:lnTo>
                  <a:lnTo>
                    <a:pt x="636" y="654"/>
                  </a:lnTo>
                  <a:lnTo>
                    <a:pt x="636" y="654"/>
                  </a:lnTo>
                  <a:lnTo>
                    <a:pt x="636" y="652"/>
                  </a:lnTo>
                  <a:lnTo>
                    <a:pt x="638" y="652"/>
                  </a:lnTo>
                  <a:lnTo>
                    <a:pt x="640" y="652"/>
                  </a:lnTo>
                  <a:lnTo>
                    <a:pt x="640" y="654"/>
                  </a:lnTo>
                  <a:lnTo>
                    <a:pt x="638" y="654"/>
                  </a:lnTo>
                  <a:lnTo>
                    <a:pt x="640" y="659"/>
                  </a:lnTo>
                  <a:lnTo>
                    <a:pt x="640" y="662"/>
                  </a:lnTo>
                  <a:lnTo>
                    <a:pt x="640" y="664"/>
                  </a:lnTo>
                  <a:lnTo>
                    <a:pt x="640" y="666"/>
                  </a:lnTo>
                  <a:lnTo>
                    <a:pt x="638" y="666"/>
                  </a:lnTo>
                  <a:lnTo>
                    <a:pt x="638" y="669"/>
                  </a:lnTo>
                  <a:lnTo>
                    <a:pt x="636" y="673"/>
                  </a:lnTo>
                  <a:lnTo>
                    <a:pt x="636" y="676"/>
                  </a:lnTo>
                  <a:lnTo>
                    <a:pt x="633" y="676"/>
                  </a:lnTo>
                  <a:lnTo>
                    <a:pt x="629" y="676"/>
                  </a:lnTo>
                  <a:lnTo>
                    <a:pt x="626" y="678"/>
                  </a:lnTo>
                  <a:lnTo>
                    <a:pt x="624" y="678"/>
                  </a:lnTo>
                  <a:lnTo>
                    <a:pt x="624" y="678"/>
                  </a:lnTo>
                  <a:lnTo>
                    <a:pt x="624" y="680"/>
                  </a:lnTo>
                  <a:lnTo>
                    <a:pt x="624" y="680"/>
                  </a:lnTo>
                  <a:lnTo>
                    <a:pt x="622" y="683"/>
                  </a:lnTo>
                  <a:lnTo>
                    <a:pt x="624" y="685"/>
                  </a:lnTo>
                  <a:lnTo>
                    <a:pt x="624" y="688"/>
                  </a:lnTo>
                  <a:lnTo>
                    <a:pt x="622" y="688"/>
                  </a:lnTo>
                  <a:lnTo>
                    <a:pt x="619" y="688"/>
                  </a:lnTo>
                  <a:lnTo>
                    <a:pt x="617" y="690"/>
                  </a:lnTo>
                  <a:lnTo>
                    <a:pt x="614" y="692"/>
                  </a:lnTo>
                  <a:lnTo>
                    <a:pt x="612" y="692"/>
                  </a:lnTo>
                  <a:lnTo>
                    <a:pt x="607" y="697"/>
                  </a:lnTo>
                  <a:lnTo>
                    <a:pt x="605" y="697"/>
                  </a:lnTo>
                  <a:lnTo>
                    <a:pt x="605" y="699"/>
                  </a:lnTo>
                  <a:lnTo>
                    <a:pt x="603" y="699"/>
                  </a:lnTo>
                  <a:lnTo>
                    <a:pt x="603" y="702"/>
                  </a:lnTo>
                  <a:lnTo>
                    <a:pt x="600" y="702"/>
                  </a:lnTo>
                  <a:lnTo>
                    <a:pt x="598" y="702"/>
                  </a:lnTo>
                  <a:lnTo>
                    <a:pt x="598" y="704"/>
                  </a:lnTo>
                  <a:lnTo>
                    <a:pt x="593" y="706"/>
                  </a:lnTo>
                  <a:lnTo>
                    <a:pt x="593" y="709"/>
                  </a:lnTo>
                  <a:lnTo>
                    <a:pt x="593" y="709"/>
                  </a:lnTo>
                  <a:lnTo>
                    <a:pt x="591" y="711"/>
                  </a:lnTo>
                  <a:lnTo>
                    <a:pt x="588" y="709"/>
                  </a:lnTo>
                  <a:lnTo>
                    <a:pt x="586" y="711"/>
                  </a:lnTo>
                  <a:lnTo>
                    <a:pt x="584" y="711"/>
                  </a:lnTo>
                  <a:lnTo>
                    <a:pt x="581" y="713"/>
                  </a:lnTo>
                  <a:lnTo>
                    <a:pt x="581" y="711"/>
                  </a:lnTo>
                  <a:lnTo>
                    <a:pt x="577" y="713"/>
                  </a:lnTo>
                  <a:lnTo>
                    <a:pt x="577" y="713"/>
                  </a:lnTo>
                  <a:lnTo>
                    <a:pt x="577" y="713"/>
                  </a:lnTo>
                  <a:lnTo>
                    <a:pt x="574" y="716"/>
                  </a:lnTo>
                  <a:lnTo>
                    <a:pt x="574" y="716"/>
                  </a:lnTo>
                  <a:lnTo>
                    <a:pt x="574" y="718"/>
                  </a:lnTo>
                  <a:lnTo>
                    <a:pt x="577" y="721"/>
                  </a:lnTo>
                  <a:lnTo>
                    <a:pt x="577" y="721"/>
                  </a:lnTo>
                  <a:lnTo>
                    <a:pt x="577" y="721"/>
                  </a:lnTo>
                  <a:lnTo>
                    <a:pt x="577" y="725"/>
                  </a:lnTo>
                  <a:lnTo>
                    <a:pt x="574" y="728"/>
                  </a:lnTo>
                  <a:lnTo>
                    <a:pt x="570" y="730"/>
                  </a:lnTo>
                  <a:lnTo>
                    <a:pt x="570" y="730"/>
                  </a:lnTo>
                  <a:lnTo>
                    <a:pt x="572" y="730"/>
                  </a:lnTo>
                  <a:lnTo>
                    <a:pt x="572" y="735"/>
                  </a:lnTo>
                  <a:lnTo>
                    <a:pt x="572" y="737"/>
                  </a:lnTo>
                  <a:lnTo>
                    <a:pt x="570" y="737"/>
                  </a:lnTo>
                  <a:lnTo>
                    <a:pt x="567" y="739"/>
                  </a:lnTo>
                  <a:lnTo>
                    <a:pt x="565" y="739"/>
                  </a:lnTo>
                  <a:lnTo>
                    <a:pt x="565" y="742"/>
                  </a:lnTo>
                  <a:lnTo>
                    <a:pt x="565" y="744"/>
                  </a:lnTo>
                  <a:lnTo>
                    <a:pt x="565" y="744"/>
                  </a:lnTo>
                  <a:lnTo>
                    <a:pt x="565" y="749"/>
                  </a:lnTo>
                  <a:lnTo>
                    <a:pt x="565" y="749"/>
                  </a:lnTo>
                  <a:lnTo>
                    <a:pt x="562" y="751"/>
                  </a:lnTo>
                  <a:lnTo>
                    <a:pt x="560" y="754"/>
                  </a:lnTo>
                  <a:lnTo>
                    <a:pt x="555" y="756"/>
                  </a:lnTo>
                  <a:lnTo>
                    <a:pt x="555" y="758"/>
                  </a:lnTo>
                  <a:lnTo>
                    <a:pt x="553" y="758"/>
                  </a:lnTo>
                  <a:lnTo>
                    <a:pt x="551" y="761"/>
                  </a:lnTo>
                  <a:lnTo>
                    <a:pt x="551" y="761"/>
                  </a:lnTo>
                  <a:lnTo>
                    <a:pt x="551" y="763"/>
                  </a:lnTo>
                  <a:lnTo>
                    <a:pt x="548" y="765"/>
                  </a:lnTo>
                  <a:lnTo>
                    <a:pt x="546" y="773"/>
                  </a:lnTo>
                  <a:lnTo>
                    <a:pt x="544" y="782"/>
                  </a:lnTo>
                  <a:lnTo>
                    <a:pt x="541" y="787"/>
                  </a:lnTo>
                  <a:lnTo>
                    <a:pt x="539" y="789"/>
                  </a:lnTo>
                  <a:lnTo>
                    <a:pt x="539" y="789"/>
                  </a:lnTo>
                  <a:lnTo>
                    <a:pt x="527" y="794"/>
                  </a:lnTo>
                  <a:lnTo>
                    <a:pt x="525" y="794"/>
                  </a:lnTo>
                  <a:lnTo>
                    <a:pt x="525" y="796"/>
                  </a:lnTo>
                  <a:lnTo>
                    <a:pt x="525" y="799"/>
                  </a:lnTo>
                  <a:lnTo>
                    <a:pt x="522" y="799"/>
                  </a:lnTo>
                  <a:lnTo>
                    <a:pt x="522" y="801"/>
                  </a:lnTo>
                  <a:lnTo>
                    <a:pt x="525" y="801"/>
                  </a:lnTo>
                  <a:lnTo>
                    <a:pt x="525" y="803"/>
                  </a:lnTo>
                  <a:lnTo>
                    <a:pt x="525" y="808"/>
                  </a:lnTo>
                  <a:lnTo>
                    <a:pt x="527" y="810"/>
                  </a:lnTo>
                  <a:lnTo>
                    <a:pt x="529" y="810"/>
                  </a:lnTo>
                  <a:lnTo>
                    <a:pt x="529" y="810"/>
                  </a:lnTo>
                  <a:lnTo>
                    <a:pt x="532" y="810"/>
                  </a:lnTo>
                  <a:lnTo>
                    <a:pt x="532" y="815"/>
                  </a:lnTo>
                  <a:lnTo>
                    <a:pt x="532" y="815"/>
                  </a:lnTo>
                  <a:lnTo>
                    <a:pt x="534" y="817"/>
                  </a:lnTo>
                  <a:lnTo>
                    <a:pt x="534" y="817"/>
                  </a:lnTo>
                  <a:lnTo>
                    <a:pt x="534" y="822"/>
                  </a:lnTo>
                  <a:lnTo>
                    <a:pt x="536" y="825"/>
                  </a:lnTo>
                  <a:lnTo>
                    <a:pt x="536" y="827"/>
                  </a:lnTo>
                  <a:lnTo>
                    <a:pt x="536" y="827"/>
                  </a:lnTo>
                  <a:lnTo>
                    <a:pt x="539" y="827"/>
                  </a:lnTo>
                  <a:lnTo>
                    <a:pt x="541" y="829"/>
                  </a:lnTo>
                  <a:lnTo>
                    <a:pt x="541" y="829"/>
                  </a:lnTo>
                  <a:lnTo>
                    <a:pt x="544" y="829"/>
                  </a:lnTo>
                  <a:lnTo>
                    <a:pt x="546" y="829"/>
                  </a:lnTo>
                  <a:lnTo>
                    <a:pt x="548" y="829"/>
                  </a:lnTo>
                  <a:lnTo>
                    <a:pt x="548" y="832"/>
                  </a:lnTo>
                  <a:lnTo>
                    <a:pt x="548" y="832"/>
                  </a:lnTo>
                  <a:lnTo>
                    <a:pt x="551" y="832"/>
                  </a:lnTo>
                  <a:lnTo>
                    <a:pt x="553" y="832"/>
                  </a:lnTo>
                  <a:lnTo>
                    <a:pt x="553" y="832"/>
                  </a:lnTo>
                  <a:lnTo>
                    <a:pt x="555" y="832"/>
                  </a:lnTo>
                  <a:lnTo>
                    <a:pt x="558" y="832"/>
                  </a:lnTo>
                  <a:lnTo>
                    <a:pt x="562" y="832"/>
                  </a:lnTo>
                  <a:lnTo>
                    <a:pt x="565" y="834"/>
                  </a:lnTo>
                  <a:lnTo>
                    <a:pt x="567" y="834"/>
                  </a:lnTo>
                  <a:lnTo>
                    <a:pt x="567" y="834"/>
                  </a:lnTo>
                  <a:lnTo>
                    <a:pt x="570" y="836"/>
                  </a:lnTo>
                  <a:lnTo>
                    <a:pt x="572" y="836"/>
                  </a:lnTo>
                  <a:lnTo>
                    <a:pt x="574" y="836"/>
                  </a:lnTo>
                  <a:lnTo>
                    <a:pt x="574" y="839"/>
                  </a:lnTo>
                  <a:lnTo>
                    <a:pt x="574" y="839"/>
                  </a:lnTo>
                  <a:lnTo>
                    <a:pt x="577" y="841"/>
                  </a:lnTo>
                  <a:lnTo>
                    <a:pt x="577" y="841"/>
                  </a:lnTo>
                  <a:lnTo>
                    <a:pt x="579" y="841"/>
                  </a:lnTo>
                  <a:lnTo>
                    <a:pt x="581" y="839"/>
                  </a:lnTo>
                  <a:lnTo>
                    <a:pt x="581" y="841"/>
                  </a:lnTo>
                  <a:lnTo>
                    <a:pt x="584" y="841"/>
                  </a:lnTo>
                  <a:lnTo>
                    <a:pt x="586" y="841"/>
                  </a:lnTo>
                  <a:lnTo>
                    <a:pt x="586" y="841"/>
                  </a:lnTo>
                  <a:lnTo>
                    <a:pt x="588" y="841"/>
                  </a:lnTo>
                  <a:lnTo>
                    <a:pt x="591" y="841"/>
                  </a:lnTo>
                  <a:lnTo>
                    <a:pt x="591" y="843"/>
                  </a:lnTo>
                  <a:lnTo>
                    <a:pt x="591" y="846"/>
                  </a:lnTo>
                  <a:lnTo>
                    <a:pt x="591" y="846"/>
                  </a:lnTo>
                  <a:lnTo>
                    <a:pt x="584" y="846"/>
                  </a:lnTo>
                  <a:lnTo>
                    <a:pt x="581" y="848"/>
                  </a:lnTo>
                  <a:lnTo>
                    <a:pt x="579" y="846"/>
                  </a:lnTo>
                  <a:lnTo>
                    <a:pt x="577" y="848"/>
                  </a:lnTo>
                  <a:lnTo>
                    <a:pt x="574" y="846"/>
                  </a:lnTo>
                  <a:lnTo>
                    <a:pt x="570" y="843"/>
                  </a:lnTo>
                  <a:lnTo>
                    <a:pt x="567" y="843"/>
                  </a:lnTo>
                  <a:lnTo>
                    <a:pt x="567" y="843"/>
                  </a:lnTo>
                  <a:lnTo>
                    <a:pt x="567" y="843"/>
                  </a:lnTo>
                  <a:lnTo>
                    <a:pt x="565" y="843"/>
                  </a:lnTo>
                  <a:lnTo>
                    <a:pt x="562" y="843"/>
                  </a:lnTo>
                  <a:lnTo>
                    <a:pt x="562" y="843"/>
                  </a:lnTo>
                  <a:lnTo>
                    <a:pt x="562" y="846"/>
                  </a:lnTo>
                  <a:lnTo>
                    <a:pt x="562" y="848"/>
                  </a:lnTo>
                  <a:lnTo>
                    <a:pt x="562" y="848"/>
                  </a:lnTo>
                  <a:lnTo>
                    <a:pt x="565" y="851"/>
                  </a:lnTo>
                  <a:lnTo>
                    <a:pt x="565" y="853"/>
                  </a:lnTo>
                  <a:lnTo>
                    <a:pt x="562" y="853"/>
                  </a:lnTo>
                  <a:lnTo>
                    <a:pt x="560" y="858"/>
                  </a:lnTo>
                  <a:lnTo>
                    <a:pt x="555" y="860"/>
                  </a:lnTo>
                  <a:lnTo>
                    <a:pt x="553" y="860"/>
                  </a:lnTo>
                  <a:lnTo>
                    <a:pt x="555" y="860"/>
                  </a:lnTo>
                  <a:lnTo>
                    <a:pt x="558" y="860"/>
                  </a:lnTo>
                  <a:lnTo>
                    <a:pt x="558" y="862"/>
                  </a:lnTo>
                  <a:lnTo>
                    <a:pt x="560" y="862"/>
                  </a:lnTo>
                  <a:lnTo>
                    <a:pt x="560" y="865"/>
                  </a:lnTo>
                  <a:lnTo>
                    <a:pt x="558" y="865"/>
                  </a:lnTo>
                  <a:lnTo>
                    <a:pt x="558" y="865"/>
                  </a:lnTo>
                  <a:lnTo>
                    <a:pt x="560" y="867"/>
                  </a:lnTo>
                  <a:lnTo>
                    <a:pt x="558" y="867"/>
                  </a:lnTo>
                  <a:lnTo>
                    <a:pt x="558" y="869"/>
                  </a:lnTo>
                  <a:lnTo>
                    <a:pt x="558" y="869"/>
                  </a:lnTo>
                  <a:lnTo>
                    <a:pt x="558" y="869"/>
                  </a:lnTo>
                  <a:lnTo>
                    <a:pt x="555" y="872"/>
                  </a:lnTo>
                  <a:lnTo>
                    <a:pt x="555" y="869"/>
                  </a:lnTo>
                  <a:lnTo>
                    <a:pt x="553" y="872"/>
                  </a:lnTo>
                  <a:lnTo>
                    <a:pt x="555" y="874"/>
                  </a:lnTo>
                  <a:lnTo>
                    <a:pt x="553" y="874"/>
                  </a:lnTo>
                  <a:lnTo>
                    <a:pt x="555" y="876"/>
                  </a:lnTo>
                  <a:lnTo>
                    <a:pt x="558" y="876"/>
                  </a:lnTo>
                  <a:lnTo>
                    <a:pt x="558" y="876"/>
                  </a:lnTo>
                  <a:lnTo>
                    <a:pt x="560" y="879"/>
                  </a:lnTo>
                  <a:lnTo>
                    <a:pt x="562" y="879"/>
                  </a:lnTo>
                  <a:lnTo>
                    <a:pt x="565" y="876"/>
                  </a:lnTo>
                  <a:lnTo>
                    <a:pt x="567" y="879"/>
                  </a:lnTo>
                  <a:lnTo>
                    <a:pt x="570" y="879"/>
                  </a:lnTo>
                  <a:lnTo>
                    <a:pt x="572" y="879"/>
                  </a:lnTo>
                  <a:lnTo>
                    <a:pt x="574" y="879"/>
                  </a:lnTo>
                  <a:lnTo>
                    <a:pt x="577" y="876"/>
                  </a:lnTo>
                  <a:lnTo>
                    <a:pt x="577" y="876"/>
                  </a:lnTo>
                  <a:lnTo>
                    <a:pt x="579" y="876"/>
                  </a:lnTo>
                  <a:lnTo>
                    <a:pt x="579" y="879"/>
                  </a:lnTo>
                  <a:lnTo>
                    <a:pt x="579" y="881"/>
                  </a:lnTo>
                  <a:lnTo>
                    <a:pt x="577" y="884"/>
                  </a:lnTo>
                  <a:lnTo>
                    <a:pt x="574" y="884"/>
                  </a:lnTo>
                  <a:lnTo>
                    <a:pt x="570" y="886"/>
                  </a:lnTo>
                  <a:lnTo>
                    <a:pt x="565" y="886"/>
                  </a:lnTo>
                  <a:lnTo>
                    <a:pt x="562" y="886"/>
                  </a:lnTo>
                  <a:lnTo>
                    <a:pt x="560" y="886"/>
                  </a:lnTo>
                  <a:lnTo>
                    <a:pt x="558" y="888"/>
                  </a:lnTo>
                  <a:lnTo>
                    <a:pt x="558" y="891"/>
                  </a:lnTo>
                  <a:lnTo>
                    <a:pt x="555" y="891"/>
                  </a:lnTo>
                  <a:lnTo>
                    <a:pt x="553" y="893"/>
                  </a:lnTo>
                  <a:lnTo>
                    <a:pt x="553" y="895"/>
                  </a:lnTo>
                  <a:lnTo>
                    <a:pt x="553" y="895"/>
                  </a:lnTo>
                  <a:lnTo>
                    <a:pt x="551" y="895"/>
                  </a:lnTo>
                  <a:lnTo>
                    <a:pt x="551" y="898"/>
                  </a:lnTo>
                  <a:lnTo>
                    <a:pt x="553" y="900"/>
                  </a:lnTo>
                  <a:lnTo>
                    <a:pt x="553" y="900"/>
                  </a:lnTo>
                  <a:lnTo>
                    <a:pt x="553" y="900"/>
                  </a:lnTo>
                  <a:lnTo>
                    <a:pt x="553" y="902"/>
                  </a:lnTo>
                  <a:lnTo>
                    <a:pt x="553" y="902"/>
                  </a:lnTo>
                  <a:lnTo>
                    <a:pt x="553" y="905"/>
                  </a:lnTo>
                  <a:lnTo>
                    <a:pt x="555" y="905"/>
                  </a:lnTo>
                  <a:lnTo>
                    <a:pt x="555" y="907"/>
                  </a:lnTo>
                  <a:lnTo>
                    <a:pt x="555" y="910"/>
                  </a:lnTo>
                  <a:lnTo>
                    <a:pt x="555" y="910"/>
                  </a:lnTo>
                  <a:lnTo>
                    <a:pt x="553" y="912"/>
                  </a:lnTo>
                  <a:lnTo>
                    <a:pt x="553" y="914"/>
                  </a:lnTo>
                  <a:lnTo>
                    <a:pt x="553" y="914"/>
                  </a:lnTo>
                  <a:lnTo>
                    <a:pt x="553" y="914"/>
                  </a:lnTo>
                  <a:lnTo>
                    <a:pt x="553" y="917"/>
                  </a:lnTo>
                  <a:lnTo>
                    <a:pt x="553" y="917"/>
                  </a:lnTo>
                  <a:lnTo>
                    <a:pt x="553" y="919"/>
                  </a:lnTo>
                  <a:lnTo>
                    <a:pt x="555" y="919"/>
                  </a:lnTo>
                  <a:lnTo>
                    <a:pt x="555" y="921"/>
                  </a:lnTo>
                  <a:lnTo>
                    <a:pt x="555" y="921"/>
                  </a:lnTo>
                  <a:lnTo>
                    <a:pt x="555" y="924"/>
                  </a:lnTo>
                  <a:lnTo>
                    <a:pt x="553" y="924"/>
                  </a:lnTo>
                  <a:lnTo>
                    <a:pt x="553" y="924"/>
                  </a:lnTo>
                  <a:lnTo>
                    <a:pt x="555" y="928"/>
                  </a:lnTo>
                  <a:lnTo>
                    <a:pt x="555" y="928"/>
                  </a:lnTo>
                  <a:lnTo>
                    <a:pt x="553" y="931"/>
                  </a:lnTo>
                  <a:lnTo>
                    <a:pt x="555" y="931"/>
                  </a:lnTo>
                  <a:lnTo>
                    <a:pt x="558" y="931"/>
                  </a:lnTo>
                  <a:lnTo>
                    <a:pt x="560" y="931"/>
                  </a:lnTo>
                  <a:lnTo>
                    <a:pt x="560" y="931"/>
                  </a:lnTo>
                  <a:lnTo>
                    <a:pt x="560" y="933"/>
                  </a:lnTo>
                  <a:lnTo>
                    <a:pt x="558" y="933"/>
                  </a:lnTo>
                  <a:lnTo>
                    <a:pt x="558" y="933"/>
                  </a:lnTo>
                  <a:lnTo>
                    <a:pt x="558" y="936"/>
                  </a:lnTo>
                  <a:lnTo>
                    <a:pt x="555" y="936"/>
                  </a:lnTo>
                  <a:lnTo>
                    <a:pt x="558" y="938"/>
                  </a:lnTo>
                  <a:lnTo>
                    <a:pt x="558" y="936"/>
                  </a:lnTo>
                  <a:lnTo>
                    <a:pt x="558" y="938"/>
                  </a:lnTo>
                  <a:lnTo>
                    <a:pt x="560" y="938"/>
                  </a:lnTo>
                  <a:lnTo>
                    <a:pt x="562" y="938"/>
                  </a:lnTo>
                  <a:lnTo>
                    <a:pt x="565" y="940"/>
                  </a:lnTo>
                  <a:lnTo>
                    <a:pt x="565" y="943"/>
                  </a:lnTo>
                  <a:lnTo>
                    <a:pt x="565" y="943"/>
                  </a:lnTo>
                  <a:lnTo>
                    <a:pt x="565" y="945"/>
                  </a:lnTo>
                  <a:lnTo>
                    <a:pt x="562" y="945"/>
                  </a:lnTo>
                  <a:lnTo>
                    <a:pt x="562" y="947"/>
                  </a:lnTo>
                  <a:lnTo>
                    <a:pt x="565" y="947"/>
                  </a:lnTo>
                  <a:lnTo>
                    <a:pt x="565" y="947"/>
                  </a:lnTo>
                  <a:lnTo>
                    <a:pt x="565" y="947"/>
                  </a:lnTo>
                  <a:lnTo>
                    <a:pt x="567" y="947"/>
                  </a:lnTo>
                  <a:lnTo>
                    <a:pt x="567" y="947"/>
                  </a:lnTo>
                  <a:lnTo>
                    <a:pt x="570" y="947"/>
                  </a:lnTo>
                  <a:lnTo>
                    <a:pt x="570" y="950"/>
                  </a:lnTo>
                  <a:lnTo>
                    <a:pt x="570" y="950"/>
                  </a:lnTo>
                  <a:lnTo>
                    <a:pt x="570" y="952"/>
                  </a:lnTo>
                  <a:lnTo>
                    <a:pt x="570" y="957"/>
                  </a:lnTo>
                  <a:lnTo>
                    <a:pt x="572" y="957"/>
                  </a:lnTo>
                  <a:lnTo>
                    <a:pt x="579" y="954"/>
                  </a:lnTo>
                  <a:lnTo>
                    <a:pt x="581" y="954"/>
                  </a:lnTo>
                  <a:lnTo>
                    <a:pt x="581" y="957"/>
                  </a:lnTo>
                  <a:lnTo>
                    <a:pt x="581" y="957"/>
                  </a:lnTo>
                  <a:lnTo>
                    <a:pt x="581" y="959"/>
                  </a:lnTo>
                  <a:lnTo>
                    <a:pt x="581" y="962"/>
                  </a:lnTo>
                  <a:lnTo>
                    <a:pt x="577" y="962"/>
                  </a:lnTo>
                  <a:lnTo>
                    <a:pt x="572" y="962"/>
                  </a:lnTo>
                  <a:lnTo>
                    <a:pt x="570" y="964"/>
                  </a:lnTo>
                  <a:lnTo>
                    <a:pt x="570" y="964"/>
                  </a:lnTo>
                  <a:lnTo>
                    <a:pt x="567" y="964"/>
                  </a:lnTo>
                  <a:lnTo>
                    <a:pt x="567" y="966"/>
                  </a:lnTo>
                  <a:lnTo>
                    <a:pt x="567" y="969"/>
                  </a:lnTo>
                  <a:lnTo>
                    <a:pt x="565" y="969"/>
                  </a:lnTo>
                  <a:lnTo>
                    <a:pt x="567" y="971"/>
                  </a:lnTo>
                  <a:lnTo>
                    <a:pt x="565" y="976"/>
                  </a:lnTo>
                  <a:lnTo>
                    <a:pt x="567" y="976"/>
                  </a:lnTo>
                  <a:lnTo>
                    <a:pt x="567" y="976"/>
                  </a:lnTo>
                  <a:lnTo>
                    <a:pt x="567" y="976"/>
                  </a:lnTo>
                  <a:lnTo>
                    <a:pt x="567" y="976"/>
                  </a:lnTo>
                  <a:lnTo>
                    <a:pt x="570" y="978"/>
                  </a:lnTo>
                  <a:lnTo>
                    <a:pt x="567" y="980"/>
                  </a:lnTo>
                  <a:lnTo>
                    <a:pt x="565" y="980"/>
                  </a:lnTo>
                  <a:lnTo>
                    <a:pt x="565" y="983"/>
                  </a:lnTo>
                  <a:lnTo>
                    <a:pt x="565" y="983"/>
                  </a:lnTo>
                  <a:lnTo>
                    <a:pt x="565" y="985"/>
                  </a:lnTo>
                  <a:lnTo>
                    <a:pt x="567" y="985"/>
                  </a:lnTo>
                  <a:lnTo>
                    <a:pt x="567" y="985"/>
                  </a:lnTo>
                  <a:lnTo>
                    <a:pt x="567" y="990"/>
                  </a:lnTo>
                  <a:lnTo>
                    <a:pt x="565" y="990"/>
                  </a:lnTo>
                  <a:lnTo>
                    <a:pt x="567" y="992"/>
                  </a:lnTo>
                  <a:lnTo>
                    <a:pt x="567" y="995"/>
                  </a:lnTo>
                  <a:lnTo>
                    <a:pt x="565" y="995"/>
                  </a:lnTo>
                  <a:lnTo>
                    <a:pt x="565" y="997"/>
                  </a:lnTo>
                  <a:lnTo>
                    <a:pt x="565" y="997"/>
                  </a:lnTo>
                  <a:lnTo>
                    <a:pt x="567" y="999"/>
                  </a:lnTo>
                  <a:lnTo>
                    <a:pt x="567" y="999"/>
                  </a:lnTo>
                  <a:lnTo>
                    <a:pt x="567" y="1002"/>
                  </a:lnTo>
                  <a:lnTo>
                    <a:pt x="567" y="1004"/>
                  </a:lnTo>
                  <a:lnTo>
                    <a:pt x="565" y="1004"/>
                  </a:lnTo>
                  <a:lnTo>
                    <a:pt x="565" y="1006"/>
                  </a:lnTo>
                  <a:lnTo>
                    <a:pt x="565" y="1009"/>
                  </a:lnTo>
                  <a:lnTo>
                    <a:pt x="565" y="1011"/>
                  </a:lnTo>
                  <a:lnTo>
                    <a:pt x="565" y="1013"/>
                  </a:lnTo>
                  <a:lnTo>
                    <a:pt x="562" y="1016"/>
                  </a:lnTo>
                  <a:lnTo>
                    <a:pt x="565" y="1016"/>
                  </a:lnTo>
                  <a:lnTo>
                    <a:pt x="567" y="1013"/>
                  </a:lnTo>
                  <a:lnTo>
                    <a:pt x="567" y="1013"/>
                  </a:lnTo>
                  <a:lnTo>
                    <a:pt x="574" y="1016"/>
                  </a:lnTo>
                  <a:lnTo>
                    <a:pt x="577" y="1013"/>
                  </a:lnTo>
                  <a:lnTo>
                    <a:pt x="577" y="1013"/>
                  </a:lnTo>
                  <a:lnTo>
                    <a:pt x="584" y="1011"/>
                  </a:lnTo>
                  <a:lnTo>
                    <a:pt x="586" y="1011"/>
                  </a:lnTo>
                  <a:lnTo>
                    <a:pt x="586" y="1013"/>
                  </a:lnTo>
                  <a:lnTo>
                    <a:pt x="586" y="1013"/>
                  </a:lnTo>
                  <a:lnTo>
                    <a:pt x="584" y="1016"/>
                  </a:lnTo>
                  <a:lnTo>
                    <a:pt x="581" y="1013"/>
                  </a:lnTo>
                  <a:lnTo>
                    <a:pt x="579" y="1016"/>
                  </a:lnTo>
                  <a:lnTo>
                    <a:pt x="579" y="1016"/>
                  </a:lnTo>
                  <a:lnTo>
                    <a:pt x="577" y="1016"/>
                  </a:lnTo>
                  <a:lnTo>
                    <a:pt x="577" y="1018"/>
                  </a:lnTo>
                  <a:lnTo>
                    <a:pt x="574" y="1018"/>
                  </a:lnTo>
                  <a:lnTo>
                    <a:pt x="572" y="1018"/>
                  </a:lnTo>
                  <a:lnTo>
                    <a:pt x="572" y="1018"/>
                  </a:lnTo>
                  <a:lnTo>
                    <a:pt x="567" y="1021"/>
                  </a:lnTo>
                  <a:lnTo>
                    <a:pt x="565" y="1018"/>
                  </a:lnTo>
                  <a:lnTo>
                    <a:pt x="565" y="1021"/>
                  </a:lnTo>
                  <a:lnTo>
                    <a:pt x="562" y="1021"/>
                  </a:lnTo>
                  <a:lnTo>
                    <a:pt x="558" y="1021"/>
                  </a:lnTo>
                  <a:lnTo>
                    <a:pt x="558" y="1021"/>
                  </a:lnTo>
                  <a:lnTo>
                    <a:pt x="555" y="1023"/>
                  </a:lnTo>
                  <a:lnTo>
                    <a:pt x="553" y="1021"/>
                  </a:lnTo>
                  <a:lnTo>
                    <a:pt x="555" y="1021"/>
                  </a:lnTo>
                  <a:lnTo>
                    <a:pt x="553" y="1018"/>
                  </a:lnTo>
                  <a:lnTo>
                    <a:pt x="555" y="1018"/>
                  </a:lnTo>
                  <a:lnTo>
                    <a:pt x="555" y="1016"/>
                  </a:lnTo>
                  <a:lnTo>
                    <a:pt x="555" y="1016"/>
                  </a:lnTo>
                  <a:lnTo>
                    <a:pt x="555" y="1013"/>
                  </a:lnTo>
                  <a:lnTo>
                    <a:pt x="555" y="1011"/>
                  </a:lnTo>
                  <a:lnTo>
                    <a:pt x="555" y="1011"/>
                  </a:lnTo>
                  <a:lnTo>
                    <a:pt x="555" y="1011"/>
                  </a:lnTo>
                  <a:lnTo>
                    <a:pt x="555" y="1009"/>
                  </a:lnTo>
                  <a:lnTo>
                    <a:pt x="555" y="1009"/>
                  </a:lnTo>
                  <a:lnTo>
                    <a:pt x="555" y="1006"/>
                  </a:lnTo>
                  <a:lnTo>
                    <a:pt x="555" y="1006"/>
                  </a:lnTo>
                  <a:lnTo>
                    <a:pt x="555" y="1006"/>
                  </a:lnTo>
                  <a:lnTo>
                    <a:pt x="553" y="1004"/>
                  </a:lnTo>
                  <a:lnTo>
                    <a:pt x="553" y="1004"/>
                  </a:lnTo>
                  <a:lnTo>
                    <a:pt x="553" y="1004"/>
                  </a:lnTo>
                  <a:lnTo>
                    <a:pt x="553" y="1004"/>
                  </a:lnTo>
                  <a:lnTo>
                    <a:pt x="551" y="1004"/>
                  </a:lnTo>
                  <a:lnTo>
                    <a:pt x="551" y="1004"/>
                  </a:lnTo>
                  <a:lnTo>
                    <a:pt x="548" y="1004"/>
                  </a:lnTo>
                  <a:lnTo>
                    <a:pt x="548" y="1002"/>
                  </a:lnTo>
                  <a:lnTo>
                    <a:pt x="548" y="1002"/>
                  </a:lnTo>
                  <a:lnTo>
                    <a:pt x="548" y="999"/>
                  </a:lnTo>
                  <a:lnTo>
                    <a:pt x="546" y="1013"/>
                  </a:lnTo>
                  <a:lnTo>
                    <a:pt x="546" y="1013"/>
                  </a:lnTo>
                  <a:lnTo>
                    <a:pt x="546" y="1016"/>
                  </a:lnTo>
                  <a:lnTo>
                    <a:pt x="544" y="1016"/>
                  </a:lnTo>
                  <a:lnTo>
                    <a:pt x="544" y="1021"/>
                  </a:lnTo>
                  <a:lnTo>
                    <a:pt x="541" y="1021"/>
                  </a:lnTo>
                  <a:lnTo>
                    <a:pt x="520" y="1021"/>
                  </a:lnTo>
                  <a:lnTo>
                    <a:pt x="506" y="1018"/>
                  </a:lnTo>
                  <a:lnTo>
                    <a:pt x="499" y="1023"/>
                  </a:lnTo>
                  <a:lnTo>
                    <a:pt x="496" y="1023"/>
                  </a:lnTo>
                  <a:lnTo>
                    <a:pt x="499" y="1025"/>
                  </a:lnTo>
                  <a:lnTo>
                    <a:pt x="496" y="1025"/>
                  </a:lnTo>
                  <a:lnTo>
                    <a:pt x="496" y="1028"/>
                  </a:lnTo>
                  <a:lnTo>
                    <a:pt x="494" y="1028"/>
                  </a:lnTo>
                  <a:lnTo>
                    <a:pt x="494" y="1030"/>
                  </a:lnTo>
                  <a:lnTo>
                    <a:pt x="494" y="1030"/>
                  </a:lnTo>
                  <a:lnTo>
                    <a:pt x="494" y="1030"/>
                  </a:lnTo>
                  <a:lnTo>
                    <a:pt x="494" y="1030"/>
                  </a:lnTo>
                  <a:lnTo>
                    <a:pt x="494" y="1032"/>
                  </a:lnTo>
                  <a:lnTo>
                    <a:pt x="492" y="1032"/>
                  </a:lnTo>
                  <a:lnTo>
                    <a:pt x="492" y="1032"/>
                  </a:lnTo>
                  <a:lnTo>
                    <a:pt x="492" y="1030"/>
                  </a:lnTo>
                  <a:lnTo>
                    <a:pt x="489" y="1032"/>
                  </a:lnTo>
                  <a:lnTo>
                    <a:pt x="489" y="1030"/>
                  </a:lnTo>
                  <a:lnTo>
                    <a:pt x="489" y="1030"/>
                  </a:lnTo>
                  <a:lnTo>
                    <a:pt x="489" y="1030"/>
                  </a:lnTo>
                  <a:lnTo>
                    <a:pt x="487" y="1032"/>
                  </a:lnTo>
                  <a:lnTo>
                    <a:pt x="484" y="1032"/>
                  </a:lnTo>
                  <a:lnTo>
                    <a:pt x="484" y="1035"/>
                  </a:lnTo>
                  <a:lnTo>
                    <a:pt x="484" y="1035"/>
                  </a:lnTo>
                  <a:lnTo>
                    <a:pt x="482" y="1035"/>
                  </a:lnTo>
                  <a:lnTo>
                    <a:pt x="480" y="1037"/>
                  </a:lnTo>
                  <a:lnTo>
                    <a:pt x="480" y="1037"/>
                  </a:lnTo>
                  <a:lnTo>
                    <a:pt x="477" y="1039"/>
                  </a:lnTo>
                  <a:lnTo>
                    <a:pt x="477" y="1039"/>
                  </a:lnTo>
                  <a:lnTo>
                    <a:pt x="475" y="1039"/>
                  </a:lnTo>
                  <a:lnTo>
                    <a:pt x="475" y="1039"/>
                  </a:lnTo>
                  <a:lnTo>
                    <a:pt x="475" y="1039"/>
                  </a:lnTo>
                  <a:lnTo>
                    <a:pt x="475" y="1039"/>
                  </a:lnTo>
                  <a:lnTo>
                    <a:pt x="473" y="1039"/>
                  </a:lnTo>
                  <a:lnTo>
                    <a:pt x="473" y="1039"/>
                  </a:lnTo>
                  <a:lnTo>
                    <a:pt x="473" y="1042"/>
                  </a:lnTo>
                  <a:lnTo>
                    <a:pt x="473" y="1042"/>
                  </a:lnTo>
                  <a:lnTo>
                    <a:pt x="470" y="1042"/>
                  </a:lnTo>
                  <a:lnTo>
                    <a:pt x="470" y="1042"/>
                  </a:lnTo>
                  <a:lnTo>
                    <a:pt x="468" y="1044"/>
                  </a:lnTo>
                  <a:lnTo>
                    <a:pt x="466" y="1044"/>
                  </a:lnTo>
                  <a:lnTo>
                    <a:pt x="466" y="1044"/>
                  </a:lnTo>
                  <a:lnTo>
                    <a:pt x="466" y="1044"/>
                  </a:lnTo>
                  <a:lnTo>
                    <a:pt x="463" y="1044"/>
                  </a:lnTo>
                  <a:lnTo>
                    <a:pt x="463" y="1044"/>
                  </a:lnTo>
                  <a:lnTo>
                    <a:pt x="463" y="1047"/>
                  </a:lnTo>
                  <a:lnTo>
                    <a:pt x="463" y="1047"/>
                  </a:lnTo>
                  <a:lnTo>
                    <a:pt x="463" y="1047"/>
                  </a:lnTo>
                  <a:lnTo>
                    <a:pt x="463" y="1044"/>
                  </a:lnTo>
                  <a:lnTo>
                    <a:pt x="461" y="1047"/>
                  </a:lnTo>
                  <a:lnTo>
                    <a:pt x="461" y="1047"/>
                  </a:lnTo>
                  <a:lnTo>
                    <a:pt x="461" y="1047"/>
                  </a:lnTo>
                  <a:lnTo>
                    <a:pt x="461" y="1044"/>
                  </a:lnTo>
                  <a:lnTo>
                    <a:pt x="461" y="1047"/>
                  </a:lnTo>
                  <a:lnTo>
                    <a:pt x="459" y="1047"/>
                  </a:lnTo>
                  <a:lnTo>
                    <a:pt x="456" y="1049"/>
                  </a:lnTo>
                  <a:lnTo>
                    <a:pt x="456" y="1049"/>
                  </a:lnTo>
                  <a:lnTo>
                    <a:pt x="456" y="1049"/>
                  </a:lnTo>
                  <a:lnTo>
                    <a:pt x="456" y="1051"/>
                  </a:lnTo>
                  <a:lnTo>
                    <a:pt x="454" y="1049"/>
                  </a:lnTo>
                  <a:lnTo>
                    <a:pt x="454" y="1051"/>
                  </a:lnTo>
                  <a:lnTo>
                    <a:pt x="451" y="1049"/>
                  </a:lnTo>
                  <a:lnTo>
                    <a:pt x="451" y="1049"/>
                  </a:lnTo>
                  <a:lnTo>
                    <a:pt x="451" y="1049"/>
                  </a:lnTo>
                  <a:lnTo>
                    <a:pt x="449" y="1049"/>
                  </a:lnTo>
                  <a:lnTo>
                    <a:pt x="447" y="1049"/>
                  </a:lnTo>
                  <a:lnTo>
                    <a:pt x="447" y="1049"/>
                  </a:lnTo>
                  <a:lnTo>
                    <a:pt x="447" y="1049"/>
                  </a:lnTo>
                  <a:lnTo>
                    <a:pt x="444" y="1049"/>
                  </a:lnTo>
                  <a:lnTo>
                    <a:pt x="444" y="1049"/>
                  </a:lnTo>
                  <a:lnTo>
                    <a:pt x="442" y="1051"/>
                  </a:lnTo>
                  <a:lnTo>
                    <a:pt x="444" y="1054"/>
                  </a:lnTo>
                  <a:lnTo>
                    <a:pt x="442" y="1054"/>
                  </a:lnTo>
                  <a:lnTo>
                    <a:pt x="440" y="1054"/>
                  </a:lnTo>
                  <a:lnTo>
                    <a:pt x="440" y="1056"/>
                  </a:lnTo>
                  <a:lnTo>
                    <a:pt x="440" y="1056"/>
                  </a:lnTo>
                  <a:lnTo>
                    <a:pt x="440" y="1058"/>
                  </a:lnTo>
                  <a:lnTo>
                    <a:pt x="437" y="1058"/>
                  </a:lnTo>
                  <a:lnTo>
                    <a:pt x="437" y="1056"/>
                  </a:lnTo>
                  <a:lnTo>
                    <a:pt x="437" y="1056"/>
                  </a:lnTo>
                  <a:lnTo>
                    <a:pt x="437" y="1056"/>
                  </a:lnTo>
                  <a:lnTo>
                    <a:pt x="435" y="1056"/>
                  </a:lnTo>
                  <a:lnTo>
                    <a:pt x="435" y="1056"/>
                  </a:lnTo>
                  <a:lnTo>
                    <a:pt x="430" y="1056"/>
                  </a:lnTo>
                  <a:lnTo>
                    <a:pt x="430" y="1056"/>
                  </a:lnTo>
                  <a:lnTo>
                    <a:pt x="428" y="1054"/>
                  </a:lnTo>
                  <a:lnTo>
                    <a:pt x="428" y="1054"/>
                  </a:lnTo>
                  <a:lnTo>
                    <a:pt x="425" y="1054"/>
                  </a:lnTo>
                  <a:lnTo>
                    <a:pt x="425" y="1054"/>
                  </a:lnTo>
                  <a:lnTo>
                    <a:pt x="425" y="1056"/>
                  </a:lnTo>
                  <a:lnTo>
                    <a:pt x="425" y="1058"/>
                  </a:lnTo>
                  <a:lnTo>
                    <a:pt x="421" y="1058"/>
                  </a:lnTo>
                  <a:lnTo>
                    <a:pt x="421" y="1061"/>
                  </a:lnTo>
                  <a:lnTo>
                    <a:pt x="421" y="1061"/>
                  </a:lnTo>
                  <a:lnTo>
                    <a:pt x="418" y="1061"/>
                  </a:lnTo>
                  <a:lnTo>
                    <a:pt x="418" y="1058"/>
                  </a:lnTo>
                  <a:lnTo>
                    <a:pt x="416" y="1056"/>
                  </a:lnTo>
                  <a:lnTo>
                    <a:pt x="418" y="1054"/>
                  </a:lnTo>
                  <a:lnTo>
                    <a:pt x="421" y="1054"/>
                  </a:lnTo>
                  <a:lnTo>
                    <a:pt x="418" y="1054"/>
                  </a:lnTo>
                  <a:lnTo>
                    <a:pt x="418" y="1051"/>
                  </a:lnTo>
                  <a:lnTo>
                    <a:pt x="416" y="1054"/>
                  </a:lnTo>
                  <a:lnTo>
                    <a:pt x="411" y="1051"/>
                  </a:lnTo>
                  <a:lnTo>
                    <a:pt x="411" y="1051"/>
                  </a:lnTo>
                  <a:lnTo>
                    <a:pt x="414" y="1047"/>
                  </a:lnTo>
                  <a:lnTo>
                    <a:pt x="411" y="1047"/>
                  </a:lnTo>
                  <a:lnTo>
                    <a:pt x="411" y="1049"/>
                  </a:lnTo>
                  <a:lnTo>
                    <a:pt x="409" y="1049"/>
                  </a:lnTo>
                  <a:lnTo>
                    <a:pt x="409" y="1047"/>
                  </a:lnTo>
                  <a:lnTo>
                    <a:pt x="407" y="1047"/>
                  </a:lnTo>
                  <a:lnTo>
                    <a:pt x="407" y="1049"/>
                  </a:lnTo>
                  <a:lnTo>
                    <a:pt x="402" y="1047"/>
                  </a:lnTo>
                  <a:lnTo>
                    <a:pt x="402" y="1042"/>
                  </a:lnTo>
                  <a:lnTo>
                    <a:pt x="402" y="1039"/>
                  </a:lnTo>
                  <a:lnTo>
                    <a:pt x="402" y="1039"/>
                  </a:lnTo>
                  <a:lnTo>
                    <a:pt x="399" y="1039"/>
                  </a:lnTo>
                  <a:lnTo>
                    <a:pt x="397" y="1037"/>
                  </a:lnTo>
                  <a:lnTo>
                    <a:pt x="395" y="1037"/>
                  </a:lnTo>
                  <a:lnTo>
                    <a:pt x="395" y="1037"/>
                  </a:lnTo>
                  <a:lnTo>
                    <a:pt x="392" y="1039"/>
                  </a:lnTo>
                  <a:lnTo>
                    <a:pt x="392" y="1039"/>
                  </a:lnTo>
                  <a:lnTo>
                    <a:pt x="392" y="1039"/>
                  </a:lnTo>
                  <a:lnTo>
                    <a:pt x="392" y="1039"/>
                  </a:lnTo>
                  <a:lnTo>
                    <a:pt x="392" y="1042"/>
                  </a:lnTo>
                  <a:lnTo>
                    <a:pt x="392" y="1042"/>
                  </a:lnTo>
                  <a:lnTo>
                    <a:pt x="392" y="1042"/>
                  </a:lnTo>
                  <a:lnTo>
                    <a:pt x="392" y="1042"/>
                  </a:lnTo>
                  <a:lnTo>
                    <a:pt x="392" y="1044"/>
                  </a:lnTo>
                  <a:lnTo>
                    <a:pt x="390" y="1044"/>
                  </a:lnTo>
                  <a:lnTo>
                    <a:pt x="390" y="1044"/>
                  </a:lnTo>
                  <a:lnTo>
                    <a:pt x="392" y="1047"/>
                  </a:lnTo>
                  <a:lnTo>
                    <a:pt x="390" y="1049"/>
                  </a:lnTo>
                  <a:lnTo>
                    <a:pt x="390" y="1049"/>
                  </a:lnTo>
                  <a:lnTo>
                    <a:pt x="390" y="1049"/>
                  </a:lnTo>
                  <a:lnTo>
                    <a:pt x="390" y="1049"/>
                  </a:lnTo>
                  <a:lnTo>
                    <a:pt x="390" y="1051"/>
                  </a:lnTo>
                  <a:lnTo>
                    <a:pt x="390" y="1051"/>
                  </a:lnTo>
                  <a:lnTo>
                    <a:pt x="390" y="1051"/>
                  </a:lnTo>
                  <a:lnTo>
                    <a:pt x="392" y="1051"/>
                  </a:lnTo>
                  <a:lnTo>
                    <a:pt x="392" y="1054"/>
                  </a:lnTo>
                  <a:lnTo>
                    <a:pt x="390" y="1054"/>
                  </a:lnTo>
                  <a:lnTo>
                    <a:pt x="392" y="1054"/>
                  </a:lnTo>
                  <a:lnTo>
                    <a:pt x="392" y="1056"/>
                  </a:lnTo>
                  <a:lnTo>
                    <a:pt x="392" y="1058"/>
                  </a:lnTo>
                  <a:lnTo>
                    <a:pt x="392" y="1058"/>
                  </a:lnTo>
                  <a:lnTo>
                    <a:pt x="390" y="1058"/>
                  </a:lnTo>
                  <a:lnTo>
                    <a:pt x="390" y="1061"/>
                  </a:lnTo>
                  <a:lnTo>
                    <a:pt x="390" y="1063"/>
                  </a:lnTo>
                  <a:lnTo>
                    <a:pt x="392" y="1065"/>
                  </a:lnTo>
                  <a:lnTo>
                    <a:pt x="390" y="1065"/>
                  </a:lnTo>
                  <a:lnTo>
                    <a:pt x="392" y="1068"/>
                  </a:lnTo>
                  <a:lnTo>
                    <a:pt x="392" y="1070"/>
                  </a:lnTo>
                  <a:lnTo>
                    <a:pt x="392" y="1070"/>
                  </a:lnTo>
                  <a:lnTo>
                    <a:pt x="395" y="1070"/>
                  </a:lnTo>
                  <a:lnTo>
                    <a:pt x="395" y="1075"/>
                  </a:lnTo>
                  <a:lnTo>
                    <a:pt x="395" y="1075"/>
                  </a:lnTo>
                  <a:lnTo>
                    <a:pt x="392" y="1075"/>
                  </a:lnTo>
                  <a:lnTo>
                    <a:pt x="392" y="1077"/>
                  </a:lnTo>
                  <a:lnTo>
                    <a:pt x="392" y="1077"/>
                  </a:lnTo>
                  <a:lnTo>
                    <a:pt x="390" y="1080"/>
                  </a:lnTo>
                  <a:lnTo>
                    <a:pt x="390" y="1080"/>
                  </a:lnTo>
                  <a:lnTo>
                    <a:pt x="390" y="1082"/>
                  </a:lnTo>
                  <a:lnTo>
                    <a:pt x="388" y="1084"/>
                  </a:lnTo>
                  <a:lnTo>
                    <a:pt x="373" y="1068"/>
                  </a:lnTo>
                  <a:lnTo>
                    <a:pt x="373" y="1065"/>
                  </a:lnTo>
                  <a:lnTo>
                    <a:pt x="371" y="1065"/>
                  </a:lnTo>
                  <a:lnTo>
                    <a:pt x="369" y="1065"/>
                  </a:lnTo>
                  <a:lnTo>
                    <a:pt x="364" y="1065"/>
                  </a:lnTo>
                  <a:lnTo>
                    <a:pt x="364" y="1065"/>
                  </a:lnTo>
                  <a:lnTo>
                    <a:pt x="362" y="1065"/>
                  </a:lnTo>
                  <a:lnTo>
                    <a:pt x="362" y="1065"/>
                  </a:lnTo>
                  <a:lnTo>
                    <a:pt x="362" y="1063"/>
                  </a:lnTo>
                  <a:lnTo>
                    <a:pt x="362" y="1065"/>
                  </a:lnTo>
                  <a:lnTo>
                    <a:pt x="359" y="1065"/>
                  </a:lnTo>
                  <a:lnTo>
                    <a:pt x="359" y="1063"/>
                  </a:lnTo>
                  <a:lnTo>
                    <a:pt x="359" y="1061"/>
                  </a:lnTo>
                  <a:lnTo>
                    <a:pt x="359" y="1061"/>
                  </a:lnTo>
                  <a:lnTo>
                    <a:pt x="359" y="1063"/>
                  </a:lnTo>
                  <a:lnTo>
                    <a:pt x="359" y="1061"/>
                  </a:lnTo>
                  <a:lnTo>
                    <a:pt x="357" y="1061"/>
                  </a:lnTo>
                  <a:lnTo>
                    <a:pt x="357" y="1061"/>
                  </a:lnTo>
                  <a:lnTo>
                    <a:pt x="355" y="1061"/>
                  </a:lnTo>
                  <a:lnTo>
                    <a:pt x="355" y="1063"/>
                  </a:lnTo>
                  <a:lnTo>
                    <a:pt x="355" y="1063"/>
                  </a:lnTo>
                  <a:lnTo>
                    <a:pt x="352" y="1063"/>
                  </a:lnTo>
                  <a:lnTo>
                    <a:pt x="352" y="1065"/>
                  </a:lnTo>
                  <a:lnTo>
                    <a:pt x="352" y="1063"/>
                  </a:lnTo>
                  <a:lnTo>
                    <a:pt x="352" y="1063"/>
                  </a:lnTo>
                  <a:lnTo>
                    <a:pt x="350" y="1061"/>
                  </a:lnTo>
                  <a:lnTo>
                    <a:pt x="350" y="1058"/>
                  </a:lnTo>
                  <a:lnTo>
                    <a:pt x="347" y="1058"/>
                  </a:lnTo>
                  <a:lnTo>
                    <a:pt x="345" y="1061"/>
                  </a:lnTo>
                  <a:lnTo>
                    <a:pt x="345" y="1058"/>
                  </a:lnTo>
                  <a:lnTo>
                    <a:pt x="343" y="1058"/>
                  </a:lnTo>
                  <a:lnTo>
                    <a:pt x="343" y="1058"/>
                  </a:lnTo>
                  <a:lnTo>
                    <a:pt x="345" y="1058"/>
                  </a:lnTo>
                  <a:lnTo>
                    <a:pt x="343" y="1056"/>
                  </a:lnTo>
                  <a:lnTo>
                    <a:pt x="340" y="1056"/>
                  </a:lnTo>
                  <a:lnTo>
                    <a:pt x="340" y="1056"/>
                  </a:lnTo>
                  <a:lnTo>
                    <a:pt x="340" y="1054"/>
                  </a:lnTo>
                  <a:lnTo>
                    <a:pt x="340" y="1054"/>
                  </a:lnTo>
                  <a:lnTo>
                    <a:pt x="340" y="1054"/>
                  </a:lnTo>
                  <a:lnTo>
                    <a:pt x="340" y="1054"/>
                  </a:lnTo>
                  <a:lnTo>
                    <a:pt x="338" y="1054"/>
                  </a:lnTo>
                  <a:lnTo>
                    <a:pt x="338" y="1054"/>
                  </a:lnTo>
                  <a:lnTo>
                    <a:pt x="338" y="1054"/>
                  </a:lnTo>
                  <a:lnTo>
                    <a:pt x="338" y="1058"/>
                  </a:lnTo>
                  <a:lnTo>
                    <a:pt x="338" y="1058"/>
                  </a:lnTo>
                  <a:lnTo>
                    <a:pt x="338" y="1058"/>
                  </a:lnTo>
                  <a:lnTo>
                    <a:pt x="338" y="1061"/>
                  </a:lnTo>
                  <a:lnTo>
                    <a:pt x="338" y="1061"/>
                  </a:lnTo>
                  <a:lnTo>
                    <a:pt x="336" y="1061"/>
                  </a:lnTo>
                  <a:lnTo>
                    <a:pt x="336" y="1061"/>
                  </a:lnTo>
                  <a:lnTo>
                    <a:pt x="333" y="1061"/>
                  </a:lnTo>
                  <a:lnTo>
                    <a:pt x="333" y="1061"/>
                  </a:lnTo>
                  <a:lnTo>
                    <a:pt x="333" y="1061"/>
                  </a:lnTo>
                  <a:lnTo>
                    <a:pt x="333" y="1061"/>
                  </a:lnTo>
                  <a:lnTo>
                    <a:pt x="329" y="1063"/>
                  </a:lnTo>
                  <a:lnTo>
                    <a:pt x="329" y="1063"/>
                  </a:lnTo>
                  <a:lnTo>
                    <a:pt x="329" y="1063"/>
                  </a:lnTo>
                  <a:lnTo>
                    <a:pt x="329" y="1063"/>
                  </a:lnTo>
                  <a:lnTo>
                    <a:pt x="326" y="1063"/>
                  </a:lnTo>
                  <a:lnTo>
                    <a:pt x="326" y="1063"/>
                  </a:lnTo>
                  <a:lnTo>
                    <a:pt x="326" y="1063"/>
                  </a:lnTo>
                  <a:lnTo>
                    <a:pt x="329" y="1061"/>
                  </a:lnTo>
                  <a:lnTo>
                    <a:pt x="329" y="1056"/>
                  </a:lnTo>
                  <a:lnTo>
                    <a:pt x="326" y="1056"/>
                  </a:lnTo>
                  <a:lnTo>
                    <a:pt x="326" y="1054"/>
                  </a:lnTo>
                  <a:lnTo>
                    <a:pt x="326" y="1054"/>
                  </a:lnTo>
                  <a:lnTo>
                    <a:pt x="326" y="1054"/>
                  </a:lnTo>
                  <a:lnTo>
                    <a:pt x="329" y="1051"/>
                  </a:lnTo>
                  <a:lnTo>
                    <a:pt x="326" y="1051"/>
                  </a:lnTo>
                  <a:lnTo>
                    <a:pt x="326" y="1049"/>
                  </a:lnTo>
                  <a:lnTo>
                    <a:pt x="326" y="1049"/>
                  </a:lnTo>
                  <a:lnTo>
                    <a:pt x="326" y="1049"/>
                  </a:lnTo>
                  <a:lnTo>
                    <a:pt x="326" y="1047"/>
                  </a:lnTo>
                  <a:lnTo>
                    <a:pt x="329" y="1047"/>
                  </a:lnTo>
                  <a:lnTo>
                    <a:pt x="329" y="1044"/>
                  </a:lnTo>
                  <a:lnTo>
                    <a:pt x="329" y="1044"/>
                  </a:lnTo>
                  <a:lnTo>
                    <a:pt x="329" y="1042"/>
                  </a:lnTo>
                  <a:lnTo>
                    <a:pt x="329" y="1044"/>
                  </a:lnTo>
                  <a:lnTo>
                    <a:pt x="326" y="1044"/>
                  </a:lnTo>
                  <a:lnTo>
                    <a:pt x="326" y="1042"/>
                  </a:lnTo>
                  <a:lnTo>
                    <a:pt x="324" y="1044"/>
                  </a:lnTo>
                  <a:lnTo>
                    <a:pt x="324" y="1044"/>
                  </a:lnTo>
                  <a:lnTo>
                    <a:pt x="324" y="1044"/>
                  </a:lnTo>
                  <a:lnTo>
                    <a:pt x="324" y="1044"/>
                  </a:lnTo>
                  <a:lnTo>
                    <a:pt x="321" y="1047"/>
                  </a:lnTo>
                  <a:lnTo>
                    <a:pt x="319" y="1044"/>
                  </a:lnTo>
                  <a:lnTo>
                    <a:pt x="319" y="1047"/>
                  </a:lnTo>
                  <a:lnTo>
                    <a:pt x="319" y="1044"/>
                  </a:lnTo>
                  <a:lnTo>
                    <a:pt x="317" y="1047"/>
                  </a:lnTo>
                  <a:lnTo>
                    <a:pt x="317" y="1047"/>
                  </a:lnTo>
                  <a:lnTo>
                    <a:pt x="317" y="1049"/>
                  </a:lnTo>
                  <a:lnTo>
                    <a:pt x="317" y="1049"/>
                  </a:lnTo>
                  <a:lnTo>
                    <a:pt x="314" y="1049"/>
                  </a:lnTo>
                  <a:lnTo>
                    <a:pt x="314" y="1049"/>
                  </a:lnTo>
                  <a:lnTo>
                    <a:pt x="314" y="1049"/>
                  </a:lnTo>
                  <a:lnTo>
                    <a:pt x="312" y="1051"/>
                  </a:lnTo>
                  <a:lnTo>
                    <a:pt x="312" y="1049"/>
                  </a:lnTo>
                  <a:lnTo>
                    <a:pt x="312" y="1049"/>
                  </a:lnTo>
                  <a:lnTo>
                    <a:pt x="312" y="1049"/>
                  </a:lnTo>
                  <a:lnTo>
                    <a:pt x="310" y="1049"/>
                  </a:lnTo>
                  <a:lnTo>
                    <a:pt x="310" y="1051"/>
                  </a:lnTo>
                  <a:lnTo>
                    <a:pt x="310" y="1051"/>
                  </a:lnTo>
                  <a:lnTo>
                    <a:pt x="307" y="1054"/>
                  </a:lnTo>
                  <a:lnTo>
                    <a:pt x="310" y="1054"/>
                  </a:lnTo>
                  <a:lnTo>
                    <a:pt x="307" y="1054"/>
                  </a:lnTo>
                  <a:lnTo>
                    <a:pt x="310" y="1054"/>
                  </a:lnTo>
                  <a:lnTo>
                    <a:pt x="310" y="1054"/>
                  </a:lnTo>
                  <a:lnTo>
                    <a:pt x="307" y="1054"/>
                  </a:lnTo>
                  <a:lnTo>
                    <a:pt x="307" y="1054"/>
                  </a:lnTo>
                  <a:lnTo>
                    <a:pt x="307" y="1054"/>
                  </a:lnTo>
                  <a:lnTo>
                    <a:pt x="307" y="1054"/>
                  </a:lnTo>
                  <a:lnTo>
                    <a:pt x="305" y="1054"/>
                  </a:lnTo>
                  <a:lnTo>
                    <a:pt x="305" y="1054"/>
                  </a:lnTo>
                  <a:lnTo>
                    <a:pt x="305" y="1054"/>
                  </a:lnTo>
                  <a:lnTo>
                    <a:pt x="305" y="1054"/>
                  </a:lnTo>
                  <a:lnTo>
                    <a:pt x="305" y="1056"/>
                  </a:lnTo>
                  <a:lnTo>
                    <a:pt x="305" y="1056"/>
                  </a:lnTo>
                  <a:lnTo>
                    <a:pt x="303" y="1054"/>
                  </a:lnTo>
                  <a:lnTo>
                    <a:pt x="303" y="1054"/>
                  </a:lnTo>
                  <a:lnTo>
                    <a:pt x="300" y="1056"/>
                  </a:lnTo>
                  <a:lnTo>
                    <a:pt x="300" y="1056"/>
                  </a:lnTo>
                  <a:lnTo>
                    <a:pt x="300" y="1056"/>
                  </a:lnTo>
                  <a:lnTo>
                    <a:pt x="300" y="1056"/>
                  </a:lnTo>
                  <a:lnTo>
                    <a:pt x="298" y="1058"/>
                  </a:lnTo>
                  <a:lnTo>
                    <a:pt x="298" y="1058"/>
                  </a:lnTo>
                  <a:lnTo>
                    <a:pt x="298" y="1058"/>
                  </a:lnTo>
                  <a:lnTo>
                    <a:pt x="298" y="1058"/>
                  </a:lnTo>
                  <a:lnTo>
                    <a:pt x="296" y="1058"/>
                  </a:lnTo>
                  <a:lnTo>
                    <a:pt x="296" y="1058"/>
                  </a:lnTo>
                  <a:lnTo>
                    <a:pt x="293" y="1058"/>
                  </a:lnTo>
                  <a:lnTo>
                    <a:pt x="293" y="1058"/>
                  </a:lnTo>
                  <a:lnTo>
                    <a:pt x="293" y="1061"/>
                  </a:lnTo>
                  <a:lnTo>
                    <a:pt x="293" y="1061"/>
                  </a:lnTo>
                  <a:lnTo>
                    <a:pt x="291" y="1061"/>
                  </a:lnTo>
                  <a:lnTo>
                    <a:pt x="291" y="1061"/>
                  </a:lnTo>
                  <a:lnTo>
                    <a:pt x="288" y="1061"/>
                  </a:lnTo>
                  <a:lnTo>
                    <a:pt x="288" y="1058"/>
                  </a:lnTo>
                  <a:lnTo>
                    <a:pt x="291" y="1058"/>
                  </a:lnTo>
                  <a:lnTo>
                    <a:pt x="288" y="1056"/>
                  </a:lnTo>
                  <a:lnTo>
                    <a:pt x="288" y="1056"/>
                  </a:lnTo>
                  <a:lnTo>
                    <a:pt x="291" y="1056"/>
                  </a:lnTo>
                  <a:lnTo>
                    <a:pt x="288" y="1054"/>
                  </a:lnTo>
                  <a:lnTo>
                    <a:pt x="288" y="1054"/>
                  </a:lnTo>
                  <a:lnTo>
                    <a:pt x="288" y="1054"/>
                  </a:lnTo>
                  <a:lnTo>
                    <a:pt x="288" y="1051"/>
                  </a:lnTo>
                  <a:lnTo>
                    <a:pt x="288" y="1051"/>
                  </a:lnTo>
                  <a:lnTo>
                    <a:pt x="288" y="1051"/>
                  </a:lnTo>
                  <a:lnTo>
                    <a:pt x="288" y="1049"/>
                  </a:lnTo>
                  <a:lnTo>
                    <a:pt x="286" y="1049"/>
                  </a:lnTo>
                  <a:lnTo>
                    <a:pt x="288" y="1049"/>
                  </a:lnTo>
                  <a:lnTo>
                    <a:pt x="288" y="1047"/>
                  </a:lnTo>
                  <a:lnTo>
                    <a:pt x="288" y="1044"/>
                  </a:lnTo>
                  <a:lnTo>
                    <a:pt x="288" y="1044"/>
                  </a:lnTo>
                  <a:lnTo>
                    <a:pt x="288" y="1044"/>
                  </a:lnTo>
                  <a:lnTo>
                    <a:pt x="288" y="1042"/>
                  </a:lnTo>
                  <a:lnTo>
                    <a:pt x="288" y="1042"/>
                  </a:lnTo>
                  <a:lnTo>
                    <a:pt x="286" y="1039"/>
                  </a:lnTo>
                  <a:lnTo>
                    <a:pt x="286" y="1042"/>
                  </a:lnTo>
                  <a:lnTo>
                    <a:pt x="286" y="1042"/>
                  </a:lnTo>
                  <a:lnTo>
                    <a:pt x="286" y="1042"/>
                  </a:lnTo>
                  <a:lnTo>
                    <a:pt x="284" y="1039"/>
                  </a:lnTo>
                  <a:lnTo>
                    <a:pt x="281" y="1042"/>
                  </a:lnTo>
                  <a:lnTo>
                    <a:pt x="281" y="1044"/>
                  </a:lnTo>
                  <a:lnTo>
                    <a:pt x="281" y="1047"/>
                  </a:lnTo>
                  <a:lnTo>
                    <a:pt x="281" y="1049"/>
                  </a:lnTo>
                  <a:lnTo>
                    <a:pt x="279" y="1049"/>
                  </a:lnTo>
                  <a:lnTo>
                    <a:pt x="277" y="1049"/>
                  </a:lnTo>
                  <a:lnTo>
                    <a:pt x="277" y="1051"/>
                  </a:lnTo>
                  <a:lnTo>
                    <a:pt x="279" y="1054"/>
                  </a:lnTo>
                  <a:lnTo>
                    <a:pt x="277" y="1054"/>
                  </a:lnTo>
                  <a:lnTo>
                    <a:pt x="277" y="1056"/>
                  </a:lnTo>
                  <a:lnTo>
                    <a:pt x="277" y="1058"/>
                  </a:lnTo>
                  <a:lnTo>
                    <a:pt x="277" y="1061"/>
                  </a:lnTo>
                  <a:lnTo>
                    <a:pt x="277" y="1063"/>
                  </a:lnTo>
                  <a:lnTo>
                    <a:pt x="277" y="1065"/>
                  </a:lnTo>
                  <a:lnTo>
                    <a:pt x="274" y="1065"/>
                  </a:lnTo>
                  <a:lnTo>
                    <a:pt x="274" y="1065"/>
                  </a:lnTo>
                  <a:lnTo>
                    <a:pt x="272" y="1061"/>
                  </a:lnTo>
                  <a:lnTo>
                    <a:pt x="272" y="1061"/>
                  </a:lnTo>
                  <a:lnTo>
                    <a:pt x="272" y="1058"/>
                  </a:lnTo>
                  <a:lnTo>
                    <a:pt x="272" y="1056"/>
                  </a:lnTo>
                  <a:lnTo>
                    <a:pt x="272" y="1056"/>
                  </a:lnTo>
                  <a:lnTo>
                    <a:pt x="272" y="1054"/>
                  </a:lnTo>
                  <a:lnTo>
                    <a:pt x="272" y="1054"/>
                  </a:lnTo>
                  <a:lnTo>
                    <a:pt x="274" y="1051"/>
                  </a:lnTo>
                  <a:lnTo>
                    <a:pt x="274" y="1051"/>
                  </a:lnTo>
                  <a:lnTo>
                    <a:pt x="274" y="1049"/>
                  </a:lnTo>
                  <a:lnTo>
                    <a:pt x="274" y="1049"/>
                  </a:lnTo>
                  <a:lnTo>
                    <a:pt x="274" y="1047"/>
                  </a:lnTo>
                  <a:lnTo>
                    <a:pt x="274" y="1047"/>
                  </a:lnTo>
                  <a:lnTo>
                    <a:pt x="272" y="1044"/>
                  </a:lnTo>
                  <a:lnTo>
                    <a:pt x="272" y="1044"/>
                  </a:lnTo>
                  <a:lnTo>
                    <a:pt x="272" y="1042"/>
                  </a:lnTo>
                  <a:lnTo>
                    <a:pt x="272" y="1042"/>
                  </a:lnTo>
                  <a:lnTo>
                    <a:pt x="272" y="1042"/>
                  </a:lnTo>
                  <a:lnTo>
                    <a:pt x="274" y="1042"/>
                  </a:lnTo>
                  <a:lnTo>
                    <a:pt x="274" y="1039"/>
                  </a:lnTo>
                  <a:lnTo>
                    <a:pt x="274" y="1039"/>
                  </a:lnTo>
                  <a:lnTo>
                    <a:pt x="274" y="1037"/>
                  </a:lnTo>
                  <a:lnTo>
                    <a:pt x="272" y="1037"/>
                  </a:lnTo>
                  <a:lnTo>
                    <a:pt x="272" y="1035"/>
                  </a:lnTo>
                  <a:lnTo>
                    <a:pt x="272" y="1035"/>
                  </a:lnTo>
                  <a:lnTo>
                    <a:pt x="272" y="1032"/>
                  </a:lnTo>
                  <a:lnTo>
                    <a:pt x="272" y="1032"/>
                  </a:lnTo>
                  <a:lnTo>
                    <a:pt x="272" y="1032"/>
                  </a:lnTo>
                  <a:lnTo>
                    <a:pt x="272" y="1030"/>
                  </a:lnTo>
                  <a:lnTo>
                    <a:pt x="270" y="1030"/>
                  </a:lnTo>
                  <a:lnTo>
                    <a:pt x="270" y="1030"/>
                  </a:lnTo>
                  <a:lnTo>
                    <a:pt x="267" y="1030"/>
                  </a:lnTo>
                  <a:lnTo>
                    <a:pt x="267" y="1028"/>
                  </a:lnTo>
                  <a:lnTo>
                    <a:pt x="267" y="1025"/>
                  </a:lnTo>
                  <a:lnTo>
                    <a:pt x="267" y="1025"/>
                  </a:lnTo>
                  <a:lnTo>
                    <a:pt x="265" y="1025"/>
                  </a:lnTo>
                  <a:lnTo>
                    <a:pt x="265" y="1025"/>
                  </a:lnTo>
                  <a:lnTo>
                    <a:pt x="265" y="1023"/>
                  </a:lnTo>
                  <a:lnTo>
                    <a:pt x="262" y="1023"/>
                  </a:lnTo>
                  <a:lnTo>
                    <a:pt x="262" y="1023"/>
                  </a:lnTo>
                  <a:lnTo>
                    <a:pt x="262" y="1023"/>
                  </a:lnTo>
                  <a:lnTo>
                    <a:pt x="260" y="1023"/>
                  </a:lnTo>
                  <a:lnTo>
                    <a:pt x="260" y="1023"/>
                  </a:lnTo>
                  <a:lnTo>
                    <a:pt x="260" y="1023"/>
                  </a:lnTo>
                  <a:lnTo>
                    <a:pt x="260" y="1023"/>
                  </a:lnTo>
                  <a:lnTo>
                    <a:pt x="258" y="1023"/>
                  </a:lnTo>
                  <a:lnTo>
                    <a:pt x="258" y="1023"/>
                  </a:lnTo>
                  <a:lnTo>
                    <a:pt x="258" y="1023"/>
                  </a:lnTo>
                  <a:lnTo>
                    <a:pt x="255" y="1023"/>
                  </a:lnTo>
                  <a:lnTo>
                    <a:pt x="255" y="1023"/>
                  </a:lnTo>
                  <a:lnTo>
                    <a:pt x="255" y="1023"/>
                  </a:lnTo>
                  <a:lnTo>
                    <a:pt x="255" y="1021"/>
                  </a:lnTo>
                  <a:lnTo>
                    <a:pt x="255" y="1018"/>
                  </a:lnTo>
                  <a:lnTo>
                    <a:pt x="253" y="1016"/>
                  </a:lnTo>
                  <a:lnTo>
                    <a:pt x="255" y="1013"/>
                  </a:lnTo>
                  <a:lnTo>
                    <a:pt x="253" y="1013"/>
                  </a:lnTo>
                  <a:lnTo>
                    <a:pt x="253" y="1013"/>
                  </a:lnTo>
                  <a:lnTo>
                    <a:pt x="253" y="1011"/>
                  </a:lnTo>
                  <a:lnTo>
                    <a:pt x="251" y="1011"/>
                  </a:lnTo>
                  <a:lnTo>
                    <a:pt x="251" y="1011"/>
                  </a:lnTo>
                  <a:lnTo>
                    <a:pt x="248" y="1006"/>
                  </a:lnTo>
                  <a:lnTo>
                    <a:pt x="248" y="1009"/>
                  </a:lnTo>
                  <a:lnTo>
                    <a:pt x="246" y="1009"/>
                  </a:lnTo>
                  <a:lnTo>
                    <a:pt x="246" y="1006"/>
                  </a:lnTo>
                  <a:lnTo>
                    <a:pt x="246" y="1006"/>
                  </a:lnTo>
                  <a:lnTo>
                    <a:pt x="246" y="1006"/>
                  </a:lnTo>
                  <a:lnTo>
                    <a:pt x="244" y="1006"/>
                  </a:lnTo>
                  <a:lnTo>
                    <a:pt x="244" y="1004"/>
                  </a:lnTo>
                  <a:lnTo>
                    <a:pt x="244" y="1004"/>
                  </a:lnTo>
                  <a:lnTo>
                    <a:pt x="244" y="1004"/>
                  </a:lnTo>
                  <a:lnTo>
                    <a:pt x="244" y="1004"/>
                  </a:lnTo>
                  <a:lnTo>
                    <a:pt x="241" y="1002"/>
                  </a:lnTo>
                  <a:lnTo>
                    <a:pt x="241" y="1004"/>
                  </a:lnTo>
                  <a:lnTo>
                    <a:pt x="241" y="1004"/>
                  </a:lnTo>
                  <a:lnTo>
                    <a:pt x="241" y="1002"/>
                  </a:lnTo>
                  <a:lnTo>
                    <a:pt x="241" y="1002"/>
                  </a:lnTo>
                  <a:lnTo>
                    <a:pt x="241" y="999"/>
                  </a:lnTo>
                  <a:lnTo>
                    <a:pt x="241" y="997"/>
                  </a:lnTo>
                  <a:lnTo>
                    <a:pt x="239" y="997"/>
                  </a:lnTo>
                  <a:lnTo>
                    <a:pt x="239" y="997"/>
                  </a:lnTo>
                  <a:lnTo>
                    <a:pt x="236" y="997"/>
                  </a:lnTo>
                  <a:lnTo>
                    <a:pt x="236" y="997"/>
                  </a:lnTo>
                  <a:lnTo>
                    <a:pt x="236" y="999"/>
                  </a:lnTo>
                  <a:lnTo>
                    <a:pt x="236" y="999"/>
                  </a:lnTo>
                  <a:lnTo>
                    <a:pt x="236" y="999"/>
                  </a:lnTo>
                  <a:lnTo>
                    <a:pt x="225" y="1018"/>
                  </a:lnTo>
                  <a:lnTo>
                    <a:pt x="222" y="1016"/>
                  </a:lnTo>
                  <a:lnTo>
                    <a:pt x="220" y="1013"/>
                  </a:lnTo>
                  <a:lnTo>
                    <a:pt x="220" y="1013"/>
                  </a:lnTo>
                  <a:lnTo>
                    <a:pt x="218" y="1011"/>
                  </a:lnTo>
                  <a:lnTo>
                    <a:pt x="218" y="1011"/>
                  </a:lnTo>
                  <a:lnTo>
                    <a:pt x="218" y="1011"/>
                  </a:lnTo>
                  <a:lnTo>
                    <a:pt x="215" y="1011"/>
                  </a:lnTo>
                  <a:lnTo>
                    <a:pt x="215" y="1011"/>
                  </a:lnTo>
                  <a:lnTo>
                    <a:pt x="215" y="1011"/>
                  </a:lnTo>
                  <a:lnTo>
                    <a:pt x="210" y="1011"/>
                  </a:lnTo>
                  <a:lnTo>
                    <a:pt x="210" y="1009"/>
                  </a:lnTo>
                  <a:lnTo>
                    <a:pt x="210" y="1009"/>
                  </a:lnTo>
                  <a:lnTo>
                    <a:pt x="210" y="1009"/>
                  </a:lnTo>
                  <a:lnTo>
                    <a:pt x="210" y="1006"/>
                  </a:lnTo>
                  <a:lnTo>
                    <a:pt x="213" y="1006"/>
                  </a:lnTo>
                  <a:lnTo>
                    <a:pt x="213" y="1004"/>
                  </a:lnTo>
                  <a:lnTo>
                    <a:pt x="213" y="1004"/>
                  </a:lnTo>
                  <a:lnTo>
                    <a:pt x="213" y="1004"/>
                  </a:lnTo>
                  <a:lnTo>
                    <a:pt x="210" y="1004"/>
                  </a:lnTo>
                  <a:lnTo>
                    <a:pt x="208" y="1002"/>
                  </a:lnTo>
                  <a:lnTo>
                    <a:pt x="208" y="1002"/>
                  </a:lnTo>
                  <a:lnTo>
                    <a:pt x="206" y="995"/>
                  </a:lnTo>
                  <a:lnTo>
                    <a:pt x="203" y="997"/>
                  </a:lnTo>
                  <a:lnTo>
                    <a:pt x="203" y="999"/>
                  </a:lnTo>
                  <a:lnTo>
                    <a:pt x="201" y="999"/>
                  </a:lnTo>
                  <a:lnTo>
                    <a:pt x="199" y="1002"/>
                  </a:lnTo>
                  <a:lnTo>
                    <a:pt x="196" y="1004"/>
                  </a:lnTo>
                  <a:lnTo>
                    <a:pt x="196" y="1004"/>
                  </a:lnTo>
                  <a:lnTo>
                    <a:pt x="196" y="1006"/>
                  </a:lnTo>
                  <a:lnTo>
                    <a:pt x="194" y="1006"/>
                  </a:lnTo>
                  <a:lnTo>
                    <a:pt x="194" y="1006"/>
                  </a:lnTo>
                  <a:lnTo>
                    <a:pt x="194" y="1006"/>
                  </a:lnTo>
                  <a:lnTo>
                    <a:pt x="192" y="1006"/>
                  </a:lnTo>
                  <a:lnTo>
                    <a:pt x="192" y="1009"/>
                  </a:lnTo>
                  <a:lnTo>
                    <a:pt x="192" y="1009"/>
                  </a:lnTo>
                  <a:lnTo>
                    <a:pt x="189" y="1011"/>
                  </a:lnTo>
                  <a:lnTo>
                    <a:pt x="189" y="1013"/>
                  </a:lnTo>
                  <a:lnTo>
                    <a:pt x="189" y="1013"/>
                  </a:lnTo>
                  <a:lnTo>
                    <a:pt x="189" y="1016"/>
                  </a:lnTo>
                  <a:lnTo>
                    <a:pt x="187" y="1016"/>
                  </a:lnTo>
                  <a:lnTo>
                    <a:pt x="187" y="1016"/>
                  </a:lnTo>
                  <a:lnTo>
                    <a:pt x="184" y="1021"/>
                  </a:lnTo>
                  <a:lnTo>
                    <a:pt x="184" y="1021"/>
                  </a:lnTo>
                  <a:lnTo>
                    <a:pt x="187" y="1021"/>
                  </a:lnTo>
                  <a:lnTo>
                    <a:pt x="187" y="1023"/>
                  </a:lnTo>
                  <a:lnTo>
                    <a:pt x="184" y="1023"/>
                  </a:lnTo>
                  <a:lnTo>
                    <a:pt x="182" y="1025"/>
                  </a:lnTo>
                  <a:lnTo>
                    <a:pt x="180" y="1030"/>
                  </a:lnTo>
                  <a:lnTo>
                    <a:pt x="177" y="1032"/>
                  </a:lnTo>
                  <a:lnTo>
                    <a:pt x="175" y="1037"/>
                  </a:lnTo>
                  <a:lnTo>
                    <a:pt x="175" y="1037"/>
                  </a:lnTo>
                  <a:lnTo>
                    <a:pt x="177" y="1039"/>
                  </a:lnTo>
                  <a:lnTo>
                    <a:pt x="177" y="1039"/>
                  </a:lnTo>
                  <a:lnTo>
                    <a:pt x="177" y="1042"/>
                  </a:lnTo>
                  <a:lnTo>
                    <a:pt x="175" y="1044"/>
                  </a:lnTo>
                  <a:lnTo>
                    <a:pt x="177" y="1047"/>
                  </a:lnTo>
                  <a:lnTo>
                    <a:pt x="177" y="1049"/>
                  </a:lnTo>
                  <a:lnTo>
                    <a:pt x="177" y="1049"/>
                  </a:lnTo>
                  <a:lnTo>
                    <a:pt x="177" y="1051"/>
                  </a:lnTo>
                  <a:lnTo>
                    <a:pt x="177" y="1054"/>
                  </a:lnTo>
                  <a:lnTo>
                    <a:pt x="177" y="1054"/>
                  </a:lnTo>
                  <a:lnTo>
                    <a:pt x="177" y="1056"/>
                  </a:lnTo>
                  <a:lnTo>
                    <a:pt x="173" y="1058"/>
                  </a:lnTo>
                  <a:lnTo>
                    <a:pt x="161" y="1051"/>
                  </a:lnTo>
                  <a:lnTo>
                    <a:pt x="144" y="1042"/>
                  </a:lnTo>
                  <a:lnTo>
                    <a:pt x="107" y="1021"/>
                  </a:lnTo>
                  <a:lnTo>
                    <a:pt x="104" y="1018"/>
                  </a:lnTo>
                  <a:lnTo>
                    <a:pt x="104" y="1018"/>
                  </a:lnTo>
                  <a:lnTo>
                    <a:pt x="102" y="1018"/>
                  </a:lnTo>
                  <a:lnTo>
                    <a:pt x="99" y="1018"/>
                  </a:lnTo>
                  <a:lnTo>
                    <a:pt x="97" y="1016"/>
                  </a:lnTo>
                  <a:lnTo>
                    <a:pt x="95" y="1016"/>
                  </a:lnTo>
                  <a:lnTo>
                    <a:pt x="95" y="1013"/>
                  </a:lnTo>
                  <a:lnTo>
                    <a:pt x="92" y="1013"/>
                  </a:lnTo>
                  <a:lnTo>
                    <a:pt x="90" y="1013"/>
                  </a:lnTo>
                  <a:lnTo>
                    <a:pt x="88" y="1013"/>
                  </a:lnTo>
                  <a:lnTo>
                    <a:pt x="88" y="1013"/>
                  </a:lnTo>
                  <a:lnTo>
                    <a:pt x="85" y="1013"/>
                  </a:lnTo>
                  <a:lnTo>
                    <a:pt x="85" y="1011"/>
                  </a:lnTo>
                  <a:lnTo>
                    <a:pt x="81" y="1011"/>
                  </a:lnTo>
                  <a:lnTo>
                    <a:pt x="81" y="1011"/>
                  </a:lnTo>
                  <a:lnTo>
                    <a:pt x="78" y="1011"/>
                  </a:lnTo>
                  <a:lnTo>
                    <a:pt x="76" y="1011"/>
                  </a:lnTo>
                  <a:lnTo>
                    <a:pt x="73" y="1009"/>
                  </a:lnTo>
                  <a:lnTo>
                    <a:pt x="71" y="1011"/>
                  </a:lnTo>
                  <a:lnTo>
                    <a:pt x="71" y="1009"/>
                  </a:lnTo>
                  <a:lnTo>
                    <a:pt x="71" y="1009"/>
                  </a:lnTo>
                  <a:lnTo>
                    <a:pt x="71" y="1011"/>
                  </a:lnTo>
                  <a:lnTo>
                    <a:pt x="69" y="1009"/>
                  </a:lnTo>
                  <a:lnTo>
                    <a:pt x="69" y="1009"/>
                  </a:lnTo>
                  <a:lnTo>
                    <a:pt x="69" y="1009"/>
                  </a:lnTo>
                  <a:lnTo>
                    <a:pt x="66" y="1006"/>
                  </a:lnTo>
                  <a:lnTo>
                    <a:pt x="66" y="1006"/>
                  </a:lnTo>
                  <a:lnTo>
                    <a:pt x="66" y="1006"/>
                  </a:lnTo>
                  <a:lnTo>
                    <a:pt x="66" y="1004"/>
                  </a:lnTo>
                  <a:lnTo>
                    <a:pt x="64" y="1004"/>
                  </a:lnTo>
                  <a:lnTo>
                    <a:pt x="64" y="1004"/>
                  </a:lnTo>
                  <a:lnTo>
                    <a:pt x="64" y="1004"/>
                  </a:lnTo>
                  <a:lnTo>
                    <a:pt x="64" y="1004"/>
                  </a:lnTo>
                  <a:lnTo>
                    <a:pt x="62" y="1004"/>
                  </a:lnTo>
                  <a:lnTo>
                    <a:pt x="62" y="1004"/>
                  </a:lnTo>
                  <a:lnTo>
                    <a:pt x="59" y="1004"/>
                  </a:lnTo>
                  <a:lnTo>
                    <a:pt x="62" y="1004"/>
                  </a:lnTo>
                  <a:lnTo>
                    <a:pt x="59" y="1002"/>
                  </a:lnTo>
                  <a:lnTo>
                    <a:pt x="59" y="1004"/>
                  </a:lnTo>
                  <a:lnTo>
                    <a:pt x="59" y="1002"/>
                  </a:lnTo>
                  <a:lnTo>
                    <a:pt x="57" y="1002"/>
                  </a:lnTo>
                  <a:lnTo>
                    <a:pt x="57" y="1002"/>
                  </a:lnTo>
                  <a:lnTo>
                    <a:pt x="57" y="1002"/>
                  </a:lnTo>
                  <a:lnTo>
                    <a:pt x="57" y="1002"/>
                  </a:lnTo>
                  <a:lnTo>
                    <a:pt x="57" y="1002"/>
                  </a:lnTo>
                  <a:lnTo>
                    <a:pt x="57" y="999"/>
                  </a:lnTo>
                  <a:lnTo>
                    <a:pt x="55" y="999"/>
                  </a:lnTo>
                  <a:lnTo>
                    <a:pt x="55" y="997"/>
                  </a:lnTo>
                  <a:lnTo>
                    <a:pt x="55" y="997"/>
                  </a:lnTo>
                  <a:lnTo>
                    <a:pt x="55" y="995"/>
                  </a:lnTo>
                  <a:lnTo>
                    <a:pt x="57" y="995"/>
                  </a:lnTo>
                  <a:lnTo>
                    <a:pt x="55" y="992"/>
                  </a:lnTo>
                  <a:lnTo>
                    <a:pt x="57" y="992"/>
                  </a:lnTo>
                  <a:lnTo>
                    <a:pt x="57" y="990"/>
                  </a:lnTo>
                  <a:lnTo>
                    <a:pt x="57" y="990"/>
                  </a:lnTo>
                  <a:lnTo>
                    <a:pt x="57" y="990"/>
                  </a:lnTo>
                  <a:lnTo>
                    <a:pt x="57" y="988"/>
                  </a:lnTo>
                  <a:lnTo>
                    <a:pt x="57" y="985"/>
                  </a:lnTo>
                  <a:lnTo>
                    <a:pt x="57" y="985"/>
                  </a:lnTo>
                  <a:lnTo>
                    <a:pt x="57" y="985"/>
                  </a:lnTo>
                  <a:lnTo>
                    <a:pt x="57" y="983"/>
                  </a:lnTo>
                  <a:lnTo>
                    <a:pt x="57" y="983"/>
                  </a:lnTo>
                  <a:lnTo>
                    <a:pt x="57" y="980"/>
                  </a:lnTo>
                  <a:lnTo>
                    <a:pt x="57" y="983"/>
                  </a:lnTo>
                  <a:lnTo>
                    <a:pt x="57" y="983"/>
                  </a:lnTo>
                  <a:lnTo>
                    <a:pt x="57" y="983"/>
                  </a:lnTo>
                  <a:lnTo>
                    <a:pt x="57" y="983"/>
                  </a:lnTo>
                  <a:lnTo>
                    <a:pt x="59" y="983"/>
                  </a:lnTo>
                  <a:lnTo>
                    <a:pt x="59" y="980"/>
                  </a:lnTo>
                  <a:lnTo>
                    <a:pt x="59" y="983"/>
                  </a:lnTo>
                  <a:lnTo>
                    <a:pt x="59" y="983"/>
                  </a:lnTo>
                  <a:lnTo>
                    <a:pt x="59" y="980"/>
                  </a:lnTo>
                  <a:lnTo>
                    <a:pt x="59" y="978"/>
                  </a:lnTo>
                  <a:lnTo>
                    <a:pt x="59" y="978"/>
                  </a:lnTo>
                  <a:lnTo>
                    <a:pt x="62" y="976"/>
                  </a:lnTo>
                  <a:lnTo>
                    <a:pt x="62" y="976"/>
                  </a:lnTo>
                  <a:lnTo>
                    <a:pt x="62" y="973"/>
                  </a:lnTo>
                  <a:lnTo>
                    <a:pt x="62" y="976"/>
                  </a:lnTo>
                  <a:lnTo>
                    <a:pt x="64" y="973"/>
                  </a:lnTo>
                  <a:lnTo>
                    <a:pt x="62" y="971"/>
                  </a:lnTo>
                  <a:lnTo>
                    <a:pt x="64" y="969"/>
                  </a:lnTo>
                  <a:lnTo>
                    <a:pt x="64" y="969"/>
                  </a:lnTo>
                  <a:lnTo>
                    <a:pt x="64" y="969"/>
                  </a:lnTo>
                  <a:lnTo>
                    <a:pt x="66" y="969"/>
                  </a:lnTo>
                  <a:lnTo>
                    <a:pt x="69" y="966"/>
                  </a:lnTo>
                  <a:lnTo>
                    <a:pt x="69" y="966"/>
                  </a:lnTo>
                  <a:lnTo>
                    <a:pt x="69" y="966"/>
                  </a:lnTo>
                  <a:lnTo>
                    <a:pt x="69" y="966"/>
                  </a:lnTo>
                  <a:lnTo>
                    <a:pt x="69" y="964"/>
                  </a:lnTo>
                  <a:lnTo>
                    <a:pt x="69" y="966"/>
                  </a:lnTo>
                  <a:lnTo>
                    <a:pt x="66" y="966"/>
                  </a:lnTo>
                  <a:lnTo>
                    <a:pt x="66" y="964"/>
                  </a:lnTo>
                  <a:lnTo>
                    <a:pt x="66" y="964"/>
                  </a:lnTo>
                  <a:lnTo>
                    <a:pt x="64" y="962"/>
                  </a:lnTo>
                  <a:lnTo>
                    <a:pt x="66" y="959"/>
                  </a:lnTo>
                  <a:lnTo>
                    <a:pt x="66" y="957"/>
                  </a:lnTo>
                  <a:lnTo>
                    <a:pt x="66" y="957"/>
                  </a:lnTo>
                  <a:lnTo>
                    <a:pt x="69" y="954"/>
                  </a:lnTo>
                  <a:lnTo>
                    <a:pt x="69" y="952"/>
                  </a:lnTo>
                  <a:lnTo>
                    <a:pt x="69" y="952"/>
                  </a:lnTo>
                  <a:lnTo>
                    <a:pt x="71" y="952"/>
                  </a:lnTo>
                  <a:lnTo>
                    <a:pt x="71" y="950"/>
                  </a:lnTo>
                  <a:lnTo>
                    <a:pt x="71" y="950"/>
                  </a:lnTo>
                  <a:lnTo>
                    <a:pt x="73" y="950"/>
                  </a:lnTo>
                  <a:lnTo>
                    <a:pt x="73" y="950"/>
                  </a:lnTo>
                  <a:lnTo>
                    <a:pt x="73" y="950"/>
                  </a:lnTo>
                  <a:lnTo>
                    <a:pt x="73" y="947"/>
                  </a:lnTo>
                  <a:lnTo>
                    <a:pt x="76" y="943"/>
                  </a:lnTo>
                  <a:lnTo>
                    <a:pt x="71" y="945"/>
                  </a:lnTo>
                  <a:lnTo>
                    <a:pt x="71" y="947"/>
                  </a:lnTo>
                  <a:lnTo>
                    <a:pt x="71" y="947"/>
                  </a:lnTo>
                  <a:lnTo>
                    <a:pt x="71" y="947"/>
                  </a:lnTo>
                  <a:lnTo>
                    <a:pt x="69" y="947"/>
                  </a:lnTo>
                  <a:lnTo>
                    <a:pt x="69" y="947"/>
                  </a:lnTo>
                  <a:lnTo>
                    <a:pt x="69" y="947"/>
                  </a:lnTo>
                  <a:lnTo>
                    <a:pt x="69" y="947"/>
                  </a:lnTo>
                  <a:lnTo>
                    <a:pt x="71" y="947"/>
                  </a:lnTo>
                  <a:lnTo>
                    <a:pt x="71" y="950"/>
                  </a:lnTo>
                  <a:lnTo>
                    <a:pt x="69" y="950"/>
                  </a:lnTo>
                  <a:lnTo>
                    <a:pt x="66" y="950"/>
                  </a:lnTo>
                  <a:lnTo>
                    <a:pt x="66" y="950"/>
                  </a:lnTo>
                  <a:lnTo>
                    <a:pt x="69" y="950"/>
                  </a:lnTo>
                  <a:lnTo>
                    <a:pt x="66" y="950"/>
                  </a:lnTo>
                  <a:lnTo>
                    <a:pt x="64" y="952"/>
                  </a:lnTo>
                  <a:lnTo>
                    <a:pt x="62" y="952"/>
                  </a:lnTo>
                  <a:lnTo>
                    <a:pt x="62" y="954"/>
                  </a:lnTo>
                  <a:lnTo>
                    <a:pt x="59" y="954"/>
                  </a:lnTo>
                  <a:lnTo>
                    <a:pt x="57" y="954"/>
                  </a:lnTo>
                  <a:lnTo>
                    <a:pt x="57" y="957"/>
                  </a:lnTo>
                  <a:lnTo>
                    <a:pt x="55" y="957"/>
                  </a:lnTo>
                  <a:lnTo>
                    <a:pt x="52" y="959"/>
                  </a:lnTo>
                  <a:lnTo>
                    <a:pt x="52" y="959"/>
                  </a:lnTo>
                  <a:lnTo>
                    <a:pt x="55" y="959"/>
                  </a:lnTo>
                  <a:lnTo>
                    <a:pt x="55" y="962"/>
                  </a:lnTo>
                  <a:lnTo>
                    <a:pt x="52" y="959"/>
                  </a:lnTo>
                  <a:lnTo>
                    <a:pt x="52" y="959"/>
                  </a:lnTo>
                  <a:lnTo>
                    <a:pt x="52" y="962"/>
                  </a:lnTo>
                  <a:lnTo>
                    <a:pt x="52" y="962"/>
                  </a:lnTo>
                  <a:lnTo>
                    <a:pt x="50" y="962"/>
                  </a:lnTo>
                  <a:lnTo>
                    <a:pt x="50" y="962"/>
                  </a:lnTo>
                  <a:lnTo>
                    <a:pt x="50" y="964"/>
                  </a:lnTo>
                  <a:lnTo>
                    <a:pt x="47" y="964"/>
                  </a:lnTo>
                  <a:lnTo>
                    <a:pt x="47" y="964"/>
                  </a:lnTo>
                  <a:lnTo>
                    <a:pt x="47" y="964"/>
                  </a:lnTo>
                  <a:lnTo>
                    <a:pt x="47" y="966"/>
                  </a:lnTo>
                  <a:lnTo>
                    <a:pt x="47" y="966"/>
                  </a:lnTo>
                  <a:lnTo>
                    <a:pt x="47" y="969"/>
                  </a:lnTo>
                  <a:lnTo>
                    <a:pt x="45" y="969"/>
                  </a:lnTo>
                  <a:lnTo>
                    <a:pt x="45" y="969"/>
                  </a:lnTo>
                  <a:lnTo>
                    <a:pt x="43" y="971"/>
                  </a:lnTo>
                  <a:lnTo>
                    <a:pt x="45" y="971"/>
                  </a:lnTo>
                  <a:lnTo>
                    <a:pt x="43" y="973"/>
                  </a:lnTo>
                  <a:lnTo>
                    <a:pt x="43" y="973"/>
                  </a:lnTo>
                  <a:lnTo>
                    <a:pt x="40" y="973"/>
                  </a:lnTo>
                  <a:lnTo>
                    <a:pt x="43" y="976"/>
                  </a:lnTo>
                  <a:lnTo>
                    <a:pt x="40" y="978"/>
                  </a:lnTo>
                  <a:lnTo>
                    <a:pt x="40" y="976"/>
                  </a:lnTo>
                  <a:lnTo>
                    <a:pt x="38" y="978"/>
                  </a:lnTo>
                  <a:lnTo>
                    <a:pt x="38" y="978"/>
                  </a:lnTo>
                  <a:lnTo>
                    <a:pt x="38" y="978"/>
                  </a:lnTo>
                  <a:lnTo>
                    <a:pt x="40" y="978"/>
                  </a:lnTo>
                  <a:lnTo>
                    <a:pt x="40" y="978"/>
                  </a:lnTo>
                  <a:lnTo>
                    <a:pt x="38" y="978"/>
                  </a:lnTo>
                  <a:lnTo>
                    <a:pt x="40" y="980"/>
                  </a:lnTo>
                  <a:lnTo>
                    <a:pt x="38" y="980"/>
                  </a:lnTo>
                  <a:lnTo>
                    <a:pt x="40" y="983"/>
                  </a:lnTo>
                  <a:lnTo>
                    <a:pt x="38" y="983"/>
                  </a:lnTo>
                  <a:lnTo>
                    <a:pt x="38" y="983"/>
                  </a:lnTo>
                  <a:lnTo>
                    <a:pt x="36" y="983"/>
                  </a:lnTo>
                  <a:lnTo>
                    <a:pt x="36" y="985"/>
                  </a:lnTo>
                  <a:lnTo>
                    <a:pt x="33" y="985"/>
                  </a:lnTo>
                  <a:lnTo>
                    <a:pt x="33" y="985"/>
                  </a:lnTo>
                  <a:lnTo>
                    <a:pt x="33" y="988"/>
                  </a:lnTo>
                  <a:lnTo>
                    <a:pt x="36" y="988"/>
                  </a:lnTo>
                  <a:lnTo>
                    <a:pt x="33" y="988"/>
                  </a:lnTo>
                  <a:lnTo>
                    <a:pt x="33" y="990"/>
                  </a:lnTo>
                  <a:lnTo>
                    <a:pt x="33" y="990"/>
                  </a:lnTo>
                  <a:lnTo>
                    <a:pt x="33" y="992"/>
                  </a:lnTo>
                  <a:lnTo>
                    <a:pt x="33" y="992"/>
                  </a:lnTo>
                  <a:lnTo>
                    <a:pt x="33" y="992"/>
                  </a:lnTo>
                  <a:lnTo>
                    <a:pt x="33" y="995"/>
                  </a:lnTo>
                  <a:lnTo>
                    <a:pt x="33" y="995"/>
                  </a:lnTo>
                  <a:lnTo>
                    <a:pt x="31" y="995"/>
                  </a:lnTo>
                  <a:lnTo>
                    <a:pt x="33" y="999"/>
                  </a:lnTo>
                  <a:lnTo>
                    <a:pt x="31" y="999"/>
                  </a:lnTo>
                  <a:lnTo>
                    <a:pt x="31" y="999"/>
                  </a:lnTo>
                  <a:lnTo>
                    <a:pt x="31" y="1002"/>
                  </a:lnTo>
                  <a:lnTo>
                    <a:pt x="31" y="1002"/>
                  </a:lnTo>
                  <a:lnTo>
                    <a:pt x="29" y="1004"/>
                  </a:lnTo>
                  <a:lnTo>
                    <a:pt x="29" y="1004"/>
                  </a:lnTo>
                  <a:lnTo>
                    <a:pt x="29" y="1002"/>
                  </a:lnTo>
                  <a:lnTo>
                    <a:pt x="26" y="1002"/>
                  </a:lnTo>
                  <a:lnTo>
                    <a:pt x="21" y="1002"/>
                  </a:lnTo>
                  <a:lnTo>
                    <a:pt x="19" y="1002"/>
                  </a:lnTo>
                  <a:lnTo>
                    <a:pt x="19" y="999"/>
                  </a:lnTo>
                  <a:lnTo>
                    <a:pt x="21" y="997"/>
                  </a:lnTo>
                  <a:lnTo>
                    <a:pt x="21" y="997"/>
                  </a:lnTo>
                  <a:lnTo>
                    <a:pt x="19" y="997"/>
                  </a:lnTo>
                  <a:lnTo>
                    <a:pt x="17" y="997"/>
                  </a:lnTo>
                  <a:lnTo>
                    <a:pt x="17" y="999"/>
                  </a:lnTo>
                  <a:lnTo>
                    <a:pt x="14" y="999"/>
                  </a:lnTo>
                  <a:lnTo>
                    <a:pt x="14" y="999"/>
                  </a:lnTo>
                  <a:lnTo>
                    <a:pt x="14" y="997"/>
                  </a:lnTo>
                  <a:lnTo>
                    <a:pt x="17" y="995"/>
                  </a:lnTo>
                  <a:lnTo>
                    <a:pt x="14" y="995"/>
                  </a:lnTo>
                  <a:lnTo>
                    <a:pt x="14" y="992"/>
                  </a:lnTo>
                  <a:lnTo>
                    <a:pt x="14" y="988"/>
                  </a:lnTo>
                  <a:lnTo>
                    <a:pt x="12" y="988"/>
                  </a:lnTo>
                  <a:lnTo>
                    <a:pt x="14" y="985"/>
                  </a:lnTo>
                  <a:lnTo>
                    <a:pt x="12" y="985"/>
                  </a:lnTo>
                  <a:lnTo>
                    <a:pt x="12" y="980"/>
                  </a:lnTo>
                  <a:lnTo>
                    <a:pt x="12" y="978"/>
                  </a:lnTo>
                  <a:lnTo>
                    <a:pt x="12" y="978"/>
                  </a:lnTo>
                  <a:lnTo>
                    <a:pt x="12" y="976"/>
                  </a:lnTo>
                  <a:lnTo>
                    <a:pt x="5" y="978"/>
                  </a:lnTo>
                  <a:lnTo>
                    <a:pt x="5" y="973"/>
                  </a:lnTo>
                  <a:lnTo>
                    <a:pt x="5" y="973"/>
                  </a:lnTo>
                  <a:lnTo>
                    <a:pt x="5" y="971"/>
                  </a:lnTo>
                  <a:lnTo>
                    <a:pt x="5" y="969"/>
                  </a:lnTo>
                  <a:lnTo>
                    <a:pt x="7" y="971"/>
                  </a:lnTo>
                  <a:lnTo>
                    <a:pt x="10" y="971"/>
                  </a:lnTo>
                  <a:lnTo>
                    <a:pt x="10" y="969"/>
                  </a:lnTo>
                  <a:lnTo>
                    <a:pt x="7" y="966"/>
                  </a:lnTo>
                  <a:lnTo>
                    <a:pt x="7" y="964"/>
                  </a:lnTo>
                  <a:lnTo>
                    <a:pt x="10" y="962"/>
                  </a:lnTo>
                  <a:lnTo>
                    <a:pt x="10" y="959"/>
                  </a:lnTo>
                  <a:lnTo>
                    <a:pt x="12" y="957"/>
                  </a:lnTo>
                  <a:lnTo>
                    <a:pt x="12" y="952"/>
                  </a:lnTo>
                  <a:lnTo>
                    <a:pt x="12" y="952"/>
                  </a:lnTo>
                  <a:lnTo>
                    <a:pt x="14" y="952"/>
                  </a:lnTo>
                  <a:lnTo>
                    <a:pt x="14" y="952"/>
                  </a:lnTo>
                  <a:lnTo>
                    <a:pt x="14" y="947"/>
                  </a:lnTo>
                  <a:lnTo>
                    <a:pt x="14" y="947"/>
                  </a:lnTo>
                  <a:lnTo>
                    <a:pt x="14" y="943"/>
                  </a:lnTo>
                  <a:lnTo>
                    <a:pt x="14" y="940"/>
                  </a:lnTo>
                  <a:lnTo>
                    <a:pt x="12" y="938"/>
                  </a:lnTo>
                  <a:lnTo>
                    <a:pt x="12" y="936"/>
                  </a:lnTo>
                  <a:lnTo>
                    <a:pt x="12" y="933"/>
                  </a:lnTo>
                  <a:lnTo>
                    <a:pt x="12" y="931"/>
                  </a:lnTo>
                  <a:lnTo>
                    <a:pt x="12" y="931"/>
                  </a:lnTo>
                  <a:lnTo>
                    <a:pt x="14" y="928"/>
                  </a:lnTo>
                  <a:lnTo>
                    <a:pt x="14" y="928"/>
                  </a:lnTo>
                  <a:lnTo>
                    <a:pt x="12" y="924"/>
                  </a:lnTo>
                  <a:lnTo>
                    <a:pt x="12" y="921"/>
                  </a:lnTo>
                  <a:lnTo>
                    <a:pt x="12" y="921"/>
                  </a:lnTo>
                  <a:lnTo>
                    <a:pt x="7" y="921"/>
                  </a:lnTo>
                  <a:lnTo>
                    <a:pt x="7" y="919"/>
                  </a:lnTo>
                  <a:lnTo>
                    <a:pt x="7" y="917"/>
                  </a:lnTo>
                  <a:lnTo>
                    <a:pt x="7" y="912"/>
                  </a:lnTo>
                  <a:lnTo>
                    <a:pt x="7" y="912"/>
                  </a:lnTo>
                  <a:lnTo>
                    <a:pt x="7" y="910"/>
                  </a:lnTo>
                  <a:lnTo>
                    <a:pt x="10" y="902"/>
                  </a:lnTo>
                  <a:lnTo>
                    <a:pt x="10" y="900"/>
                  </a:lnTo>
                  <a:lnTo>
                    <a:pt x="7" y="898"/>
                  </a:lnTo>
                  <a:lnTo>
                    <a:pt x="7" y="898"/>
                  </a:lnTo>
                  <a:lnTo>
                    <a:pt x="7" y="895"/>
                  </a:lnTo>
                  <a:lnTo>
                    <a:pt x="7" y="893"/>
                  </a:lnTo>
                  <a:lnTo>
                    <a:pt x="7" y="893"/>
                  </a:lnTo>
                  <a:lnTo>
                    <a:pt x="7" y="891"/>
                  </a:lnTo>
                  <a:lnTo>
                    <a:pt x="12" y="888"/>
                  </a:lnTo>
                  <a:lnTo>
                    <a:pt x="12" y="886"/>
                  </a:lnTo>
                  <a:lnTo>
                    <a:pt x="10" y="884"/>
                  </a:lnTo>
                  <a:lnTo>
                    <a:pt x="10" y="881"/>
                  </a:lnTo>
                  <a:lnTo>
                    <a:pt x="12" y="879"/>
                  </a:lnTo>
                  <a:lnTo>
                    <a:pt x="12" y="876"/>
                  </a:lnTo>
                  <a:lnTo>
                    <a:pt x="10" y="874"/>
                  </a:lnTo>
                  <a:lnTo>
                    <a:pt x="7" y="874"/>
                  </a:lnTo>
                  <a:lnTo>
                    <a:pt x="7" y="874"/>
                  </a:lnTo>
                  <a:lnTo>
                    <a:pt x="7" y="869"/>
                  </a:lnTo>
                  <a:lnTo>
                    <a:pt x="5" y="867"/>
                  </a:lnTo>
                  <a:lnTo>
                    <a:pt x="5" y="867"/>
                  </a:lnTo>
                  <a:lnTo>
                    <a:pt x="5" y="862"/>
                  </a:lnTo>
                  <a:lnTo>
                    <a:pt x="3" y="860"/>
                  </a:lnTo>
                  <a:lnTo>
                    <a:pt x="3" y="858"/>
                  </a:lnTo>
                  <a:lnTo>
                    <a:pt x="3" y="858"/>
                  </a:lnTo>
                  <a:lnTo>
                    <a:pt x="5" y="855"/>
                  </a:lnTo>
                  <a:lnTo>
                    <a:pt x="7" y="853"/>
                  </a:lnTo>
                  <a:lnTo>
                    <a:pt x="7" y="853"/>
                  </a:lnTo>
                  <a:lnTo>
                    <a:pt x="10" y="851"/>
                  </a:lnTo>
                  <a:lnTo>
                    <a:pt x="10" y="851"/>
                  </a:lnTo>
                  <a:lnTo>
                    <a:pt x="10" y="846"/>
                  </a:lnTo>
                  <a:lnTo>
                    <a:pt x="10" y="843"/>
                  </a:lnTo>
                  <a:lnTo>
                    <a:pt x="10" y="841"/>
                  </a:lnTo>
                  <a:lnTo>
                    <a:pt x="10" y="841"/>
                  </a:lnTo>
                  <a:lnTo>
                    <a:pt x="10" y="839"/>
                  </a:lnTo>
                  <a:lnTo>
                    <a:pt x="10" y="839"/>
                  </a:lnTo>
                  <a:lnTo>
                    <a:pt x="10" y="839"/>
                  </a:lnTo>
                  <a:lnTo>
                    <a:pt x="7" y="839"/>
                  </a:lnTo>
                  <a:lnTo>
                    <a:pt x="7" y="839"/>
                  </a:lnTo>
                  <a:lnTo>
                    <a:pt x="3" y="836"/>
                  </a:lnTo>
                  <a:lnTo>
                    <a:pt x="3" y="836"/>
                  </a:lnTo>
                  <a:lnTo>
                    <a:pt x="0" y="832"/>
                  </a:lnTo>
                  <a:lnTo>
                    <a:pt x="0" y="829"/>
                  </a:lnTo>
                  <a:lnTo>
                    <a:pt x="0" y="827"/>
                  </a:lnTo>
                  <a:lnTo>
                    <a:pt x="0" y="822"/>
                  </a:lnTo>
                  <a:lnTo>
                    <a:pt x="0" y="822"/>
                  </a:lnTo>
                  <a:lnTo>
                    <a:pt x="0" y="82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 cap="flat">
              <a:solidFill>
                <a:schemeClr val="bg2">
                  <a:lumMod val="75000"/>
                </a:schemeClr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>
                <a:solidFill>
                  <a:srgbClr val="000000"/>
                </a:solidFill>
              </a:endParaRPr>
            </a:p>
          </p:txBody>
        </p:sp>
      </p:grpSp>
      <p:sp>
        <p:nvSpPr>
          <p:cNvPr id="76" name="Oval 75"/>
          <p:cNvSpPr/>
          <p:nvPr/>
        </p:nvSpPr>
        <p:spPr>
          <a:xfrm>
            <a:off x="4250540" y="4516832"/>
            <a:ext cx="129358" cy="131666"/>
          </a:xfrm>
          <a:prstGeom prst="ellipse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auto" hangingPunct="0">
              <a:spcBef>
                <a:spcPct val="50000"/>
              </a:spcBef>
              <a:spcAft>
                <a:spcPts val="0"/>
              </a:spcAft>
            </a:pPr>
            <a:endParaRPr lang="pt-BR" ker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7" name="Oval 106"/>
          <p:cNvSpPr/>
          <p:nvPr/>
        </p:nvSpPr>
        <p:spPr>
          <a:xfrm>
            <a:off x="3117655" y="2087784"/>
            <a:ext cx="129358" cy="131666"/>
          </a:xfrm>
          <a:prstGeom prst="ellipse">
            <a:avLst/>
          </a:prstGeom>
          <a:solidFill>
            <a:srgbClr val="00B0F0">
              <a:alpha val="40000"/>
            </a:srgbClr>
          </a:solidFill>
          <a:ln>
            <a:headEnd type="none" w="med" len="med"/>
            <a:tailEnd type="none" w="med" len="med"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auto" hangingPunct="0">
              <a:spcBef>
                <a:spcPct val="50000"/>
              </a:spcBef>
              <a:spcAft>
                <a:spcPts val="0"/>
              </a:spcAft>
            </a:pPr>
            <a:endParaRPr lang="pt-BR" ker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8" name="Oval 107"/>
          <p:cNvSpPr/>
          <p:nvPr/>
        </p:nvSpPr>
        <p:spPr>
          <a:xfrm>
            <a:off x="3944888" y="4881510"/>
            <a:ext cx="129358" cy="131666"/>
          </a:xfrm>
          <a:prstGeom prst="ellipse">
            <a:avLst/>
          </a:prstGeom>
          <a:solidFill>
            <a:srgbClr val="00B0F0">
              <a:alpha val="40000"/>
            </a:srgbClr>
          </a:solidFill>
          <a:ln>
            <a:headEnd type="none" w="med" len="med"/>
            <a:tailEnd type="none" w="med" len="med"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auto" hangingPunct="0">
              <a:spcBef>
                <a:spcPct val="50000"/>
              </a:spcBef>
              <a:spcAft>
                <a:spcPts val="0"/>
              </a:spcAft>
            </a:pPr>
            <a:endParaRPr lang="pt-BR" ker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9" name="Oval 108"/>
          <p:cNvSpPr/>
          <p:nvPr/>
        </p:nvSpPr>
        <p:spPr>
          <a:xfrm>
            <a:off x="3440832" y="5097534"/>
            <a:ext cx="129358" cy="131666"/>
          </a:xfrm>
          <a:prstGeom prst="ellipse">
            <a:avLst/>
          </a:prstGeom>
          <a:solidFill>
            <a:srgbClr val="00B0F0">
              <a:alpha val="40000"/>
            </a:srgbClr>
          </a:solidFill>
          <a:ln>
            <a:headEnd type="none" w="med" len="med"/>
            <a:tailEnd type="none" w="med" len="med"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auto" hangingPunct="0">
              <a:spcBef>
                <a:spcPct val="50000"/>
              </a:spcBef>
              <a:spcAft>
                <a:spcPts val="0"/>
              </a:spcAft>
            </a:pPr>
            <a:endParaRPr lang="pt-BR" ker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10" name="Oval 109"/>
          <p:cNvSpPr/>
          <p:nvPr/>
        </p:nvSpPr>
        <p:spPr>
          <a:xfrm>
            <a:off x="4376936" y="3717032"/>
            <a:ext cx="142294" cy="131666"/>
          </a:xfrm>
          <a:prstGeom prst="ellipse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auto" hangingPunct="0">
              <a:spcBef>
                <a:spcPct val="50000"/>
              </a:spcBef>
              <a:spcAft>
                <a:spcPts val="0"/>
              </a:spcAft>
            </a:pPr>
            <a:endParaRPr lang="pt-BR" ker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11" name="Oval 110"/>
          <p:cNvSpPr/>
          <p:nvPr/>
        </p:nvSpPr>
        <p:spPr>
          <a:xfrm>
            <a:off x="4376936" y="2492896"/>
            <a:ext cx="129358" cy="131666"/>
          </a:xfrm>
          <a:prstGeom prst="ellipse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auto" hangingPunct="0">
              <a:spcBef>
                <a:spcPct val="50000"/>
              </a:spcBef>
              <a:spcAft>
                <a:spcPts val="0"/>
              </a:spcAft>
            </a:pPr>
            <a:endParaRPr lang="pt-BR" ker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12" name="Oval 111"/>
          <p:cNvSpPr/>
          <p:nvPr/>
        </p:nvSpPr>
        <p:spPr>
          <a:xfrm>
            <a:off x="4806763" y="2726761"/>
            <a:ext cx="129358" cy="131666"/>
          </a:xfrm>
          <a:prstGeom prst="ellipse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auto" hangingPunct="0">
              <a:spcBef>
                <a:spcPct val="50000"/>
              </a:spcBef>
              <a:spcAft>
                <a:spcPts val="0"/>
              </a:spcAft>
            </a:pPr>
            <a:endParaRPr lang="pt-BR" ker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" name="TextBox 75"/>
          <p:cNvSpPr txBox="1"/>
          <p:nvPr/>
        </p:nvSpPr>
        <p:spPr>
          <a:xfrm>
            <a:off x="4508713" y="2338158"/>
            <a:ext cx="182774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omic Sans MS" charset="0"/>
                <a:ea typeface="Comic Sans MS" charset="0"/>
                <a:cs typeface="Comic Sans MS" charset="0"/>
              </a:rPr>
              <a:t>CDC - Fortaleza</a:t>
            </a:r>
            <a:endParaRPr lang="pt-BR" sz="1600" b="1" dirty="0">
              <a:solidFill>
                <a:schemeClr val="tx1">
                  <a:lumMod val="65000"/>
                  <a:lumOff val="35000"/>
                </a:schemeClr>
              </a:solidFill>
              <a:latin typeface="Comic Sans MS" charset="0"/>
              <a:ea typeface="Comic Sans MS" charset="0"/>
              <a:cs typeface="Comic Sans MS" charset="0"/>
            </a:endParaRPr>
          </a:p>
        </p:txBody>
      </p:sp>
      <p:sp>
        <p:nvSpPr>
          <p:cNvPr id="41" name="TextBox 75"/>
          <p:cNvSpPr txBox="1"/>
          <p:nvPr/>
        </p:nvSpPr>
        <p:spPr>
          <a:xfrm>
            <a:off x="4935279" y="2597451"/>
            <a:ext cx="431881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omic Sans MS" charset="0"/>
                <a:ea typeface="Comic Sans MS" charset="0"/>
                <a:cs typeface="Comic Sans MS" charset="0"/>
              </a:rPr>
              <a:t>CODERN – Natal, Areia Branca e Maceió</a:t>
            </a:r>
            <a:endParaRPr lang="pt-BR" sz="1600" b="1" dirty="0">
              <a:solidFill>
                <a:schemeClr val="tx1">
                  <a:lumMod val="65000"/>
                  <a:lumOff val="35000"/>
                </a:schemeClr>
              </a:solidFill>
              <a:latin typeface="Comic Sans MS" charset="0"/>
              <a:ea typeface="Comic Sans MS" charset="0"/>
              <a:cs typeface="Comic Sans MS" charset="0"/>
            </a:endParaRPr>
          </a:p>
        </p:txBody>
      </p:sp>
      <p:sp>
        <p:nvSpPr>
          <p:cNvPr id="42" name="TextBox 75"/>
          <p:cNvSpPr txBox="1"/>
          <p:nvPr/>
        </p:nvSpPr>
        <p:spPr>
          <a:xfrm>
            <a:off x="4516422" y="3658583"/>
            <a:ext cx="380585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omic Sans MS" charset="0"/>
                <a:ea typeface="Comic Sans MS" charset="0"/>
                <a:cs typeface="Comic Sans MS" charset="0"/>
              </a:rPr>
              <a:t>CODEBA – Salvador, Aratu e Ilhéus</a:t>
            </a:r>
            <a:endParaRPr lang="pt-BR" sz="1600" b="1" dirty="0">
              <a:solidFill>
                <a:schemeClr val="tx1">
                  <a:lumMod val="65000"/>
                  <a:lumOff val="35000"/>
                </a:schemeClr>
              </a:solidFill>
              <a:latin typeface="Comic Sans MS" charset="0"/>
              <a:ea typeface="Comic Sans MS" charset="0"/>
              <a:cs typeface="Comic Sans MS" charset="0"/>
            </a:endParaRPr>
          </a:p>
        </p:txBody>
      </p:sp>
      <p:sp>
        <p:nvSpPr>
          <p:cNvPr id="43" name="TextBox 75"/>
          <p:cNvSpPr txBox="1"/>
          <p:nvPr/>
        </p:nvSpPr>
        <p:spPr>
          <a:xfrm>
            <a:off x="4333449" y="4435789"/>
            <a:ext cx="198483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omic Sans MS" charset="0"/>
                <a:ea typeface="Comic Sans MS" charset="0"/>
                <a:cs typeface="Comic Sans MS" charset="0"/>
              </a:rPr>
              <a:t>CODESA – Vitória</a:t>
            </a:r>
            <a:endParaRPr lang="pt-BR" sz="1600" b="1" dirty="0">
              <a:solidFill>
                <a:schemeClr val="tx1">
                  <a:lumMod val="65000"/>
                  <a:lumOff val="35000"/>
                </a:schemeClr>
              </a:solidFill>
              <a:latin typeface="Comic Sans MS" charset="0"/>
              <a:ea typeface="Comic Sans MS" charset="0"/>
              <a:cs typeface="Comic Sans MS" charset="0"/>
            </a:endParaRPr>
          </a:p>
        </p:txBody>
      </p:sp>
      <p:sp>
        <p:nvSpPr>
          <p:cNvPr id="47" name="Retângulo Arredondado 46"/>
          <p:cNvSpPr/>
          <p:nvPr/>
        </p:nvSpPr>
        <p:spPr bwMode="auto">
          <a:xfrm>
            <a:off x="6609184" y="4695672"/>
            <a:ext cx="2959811" cy="1758621"/>
          </a:xfrm>
          <a:prstGeom prst="roundRect">
            <a:avLst/>
          </a:prstGeom>
          <a:solidFill>
            <a:srgbClr val="DEF408"/>
          </a:solidFill>
          <a:ln w="19050">
            <a:solidFill>
              <a:srgbClr val="DEF408"/>
            </a:solidFill>
            <a:headEnd type="none" w="med" len="med"/>
            <a:tailEnd type="none" w="med" len="med"/>
          </a:ln>
          <a:effectLst>
            <a:softEdge rad="12700"/>
          </a:effectLst>
          <a:scene3d>
            <a:camera prst="orthographicFront"/>
            <a:lightRig rig="balanced" dir="t"/>
          </a:scene3d>
          <a:sp3d extrusionH="101600" contourW="19050" prstMaterial="softEdge">
            <a:bevelT prst="angle"/>
            <a:bevelB/>
            <a:contourClr>
              <a:srgbClr val="DEF408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1434" tIns="45718" rIns="91434" bIns="45718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pt-BR" sz="2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omic Sans MS" charset="0"/>
                <a:ea typeface="Comic Sans MS" charset="0"/>
                <a:cs typeface="Comic Sans MS" charset="0"/>
              </a:rPr>
              <a:t>2ª Fase</a:t>
            </a:r>
          </a:p>
          <a:p>
            <a:pPr algn="ctr"/>
            <a:endParaRPr lang="pt-BR" sz="1000" dirty="0">
              <a:solidFill>
                <a:schemeClr val="tx1">
                  <a:lumMod val="65000"/>
                  <a:lumOff val="35000"/>
                </a:schemeClr>
              </a:solidFill>
              <a:latin typeface="Comic Sans MS" charset="0"/>
              <a:ea typeface="Comic Sans MS" charset="0"/>
              <a:cs typeface="Comic Sans MS" charset="0"/>
            </a:endParaRPr>
          </a:p>
          <a:p>
            <a:pPr algn="ctr"/>
            <a:r>
              <a:rPr lang="pt-BR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Comic Sans MS" charset="0"/>
                <a:ea typeface="Comic Sans MS" charset="0"/>
                <a:cs typeface="Comic Sans MS" charset="0"/>
              </a:rPr>
              <a:t>5 Companhias Docas</a:t>
            </a:r>
          </a:p>
          <a:p>
            <a:pPr algn="ctr"/>
            <a:r>
              <a:rPr lang="pt-BR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Comic Sans MS" charset="0"/>
                <a:ea typeface="Comic Sans MS" charset="0"/>
                <a:cs typeface="Comic Sans MS" charset="0"/>
              </a:rPr>
              <a:t/>
            </a:r>
            <a:br>
              <a:rPr lang="pt-BR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Comic Sans MS" charset="0"/>
                <a:ea typeface="Comic Sans MS" charset="0"/>
                <a:cs typeface="Comic Sans MS" charset="0"/>
              </a:rPr>
            </a:br>
            <a:r>
              <a:rPr lang="pt-BR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omic Sans MS" charset="0"/>
                <a:ea typeface="Comic Sans MS" charset="0"/>
                <a:cs typeface="Comic Sans MS" charset="0"/>
              </a:rPr>
              <a:t>Fase inicial</a:t>
            </a:r>
            <a:endParaRPr lang="pt-BR" sz="1800" dirty="0">
              <a:solidFill>
                <a:schemeClr val="tx1">
                  <a:lumMod val="65000"/>
                  <a:lumOff val="35000"/>
                </a:schemeClr>
              </a:solidFill>
              <a:latin typeface="Comic Sans MS" charset="0"/>
              <a:ea typeface="Comic Sans MS" charset="0"/>
              <a:cs typeface="Comic Sans MS" charset="0"/>
            </a:endParaRPr>
          </a:p>
        </p:txBody>
      </p:sp>
      <p:sp>
        <p:nvSpPr>
          <p:cNvPr id="48" name="Title 1"/>
          <p:cNvSpPr txBox="1">
            <a:spLocks/>
          </p:cNvSpPr>
          <p:nvPr/>
        </p:nvSpPr>
        <p:spPr bwMode="auto">
          <a:xfrm>
            <a:off x="2" y="2"/>
            <a:ext cx="9906001" cy="806379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glow rad="25400">
              <a:schemeClr val="accent1"/>
            </a:glow>
            <a:softEdge rad="0"/>
          </a:effectLst>
          <a:scene3d>
            <a:camera prst="orthographicFront"/>
            <a:lightRig rig="freezing" dir="t"/>
          </a:scene3d>
          <a:sp3d prstMaterial="plastic">
            <a:bevelT prst="angle"/>
            <a:bevelB prst="angle"/>
          </a:sp3d>
        </p:spPr>
        <p:txBody>
          <a:bodyPr rot="0" spcFirstLastPara="0" vertOverflow="overflow" horzOverflow="overflow" vert="horz" wrap="square" lIns="91434" tIns="0" rIns="91434" bIns="45718" numCol="1" spcCol="0" rtlCol="0" fromWordArt="0" anchor="ctr" anchorCtr="0" forceAA="0" compatLnSpc="1">
            <a:prstTxWarp prst="textNoShape">
              <a:avLst/>
            </a:prstTxWarp>
            <a:noAutofit/>
            <a:sp3d/>
          </a:bodyPr>
          <a:lstStyle>
            <a:defPPr>
              <a:defRPr lang="en-US"/>
            </a:defPPr>
            <a:lvl1pPr marL="0" marR="0" indent="0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  <a:defRPr kumimoji="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</a:defRPr>
            </a:lvl1pPr>
          </a:lstStyle>
          <a:p>
            <a:r>
              <a:rPr lang="pt-BR" sz="3200" dirty="0">
                <a:solidFill>
                  <a:schemeClr val="bg1">
                    <a:lumMod val="95000"/>
                  </a:schemeClr>
                </a:solidFill>
                <a:effectLst>
                  <a:glow>
                    <a:schemeClr val="accent1">
                      <a:alpha val="40000"/>
                    </a:schemeClr>
                  </a:glow>
                </a:effectLst>
                <a:latin typeface="Comic Sans MS" charset="0"/>
                <a:ea typeface="Comic Sans MS" charset="0"/>
                <a:cs typeface="Comic Sans MS" charset="0"/>
              </a:rPr>
              <a:t>Projeto de Moderniza</a:t>
            </a:r>
            <a:r>
              <a:rPr lang="en-US" sz="3200" dirty="0" err="1">
                <a:solidFill>
                  <a:schemeClr val="bg1">
                    <a:lumMod val="95000"/>
                  </a:schemeClr>
                </a:solidFill>
                <a:effectLst>
                  <a:glow>
                    <a:schemeClr val="accent1">
                      <a:alpha val="40000"/>
                    </a:schemeClr>
                  </a:glow>
                </a:effectLst>
                <a:latin typeface="Comic Sans MS" charset="0"/>
                <a:ea typeface="Comic Sans MS" charset="0"/>
                <a:cs typeface="Comic Sans MS" charset="0"/>
              </a:rPr>
              <a:t>ção</a:t>
            </a:r>
            <a:r>
              <a:rPr lang="en-US" sz="3200" dirty="0">
                <a:solidFill>
                  <a:schemeClr val="bg1">
                    <a:lumMod val="95000"/>
                  </a:schemeClr>
                </a:solidFill>
                <a:effectLst>
                  <a:glow>
                    <a:schemeClr val="accent1">
                      <a:alpha val="40000"/>
                    </a:schemeClr>
                  </a:glow>
                </a:effectLst>
                <a:latin typeface="Comic Sans MS" charset="0"/>
                <a:ea typeface="Comic Sans MS" charset="0"/>
                <a:cs typeface="Comic Sans MS" charset="0"/>
              </a:rPr>
              <a:t> da </a:t>
            </a:r>
            <a:r>
              <a:rPr lang="en-US" sz="3200" dirty="0" err="1">
                <a:solidFill>
                  <a:schemeClr val="bg1">
                    <a:lumMod val="95000"/>
                  </a:schemeClr>
                </a:solidFill>
                <a:effectLst>
                  <a:glow>
                    <a:schemeClr val="accent1">
                      <a:alpha val="40000"/>
                    </a:schemeClr>
                  </a:glow>
                </a:effectLst>
                <a:latin typeface="Comic Sans MS" charset="0"/>
                <a:ea typeface="Comic Sans MS" charset="0"/>
                <a:cs typeface="Comic Sans MS" charset="0"/>
              </a:rPr>
              <a:t>Gestão</a:t>
            </a:r>
            <a:r>
              <a:rPr lang="en-US" sz="3200" dirty="0">
                <a:solidFill>
                  <a:schemeClr val="bg1">
                    <a:lumMod val="95000"/>
                  </a:schemeClr>
                </a:solidFill>
                <a:effectLst>
                  <a:glow>
                    <a:schemeClr val="accent1">
                      <a:alpha val="40000"/>
                    </a:schemeClr>
                  </a:glow>
                </a:effectLst>
                <a:latin typeface="Comic Sans MS" charset="0"/>
                <a:ea typeface="Comic Sans MS" charset="0"/>
                <a:cs typeface="Comic Sans MS" charset="0"/>
              </a:rPr>
              <a:t> </a:t>
            </a:r>
            <a:r>
              <a:rPr lang="en-US" sz="3200" dirty="0" err="1">
                <a:solidFill>
                  <a:schemeClr val="bg1">
                    <a:lumMod val="95000"/>
                  </a:schemeClr>
                </a:solidFill>
                <a:effectLst>
                  <a:glow>
                    <a:schemeClr val="accent1">
                      <a:alpha val="40000"/>
                    </a:schemeClr>
                  </a:glow>
                </a:effectLst>
                <a:latin typeface="Comic Sans MS" charset="0"/>
                <a:ea typeface="Comic Sans MS" charset="0"/>
                <a:cs typeface="Comic Sans MS" charset="0"/>
              </a:rPr>
              <a:t>Portuária</a:t>
            </a:r>
            <a:endParaRPr lang="pt-BR" sz="3200" dirty="0">
              <a:solidFill>
                <a:schemeClr val="bg1">
                  <a:lumMod val="95000"/>
                </a:schemeClr>
              </a:solidFill>
              <a:effectLst>
                <a:glow>
                  <a:schemeClr val="accent1">
                    <a:alpha val="40000"/>
                  </a:schemeClr>
                </a:glow>
              </a:effectLst>
              <a:latin typeface="Comic Sans MS" charset="0"/>
              <a:ea typeface="Comic Sans MS" charset="0"/>
              <a:cs typeface="Comic Sans MS" charset="0"/>
            </a:endParaRPr>
          </a:p>
        </p:txBody>
      </p:sp>
      <p:sp>
        <p:nvSpPr>
          <p:cNvPr id="44" name="Oval 110"/>
          <p:cNvSpPr/>
          <p:nvPr/>
        </p:nvSpPr>
        <p:spPr>
          <a:xfrm>
            <a:off x="867662" y="2005524"/>
            <a:ext cx="129358" cy="131666"/>
          </a:xfrm>
          <a:prstGeom prst="ellipse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auto" hangingPunct="0">
              <a:spcBef>
                <a:spcPct val="50000"/>
              </a:spcBef>
              <a:spcAft>
                <a:spcPts val="0"/>
              </a:spcAft>
            </a:pPr>
            <a:endParaRPr lang="pt-BR" ker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5" name="TextBox 75"/>
          <p:cNvSpPr txBox="1"/>
          <p:nvPr/>
        </p:nvSpPr>
        <p:spPr>
          <a:xfrm>
            <a:off x="243132" y="1677435"/>
            <a:ext cx="227658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omic Sans MS" charset="0"/>
                <a:ea typeface="Comic Sans MS" charset="0"/>
                <a:cs typeface="Comic Sans MS" charset="0"/>
              </a:rPr>
              <a:t>CODOMAR - Manaus</a:t>
            </a:r>
            <a:endParaRPr lang="pt-BR" sz="1600" b="1" dirty="0">
              <a:solidFill>
                <a:schemeClr val="tx1">
                  <a:lumMod val="65000"/>
                  <a:lumOff val="35000"/>
                </a:schemeClr>
              </a:solidFill>
              <a:latin typeface="Comic Sans MS" charset="0"/>
              <a:ea typeface="Comic Sans MS" charset="0"/>
              <a:cs typeface="Comic Sans M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1011290"/>
      </p:ext>
    </p:extLst>
  </p:cSld>
  <p:clrMapOvr>
    <a:masterClrMapping/>
  </p:clrMapOvr>
  <p:transition spd="med" advClick="0"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1" y="265239"/>
          <a:ext cx="1587" cy="14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639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265239"/>
                        <a:ext cx="1587" cy="146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Freeform 397"/>
          <p:cNvSpPr>
            <a:spLocks noEditPoints="1"/>
          </p:cNvSpPr>
          <p:nvPr/>
        </p:nvSpPr>
        <p:spPr bwMode="auto">
          <a:xfrm>
            <a:off x="9002142" y="1787470"/>
            <a:ext cx="487362" cy="397120"/>
          </a:xfrm>
          <a:custGeom>
            <a:avLst/>
            <a:gdLst>
              <a:gd name="T0" fmla="*/ 2147483646 w 113"/>
              <a:gd name="T1" fmla="*/ 2147483646 h 100"/>
              <a:gd name="T2" fmla="*/ 2147483646 w 113"/>
              <a:gd name="T3" fmla="*/ 0 h 100"/>
              <a:gd name="T4" fmla="*/ 2147483646 w 113"/>
              <a:gd name="T5" fmla="*/ 2147483646 h 100"/>
              <a:gd name="T6" fmla="*/ 2147483646 w 113"/>
              <a:gd name="T7" fmla="*/ 2147483646 h 100"/>
              <a:gd name="T8" fmla="*/ 2147483646 w 113"/>
              <a:gd name="T9" fmla="*/ 2147483646 h 100"/>
              <a:gd name="T10" fmla="*/ 2147483646 w 113"/>
              <a:gd name="T11" fmla="*/ 2147483646 h 100"/>
              <a:gd name="T12" fmla="*/ 2147483646 w 113"/>
              <a:gd name="T13" fmla="*/ 2147483646 h 100"/>
              <a:gd name="T14" fmla="*/ 2147483646 w 113"/>
              <a:gd name="T15" fmla="*/ 2147483646 h 100"/>
              <a:gd name="T16" fmla="*/ 2147483646 w 113"/>
              <a:gd name="T17" fmla="*/ 2147483646 h 100"/>
              <a:gd name="T18" fmla="*/ 2147483646 w 113"/>
              <a:gd name="T19" fmla="*/ 2147483646 h 100"/>
              <a:gd name="T20" fmla="*/ 2147483646 w 113"/>
              <a:gd name="T21" fmla="*/ 2147483646 h 100"/>
              <a:gd name="T22" fmla="*/ 2147483646 w 113"/>
              <a:gd name="T23" fmla="*/ 2147483646 h 100"/>
              <a:gd name="T24" fmla="*/ 2147483646 w 113"/>
              <a:gd name="T25" fmla="*/ 2147483646 h 100"/>
              <a:gd name="T26" fmla="*/ 2147483646 w 113"/>
              <a:gd name="T27" fmla="*/ 2147483646 h 100"/>
              <a:gd name="T28" fmla="*/ 2147483646 w 113"/>
              <a:gd name="T29" fmla="*/ 2147483646 h 100"/>
              <a:gd name="T30" fmla="*/ 2147483646 w 113"/>
              <a:gd name="T31" fmla="*/ 2147483646 h 100"/>
              <a:gd name="T32" fmla="*/ 2147483646 w 113"/>
              <a:gd name="T33" fmla="*/ 2147483646 h 100"/>
              <a:gd name="T34" fmla="*/ 2147483646 w 113"/>
              <a:gd name="T35" fmla="*/ 2147483646 h 100"/>
              <a:gd name="T36" fmla="*/ 2147483646 w 113"/>
              <a:gd name="T37" fmla="*/ 2147483646 h 100"/>
              <a:gd name="T38" fmla="*/ 2147483646 w 113"/>
              <a:gd name="T39" fmla="*/ 2147483646 h 100"/>
              <a:gd name="T40" fmla="*/ 2147483646 w 113"/>
              <a:gd name="T41" fmla="*/ 2147483646 h 100"/>
              <a:gd name="T42" fmla="*/ 2147483646 w 113"/>
              <a:gd name="T43" fmla="*/ 2147483646 h 100"/>
              <a:gd name="T44" fmla="*/ 2147483646 w 113"/>
              <a:gd name="T45" fmla="*/ 2147483646 h 100"/>
              <a:gd name="T46" fmla="*/ 2147483646 w 113"/>
              <a:gd name="T47" fmla="*/ 2147483646 h 100"/>
              <a:gd name="T48" fmla="*/ 2147483646 w 113"/>
              <a:gd name="T49" fmla="*/ 2147483646 h 100"/>
              <a:gd name="T50" fmla="*/ 2147483646 w 113"/>
              <a:gd name="T51" fmla="*/ 2147483646 h 100"/>
              <a:gd name="T52" fmla="*/ 2147483646 w 113"/>
              <a:gd name="T53" fmla="*/ 2147483646 h 100"/>
              <a:gd name="T54" fmla="*/ 2147483646 w 113"/>
              <a:gd name="T55" fmla="*/ 2147483646 h 100"/>
              <a:gd name="T56" fmla="*/ 2147483646 w 113"/>
              <a:gd name="T57" fmla="*/ 2147483646 h 100"/>
              <a:gd name="T58" fmla="*/ 2147483646 w 113"/>
              <a:gd name="T59" fmla="*/ 2147483646 h 100"/>
              <a:gd name="T60" fmla="*/ 2147483646 w 113"/>
              <a:gd name="T61" fmla="*/ 2147483646 h 100"/>
              <a:gd name="T62" fmla="*/ 2147483646 w 113"/>
              <a:gd name="T63" fmla="*/ 2147483646 h 100"/>
              <a:gd name="T64" fmla="*/ 2147483646 w 113"/>
              <a:gd name="T65" fmla="*/ 2147483646 h 100"/>
              <a:gd name="T66" fmla="*/ 2147483646 w 113"/>
              <a:gd name="T67" fmla="*/ 2147483646 h 100"/>
              <a:gd name="T68" fmla="*/ 2147483646 w 113"/>
              <a:gd name="T69" fmla="*/ 2147483646 h 100"/>
              <a:gd name="T70" fmla="*/ 2147483646 w 113"/>
              <a:gd name="T71" fmla="*/ 2147483646 h 100"/>
              <a:gd name="T72" fmla="*/ 2147483646 w 113"/>
              <a:gd name="T73" fmla="*/ 2147483646 h 100"/>
              <a:gd name="T74" fmla="*/ 2147483646 w 113"/>
              <a:gd name="T75" fmla="*/ 2147483646 h 100"/>
              <a:gd name="T76" fmla="*/ 2147483646 w 113"/>
              <a:gd name="T77" fmla="*/ 2147483646 h 100"/>
              <a:gd name="T78" fmla="*/ 2147483646 w 113"/>
              <a:gd name="T79" fmla="*/ 2147483646 h 100"/>
              <a:gd name="T80" fmla="*/ 2147483646 w 113"/>
              <a:gd name="T81" fmla="*/ 2147483646 h 100"/>
              <a:gd name="T82" fmla="*/ 2147483646 w 113"/>
              <a:gd name="T83" fmla="*/ 2147483646 h 100"/>
              <a:gd name="T84" fmla="*/ 2147483646 w 113"/>
              <a:gd name="T85" fmla="*/ 2147483646 h 100"/>
              <a:gd name="T86" fmla="*/ 2147483646 w 113"/>
              <a:gd name="T87" fmla="*/ 2147483646 h 100"/>
              <a:gd name="T88" fmla="*/ 2147483646 w 113"/>
              <a:gd name="T89" fmla="*/ 2147483646 h 100"/>
              <a:gd name="T90" fmla="*/ 2147483646 w 113"/>
              <a:gd name="T91" fmla="*/ 2147483646 h 100"/>
              <a:gd name="T92" fmla="*/ 2147483646 w 113"/>
              <a:gd name="T93" fmla="*/ 2147483646 h 100"/>
              <a:gd name="T94" fmla="*/ 2147483646 w 113"/>
              <a:gd name="T95" fmla="*/ 2147483646 h 100"/>
              <a:gd name="T96" fmla="*/ 2147483646 w 113"/>
              <a:gd name="T97" fmla="*/ 2147483646 h 100"/>
              <a:gd name="T98" fmla="*/ 2147483646 w 113"/>
              <a:gd name="T99" fmla="*/ 2147483646 h 100"/>
              <a:gd name="T100" fmla="*/ 2147483646 w 113"/>
              <a:gd name="T101" fmla="*/ 2147483646 h 100"/>
              <a:gd name="T102" fmla="*/ 2147483646 w 113"/>
              <a:gd name="T103" fmla="*/ 2147483646 h 100"/>
              <a:gd name="T104" fmla="*/ 2147483646 w 113"/>
              <a:gd name="T105" fmla="*/ 2147483646 h 100"/>
              <a:gd name="T106" fmla="*/ 2147483646 w 113"/>
              <a:gd name="T107" fmla="*/ 2147483646 h 100"/>
              <a:gd name="T108" fmla="*/ 2147483646 w 113"/>
              <a:gd name="T109" fmla="*/ 2147483646 h 100"/>
              <a:gd name="T110" fmla="*/ 2147483646 w 113"/>
              <a:gd name="T111" fmla="*/ 2147483646 h 100"/>
              <a:gd name="T112" fmla="*/ 2147483646 w 113"/>
              <a:gd name="T113" fmla="*/ 2147483646 h 100"/>
              <a:gd name="T114" fmla="*/ 2147483646 w 113"/>
              <a:gd name="T115" fmla="*/ 2147483646 h 100"/>
              <a:gd name="T116" fmla="*/ 2147483646 w 113"/>
              <a:gd name="T117" fmla="*/ 2147483646 h 100"/>
              <a:gd name="T118" fmla="*/ 2147483646 w 113"/>
              <a:gd name="T119" fmla="*/ 2147483646 h 100"/>
              <a:gd name="T120" fmla="*/ 2147483646 w 113"/>
              <a:gd name="T121" fmla="*/ 2147483646 h 100"/>
              <a:gd name="T122" fmla="*/ 2147483646 w 113"/>
              <a:gd name="T123" fmla="*/ 2147483646 h 100"/>
              <a:gd name="T124" fmla="*/ 2147483646 w 113"/>
              <a:gd name="T125" fmla="*/ 2147483646 h 100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113" h="100">
                <a:moveTo>
                  <a:pt x="2" y="12"/>
                </a:moveTo>
                <a:lnTo>
                  <a:pt x="7" y="3"/>
                </a:lnTo>
                <a:lnTo>
                  <a:pt x="8" y="0"/>
                </a:lnTo>
                <a:lnTo>
                  <a:pt x="11" y="0"/>
                </a:lnTo>
                <a:lnTo>
                  <a:pt x="79" y="20"/>
                </a:lnTo>
                <a:lnTo>
                  <a:pt x="82" y="14"/>
                </a:lnTo>
                <a:lnTo>
                  <a:pt x="109" y="14"/>
                </a:lnTo>
                <a:lnTo>
                  <a:pt x="109" y="57"/>
                </a:lnTo>
                <a:lnTo>
                  <a:pt x="101" y="57"/>
                </a:lnTo>
                <a:lnTo>
                  <a:pt x="101" y="77"/>
                </a:lnTo>
                <a:lnTo>
                  <a:pt x="113" y="77"/>
                </a:lnTo>
                <a:lnTo>
                  <a:pt x="113" y="100"/>
                </a:lnTo>
                <a:lnTo>
                  <a:pt x="70" y="100"/>
                </a:lnTo>
                <a:lnTo>
                  <a:pt x="70" y="77"/>
                </a:lnTo>
                <a:lnTo>
                  <a:pt x="81" y="77"/>
                </a:lnTo>
                <a:lnTo>
                  <a:pt x="81" y="57"/>
                </a:lnTo>
                <a:lnTo>
                  <a:pt x="72" y="57"/>
                </a:lnTo>
                <a:lnTo>
                  <a:pt x="72" y="48"/>
                </a:lnTo>
                <a:lnTo>
                  <a:pt x="70" y="46"/>
                </a:lnTo>
                <a:lnTo>
                  <a:pt x="27" y="26"/>
                </a:lnTo>
                <a:lnTo>
                  <a:pt x="27" y="40"/>
                </a:lnTo>
                <a:lnTo>
                  <a:pt x="28" y="40"/>
                </a:lnTo>
                <a:lnTo>
                  <a:pt x="28" y="52"/>
                </a:lnTo>
                <a:lnTo>
                  <a:pt x="27" y="52"/>
                </a:lnTo>
                <a:lnTo>
                  <a:pt x="30" y="57"/>
                </a:lnTo>
                <a:lnTo>
                  <a:pt x="30" y="60"/>
                </a:lnTo>
                <a:lnTo>
                  <a:pt x="28" y="63"/>
                </a:lnTo>
                <a:lnTo>
                  <a:pt x="34" y="69"/>
                </a:lnTo>
                <a:lnTo>
                  <a:pt x="41" y="69"/>
                </a:lnTo>
                <a:lnTo>
                  <a:pt x="41" y="90"/>
                </a:lnTo>
                <a:lnTo>
                  <a:pt x="10" y="90"/>
                </a:lnTo>
                <a:lnTo>
                  <a:pt x="10" y="69"/>
                </a:lnTo>
                <a:lnTo>
                  <a:pt x="14" y="69"/>
                </a:lnTo>
                <a:lnTo>
                  <a:pt x="20" y="63"/>
                </a:lnTo>
                <a:lnTo>
                  <a:pt x="19" y="62"/>
                </a:lnTo>
                <a:lnTo>
                  <a:pt x="17" y="59"/>
                </a:lnTo>
                <a:lnTo>
                  <a:pt x="19" y="57"/>
                </a:lnTo>
                <a:lnTo>
                  <a:pt x="24" y="60"/>
                </a:lnTo>
                <a:lnTo>
                  <a:pt x="24" y="59"/>
                </a:lnTo>
                <a:lnTo>
                  <a:pt x="25" y="60"/>
                </a:lnTo>
                <a:lnTo>
                  <a:pt x="27" y="60"/>
                </a:lnTo>
                <a:lnTo>
                  <a:pt x="27" y="59"/>
                </a:lnTo>
                <a:lnTo>
                  <a:pt x="22" y="56"/>
                </a:lnTo>
                <a:lnTo>
                  <a:pt x="22" y="52"/>
                </a:lnTo>
                <a:lnTo>
                  <a:pt x="19" y="52"/>
                </a:lnTo>
                <a:lnTo>
                  <a:pt x="19" y="40"/>
                </a:lnTo>
                <a:lnTo>
                  <a:pt x="20" y="40"/>
                </a:lnTo>
                <a:lnTo>
                  <a:pt x="20" y="25"/>
                </a:lnTo>
                <a:lnTo>
                  <a:pt x="3" y="17"/>
                </a:lnTo>
                <a:lnTo>
                  <a:pt x="0" y="15"/>
                </a:lnTo>
                <a:lnTo>
                  <a:pt x="2" y="12"/>
                </a:lnTo>
                <a:close/>
                <a:moveTo>
                  <a:pt x="27" y="65"/>
                </a:moveTo>
                <a:lnTo>
                  <a:pt x="27" y="65"/>
                </a:lnTo>
                <a:lnTo>
                  <a:pt x="22" y="65"/>
                </a:lnTo>
                <a:lnTo>
                  <a:pt x="17" y="69"/>
                </a:lnTo>
                <a:lnTo>
                  <a:pt x="30" y="69"/>
                </a:lnTo>
                <a:lnTo>
                  <a:pt x="27" y="65"/>
                </a:lnTo>
                <a:close/>
                <a:moveTo>
                  <a:pt x="19" y="11"/>
                </a:moveTo>
                <a:lnTo>
                  <a:pt x="19" y="12"/>
                </a:lnTo>
                <a:lnTo>
                  <a:pt x="20" y="11"/>
                </a:lnTo>
                <a:lnTo>
                  <a:pt x="19" y="11"/>
                </a:lnTo>
                <a:close/>
                <a:moveTo>
                  <a:pt x="28" y="12"/>
                </a:moveTo>
                <a:lnTo>
                  <a:pt x="31" y="18"/>
                </a:lnTo>
                <a:lnTo>
                  <a:pt x="33" y="14"/>
                </a:lnTo>
                <a:lnTo>
                  <a:pt x="28" y="12"/>
                </a:lnTo>
                <a:close/>
                <a:moveTo>
                  <a:pt x="41" y="17"/>
                </a:moveTo>
                <a:lnTo>
                  <a:pt x="44" y="25"/>
                </a:lnTo>
                <a:lnTo>
                  <a:pt x="47" y="18"/>
                </a:lnTo>
                <a:lnTo>
                  <a:pt x="41" y="17"/>
                </a:lnTo>
                <a:close/>
                <a:moveTo>
                  <a:pt x="53" y="20"/>
                </a:moveTo>
                <a:lnTo>
                  <a:pt x="58" y="31"/>
                </a:lnTo>
                <a:lnTo>
                  <a:pt x="61" y="21"/>
                </a:lnTo>
                <a:lnTo>
                  <a:pt x="53" y="20"/>
                </a:lnTo>
                <a:close/>
                <a:moveTo>
                  <a:pt x="67" y="23"/>
                </a:moveTo>
                <a:lnTo>
                  <a:pt x="70" y="35"/>
                </a:lnTo>
                <a:lnTo>
                  <a:pt x="75" y="26"/>
                </a:lnTo>
                <a:lnTo>
                  <a:pt x="67" y="23"/>
                </a:lnTo>
                <a:close/>
                <a:moveTo>
                  <a:pt x="67" y="37"/>
                </a:moveTo>
                <a:lnTo>
                  <a:pt x="64" y="26"/>
                </a:lnTo>
                <a:lnTo>
                  <a:pt x="59" y="34"/>
                </a:lnTo>
                <a:lnTo>
                  <a:pt x="67" y="37"/>
                </a:lnTo>
                <a:close/>
                <a:moveTo>
                  <a:pt x="53" y="31"/>
                </a:moveTo>
                <a:lnTo>
                  <a:pt x="50" y="21"/>
                </a:lnTo>
                <a:lnTo>
                  <a:pt x="47" y="28"/>
                </a:lnTo>
                <a:lnTo>
                  <a:pt x="53" y="31"/>
                </a:lnTo>
                <a:close/>
                <a:moveTo>
                  <a:pt x="41" y="25"/>
                </a:moveTo>
                <a:lnTo>
                  <a:pt x="36" y="17"/>
                </a:lnTo>
                <a:lnTo>
                  <a:pt x="34" y="21"/>
                </a:lnTo>
                <a:lnTo>
                  <a:pt x="41" y="25"/>
                </a:lnTo>
                <a:close/>
                <a:moveTo>
                  <a:pt x="27" y="18"/>
                </a:moveTo>
                <a:lnTo>
                  <a:pt x="24" y="12"/>
                </a:lnTo>
                <a:lnTo>
                  <a:pt x="22" y="17"/>
                </a:lnTo>
                <a:lnTo>
                  <a:pt x="27" y="18"/>
                </a:lnTo>
                <a:close/>
                <a:moveTo>
                  <a:pt x="16" y="14"/>
                </a:moveTo>
                <a:lnTo>
                  <a:pt x="14" y="9"/>
                </a:lnTo>
                <a:lnTo>
                  <a:pt x="11" y="8"/>
                </a:lnTo>
                <a:lnTo>
                  <a:pt x="11" y="11"/>
                </a:lnTo>
                <a:lnTo>
                  <a:pt x="16" y="14"/>
                </a:lnTo>
                <a:close/>
                <a:moveTo>
                  <a:pt x="95" y="21"/>
                </a:moveTo>
                <a:lnTo>
                  <a:pt x="87" y="21"/>
                </a:lnTo>
                <a:lnTo>
                  <a:pt x="81" y="42"/>
                </a:lnTo>
                <a:lnTo>
                  <a:pt x="95" y="42"/>
                </a:lnTo>
                <a:lnTo>
                  <a:pt x="95" y="21"/>
                </a:lnTo>
                <a:close/>
              </a:path>
            </a:pathLst>
          </a:custGeom>
          <a:solidFill>
            <a:srgbClr val="A6A6A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77913" tIns="38957" rIns="77913" bIns="38957"/>
          <a:lstStyle/>
          <a:p>
            <a:endParaRPr lang="pt-BR"/>
          </a:p>
        </p:txBody>
      </p:sp>
      <p:sp>
        <p:nvSpPr>
          <p:cNvPr id="31" name="Freeform 356"/>
          <p:cNvSpPr>
            <a:spLocks noEditPoints="1"/>
          </p:cNvSpPr>
          <p:nvPr/>
        </p:nvSpPr>
        <p:spPr bwMode="auto">
          <a:xfrm>
            <a:off x="3338839" y="1836719"/>
            <a:ext cx="512763" cy="260838"/>
          </a:xfrm>
          <a:custGeom>
            <a:avLst/>
            <a:gdLst>
              <a:gd name="T0" fmla="*/ 2147483646 w 129"/>
              <a:gd name="T1" fmla="*/ 2147483646 h 71"/>
              <a:gd name="T2" fmla="*/ 2147483646 w 129"/>
              <a:gd name="T3" fmla="*/ 2147483646 h 71"/>
              <a:gd name="T4" fmla="*/ 2147483646 w 129"/>
              <a:gd name="T5" fmla="*/ 2147483646 h 71"/>
              <a:gd name="T6" fmla="*/ 0 w 129"/>
              <a:gd name="T7" fmla="*/ 2147483646 h 71"/>
              <a:gd name="T8" fmla="*/ 2147483646 w 129"/>
              <a:gd name="T9" fmla="*/ 2147483646 h 71"/>
              <a:gd name="T10" fmla="*/ 2147483646 w 129"/>
              <a:gd name="T11" fmla="*/ 2147483646 h 71"/>
              <a:gd name="T12" fmla="*/ 2147483646 w 129"/>
              <a:gd name="T13" fmla="*/ 2147483646 h 71"/>
              <a:gd name="T14" fmla="*/ 2147483646 w 129"/>
              <a:gd name="T15" fmla="*/ 2147483646 h 71"/>
              <a:gd name="T16" fmla="*/ 2147483646 w 129"/>
              <a:gd name="T17" fmla="*/ 2147483646 h 71"/>
              <a:gd name="T18" fmla="*/ 2147483646 w 129"/>
              <a:gd name="T19" fmla="*/ 2147483646 h 71"/>
              <a:gd name="T20" fmla="*/ 2147483646 w 129"/>
              <a:gd name="T21" fmla="*/ 2147483646 h 71"/>
              <a:gd name="T22" fmla="*/ 2147483646 w 129"/>
              <a:gd name="T23" fmla="*/ 2147483646 h 71"/>
              <a:gd name="T24" fmla="*/ 2147483646 w 129"/>
              <a:gd name="T25" fmla="*/ 2147483646 h 71"/>
              <a:gd name="T26" fmla="*/ 2147483646 w 129"/>
              <a:gd name="T27" fmla="*/ 2147483646 h 71"/>
              <a:gd name="T28" fmla="*/ 2147483646 w 129"/>
              <a:gd name="T29" fmla="*/ 2147483646 h 71"/>
              <a:gd name="T30" fmla="*/ 2147483646 w 129"/>
              <a:gd name="T31" fmla="*/ 2147483646 h 71"/>
              <a:gd name="T32" fmla="*/ 0 w 129"/>
              <a:gd name="T33" fmla="*/ 2147483646 h 71"/>
              <a:gd name="T34" fmla="*/ 2147483646 w 129"/>
              <a:gd name="T35" fmla="*/ 2147483646 h 71"/>
              <a:gd name="T36" fmla="*/ 2147483646 w 129"/>
              <a:gd name="T37" fmla="*/ 2147483646 h 71"/>
              <a:gd name="T38" fmla="*/ 2147483646 w 129"/>
              <a:gd name="T39" fmla="*/ 2147483646 h 71"/>
              <a:gd name="T40" fmla="*/ 2147483646 w 129"/>
              <a:gd name="T41" fmla="*/ 2147483646 h 71"/>
              <a:gd name="T42" fmla="*/ 2147483646 w 129"/>
              <a:gd name="T43" fmla="*/ 2147483646 h 71"/>
              <a:gd name="T44" fmla="*/ 2147483646 w 129"/>
              <a:gd name="T45" fmla="*/ 2147483646 h 71"/>
              <a:gd name="T46" fmla="*/ 2147483646 w 129"/>
              <a:gd name="T47" fmla="*/ 2147483646 h 71"/>
              <a:gd name="T48" fmla="*/ 2147483646 w 129"/>
              <a:gd name="T49" fmla="*/ 2147483646 h 71"/>
              <a:gd name="T50" fmla="*/ 2147483646 w 129"/>
              <a:gd name="T51" fmla="*/ 2147483646 h 71"/>
              <a:gd name="T52" fmla="*/ 2147483646 w 129"/>
              <a:gd name="T53" fmla="*/ 2147483646 h 71"/>
              <a:gd name="T54" fmla="*/ 2147483646 w 129"/>
              <a:gd name="T55" fmla="*/ 2147483646 h 71"/>
              <a:gd name="T56" fmla="*/ 2147483646 w 129"/>
              <a:gd name="T57" fmla="*/ 2147483646 h 71"/>
              <a:gd name="T58" fmla="*/ 2147483646 w 129"/>
              <a:gd name="T59" fmla="*/ 2147483646 h 71"/>
              <a:gd name="T60" fmla="*/ 2147483646 w 129"/>
              <a:gd name="T61" fmla="*/ 2147483646 h 71"/>
              <a:gd name="T62" fmla="*/ 2147483646 w 129"/>
              <a:gd name="T63" fmla="*/ 2147483646 h 71"/>
              <a:gd name="T64" fmla="*/ 2147483646 w 129"/>
              <a:gd name="T65" fmla="*/ 2147483646 h 71"/>
              <a:gd name="T66" fmla="*/ 2147483646 w 129"/>
              <a:gd name="T67" fmla="*/ 2147483646 h 71"/>
              <a:gd name="T68" fmla="*/ 2147483646 w 129"/>
              <a:gd name="T69" fmla="*/ 2147483646 h 71"/>
              <a:gd name="T70" fmla="*/ 2147483646 w 129"/>
              <a:gd name="T71" fmla="*/ 0 h 71"/>
              <a:gd name="T72" fmla="*/ 2147483646 w 129"/>
              <a:gd name="T73" fmla="*/ 2147483646 h 71"/>
              <a:gd name="T74" fmla="*/ 2147483646 w 129"/>
              <a:gd name="T75" fmla="*/ 2147483646 h 71"/>
              <a:gd name="T76" fmla="*/ 2147483646 w 129"/>
              <a:gd name="T77" fmla="*/ 2147483646 h 71"/>
              <a:gd name="T78" fmla="*/ 2147483646 w 129"/>
              <a:gd name="T79" fmla="*/ 2147483646 h 71"/>
              <a:gd name="T80" fmla="*/ 2147483646 w 129"/>
              <a:gd name="T81" fmla="*/ 2147483646 h 71"/>
              <a:gd name="T82" fmla="*/ 2147483646 w 129"/>
              <a:gd name="T83" fmla="*/ 2147483646 h 71"/>
              <a:gd name="T84" fmla="*/ 2147483646 w 129"/>
              <a:gd name="T85" fmla="*/ 2147483646 h 71"/>
              <a:gd name="T86" fmla="*/ 2147483646 w 129"/>
              <a:gd name="T87" fmla="*/ 2147483646 h 71"/>
              <a:gd name="T88" fmla="*/ 2147483646 w 129"/>
              <a:gd name="T89" fmla="*/ 2147483646 h 71"/>
              <a:gd name="T90" fmla="*/ 2147483646 w 129"/>
              <a:gd name="T91" fmla="*/ 2147483646 h 71"/>
              <a:gd name="T92" fmla="*/ 2147483646 w 129"/>
              <a:gd name="T93" fmla="*/ 2147483646 h 71"/>
              <a:gd name="T94" fmla="*/ 2147483646 w 129"/>
              <a:gd name="T95" fmla="*/ 2147483646 h 71"/>
              <a:gd name="T96" fmla="*/ 2147483646 w 129"/>
              <a:gd name="T97" fmla="*/ 2147483646 h 71"/>
              <a:gd name="T98" fmla="*/ 2147483646 w 129"/>
              <a:gd name="T99" fmla="*/ 2147483646 h 71"/>
              <a:gd name="T100" fmla="*/ 2147483646 w 129"/>
              <a:gd name="T101" fmla="*/ 2147483646 h 71"/>
              <a:gd name="T102" fmla="*/ 2147483646 w 129"/>
              <a:gd name="T103" fmla="*/ 2147483646 h 71"/>
              <a:gd name="T104" fmla="*/ 2147483646 w 129"/>
              <a:gd name="T105" fmla="*/ 2147483646 h 71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129" h="71">
                <a:moveTo>
                  <a:pt x="61" y="16"/>
                </a:moveTo>
                <a:lnTo>
                  <a:pt x="64" y="13"/>
                </a:lnTo>
                <a:lnTo>
                  <a:pt x="113" y="34"/>
                </a:lnTo>
                <a:lnTo>
                  <a:pt x="113" y="36"/>
                </a:lnTo>
                <a:lnTo>
                  <a:pt x="61" y="16"/>
                </a:lnTo>
                <a:close/>
                <a:moveTo>
                  <a:pt x="0" y="17"/>
                </a:moveTo>
                <a:lnTo>
                  <a:pt x="0" y="17"/>
                </a:lnTo>
                <a:lnTo>
                  <a:pt x="2" y="22"/>
                </a:lnTo>
                <a:lnTo>
                  <a:pt x="5" y="28"/>
                </a:lnTo>
                <a:lnTo>
                  <a:pt x="11" y="37"/>
                </a:lnTo>
                <a:lnTo>
                  <a:pt x="17" y="48"/>
                </a:lnTo>
                <a:lnTo>
                  <a:pt x="19" y="53"/>
                </a:lnTo>
                <a:lnTo>
                  <a:pt x="19" y="59"/>
                </a:lnTo>
                <a:lnTo>
                  <a:pt x="17" y="62"/>
                </a:lnTo>
                <a:lnTo>
                  <a:pt x="14" y="64"/>
                </a:lnTo>
                <a:lnTo>
                  <a:pt x="13" y="65"/>
                </a:lnTo>
                <a:lnTo>
                  <a:pt x="11" y="71"/>
                </a:lnTo>
                <a:lnTo>
                  <a:pt x="126" y="71"/>
                </a:lnTo>
                <a:lnTo>
                  <a:pt x="126" y="64"/>
                </a:lnTo>
                <a:lnTo>
                  <a:pt x="129" y="51"/>
                </a:lnTo>
                <a:lnTo>
                  <a:pt x="110" y="45"/>
                </a:lnTo>
                <a:lnTo>
                  <a:pt x="92" y="39"/>
                </a:lnTo>
                <a:lnTo>
                  <a:pt x="68" y="30"/>
                </a:lnTo>
                <a:lnTo>
                  <a:pt x="47" y="22"/>
                </a:lnTo>
                <a:lnTo>
                  <a:pt x="34" y="19"/>
                </a:lnTo>
                <a:lnTo>
                  <a:pt x="24" y="17"/>
                </a:lnTo>
                <a:lnTo>
                  <a:pt x="11" y="16"/>
                </a:lnTo>
                <a:lnTo>
                  <a:pt x="0" y="17"/>
                </a:lnTo>
                <a:close/>
                <a:moveTo>
                  <a:pt x="30" y="31"/>
                </a:moveTo>
                <a:lnTo>
                  <a:pt x="30" y="31"/>
                </a:lnTo>
                <a:lnTo>
                  <a:pt x="33" y="33"/>
                </a:lnTo>
                <a:lnTo>
                  <a:pt x="34" y="36"/>
                </a:lnTo>
                <a:lnTo>
                  <a:pt x="33" y="39"/>
                </a:lnTo>
                <a:lnTo>
                  <a:pt x="30" y="40"/>
                </a:lnTo>
                <a:lnTo>
                  <a:pt x="25" y="39"/>
                </a:lnTo>
                <a:lnTo>
                  <a:pt x="24" y="36"/>
                </a:lnTo>
                <a:lnTo>
                  <a:pt x="25" y="33"/>
                </a:lnTo>
                <a:lnTo>
                  <a:pt x="30" y="31"/>
                </a:lnTo>
                <a:close/>
                <a:moveTo>
                  <a:pt x="73" y="6"/>
                </a:moveTo>
                <a:lnTo>
                  <a:pt x="106" y="22"/>
                </a:lnTo>
                <a:lnTo>
                  <a:pt x="106" y="20"/>
                </a:lnTo>
                <a:lnTo>
                  <a:pt x="75" y="5"/>
                </a:lnTo>
                <a:lnTo>
                  <a:pt x="73" y="6"/>
                </a:lnTo>
                <a:close/>
                <a:moveTo>
                  <a:pt x="47" y="0"/>
                </a:moveTo>
                <a:lnTo>
                  <a:pt x="45" y="5"/>
                </a:lnTo>
                <a:lnTo>
                  <a:pt x="34" y="5"/>
                </a:lnTo>
                <a:lnTo>
                  <a:pt x="31" y="11"/>
                </a:lnTo>
                <a:lnTo>
                  <a:pt x="33" y="11"/>
                </a:lnTo>
                <a:lnTo>
                  <a:pt x="36" y="10"/>
                </a:lnTo>
                <a:lnTo>
                  <a:pt x="59" y="10"/>
                </a:lnTo>
                <a:lnTo>
                  <a:pt x="53" y="19"/>
                </a:lnTo>
                <a:lnTo>
                  <a:pt x="73" y="27"/>
                </a:lnTo>
                <a:lnTo>
                  <a:pt x="92" y="34"/>
                </a:lnTo>
                <a:lnTo>
                  <a:pt x="116" y="44"/>
                </a:lnTo>
                <a:lnTo>
                  <a:pt x="116" y="33"/>
                </a:lnTo>
                <a:lnTo>
                  <a:pt x="107" y="28"/>
                </a:lnTo>
                <a:lnTo>
                  <a:pt x="107" y="19"/>
                </a:lnTo>
                <a:lnTo>
                  <a:pt x="75" y="0"/>
                </a:lnTo>
                <a:lnTo>
                  <a:pt x="47" y="0"/>
                </a:lnTo>
                <a:close/>
                <a:moveTo>
                  <a:pt x="55" y="11"/>
                </a:moveTo>
                <a:lnTo>
                  <a:pt x="53" y="13"/>
                </a:lnTo>
                <a:lnTo>
                  <a:pt x="48" y="13"/>
                </a:lnTo>
                <a:lnTo>
                  <a:pt x="50" y="11"/>
                </a:lnTo>
                <a:lnTo>
                  <a:pt x="55" y="11"/>
                </a:lnTo>
                <a:close/>
                <a:moveTo>
                  <a:pt x="48" y="11"/>
                </a:moveTo>
                <a:lnTo>
                  <a:pt x="47" y="13"/>
                </a:lnTo>
                <a:lnTo>
                  <a:pt x="41" y="13"/>
                </a:lnTo>
                <a:lnTo>
                  <a:pt x="44" y="11"/>
                </a:lnTo>
                <a:lnTo>
                  <a:pt x="48" y="11"/>
                </a:lnTo>
                <a:close/>
                <a:moveTo>
                  <a:pt x="53" y="14"/>
                </a:moveTo>
                <a:lnTo>
                  <a:pt x="51" y="17"/>
                </a:lnTo>
                <a:lnTo>
                  <a:pt x="47" y="17"/>
                </a:lnTo>
                <a:lnTo>
                  <a:pt x="48" y="14"/>
                </a:lnTo>
                <a:lnTo>
                  <a:pt x="53" y="14"/>
                </a:lnTo>
                <a:close/>
                <a:moveTo>
                  <a:pt x="61" y="5"/>
                </a:moveTo>
                <a:lnTo>
                  <a:pt x="56" y="5"/>
                </a:lnTo>
                <a:lnTo>
                  <a:pt x="47" y="5"/>
                </a:lnTo>
                <a:lnTo>
                  <a:pt x="50" y="3"/>
                </a:lnTo>
                <a:lnTo>
                  <a:pt x="73" y="3"/>
                </a:lnTo>
                <a:lnTo>
                  <a:pt x="68" y="10"/>
                </a:lnTo>
                <a:lnTo>
                  <a:pt x="64" y="6"/>
                </a:lnTo>
                <a:lnTo>
                  <a:pt x="67" y="6"/>
                </a:lnTo>
                <a:lnTo>
                  <a:pt x="68" y="5"/>
                </a:lnTo>
                <a:lnTo>
                  <a:pt x="64" y="5"/>
                </a:lnTo>
                <a:lnTo>
                  <a:pt x="62" y="6"/>
                </a:lnTo>
                <a:lnTo>
                  <a:pt x="61" y="5"/>
                </a:lnTo>
                <a:close/>
              </a:path>
            </a:pathLst>
          </a:custGeom>
          <a:solidFill>
            <a:srgbClr val="A6A6A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77913" tIns="38957" rIns="77913" bIns="38957"/>
          <a:lstStyle/>
          <a:p>
            <a:endParaRPr lang="pt-BR"/>
          </a:p>
        </p:txBody>
      </p:sp>
      <p:sp>
        <p:nvSpPr>
          <p:cNvPr id="32" name="Freeform 60"/>
          <p:cNvSpPr>
            <a:spLocks noEditPoints="1"/>
          </p:cNvSpPr>
          <p:nvPr/>
        </p:nvSpPr>
        <p:spPr bwMode="auto">
          <a:xfrm>
            <a:off x="6200980" y="1772816"/>
            <a:ext cx="446087" cy="411774"/>
          </a:xfrm>
          <a:custGeom>
            <a:avLst/>
            <a:gdLst>
              <a:gd name="T0" fmla="*/ 2147483646 w 720"/>
              <a:gd name="T1" fmla="*/ 2147483646 h 719"/>
              <a:gd name="T2" fmla="*/ 2147483646 w 720"/>
              <a:gd name="T3" fmla="*/ 2147483646 h 719"/>
              <a:gd name="T4" fmla="*/ 2147483646 w 720"/>
              <a:gd name="T5" fmla="*/ 2147483646 h 719"/>
              <a:gd name="T6" fmla="*/ 2147483646 w 720"/>
              <a:gd name="T7" fmla="*/ 2147483646 h 719"/>
              <a:gd name="T8" fmla="*/ 2147483646 w 720"/>
              <a:gd name="T9" fmla="*/ 2147483646 h 719"/>
              <a:gd name="T10" fmla="*/ 2147483646 w 720"/>
              <a:gd name="T11" fmla="*/ 2147483646 h 719"/>
              <a:gd name="T12" fmla="*/ 2147483646 w 720"/>
              <a:gd name="T13" fmla="*/ 2147483646 h 719"/>
              <a:gd name="T14" fmla="*/ 2147483646 w 720"/>
              <a:gd name="T15" fmla="*/ 2147483646 h 719"/>
              <a:gd name="T16" fmla="*/ 2147483646 w 720"/>
              <a:gd name="T17" fmla="*/ 2147483646 h 719"/>
              <a:gd name="T18" fmla="*/ 2147483646 w 720"/>
              <a:gd name="T19" fmla="*/ 2147483646 h 719"/>
              <a:gd name="T20" fmla="*/ 2147483646 w 720"/>
              <a:gd name="T21" fmla="*/ 2147483646 h 719"/>
              <a:gd name="T22" fmla="*/ 2147483646 w 720"/>
              <a:gd name="T23" fmla="*/ 2147483646 h 719"/>
              <a:gd name="T24" fmla="*/ 2147483646 w 720"/>
              <a:gd name="T25" fmla="*/ 2147483646 h 719"/>
              <a:gd name="T26" fmla="*/ 2147483646 w 720"/>
              <a:gd name="T27" fmla="*/ 2147483646 h 719"/>
              <a:gd name="T28" fmla="*/ 2147483646 w 720"/>
              <a:gd name="T29" fmla="*/ 2147483646 h 719"/>
              <a:gd name="T30" fmla="*/ 2147483646 w 720"/>
              <a:gd name="T31" fmla="*/ 2147483646 h 719"/>
              <a:gd name="T32" fmla="*/ 2147483646 w 720"/>
              <a:gd name="T33" fmla="*/ 2147483646 h 719"/>
              <a:gd name="T34" fmla="*/ 2147483646 w 720"/>
              <a:gd name="T35" fmla="*/ 2147483646 h 719"/>
              <a:gd name="T36" fmla="*/ 2147483646 w 720"/>
              <a:gd name="T37" fmla="*/ 2147483646 h 719"/>
              <a:gd name="T38" fmla="*/ 2147483646 w 720"/>
              <a:gd name="T39" fmla="*/ 2147483646 h 719"/>
              <a:gd name="T40" fmla="*/ 2147483646 w 720"/>
              <a:gd name="T41" fmla="*/ 2147483646 h 719"/>
              <a:gd name="T42" fmla="*/ 2147483646 w 720"/>
              <a:gd name="T43" fmla="*/ 2147483646 h 719"/>
              <a:gd name="T44" fmla="*/ 2147483646 w 720"/>
              <a:gd name="T45" fmla="*/ 2147483646 h 719"/>
              <a:gd name="T46" fmla="*/ 2147483646 w 720"/>
              <a:gd name="T47" fmla="*/ 2147483646 h 719"/>
              <a:gd name="T48" fmla="*/ 2147483646 w 720"/>
              <a:gd name="T49" fmla="*/ 2147483646 h 719"/>
              <a:gd name="T50" fmla="*/ 2147483646 w 720"/>
              <a:gd name="T51" fmla="*/ 2147483646 h 719"/>
              <a:gd name="T52" fmla="*/ 2147483646 w 720"/>
              <a:gd name="T53" fmla="*/ 2147483646 h 719"/>
              <a:gd name="T54" fmla="*/ 2147483646 w 720"/>
              <a:gd name="T55" fmla="*/ 2147483646 h 719"/>
              <a:gd name="T56" fmla="*/ 2147483646 w 720"/>
              <a:gd name="T57" fmla="*/ 2147483646 h 719"/>
              <a:gd name="T58" fmla="*/ 2147483646 w 720"/>
              <a:gd name="T59" fmla="*/ 2147483646 h 719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720" h="719">
                <a:moveTo>
                  <a:pt x="66" y="479"/>
                </a:moveTo>
                <a:cubicBezTo>
                  <a:pt x="133" y="642"/>
                  <a:pt x="318" y="719"/>
                  <a:pt x="480" y="653"/>
                </a:cubicBezTo>
                <a:cubicBezTo>
                  <a:pt x="642" y="587"/>
                  <a:pt x="720" y="401"/>
                  <a:pt x="654" y="239"/>
                </a:cubicBezTo>
                <a:cubicBezTo>
                  <a:pt x="587" y="77"/>
                  <a:pt x="402" y="0"/>
                  <a:pt x="240" y="66"/>
                </a:cubicBezTo>
                <a:cubicBezTo>
                  <a:pt x="78" y="132"/>
                  <a:pt x="0" y="317"/>
                  <a:pt x="66" y="479"/>
                </a:cubicBezTo>
                <a:close/>
                <a:moveTo>
                  <a:pt x="130" y="454"/>
                </a:moveTo>
                <a:cubicBezTo>
                  <a:pt x="215" y="419"/>
                  <a:pt x="215" y="419"/>
                  <a:pt x="215" y="419"/>
                </a:cubicBezTo>
                <a:cubicBezTo>
                  <a:pt x="231" y="459"/>
                  <a:pt x="262" y="489"/>
                  <a:pt x="299" y="504"/>
                </a:cubicBezTo>
                <a:cubicBezTo>
                  <a:pt x="264" y="589"/>
                  <a:pt x="264" y="589"/>
                  <a:pt x="264" y="589"/>
                </a:cubicBezTo>
                <a:cubicBezTo>
                  <a:pt x="205" y="564"/>
                  <a:pt x="156" y="517"/>
                  <a:pt x="130" y="454"/>
                </a:cubicBezTo>
                <a:close/>
                <a:moveTo>
                  <a:pt x="454" y="590"/>
                </a:moveTo>
                <a:cubicBezTo>
                  <a:pt x="420" y="505"/>
                  <a:pt x="420" y="505"/>
                  <a:pt x="420" y="505"/>
                </a:cubicBezTo>
                <a:cubicBezTo>
                  <a:pt x="460" y="488"/>
                  <a:pt x="489" y="457"/>
                  <a:pt x="505" y="420"/>
                </a:cubicBezTo>
                <a:cubicBezTo>
                  <a:pt x="589" y="456"/>
                  <a:pt x="589" y="456"/>
                  <a:pt x="589" y="456"/>
                </a:cubicBezTo>
                <a:cubicBezTo>
                  <a:pt x="565" y="514"/>
                  <a:pt x="518" y="564"/>
                  <a:pt x="454" y="590"/>
                </a:cubicBezTo>
                <a:close/>
                <a:moveTo>
                  <a:pt x="590" y="265"/>
                </a:moveTo>
                <a:cubicBezTo>
                  <a:pt x="505" y="300"/>
                  <a:pt x="505" y="300"/>
                  <a:pt x="505" y="300"/>
                </a:cubicBezTo>
                <a:cubicBezTo>
                  <a:pt x="489" y="260"/>
                  <a:pt x="458" y="230"/>
                  <a:pt x="421" y="215"/>
                </a:cubicBezTo>
                <a:cubicBezTo>
                  <a:pt x="456" y="130"/>
                  <a:pt x="456" y="130"/>
                  <a:pt x="456" y="130"/>
                </a:cubicBezTo>
                <a:cubicBezTo>
                  <a:pt x="515" y="155"/>
                  <a:pt x="564" y="202"/>
                  <a:pt x="590" y="265"/>
                </a:cubicBezTo>
                <a:close/>
                <a:moveTo>
                  <a:pt x="266" y="129"/>
                </a:moveTo>
                <a:cubicBezTo>
                  <a:pt x="301" y="214"/>
                  <a:pt x="301" y="214"/>
                  <a:pt x="301" y="214"/>
                </a:cubicBezTo>
                <a:cubicBezTo>
                  <a:pt x="260" y="230"/>
                  <a:pt x="231" y="262"/>
                  <a:pt x="215" y="299"/>
                </a:cubicBezTo>
                <a:cubicBezTo>
                  <a:pt x="131" y="263"/>
                  <a:pt x="131" y="263"/>
                  <a:pt x="131" y="263"/>
                </a:cubicBezTo>
                <a:cubicBezTo>
                  <a:pt x="155" y="204"/>
                  <a:pt x="202" y="155"/>
                  <a:pt x="266" y="129"/>
                </a:cubicBezTo>
                <a:close/>
                <a:moveTo>
                  <a:pt x="275" y="394"/>
                </a:moveTo>
                <a:cubicBezTo>
                  <a:pt x="256" y="347"/>
                  <a:pt x="278" y="294"/>
                  <a:pt x="325" y="275"/>
                </a:cubicBezTo>
                <a:cubicBezTo>
                  <a:pt x="372" y="255"/>
                  <a:pt x="426" y="278"/>
                  <a:pt x="445" y="325"/>
                </a:cubicBezTo>
                <a:cubicBezTo>
                  <a:pt x="464" y="372"/>
                  <a:pt x="442" y="425"/>
                  <a:pt x="395" y="444"/>
                </a:cubicBezTo>
                <a:cubicBezTo>
                  <a:pt x="348" y="463"/>
                  <a:pt x="294" y="441"/>
                  <a:pt x="275" y="394"/>
                </a:cubicBezTo>
                <a:close/>
              </a:path>
            </a:pathLst>
          </a:custGeom>
          <a:solidFill>
            <a:srgbClr val="A6A6A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77913" tIns="38957" rIns="77913" bIns="38957"/>
          <a:lstStyle/>
          <a:p>
            <a:endParaRPr lang="pt-BR"/>
          </a:p>
        </p:txBody>
      </p:sp>
      <p:sp>
        <p:nvSpPr>
          <p:cNvPr id="7" name="Rectangle 6"/>
          <p:cNvSpPr/>
          <p:nvPr/>
        </p:nvSpPr>
        <p:spPr>
          <a:xfrm>
            <a:off x="1188166" y="1924817"/>
            <a:ext cx="2663437" cy="5184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3048" lvl="1">
              <a:spcBef>
                <a:spcPct val="20000"/>
              </a:spcBef>
              <a:buClr>
                <a:srgbClr val="72C7E7"/>
              </a:buClr>
              <a:buSzPct val="90000"/>
              <a:defRPr/>
            </a:pPr>
            <a:r>
              <a:rPr lang="pt-BR" sz="1292" dirty="0">
                <a:solidFill>
                  <a:schemeClr val="accent1"/>
                </a:solidFill>
              </a:rPr>
              <a:t>Aproximadamente</a:t>
            </a:r>
            <a:r>
              <a:rPr lang="pt-BR" sz="1292" dirty="0">
                <a:solidFill>
                  <a:srgbClr val="000000"/>
                </a:solidFill>
              </a:rPr>
              <a:t/>
            </a:r>
            <a:br>
              <a:rPr lang="pt-BR" sz="1292" dirty="0">
                <a:solidFill>
                  <a:srgbClr val="000000"/>
                </a:solidFill>
              </a:rPr>
            </a:br>
            <a:r>
              <a:rPr lang="pt-BR" sz="1477" b="1" dirty="0">
                <a:solidFill>
                  <a:srgbClr val="00A1DE"/>
                </a:solidFill>
              </a:rPr>
              <a:t>110</a:t>
            </a:r>
            <a:r>
              <a:rPr lang="pt-BR" sz="1477" dirty="0">
                <a:solidFill>
                  <a:srgbClr val="000000"/>
                </a:solidFill>
              </a:rPr>
              <a:t> </a:t>
            </a:r>
            <a:r>
              <a:rPr lang="pt-BR" sz="1292" dirty="0">
                <a:solidFill>
                  <a:schemeClr val="accent1"/>
                </a:solidFill>
              </a:rPr>
              <a:t>reuniões realizadas</a:t>
            </a:r>
          </a:p>
        </p:txBody>
      </p:sp>
      <p:sp>
        <p:nvSpPr>
          <p:cNvPr id="8" name="Rectangle 7"/>
          <p:cNvSpPr/>
          <p:nvPr/>
        </p:nvSpPr>
        <p:spPr>
          <a:xfrm>
            <a:off x="1190028" y="2749323"/>
            <a:ext cx="2673033" cy="3196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3048" lvl="1">
              <a:spcBef>
                <a:spcPct val="20000"/>
              </a:spcBef>
              <a:buClr>
                <a:srgbClr val="72C7E7"/>
              </a:buClr>
              <a:buSzPct val="90000"/>
              <a:defRPr/>
            </a:pPr>
            <a:r>
              <a:rPr lang="pt-BR" sz="1477" b="1" dirty="0">
                <a:solidFill>
                  <a:srgbClr val="00A1DE"/>
                </a:solidFill>
              </a:rPr>
              <a:t>66</a:t>
            </a:r>
            <a:r>
              <a:rPr lang="pt-BR" sz="1477" dirty="0">
                <a:solidFill>
                  <a:srgbClr val="000000"/>
                </a:solidFill>
              </a:rPr>
              <a:t> </a:t>
            </a:r>
            <a:r>
              <a:rPr lang="pt-BR" sz="1292" dirty="0">
                <a:solidFill>
                  <a:schemeClr val="accent1"/>
                </a:solidFill>
              </a:rPr>
              <a:t>processos identificados</a:t>
            </a:r>
          </a:p>
        </p:txBody>
      </p:sp>
      <p:sp>
        <p:nvSpPr>
          <p:cNvPr id="33" name="Rectangle 32"/>
          <p:cNvSpPr/>
          <p:nvPr/>
        </p:nvSpPr>
        <p:spPr>
          <a:xfrm>
            <a:off x="1198797" y="4328765"/>
            <a:ext cx="2685479" cy="31963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73048" lvl="1">
              <a:spcBef>
                <a:spcPct val="20000"/>
              </a:spcBef>
              <a:buClr>
                <a:srgbClr val="72C7E7"/>
              </a:buClr>
              <a:buSzPct val="90000"/>
              <a:defRPr/>
            </a:pPr>
            <a:r>
              <a:rPr lang="pt-BR" sz="1477" b="1" dirty="0">
                <a:solidFill>
                  <a:srgbClr val="00A1DE"/>
                </a:solidFill>
              </a:rPr>
              <a:t>120</a:t>
            </a:r>
            <a:r>
              <a:rPr lang="pt-BR" sz="1292" dirty="0">
                <a:solidFill>
                  <a:srgbClr val="000000"/>
                </a:solidFill>
              </a:rPr>
              <a:t> </a:t>
            </a:r>
            <a:r>
              <a:rPr lang="pt-BR" sz="1292" dirty="0">
                <a:solidFill>
                  <a:schemeClr val="accent1"/>
                </a:solidFill>
              </a:rPr>
              <a:t>profissionais envolvidos</a:t>
            </a:r>
          </a:p>
        </p:txBody>
      </p:sp>
      <p:sp>
        <p:nvSpPr>
          <p:cNvPr id="34" name="Rectangle 33"/>
          <p:cNvSpPr/>
          <p:nvPr/>
        </p:nvSpPr>
        <p:spPr>
          <a:xfrm>
            <a:off x="1190028" y="4987811"/>
            <a:ext cx="2673033" cy="16095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3048" lvl="1">
              <a:spcBef>
                <a:spcPct val="20000"/>
              </a:spcBef>
              <a:buClr>
                <a:srgbClr val="72C7E7"/>
              </a:buClr>
              <a:buSzPct val="90000"/>
              <a:defRPr/>
            </a:pPr>
            <a:r>
              <a:rPr lang="pt-BR" sz="1477" b="1" dirty="0">
                <a:solidFill>
                  <a:srgbClr val="00A1DE"/>
                </a:solidFill>
              </a:rPr>
              <a:t>320 </a:t>
            </a:r>
            <a:r>
              <a:rPr lang="pt-BR" sz="1292" dirty="0">
                <a:solidFill>
                  <a:schemeClr val="accent1"/>
                </a:solidFill>
              </a:rPr>
              <a:t>oportunidades de melhorias</a:t>
            </a:r>
          </a:p>
          <a:p>
            <a:pPr marL="235933" lvl="2" indent="-126026">
              <a:spcBef>
                <a:spcPct val="20000"/>
              </a:spcBef>
              <a:buClr>
                <a:srgbClr val="002776"/>
              </a:buClr>
              <a:buFont typeface="Arial" panose="020B0604020202020204" pitchFamily="34" charset="0"/>
              <a:buChar char="•"/>
              <a:defRPr/>
            </a:pPr>
            <a:r>
              <a:rPr lang="pt-BR" sz="1477" b="1" dirty="0">
                <a:solidFill>
                  <a:srgbClr val="00A1DE"/>
                </a:solidFill>
              </a:rPr>
              <a:t>146 </a:t>
            </a:r>
            <a:r>
              <a:rPr lang="pt-BR" sz="1292" dirty="0">
                <a:solidFill>
                  <a:schemeClr val="accent1"/>
                </a:solidFill>
              </a:rPr>
              <a:t>em Sistemas</a:t>
            </a:r>
          </a:p>
          <a:p>
            <a:pPr marL="235933" lvl="2" indent="-126026">
              <a:spcBef>
                <a:spcPct val="20000"/>
              </a:spcBef>
              <a:buClr>
                <a:srgbClr val="002776"/>
              </a:buClr>
              <a:buFont typeface="Arial" panose="020B0604020202020204" pitchFamily="34" charset="0"/>
              <a:buChar char="•"/>
              <a:defRPr/>
            </a:pPr>
            <a:r>
              <a:rPr lang="pt-BR" sz="1477" b="1" dirty="0">
                <a:solidFill>
                  <a:srgbClr val="00A1DE"/>
                </a:solidFill>
              </a:rPr>
              <a:t>123 </a:t>
            </a:r>
            <a:r>
              <a:rPr lang="pt-BR" sz="1292" dirty="0">
                <a:solidFill>
                  <a:schemeClr val="accent1"/>
                </a:solidFill>
              </a:rPr>
              <a:t>em Processos</a:t>
            </a:r>
          </a:p>
          <a:p>
            <a:pPr marL="235933" lvl="2" indent="-126026">
              <a:spcBef>
                <a:spcPct val="20000"/>
              </a:spcBef>
              <a:buClr>
                <a:srgbClr val="002776"/>
              </a:buClr>
              <a:buFont typeface="Arial" panose="020B0604020202020204" pitchFamily="34" charset="0"/>
              <a:buChar char="•"/>
              <a:defRPr/>
            </a:pPr>
            <a:r>
              <a:rPr lang="pt-BR" sz="1477" b="1" dirty="0">
                <a:solidFill>
                  <a:srgbClr val="00A1DE"/>
                </a:solidFill>
              </a:rPr>
              <a:t>40 </a:t>
            </a:r>
            <a:r>
              <a:rPr lang="pt-BR" sz="1292" dirty="0">
                <a:solidFill>
                  <a:schemeClr val="accent1"/>
                </a:solidFill>
              </a:rPr>
              <a:t>em Pessoas</a:t>
            </a:r>
          </a:p>
          <a:p>
            <a:pPr marL="235933" lvl="2" indent="-126026">
              <a:spcBef>
                <a:spcPct val="20000"/>
              </a:spcBef>
              <a:buClr>
                <a:srgbClr val="002776"/>
              </a:buClr>
              <a:buFont typeface="Arial" panose="020B0604020202020204" pitchFamily="34" charset="0"/>
              <a:buChar char="•"/>
              <a:defRPr/>
            </a:pPr>
            <a:r>
              <a:rPr lang="pt-BR" sz="1477" b="1" dirty="0">
                <a:solidFill>
                  <a:srgbClr val="00A1DE"/>
                </a:solidFill>
              </a:rPr>
              <a:t>11 </a:t>
            </a:r>
            <a:r>
              <a:rPr lang="pt-BR" sz="1292" dirty="0">
                <a:solidFill>
                  <a:schemeClr val="accent1"/>
                </a:solidFill>
              </a:rPr>
              <a:t>em Infraestrutura</a:t>
            </a:r>
          </a:p>
        </p:txBody>
      </p:sp>
      <p:pic>
        <p:nvPicPr>
          <p:cNvPr id="258061" name="Picture 13" descr="http://simpleicon.com/wp-content/uploads/meeting.png"/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7635" y="1893022"/>
            <a:ext cx="678143" cy="6259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5" name="Freeform 5"/>
          <p:cNvSpPr>
            <a:spLocks noChangeAspect="1" noEditPoints="1"/>
          </p:cNvSpPr>
          <p:nvPr/>
        </p:nvSpPr>
        <p:spPr bwMode="auto">
          <a:xfrm>
            <a:off x="312149" y="4304125"/>
            <a:ext cx="477887" cy="406216"/>
          </a:xfrm>
          <a:custGeom>
            <a:avLst/>
            <a:gdLst>
              <a:gd name="T0" fmla="*/ 630 w 676"/>
              <a:gd name="T1" fmla="*/ 155 h 627"/>
              <a:gd name="T2" fmla="*/ 520 w 676"/>
              <a:gd name="T3" fmla="*/ 160 h 627"/>
              <a:gd name="T4" fmla="*/ 378 w 676"/>
              <a:gd name="T5" fmla="*/ 135 h 627"/>
              <a:gd name="T6" fmla="*/ 299 w 676"/>
              <a:gd name="T7" fmla="*/ 128 h 627"/>
              <a:gd name="T8" fmla="*/ 153 w 676"/>
              <a:gd name="T9" fmla="*/ 171 h 627"/>
              <a:gd name="T10" fmla="*/ 45 w 676"/>
              <a:gd name="T11" fmla="*/ 166 h 627"/>
              <a:gd name="T12" fmla="*/ 0 w 676"/>
              <a:gd name="T13" fmla="*/ 349 h 627"/>
              <a:gd name="T14" fmla="*/ 30 w 676"/>
              <a:gd name="T15" fmla="*/ 349 h 627"/>
              <a:gd name="T16" fmla="*/ 50 w 676"/>
              <a:gd name="T17" fmla="*/ 211 h 627"/>
              <a:gd name="T18" fmla="*/ 81 w 676"/>
              <a:gd name="T19" fmla="*/ 581 h 627"/>
              <a:gd name="T20" fmla="*/ 131 w 676"/>
              <a:gd name="T21" fmla="*/ 541 h 627"/>
              <a:gd name="T22" fmla="*/ 150 w 676"/>
              <a:gd name="T23" fmla="*/ 211 h 627"/>
              <a:gd name="T24" fmla="*/ 165 w 676"/>
              <a:gd name="T25" fmla="*/ 370 h 627"/>
              <a:gd name="T26" fmla="*/ 179 w 676"/>
              <a:gd name="T27" fmla="*/ 187 h 627"/>
              <a:gd name="T28" fmla="*/ 198 w 676"/>
              <a:gd name="T29" fmla="*/ 579 h 627"/>
              <a:gd name="T30" fmla="*/ 271 w 676"/>
              <a:gd name="T31" fmla="*/ 627 h 627"/>
              <a:gd name="T32" fmla="*/ 304 w 676"/>
              <a:gd name="T33" fmla="*/ 187 h 627"/>
              <a:gd name="T34" fmla="*/ 323 w 676"/>
              <a:gd name="T35" fmla="*/ 347 h 627"/>
              <a:gd name="T36" fmla="*/ 350 w 676"/>
              <a:gd name="T37" fmla="*/ 348 h 627"/>
              <a:gd name="T38" fmla="*/ 369 w 676"/>
              <a:gd name="T39" fmla="*/ 196 h 627"/>
              <a:gd name="T40" fmla="*/ 408 w 676"/>
              <a:gd name="T41" fmla="*/ 623 h 627"/>
              <a:gd name="T42" fmla="*/ 479 w 676"/>
              <a:gd name="T43" fmla="*/ 568 h 627"/>
              <a:gd name="T44" fmla="*/ 498 w 676"/>
              <a:gd name="T45" fmla="*/ 196 h 627"/>
              <a:gd name="T46" fmla="*/ 511 w 676"/>
              <a:gd name="T47" fmla="*/ 370 h 627"/>
              <a:gd name="T48" fmla="*/ 528 w 676"/>
              <a:gd name="T49" fmla="*/ 211 h 627"/>
              <a:gd name="T50" fmla="*/ 546 w 676"/>
              <a:gd name="T51" fmla="*/ 529 h 627"/>
              <a:gd name="T52" fmla="*/ 604 w 676"/>
              <a:gd name="T53" fmla="*/ 570 h 627"/>
              <a:gd name="T54" fmla="*/ 628 w 676"/>
              <a:gd name="T55" fmla="*/ 211 h 627"/>
              <a:gd name="T56" fmla="*/ 647 w 676"/>
              <a:gd name="T57" fmla="*/ 352 h 627"/>
              <a:gd name="T58" fmla="*/ 676 w 676"/>
              <a:gd name="T59" fmla="*/ 353 h 627"/>
              <a:gd name="T60" fmla="*/ 630 w 676"/>
              <a:gd name="T61" fmla="*/ 155 h 627"/>
              <a:gd name="T62" fmla="*/ 584 w 676"/>
              <a:gd name="T63" fmla="*/ 135 h 627"/>
              <a:gd name="T64" fmla="*/ 584 w 676"/>
              <a:gd name="T65" fmla="*/ 52 h 627"/>
              <a:gd name="T66" fmla="*/ 584 w 676"/>
              <a:gd name="T67" fmla="*/ 135 h 627"/>
              <a:gd name="T68" fmla="*/ 88 w 676"/>
              <a:gd name="T69" fmla="*/ 147 h 627"/>
              <a:gd name="T70" fmla="*/ 88 w 676"/>
              <a:gd name="T71" fmla="*/ 64 h 627"/>
              <a:gd name="T72" fmla="*/ 88 w 676"/>
              <a:gd name="T73" fmla="*/ 147 h 627"/>
              <a:gd name="T74" fmla="*/ 423 w 676"/>
              <a:gd name="T75" fmla="*/ 115 h 627"/>
              <a:gd name="T76" fmla="*/ 423 w 676"/>
              <a:gd name="T77" fmla="*/ 15 h 627"/>
              <a:gd name="T78" fmla="*/ 423 w 676"/>
              <a:gd name="T79" fmla="*/ 115 h 627"/>
              <a:gd name="T80" fmla="*/ 250 w 676"/>
              <a:gd name="T81" fmla="*/ 100 h 627"/>
              <a:gd name="T82" fmla="*/ 250 w 676"/>
              <a:gd name="T83" fmla="*/ 0 h 627"/>
              <a:gd name="T84" fmla="*/ 250 w 676"/>
              <a:gd name="T85" fmla="*/ 100 h 6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676" h="627">
                <a:moveTo>
                  <a:pt x="630" y="155"/>
                </a:moveTo>
                <a:lnTo>
                  <a:pt x="630" y="155"/>
                </a:lnTo>
                <a:lnTo>
                  <a:pt x="538" y="155"/>
                </a:lnTo>
                <a:cubicBezTo>
                  <a:pt x="532" y="155"/>
                  <a:pt x="525" y="157"/>
                  <a:pt x="520" y="160"/>
                </a:cubicBezTo>
                <a:cubicBezTo>
                  <a:pt x="510" y="141"/>
                  <a:pt x="492" y="135"/>
                  <a:pt x="472" y="135"/>
                </a:cubicBezTo>
                <a:lnTo>
                  <a:pt x="378" y="135"/>
                </a:lnTo>
                <a:cubicBezTo>
                  <a:pt x="362" y="135"/>
                  <a:pt x="348" y="135"/>
                  <a:pt x="338" y="148"/>
                </a:cubicBezTo>
                <a:cubicBezTo>
                  <a:pt x="328" y="135"/>
                  <a:pt x="314" y="128"/>
                  <a:pt x="299" y="128"/>
                </a:cubicBezTo>
                <a:lnTo>
                  <a:pt x="204" y="128"/>
                </a:lnTo>
                <a:cubicBezTo>
                  <a:pt x="180" y="128"/>
                  <a:pt x="160" y="146"/>
                  <a:pt x="153" y="171"/>
                </a:cubicBezTo>
                <a:cubicBezTo>
                  <a:pt x="147" y="168"/>
                  <a:pt x="130" y="166"/>
                  <a:pt x="124" y="166"/>
                </a:cubicBezTo>
                <a:lnTo>
                  <a:pt x="45" y="166"/>
                </a:lnTo>
                <a:cubicBezTo>
                  <a:pt x="20" y="166"/>
                  <a:pt x="0" y="190"/>
                  <a:pt x="0" y="220"/>
                </a:cubicBezTo>
                <a:lnTo>
                  <a:pt x="0" y="349"/>
                </a:lnTo>
                <a:cubicBezTo>
                  <a:pt x="0" y="359"/>
                  <a:pt x="2" y="369"/>
                  <a:pt x="15" y="369"/>
                </a:cubicBezTo>
                <a:cubicBezTo>
                  <a:pt x="28" y="369"/>
                  <a:pt x="30" y="359"/>
                  <a:pt x="30" y="349"/>
                </a:cubicBezTo>
                <a:cubicBezTo>
                  <a:pt x="30" y="337"/>
                  <a:pt x="31" y="211"/>
                  <a:pt x="31" y="211"/>
                </a:cubicBezTo>
                <a:lnTo>
                  <a:pt x="50" y="211"/>
                </a:lnTo>
                <a:cubicBezTo>
                  <a:pt x="50" y="211"/>
                  <a:pt x="49" y="530"/>
                  <a:pt x="49" y="546"/>
                </a:cubicBezTo>
                <a:cubicBezTo>
                  <a:pt x="50" y="580"/>
                  <a:pt x="69" y="581"/>
                  <a:pt x="81" y="581"/>
                </a:cubicBezTo>
                <a:lnTo>
                  <a:pt x="101" y="581"/>
                </a:lnTo>
                <a:cubicBezTo>
                  <a:pt x="112" y="581"/>
                  <a:pt x="129" y="580"/>
                  <a:pt x="131" y="541"/>
                </a:cubicBezTo>
                <a:cubicBezTo>
                  <a:pt x="131" y="524"/>
                  <a:pt x="131" y="211"/>
                  <a:pt x="131" y="211"/>
                </a:cubicBezTo>
                <a:lnTo>
                  <a:pt x="150" y="211"/>
                </a:lnTo>
                <a:lnTo>
                  <a:pt x="150" y="353"/>
                </a:lnTo>
                <a:cubicBezTo>
                  <a:pt x="150" y="367"/>
                  <a:pt x="155" y="370"/>
                  <a:pt x="165" y="370"/>
                </a:cubicBezTo>
                <a:cubicBezTo>
                  <a:pt x="175" y="370"/>
                  <a:pt x="180" y="363"/>
                  <a:pt x="180" y="351"/>
                </a:cubicBezTo>
                <a:cubicBezTo>
                  <a:pt x="180" y="344"/>
                  <a:pt x="179" y="187"/>
                  <a:pt x="179" y="187"/>
                </a:cubicBezTo>
                <a:lnTo>
                  <a:pt x="198" y="187"/>
                </a:lnTo>
                <a:cubicBezTo>
                  <a:pt x="198" y="187"/>
                  <a:pt x="198" y="555"/>
                  <a:pt x="198" y="579"/>
                </a:cubicBezTo>
                <a:cubicBezTo>
                  <a:pt x="199" y="620"/>
                  <a:pt x="221" y="627"/>
                  <a:pt x="235" y="627"/>
                </a:cubicBezTo>
                <a:lnTo>
                  <a:pt x="271" y="627"/>
                </a:lnTo>
                <a:cubicBezTo>
                  <a:pt x="285" y="627"/>
                  <a:pt x="303" y="620"/>
                  <a:pt x="305" y="573"/>
                </a:cubicBezTo>
                <a:cubicBezTo>
                  <a:pt x="306" y="554"/>
                  <a:pt x="304" y="187"/>
                  <a:pt x="304" y="187"/>
                </a:cubicBezTo>
                <a:lnTo>
                  <a:pt x="323" y="187"/>
                </a:lnTo>
                <a:lnTo>
                  <a:pt x="323" y="347"/>
                </a:lnTo>
                <a:cubicBezTo>
                  <a:pt x="323" y="363"/>
                  <a:pt x="325" y="369"/>
                  <a:pt x="338" y="369"/>
                </a:cubicBezTo>
                <a:cubicBezTo>
                  <a:pt x="348" y="369"/>
                  <a:pt x="350" y="362"/>
                  <a:pt x="350" y="348"/>
                </a:cubicBezTo>
                <a:cubicBezTo>
                  <a:pt x="350" y="338"/>
                  <a:pt x="351" y="196"/>
                  <a:pt x="351" y="196"/>
                </a:cubicBezTo>
                <a:lnTo>
                  <a:pt x="369" y="196"/>
                </a:lnTo>
                <a:cubicBezTo>
                  <a:pt x="369" y="196"/>
                  <a:pt x="370" y="551"/>
                  <a:pt x="370" y="575"/>
                </a:cubicBezTo>
                <a:cubicBezTo>
                  <a:pt x="371" y="615"/>
                  <a:pt x="395" y="623"/>
                  <a:pt x="408" y="623"/>
                </a:cubicBezTo>
                <a:lnTo>
                  <a:pt x="445" y="623"/>
                </a:lnTo>
                <a:cubicBezTo>
                  <a:pt x="458" y="623"/>
                  <a:pt x="477" y="615"/>
                  <a:pt x="479" y="568"/>
                </a:cubicBezTo>
                <a:cubicBezTo>
                  <a:pt x="480" y="546"/>
                  <a:pt x="479" y="196"/>
                  <a:pt x="479" y="196"/>
                </a:cubicBezTo>
                <a:lnTo>
                  <a:pt x="498" y="196"/>
                </a:lnTo>
                <a:cubicBezTo>
                  <a:pt x="498" y="196"/>
                  <a:pt x="498" y="333"/>
                  <a:pt x="498" y="348"/>
                </a:cubicBezTo>
                <a:cubicBezTo>
                  <a:pt x="498" y="360"/>
                  <a:pt x="501" y="370"/>
                  <a:pt x="511" y="370"/>
                </a:cubicBezTo>
                <a:cubicBezTo>
                  <a:pt x="523" y="370"/>
                  <a:pt x="526" y="365"/>
                  <a:pt x="527" y="354"/>
                </a:cubicBezTo>
                <a:cubicBezTo>
                  <a:pt x="527" y="372"/>
                  <a:pt x="528" y="211"/>
                  <a:pt x="528" y="211"/>
                </a:cubicBezTo>
                <a:lnTo>
                  <a:pt x="546" y="211"/>
                </a:lnTo>
                <a:cubicBezTo>
                  <a:pt x="546" y="211"/>
                  <a:pt x="546" y="524"/>
                  <a:pt x="546" y="529"/>
                </a:cubicBezTo>
                <a:cubicBezTo>
                  <a:pt x="547" y="563"/>
                  <a:pt x="558" y="570"/>
                  <a:pt x="569" y="570"/>
                </a:cubicBezTo>
                <a:lnTo>
                  <a:pt x="604" y="570"/>
                </a:lnTo>
                <a:cubicBezTo>
                  <a:pt x="615" y="570"/>
                  <a:pt x="627" y="563"/>
                  <a:pt x="628" y="524"/>
                </a:cubicBezTo>
                <a:cubicBezTo>
                  <a:pt x="629" y="504"/>
                  <a:pt x="628" y="211"/>
                  <a:pt x="628" y="211"/>
                </a:cubicBezTo>
                <a:lnTo>
                  <a:pt x="647" y="211"/>
                </a:lnTo>
                <a:lnTo>
                  <a:pt x="647" y="352"/>
                </a:lnTo>
                <a:cubicBezTo>
                  <a:pt x="647" y="362"/>
                  <a:pt x="653" y="369"/>
                  <a:pt x="662" y="369"/>
                </a:cubicBezTo>
                <a:cubicBezTo>
                  <a:pt x="671" y="369"/>
                  <a:pt x="676" y="363"/>
                  <a:pt x="676" y="353"/>
                </a:cubicBezTo>
                <a:lnTo>
                  <a:pt x="676" y="215"/>
                </a:lnTo>
                <a:cubicBezTo>
                  <a:pt x="676" y="186"/>
                  <a:pt x="655" y="155"/>
                  <a:pt x="630" y="155"/>
                </a:cubicBezTo>
                <a:close/>
                <a:moveTo>
                  <a:pt x="584" y="135"/>
                </a:moveTo>
                <a:lnTo>
                  <a:pt x="584" y="135"/>
                </a:lnTo>
                <a:cubicBezTo>
                  <a:pt x="607" y="135"/>
                  <a:pt x="626" y="116"/>
                  <a:pt x="626" y="93"/>
                </a:cubicBezTo>
                <a:cubicBezTo>
                  <a:pt x="626" y="70"/>
                  <a:pt x="607" y="52"/>
                  <a:pt x="584" y="52"/>
                </a:cubicBezTo>
                <a:cubicBezTo>
                  <a:pt x="562" y="52"/>
                  <a:pt x="543" y="70"/>
                  <a:pt x="543" y="93"/>
                </a:cubicBezTo>
                <a:cubicBezTo>
                  <a:pt x="543" y="116"/>
                  <a:pt x="562" y="135"/>
                  <a:pt x="584" y="135"/>
                </a:cubicBezTo>
                <a:close/>
                <a:moveTo>
                  <a:pt x="88" y="147"/>
                </a:moveTo>
                <a:lnTo>
                  <a:pt x="88" y="147"/>
                </a:lnTo>
                <a:cubicBezTo>
                  <a:pt x="111" y="147"/>
                  <a:pt x="130" y="128"/>
                  <a:pt x="130" y="105"/>
                </a:cubicBezTo>
                <a:cubicBezTo>
                  <a:pt x="130" y="82"/>
                  <a:pt x="111" y="64"/>
                  <a:pt x="88" y="64"/>
                </a:cubicBezTo>
                <a:cubicBezTo>
                  <a:pt x="65" y="64"/>
                  <a:pt x="47" y="82"/>
                  <a:pt x="47" y="105"/>
                </a:cubicBezTo>
                <a:cubicBezTo>
                  <a:pt x="47" y="128"/>
                  <a:pt x="65" y="147"/>
                  <a:pt x="88" y="147"/>
                </a:cubicBezTo>
                <a:close/>
                <a:moveTo>
                  <a:pt x="423" y="115"/>
                </a:moveTo>
                <a:lnTo>
                  <a:pt x="423" y="115"/>
                </a:lnTo>
                <a:cubicBezTo>
                  <a:pt x="451" y="115"/>
                  <a:pt x="473" y="93"/>
                  <a:pt x="473" y="65"/>
                </a:cubicBezTo>
                <a:cubicBezTo>
                  <a:pt x="473" y="37"/>
                  <a:pt x="451" y="15"/>
                  <a:pt x="423" y="15"/>
                </a:cubicBezTo>
                <a:cubicBezTo>
                  <a:pt x="396" y="15"/>
                  <a:pt x="373" y="37"/>
                  <a:pt x="373" y="65"/>
                </a:cubicBezTo>
                <a:cubicBezTo>
                  <a:pt x="373" y="93"/>
                  <a:pt x="396" y="115"/>
                  <a:pt x="423" y="115"/>
                </a:cubicBezTo>
                <a:close/>
                <a:moveTo>
                  <a:pt x="250" y="100"/>
                </a:moveTo>
                <a:lnTo>
                  <a:pt x="250" y="100"/>
                </a:lnTo>
                <a:cubicBezTo>
                  <a:pt x="277" y="100"/>
                  <a:pt x="300" y="77"/>
                  <a:pt x="300" y="49"/>
                </a:cubicBezTo>
                <a:cubicBezTo>
                  <a:pt x="300" y="22"/>
                  <a:pt x="277" y="0"/>
                  <a:pt x="250" y="0"/>
                </a:cubicBezTo>
                <a:cubicBezTo>
                  <a:pt x="222" y="0"/>
                  <a:pt x="200" y="22"/>
                  <a:pt x="200" y="49"/>
                </a:cubicBezTo>
                <a:cubicBezTo>
                  <a:pt x="200" y="77"/>
                  <a:pt x="222" y="100"/>
                  <a:pt x="250" y="100"/>
                </a:cubicBez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84406" tIns="42203" rIns="84406" bIns="42203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2" name="Group 35"/>
          <p:cNvGrpSpPr/>
          <p:nvPr/>
        </p:nvGrpSpPr>
        <p:grpSpPr>
          <a:xfrm>
            <a:off x="270202" y="3119188"/>
            <a:ext cx="547905" cy="215391"/>
            <a:chOff x="1000129" y="4078537"/>
            <a:chExt cx="592689" cy="252413"/>
          </a:xfrm>
          <a:solidFill>
            <a:schemeClr val="accent1"/>
          </a:solidFill>
        </p:grpSpPr>
        <p:sp>
          <p:nvSpPr>
            <p:cNvPr id="37" name="Chevron 36"/>
            <p:cNvSpPr/>
            <p:nvPr/>
          </p:nvSpPr>
          <p:spPr>
            <a:xfrm>
              <a:off x="1000129" y="4078537"/>
              <a:ext cx="217598" cy="252413"/>
            </a:xfrm>
            <a:prstGeom prst="chevron">
              <a:avLst>
                <a:gd name="adj" fmla="val 24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38" name="Chevron 37"/>
            <p:cNvSpPr/>
            <p:nvPr/>
          </p:nvSpPr>
          <p:spPr>
            <a:xfrm>
              <a:off x="1187674" y="4078537"/>
              <a:ext cx="217598" cy="252413"/>
            </a:xfrm>
            <a:prstGeom prst="chevron">
              <a:avLst>
                <a:gd name="adj" fmla="val 24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39" name="Chevron 38"/>
            <p:cNvSpPr/>
            <p:nvPr/>
          </p:nvSpPr>
          <p:spPr>
            <a:xfrm>
              <a:off x="1375219" y="4078537"/>
              <a:ext cx="217599" cy="252413"/>
            </a:xfrm>
            <a:prstGeom prst="chevron">
              <a:avLst>
                <a:gd name="adj" fmla="val 24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40" name="Freeform 106"/>
          <p:cNvSpPr>
            <a:spLocks noChangeAspect="1" noEditPoints="1"/>
          </p:cNvSpPr>
          <p:nvPr/>
        </p:nvSpPr>
        <p:spPr bwMode="auto">
          <a:xfrm>
            <a:off x="327717" y="5567097"/>
            <a:ext cx="421581" cy="337034"/>
          </a:xfrm>
          <a:custGeom>
            <a:avLst/>
            <a:gdLst>
              <a:gd name="T0" fmla="*/ 203 w 212"/>
              <a:gd name="T1" fmla="*/ 154 h 183"/>
              <a:gd name="T2" fmla="*/ 123 w 212"/>
              <a:gd name="T3" fmla="*/ 16 h 183"/>
              <a:gd name="T4" fmla="*/ 89 w 212"/>
              <a:gd name="T5" fmla="*/ 16 h 183"/>
              <a:gd name="T6" fmla="*/ 9 w 212"/>
              <a:gd name="T7" fmla="*/ 154 h 183"/>
              <a:gd name="T8" fmla="*/ 26 w 212"/>
              <a:gd name="T9" fmla="*/ 183 h 183"/>
              <a:gd name="T10" fmla="*/ 186 w 212"/>
              <a:gd name="T11" fmla="*/ 183 h 183"/>
              <a:gd name="T12" fmla="*/ 203 w 212"/>
              <a:gd name="T13" fmla="*/ 154 h 183"/>
              <a:gd name="T14" fmla="*/ 116 w 212"/>
              <a:gd name="T15" fmla="*/ 157 h 183"/>
              <a:gd name="T16" fmla="*/ 96 w 212"/>
              <a:gd name="T17" fmla="*/ 157 h 183"/>
              <a:gd name="T18" fmla="*/ 96 w 212"/>
              <a:gd name="T19" fmla="*/ 138 h 183"/>
              <a:gd name="T20" fmla="*/ 116 w 212"/>
              <a:gd name="T21" fmla="*/ 138 h 183"/>
              <a:gd name="T22" fmla="*/ 116 w 212"/>
              <a:gd name="T23" fmla="*/ 157 h 183"/>
              <a:gd name="T24" fmla="*/ 114 w 212"/>
              <a:gd name="T25" fmla="*/ 127 h 183"/>
              <a:gd name="T26" fmla="*/ 98 w 212"/>
              <a:gd name="T27" fmla="*/ 127 h 183"/>
              <a:gd name="T28" fmla="*/ 94 w 212"/>
              <a:gd name="T29" fmla="*/ 55 h 183"/>
              <a:gd name="T30" fmla="*/ 118 w 212"/>
              <a:gd name="T31" fmla="*/ 55 h 183"/>
              <a:gd name="T32" fmla="*/ 114 w 212"/>
              <a:gd name="T33" fmla="*/ 127 h 1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212" h="183">
                <a:moveTo>
                  <a:pt x="203" y="154"/>
                </a:moveTo>
                <a:cubicBezTo>
                  <a:pt x="123" y="16"/>
                  <a:pt x="123" y="16"/>
                  <a:pt x="123" y="16"/>
                </a:cubicBezTo>
                <a:cubicBezTo>
                  <a:pt x="114" y="0"/>
                  <a:pt x="99" y="0"/>
                  <a:pt x="89" y="16"/>
                </a:cubicBezTo>
                <a:cubicBezTo>
                  <a:pt x="9" y="154"/>
                  <a:pt x="9" y="154"/>
                  <a:pt x="9" y="154"/>
                </a:cubicBezTo>
                <a:cubicBezTo>
                  <a:pt x="0" y="170"/>
                  <a:pt x="8" y="183"/>
                  <a:pt x="26" y="183"/>
                </a:cubicBezTo>
                <a:cubicBezTo>
                  <a:pt x="186" y="183"/>
                  <a:pt x="186" y="183"/>
                  <a:pt x="186" y="183"/>
                </a:cubicBezTo>
                <a:cubicBezTo>
                  <a:pt x="205" y="183"/>
                  <a:pt x="212" y="170"/>
                  <a:pt x="203" y="154"/>
                </a:cubicBezTo>
                <a:close/>
                <a:moveTo>
                  <a:pt x="116" y="157"/>
                </a:moveTo>
                <a:cubicBezTo>
                  <a:pt x="96" y="157"/>
                  <a:pt x="96" y="157"/>
                  <a:pt x="96" y="157"/>
                </a:cubicBezTo>
                <a:cubicBezTo>
                  <a:pt x="96" y="138"/>
                  <a:pt x="96" y="138"/>
                  <a:pt x="96" y="138"/>
                </a:cubicBezTo>
                <a:cubicBezTo>
                  <a:pt x="116" y="138"/>
                  <a:pt x="116" y="138"/>
                  <a:pt x="116" y="138"/>
                </a:cubicBezTo>
                <a:lnTo>
                  <a:pt x="116" y="157"/>
                </a:lnTo>
                <a:close/>
                <a:moveTo>
                  <a:pt x="114" y="127"/>
                </a:moveTo>
                <a:cubicBezTo>
                  <a:pt x="98" y="127"/>
                  <a:pt x="98" y="127"/>
                  <a:pt x="98" y="127"/>
                </a:cubicBezTo>
                <a:cubicBezTo>
                  <a:pt x="94" y="55"/>
                  <a:pt x="94" y="55"/>
                  <a:pt x="94" y="55"/>
                </a:cubicBezTo>
                <a:cubicBezTo>
                  <a:pt x="118" y="55"/>
                  <a:pt x="118" y="55"/>
                  <a:pt x="118" y="55"/>
                </a:cubicBezTo>
                <a:lnTo>
                  <a:pt x="114" y="127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84406" tIns="42203" rIns="84406" bIns="42203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cxnSp>
        <p:nvCxnSpPr>
          <p:cNvPr id="12" name="Straight Connector 11"/>
          <p:cNvCxnSpPr/>
          <p:nvPr/>
        </p:nvCxnSpPr>
        <p:spPr bwMode="auto">
          <a:xfrm>
            <a:off x="305630" y="2536184"/>
            <a:ext cx="9183874" cy="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1" name="Straight Connector 40"/>
          <p:cNvCxnSpPr/>
          <p:nvPr/>
        </p:nvCxnSpPr>
        <p:spPr bwMode="auto">
          <a:xfrm>
            <a:off x="305630" y="4149080"/>
            <a:ext cx="9183874" cy="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2" name="Straight Connector 41"/>
          <p:cNvCxnSpPr/>
          <p:nvPr/>
        </p:nvCxnSpPr>
        <p:spPr bwMode="auto">
          <a:xfrm>
            <a:off x="305630" y="4797152"/>
            <a:ext cx="9183874" cy="0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3" name="Rectangle 42"/>
          <p:cNvSpPr/>
          <p:nvPr/>
        </p:nvSpPr>
        <p:spPr>
          <a:xfrm>
            <a:off x="3985083" y="1924817"/>
            <a:ext cx="2663437" cy="5184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3048" lvl="1">
              <a:spcBef>
                <a:spcPct val="20000"/>
              </a:spcBef>
              <a:buClr>
                <a:srgbClr val="72C7E7"/>
              </a:buClr>
              <a:buSzPct val="90000"/>
              <a:defRPr/>
            </a:pPr>
            <a:r>
              <a:rPr lang="pt-BR" sz="1292" dirty="0">
                <a:solidFill>
                  <a:schemeClr val="accent1"/>
                </a:solidFill>
              </a:rPr>
              <a:t>Aproximadamente</a:t>
            </a:r>
            <a:r>
              <a:rPr lang="pt-BR" sz="1292" dirty="0">
                <a:solidFill>
                  <a:srgbClr val="000000"/>
                </a:solidFill>
              </a:rPr>
              <a:t/>
            </a:r>
            <a:br>
              <a:rPr lang="pt-BR" sz="1292" dirty="0">
                <a:solidFill>
                  <a:srgbClr val="000000"/>
                </a:solidFill>
              </a:rPr>
            </a:br>
            <a:r>
              <a:rPr lang="pt-BR" sz="1477" b="1" dirty="0">
                <a:solidFill>
                  <a:srgbClr val="00A1DE"/>
                </a:solidFill>
              </a:rPr>
              <a:t>100 </a:t>
            </a:r>
            <a:r>
              <a:rPr lang="pt-BR" sz="1292" dirty="0">
                <a:solidFill>
                  <a:schemeClr val="accent1"/>
                </a:solidFill>
              </a:rPr>
              <a:t>reuniões realizadas</a:t>
            </a:r>
          </a:p>
        </p:txBody>
      </p:sp>
      <p:sp>
        <p:nvSpPr>
          <p:cNvPr id="44" name="Rectangle 43"/>
          <p:cNvSpPr/>
          <p:nvPr/>
        </p:nvSpPr>
        <p:spPr>
          <a:xfrm>
            <a:off x="3986946" y="2749323"/>
            <a:ext cx="2673033" cy="3196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3048" lvl="1">
              <a:spcBef>
                <a:spcPct val="20000"/>
              </a:spcBef>
              <a:buClr>
                <a:srgbClr val="72C7E7"/>
              </a:buClr>
              <a:buSzPct val="90000"/>
              <a:defRPr/>
            </a:pPr>
            <a:r>
              <a:rPr lang="pt-BR" sz="1477" b="1" dirty="0">
                <a:solidFill>
                  <a:srgbClr val="00A1DE"/>
                </a:solidFill>
              </a:rPr>
              <a:t>60 </a:t>
            </a:r>
            <a:r>
              <a:rPr lang="pt-BR" sz="1292" dirty="0">
                <a:solidFill>
                  <a:schemeClr val="accent1"/>
                </a:solidFill>
              </a:rPr>
              <a:t>processos identificados</a:t>
            </a:r>
          </a:p>
        </p:txBody>
      </p:sp>
      <p:sp>
        <p:nvSpPr>
          <p:cNvPr id="45" name="Rectangle 44"/>
          <p:cNvSpPr/>
          <p:nvPr/>
        </p:nvSpPr>
        <p:spPr>
          <a:xfrm>
            <a:off x="3995715" y="4328765"/>
            <a:ext cx="2685479" cy="31963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73048" lvl="1">
              <a:spcBef>
                <a:spcPct val="20000"/>
              </a:spcBef>
              <a:buClr>
                <a:srgbClr val="72C7E7"/>
              </a:buClr>
              <a:buSzPct val="90000"/>
              <a:defRPr/>
            </a:pPr>
            <a:r>
              <a:rPr lang="pt-BR" sz="1477" b="1" dirty="0">
                <a:solidFill>
                  <a:srgbClr val="00A1DE"/>
                </a:solidFill>
              </a:rPr>
              <a:t>180</a:t>
            </a:r>
            <a:r>
              <a:rPr lang="pt-BR" sz="1292" dirty="0">
                <a:solidFill>
                  <a:srgbClr val="000000"/>
                </a:solidFill>
              </a:rPr>
              <a:t> </a:t>
            </a:r>
            <a:r>
              <a:rPr lang="pt-BR" sz="1292" dirty="0">
                <a:solidFill>
                  <a:schemeClr val="accent1"/>
                </a:solidFill>
              </a:rPr>
              <a:t>profissionais envolvidos</a:t>
            </a:r>
          </a:p>
        </p:txBody>
      </p:sp>
      <p:sp>
        <p:nvSpPr>
          <p:cNvPr id="46" name="Rectangle 45"/>
          <p:cNvSpPr/>
          <p:nvPr/>
        </p:nvSpPr>
        <p:spPr>
          <a:xfrm>
            <a:off x="3986946" y="4987811"/>
            <a:ext cx="2673033" cy="16095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3048" lvl="1">
              <a:spcBef>
                <a:spcPct val="20000"/>
              </a:spcBef>
              <a:buClr>
                <a:srgbClr val="72C7E7"/>
              </a:buClr>
              <a:buSzPct val="90000"/>
              <a:defRPr/>
            </a:pPr>
            <a:r>
              <a:rPr lang="pt-BR" sz="1477" b="1" dirty="0">
                <a:solidFill>
                  <a:srgbClr val="00A1DE"/>
                </a:solidFill>
              </a:rPr>
              <a:t>379 </a:t>
            </a:r>
            <a:r>
              <a:rPr lang="pt-BR" sz="1292" dirty="0">
                <a:solidFill>
                  <a:schemeClr val="accent1"/>
                </a:solidFill>
              </a:rPr>
              <a:t>oportunidades de melhorias</a:t>
            </a:r>
          </a:p>
          <a:p>
            <a:pPr marL="235933" lvl="2" indent="-126026">
              <a:spcBef>
                <a:spcPct val="20000"/>
              </a:spcBef>
              <a:buClr>
                <a:srgbClr val="002776"/>
              </a:buClr>
              <a:buFont typeface="Arial" panose="020B0604020202020204" pitchFamily="34" charset="0"/>
              <a:buChar char="•"/>
              <a:defRPr/>
            </a:pPr>
            <a:r>
              <a:rPr lang="pt-BR" sz="1477" b="1" dirty="0">
                <a:solidFill>
                  <a:srgbClr val="00A1DE"/>
                </a:solidFill>
              </a:rPr>
              <a:t>143 </a:t>
            </a:r>
            <a:r>
              <a:rPr lang="pt-BR" sz="1292" dirty="0">
                <a:solidFill>
                  <a:schemeClr val="accent1"/>
                </a:solidFill>
              </a:rPr>
              <a:t>em Sistemas</a:t>
            </a:r>
          </a:p>
          <a:p>
            <a:pPr marL="235933" lvl="2" indent="-126026">
              <a:spcBef>
                <a:spcPct val="20000"/>
              </a:spcBef>
              <a:buClr>
                <a:srgbClr val="002776"/>
              </a:buClr>
              <a:buFont typeface="Arial" panose="020B0604020202020204" pitchFamily="34" charset="0"/>
              <a:buChar char="•"/>
              <a:defRPr/>
            </a:pPr>
            <a:r>
              <a:rPr lang="pt-BR" sz="1477" b="1" dirty="0">
                <a:solidFill>
                  <a:srgbClr val="00A1DE"/>
                </a:solidFill>
              </a:rPr>
              <a:t>159 </a:t>
            </a:r>
            <a:r>
              <a:rPr lang="pt-BR" sz="1292" dirty="0">
                <a:solidFill>
                  <a:schemeClr val="accent1"/>
                </a:solidFill>
              </a:rPr>
              <a:t>em Processos</a:t>
            </a:r>
          </a:p>
          <a:p>
            <a:pPr marL="235933" lvl="2" indent="-126026">
              <a:spcBef>
                <a:spcPct val="20000"/>
              </a:spcBef>
              <a:buClr>
                <a:srgbClr val="002776"/>
              </a:buClr>
              <a:buFont typeface="Arial" panose="020B0604020202020204" pitchFamily="34" charset="0"/>
              <a:buChar char="•"/>
              <a:defRPr/>
            </a:pPr>
            <a:r>
              <a:rPr lang="pt-BR" sz="1477" b="1" dirty="0">
                <a:solidFill>
                  <a:srgbClr val="00A1DE"/>
                </a:solidFill>
              </a:rPr>
              <a:t>38 </a:t>
            </a:r>
            <a:r>
              <a:rPr lang="pt-BR" sz="1292" dirty="0">
                <a:solidFill>
                  <a:schemeClr val="accent1"/>
                </a:solidFill>
              </a:rPr>
              <a:t>em Pessoas</a:t>
            </a:r>
          </a:p>
          <a:p>
            <a:pPr marL="235933" lvl="2" indent="-126026">
              <a:spcBef>
                <a:spcPct val="20000"/>
              </a:spcBef>
              <a:buClr>
                <a:srgbClr val="002776"/>
              </a:buClr>
              <a:buFont typeface="Arial" panose="020B0604020202020204" pitchFamily="34" charset="0"/>
              <a:buChar char="•"/>
              <a:defRPr/>
            </a:pPr>
            <a:r>
              <a:rPr lang="pt-BR" sz="1477" b="1" dirty="0">
                <a:solidFill>
                  <a:srgbClr val="00A1DE"/>
                </a:solidFill>
              </a:rPr>
              <a:t>39 </a:t>
            </a:r>
            <a:r>
              <a:rPr lang="pt-BR" sz="1292" dirty="0">
                <a:solidFill>
                  <a:schemeClr val="accent1"/>
                </a:solidFill>
              </a:rPr>
              <a:t>em Infraestrutura</a:t>
            </a:r>
          </a:p>
        </p:txBody>
      </p:sp>
      <p:sp>
        <p:nvSpPr>
          <p:cNvPr id="47" name="Rectangle 46"/>
          <p:cNvSpPr/>
          <p:nvPr/>
        </p:nvSpPr>
        <p:spPr>
          <a:xfrm>
            <a:off x="6814610" y="1924817"/>
            <a:ext cx="2663437" cy="5184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3048" lvl="1">
              <a:spcBef>
                <a:spcPct val="20000"/>
              </a:spcBef>
              <a:buClr>
                <a:srgbClr val="72C7E7"/>
              </a:buClr>
              <a:buSzPct val="90000"/>
              <a:defRPr/>
            </a:pPr>
            <a:r>
              <a:rPr lang="pt-BR" sz="1292" dirty="0">
                <a:solidFill>
                  <a:schemeClr val="accent1"/>
                </a:solidFill>
              </a:rPr>
              <a:t>Aproximadamente</a:t>
            </a:r>
            <a:r>
              <a:rPr lang="pt-BR" sz="1292" dirty="0">
                <a:solidFill>
                  <a:srgbClr val="000000"/>
                </a:solidFill>
              </a:rPr>
              <a:t/>
            </a:r>
            <a:br>
              <a:rPr lang="pt-BR" sz="1292" dirty="0">
                <a:solidFill>
                  <a:srgbClr val="000000"/>
                </a:solidFill>
              </a:rPr>
            </a:br>
            <a:r>
              <a:rPr lang="pt-BR" sz="1477" b="1" dirty="0">
                <a:solidFill>
                  <a:srgbClr val="00A1DE"/>
                </a:solidFill>
              </a:rPr>
              <a:t>114</a:t>
            </a:r>
            <a:r>
              <a:rPr lang="pt-BR" sz="1477" dirty="0">
                <a:solidFill>
                  <a:srgbClr val="000000"/>
                </a:solidFill>
              </a:rPr>
              <a:t> </a:t>
            </a:r>
            <a:r>
              <a:rPr lang="pt-BR" sz="1292" dirty="0">
                <a:solidFill>
                  <a:schemeClr val="accent1"/>
                </a:solidFill>
              </a:rPr>
              <a:t>reuniões realizadas</a:t>
            </a:r>
          </a:p>
        </p:txBody>
      </p:sp>
      <p:sp>
        <p:nvSpPr>
          <p:cNvPr id="48" name="Rectangle 47"/>
          <p:cNvSpPr/>
          <p:nvPr/>
        </p:nvSpPr>
        <p:spPr>
          <a:xfrm>
            <a:off x="6816473" y="2780930"/>
            <a:ext cx="2673033" cy="3196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3048" lvl="1">
              <a:spcBef>
                <a:spcPct val="20000"/>
              </a:spcBef>
              <a:buClr>
                <a:srgbClr val="72C7E7"/>
              </a:buClr>
              <a:buSzPct val="90000"/>
              <a:defRPr/>
            </a:pPr>
            <a:r>
              <a:rPr lang="pt-BR" sz="1477" b="1" dirty="0">
                <a:solidFill>
                  <a:srgbClr val="00A1DE"/>
                </a:solidFill>
              </a:rPr>
              <a:t>59</a:t>
            </a:r>
            <a:r>
              <a:rPr lang="pt-BR" sz="1477" dirty="0">
                <a:solidFill>
                  <a:srgbClr val="000000"/>
                </a:solidFill>
              </a:rPr>
              <a:t> </a:t>
            </a:r>
            <a:r>
              <a:rPr lang="pt-BR" sz="1292" dirty="0">
                <a:solidFill>
                  <a:schemeClr val="accent1"/>
                </a:solidFill>
              </a:rPr>
              <a:t>processos identificados</a:t>
            </a:r>
          </a:p>
        </p:txBody>
      </p:sp>
      <p:sp>
        <p:nvSpPr>
          <p:cNvPr id="49" name="Rectangle 48"/>
          <p:cNvSpPr/>
          <p:nvPr/>
        </p:nvSpPr>
        <p:spPr>
          <a:xfrm>
            <a:off x="6825242" y="4328765"/>
            <a:ext cx="2550827" cy="31963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73048" lvl="1">
              <a:spcBef>
                <a:spcPct val="20000"/>
              </a:spcBef>
              <a:buClr>
                <a:srgbClr val="72C7E7"/>
              </a:buClr>
              <a:buSzPct val="90000"/>
              <a:defRPr/>
            </a:pPr>
            <a:r>
              <a:rPr lang="pt-BR" sz="1477" b="1" dirty="0">
                <a:solidFill>
                  <a:srgbClr val="00A1DE"/>
                </a:solidFill>
              </a:rPr>
              <a:t>85</a:t>
            </a:r>
            <a:r>
              <a:rPr lang="pt-BR" sz="1292" dirty="0">
                <a:solidFill>
                  <a:srgbClr val="000000"/>
                </a:solidFill>
              </a:rPr>
              <a:t> </a:t>
            </a:r>
            <a:r>
              <a:rPr lang="pt-BR" sz="1292" dirty="0">
                <a:solidFill>
                  <a:schemeClr val="accent1"/>
                </a:solidFill>
              </a:rPr>
              <a:t>profissionais envolvidos</a:t>
            </a:r>
          </a:p>
        </p:txBody>
      </p:sp>
      <p:sp>
        <p:nvSpPr>
          <p:cNvPr id="50" name="Rectangle 49"/>
          <p:cNvSpPr/>
          <p:nvPr/>
        </p:nvSpPr>
        <p:spPr>
          <a:xfrm>
            <a:off x="6816473" y="4987811"/>
            <a:ext cx="2673033" cy="16095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3048" lvl="1">
              <a:spcBef>
                <a:spcPct val="20000"/>
              </a:spcBef>
              <a:buClr>
                <a:srgbClr val="72C7E7"/>
              </a:buClr>
              <a:buSzPct val="90000"/>
              <a:defRPr/>
            </a:pPr>
            <a:r>
              <a:rPr lang="pt-BR" sz="1477" b="1" dirty="0">
                <a:solidFill>
                  <a:srgbClr val="00A1DE"/>
                </a:solidFill>
              </a:rPr>
              <a:t>235 </a:t>
            </a:r>
            <a:r>
              <a:rPr lang="pt-BR" sz="1292" dirty="0">
                <a:solidFill>
                  <a:schemeClr val="accent1"/>
                </a:solidFill>
              </a:rPr>
              <a:t>oportunidades de melhorias</a:t>
            </a:r>
          </a:p>
          <a:p>
            <a:pPr marL="235933" lvl="2" indent="-126026">
              <a:spcBef>
                <a:spcPct val="20000"/>
              </a:spcBef>
              <a:buClr>
                <a:srgbClr val="002776"/>
              </a:buClr>
              <a:buFont typeface="Arial" panose="020B0604020202020204" pitchFamily="34" charset="0"/>
              <a:buChar char="•"/>
              <a:defRPr/>
            </a:pPr>
            <a:r>
              <a:rPr lang="pt-BR" sz="1477" b="1" dirty="0">
                <a:solidFill>
                  <a:srgbClr val="00A1DE"/>
                </a:solidFill>
              </a:rPr>
              <a:t>55 </a:t>
            </a:r>
            <a:r>
              <a:rPr lang="pt-BR" sz="1292" dirty="0">
                <a:solidFill>
                  <a:schemeClr val="accent1"/>
                </a:solidFill>
              </a:rPr>
              <a:t>em Sistemas</a:t>
            </a:r>
          </a:p>
          <a:p>
            <a:pPr marL="235933" lvl="2" indent="-126026">
              <a:spcBef>
                <a:spcPct val="20000"/>
              </a:spcBef>
              <a:buClr>
                <a:srgbClr val="002776"/>
              </a:buClr>
              <a:buFont typeface="Arial" panose="020B0604020202020204" pitchFamily="34" charset="0"/>
              <a:buChar char="•"/>
              <a:defRPr/>
            </a:pPr>
            <a:r>
              <a:rPr lang="pt-BR" sz="1477" b="1" dirty="0">
                <a:solidFill>
                  <a:srgbClr val="00A1DE"/>
                </a:solidFill>
              </a:rPr>
              <a:t>119 </a:t>
            </a:r>
            <a:r>
              <a:rPr lang="pt-BR" sz="1292" dirty="0">
                <a:solidFill>
                  <a:schemeClr val="accent1"/>
                </a:solidFill>
              </a:rPr>
              <a:t>em Processos</a:t>
            </a:r>
          </a:p>
          <a:p>
            <a:pPr marL="235933" lvl="2" indent="-126026">
              <a:spcBef>
                <a:spcPct val="20000"/>
              </a:spcBef>
              <a:buClr>
                <a:srgbClr val="002776"/>
              </a:buClr>
              <a:buFont typeface="Arial" panose="020B0604020202020204" pitchFamily="34" charset="0"/>
              <a:buChar char="•"/>
              <a:defRPr/>
            </a:pPr>
            <a:r>
              <a:rPr lang="pt-BR" sz="1477" b="1" dirty="0">
                <a:solidFill>
                  <a:srgbClr val="00A1DE"/>
                </a:solidFill>
              </a:rPr>
              <a:t>46 </a:t>
            </a:r>
            <a:r>
              <a:rPr lang="pt-BR" sz="1292" dirty="0">
                <a:solidFill>
                  <a:schemeClr val="accent1"/>
                </a:solidFill>
              </a:rPr>
              <a:t>em Pessoas</a:t>
            </a:r>
          </a:p>
          <a:p>
            <a:pPr marL="235933" lvl="2" indent="-126026">
              <a:spcBef>
                <a:spcPct val="20000"/>
              </a:spcBef>
              <a:buClr>
                <a:srgbClr val="002776"/>
              </a:buClr>
              <a:buFont typeface="Arial" panose="020B0604020202020204" pitchFamily="34" charset="0"/>
              <a:buChar char="•"/>
              <a:defRPr/>
            </a:pPr>
            <a:r>
              <a:rPr lang="pt-BR" sz="1477" b="1" dirty="0">
                <a:solidFill>
                  <a:srgbClr val="00A1DE"/>
                </a:solidFill>
              </a:rPr>
              <a:t>15 </a:t>
            </a:r>
            <a:r>
              <a:rPr lang="pt-BR" sz="1292" dirty="0">
                <a:solidFill>
                  <a:schemeClr val="accent1"/>
                </a:solidFill>
              </a:rPr>
              <a:t>em Infraestrutura</a:t>
            </a:r>
          </a:p>
        </p:txBody>
      </p:sp>
      <p:sp>
        <p:nvSpPr>
          <p:cNvPr id="63" name="Title 1"/>
          <p:cNvSpPr txBox="1">
            <a:spLocks/>
          </p:cNvSpPr>
          <p:nvPr/>
        </p:nvSpPr>
        <p:spPr bwMode="auto">
          <a:xfrm>
            <a:off x="-4720" y="17212"/>
            <a:ext cx="9906001" cy="806379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glow rad="25400">
              <a:schemeClr val="accent1"/>
            </a:glow>
            <a:softEdge rad="0"/>
          </a:effectLst>
          <a:scene3d>
            <a:camera prst="orthographicFront"/>
            <a:lightRig rig="freezing" dir="t"/>
          </a:scene3d>
          <a:sp3d prstMaterial="plastic">
            <a:bevelT prst="angle"/>
            <a:bevelB prst="angle"/>
          </a:sp3d>
        </p:spPr>
        <p:txBody>
          <a:bodyPr rot="0" spcFirstLastPara="0" vertOverflow="overflow" horzOverflow="overflow" vert="horz" wrap="square" lIns="91434" tIns="0" rIns="91434" bIns="45718" numCol="1" spcCol="0" rtlCol="0" fromWordArt="0" anchor="ctr" anchorCtr="0" forceAA="0" compatLnSpc="1">
            <a:prstTxWarp prst="textNoShape">
              <a:avLst/>
            </a:prstTxWarp>
            <a:noAutofit/>
            <a:sp3d/>
          </a:bodyPr>
          <a:lstStyle>
            <a:defPPr>
              <a:defRPr lang="en-US"/>
            </a:defPPr>
            <a:lvl1pPr marL="0" marR="0" indent="0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  <a:defRPr kumimoji="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</a:defRPr>
            </a:lvl1pPr>
          </a:lstStyle>
          <a:p>
            <a:r>
              <a:rPr lang="en-US" sz="3200" dirty="0">
                <a:solidFill>
                  <a:schemeClr val="bg1">
                    <a:lumMod val="95000"/>
                  </a:schemeClr>
                </a:solidFill>
                <a:effectLst>
                  <a:glow>
                    <a:schemeClr val="accent1">
                      <a:alpha val="40000"/>
                    </a:schemeClr>
                  </a:glow>
                </a:effectLst>
                <a:latin typeface="Comic Sans MS" charset="0"/>
                <a:ea typeface="Comic Sans MS" charset="0"/>
                <a:cs typeface="Comic Sans MS" charset="0"/>
              </a:rPr>
              <a:t>PMGP – </a:t>
            </a:r>
            <a:r>
              <a:rPr lang="pt-BR" sz="3200" dirty="0">
                <a:solidFill>
                  <a:schemeClr val="bg1">
                    <a:lumMod val="95000"/>
                  </a:schemeClr>
                </a:solidFill>
                <a:effectLst>
                  <a:glow>
                    <a:schemeClr val="accent1">
                      <a:alpha val="40000"/>
                    </a:schemeClr>
                  </a:glow>
                </a:effectLst>
                <a:latin typeface="Comic Sans MS" charset="0"/>
                <a:ea typeface="Comic Sans MS" charset="0"/>
                <a:cs typeface="Comic Sans MS" charset="0"/>
              </a:rPr>
              <a:t>Números</a:t>
            </a:r>
          </a:p>
        </p:txBody>
      </p:sp>
      <p:sp>
        <p:nvSpPr>
          <p:cNvPr id="53" name="Rectangle 138"/>
          <p:cNvSpPr/>
          <p:nvPr/>
        </p:nvSpPr>
        <p:spPr>
          <a:xfrm>
            <a:off x="1199849" y="3208565"/>
            <a:ext cx="2673033" cy="7965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9133" lvl="1">
              <a:spcBef>
                <a:spcPct val="20000"/>
              </a:spcBef>
              <a:buClr>
                <a:srgbClr val="72C7E7"/>
              </a:buClr>
              <a:buSzPct val="90000"/>
              <a:defRPr/>
            </a:pPr>
            <a:r>
              <a:rPr lang="pt-BR" sz="1480" b="1" dirty="0">
                <a:solidFill>
                  <a:srgbClr val="00A1DE"/>
                </a:solidFill>
                <a:latin typeface="+mn-lt"/>
                <a:cs typeface="Arial" panose="020B0604020202020204" pitchFamily="34" charset="0"/>
              </a:rPr>
              <a:t>62</a:t>
            </a:r>
            <a:r>
              <a:rPr lang="pt-BR" sz="1290" dirty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pt-BR" sz="1290" dirty="0">
                <a:solidFill>
                  <a:schemeClr val="accent1"/>
                </a:solidFill>
                <a:latin typeface="+mn-lt"/>
                <a:cs typeface="Arial" panose="020B0604020202020204" pitchFamily="34" charset="0"/>
              </a:rPr>
              <a:t>processos redesenhados</a:t>
            </a:r>
          </a:p>
          <a:p>
            <a:pPr marL="255588" lvl="2" indent="-136525">
              <a:spcBef>
                <a:spcPct val="20000"/>
              </a:spcBef>
              <a:buClr>
                <a:srgbClr val="002776"/>
              </a:buClr>
              <a:buFont typeface="Arial" panose="020B0604020202020204" pitchFamily="34" charset="0"/>
              <a:buChar char="•"/>
              <a:defRPr/>
            </a:pPr>
            <a:r>
              <a:rPr lang="pt-BR" sz="1290" b="1" dirty="0">
                <a:solidFill>
                  <a:srgbClr val="00A1DE"/>
                </a:solidFill>
                <a:latin typeface="+mn-lt"/>
                <a:cs typeface="Arial" panose="020B0604020202020204" pitchFamily="34" charset="0"/>
              </a:rPr>
              <a:t>32</a:t>
            </a:r>
            <a:r>
              <a:rPr lang="pt-BR" sz="1290" dirty="0">
                <a:solidFill>
                  <a:schemeClr val="accent1"/>
                </a:solidFill>
                <a:latin typeface="+mn-lt"/>
                <a:cs typeface="Arial" panose="020B0604020202020204" pitchFamily="34" charset="0"/>
              </a:rPr>
              <a:t> Logístico Portuários</a:t>
            </a:r>
          </a:p>
          <a:p>
            <a:pPr marL="255588" lvl="2" indent="-136525">
              <a:spcBef>
                <a:spcPct val="20000"/>
              </a:spcBef>
              <a:buClr>
                <a:srgbClr val="002776"/>
              </a:buClr>
              <a:buFont typeface="Arial" panose="020B0604020202020204" pitchFamily="34" charset="0"/>
              <a:buChar char="•"/>
              <a:defRPr/>
            </a:pPr>
            <a:r>
              <a:rPr lang="pt-BR" sz="1290" b="1" dirty="0">
                <a:solidFill>
                  <a:srgbClr val="00A1DE"/>
                </a:solidFill>
                <a:latin typeface="+mn-lt"/>
                <a:cs typeface="Arial" panose="020B0604020202020204" pitchFamily="34" charset="0"/>
              </a:rPr>
              <a:t>30</a:t>
            </a:r>
            <a:r>
              <a:rPr lang="pt-BR" sz="1290" dirty="0">
                <a:solidFill>
                  <a:schemeClr val="accent1"/>
                </a:solidFill>
                <a:latin typeface="+mn-lt"/>
                <a:cs typeface="Arial" panose="020B0604020202020204" pitchFamily="34" charset="0"/>
              </a:rPr>
              <a:t>  Gestão Interna</a:t>
            </a:r>
          </a:p>
        </p:txBody>
      </p:sp>
      <p:sp>
        <p:nvSpPr>
          <p:cNvPr id="55" name="Rectangle 145"/>
          <p:cNvSpPr/>
          <p:nvPr/>
        </p:nvSpPr>
        <p:spPr>
          <a:xfrm>
            <a:off x="3985161" y="3212976"/>
            <a:ext cx="2673033" cy="7965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9133" lvl="1">
              <a:spcBef>
                <a:spcPct val="20000"/>
              </a:spcBef>
              <a:buClr>
                <a:srgbClr val="72C7E7"/>
              </a:buClr>
              <a:buSzPct val="90000"/>
              <a:defRPr/>
            </a:pPr>
            <a:r>
              <a:rPr lang="pt-BR" sz="1480" b="1" dirty="0">
                <a:solidFill>
                  <a:srgbClr val="00A1DE"/>
                </a:solidFill>
                <a:latin typeface="+mn-lt"/>
                <a:cs typeface="Arial" panose="020B0604020202020204" pitchFamily="34" charset="0"/>
              </a:rPr>
              <a:t>62</a:t>
            </a:r>
            <a:r>
              <a:rPr lang="pt-BR" sz="1290" b="1" dirty="0">
                <a:solidFill>
                  <a:srgbClr val="00A1DE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pt-BR" sz="1290" dirty="0">
                <a:solidFill>
                  <a:schemeClr val="accent1"/>
                </a:solidFill>
                <a:latin typeface="+mn-lt"/>
                <a:cs typeface="Arial" panose="020B0604020202020204" pitchFamily="34" charset="0"/>
              </a:rPr>
              <a:t>processos redesenhados</a:t>
            </a:r>
          </a:p>
          <a:p>
            <a:pPr marL="255588" lvl="2" indent="-136525">
              <a:spcBef>
                <a:spcPct val="20000"/>
              </a:spcBef>
              <a:buClr>
                <a:srgbClr val="002776"/>
              </a:buClr>
              <a:buFont typeface="Arial" panose="020B0604020202020204" pitchFamily="34" charset="0"/>
              <a:buChar char="•"/>
              <a:defRPr/>
            </a:pPr>
            <a:r>
              <a:rPr lang="pt-BR" sz="1290" b="1" dirty="0">
                <a:solidFill>
                  <a:srgbClr val="00A1DE"/>
                </a:solidFill>
                <a:latin typeface="+mn-lt"/>
                <a:cs typeface="Arial" panose="020B0604020202020204" pitchFamily="34" charset="0"/>
              </a:rPr>
              <a:t>30</a:t>
            </a:r>
            <a:r>
              <a:rPr lang="pt-BR" sz="1290" kern="0" dirty="0">
                <a:solidFill>
                  <a:srgbClr val="002776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pt-BR" sz="1290" dirty="0">
                <a:solidFill>
                  <a:schemeClr val="accent1"/>
                </a:solidFill>
                <a:latin typeface="+mn-lt"/>
                <a:cs typeface="Arial" panose="020B0604020202020204" pitchFamily="34" charset="0"/>
              </a:rPr>
              <a:t>Logístico Portuários</a:t>
            </a:r>
          </a:p>
          <a:p>
            <a:pPr marL="255588" lvl="2" indent="-136525">
              <a:spcBef>
                <a:spcPct val="20000"/>
              </a:spcBef>
              <a:buClr>
                <a:srgbClr val="002776"/>
              </a:buClr>
              <a:buFont typeface="Arial" panose="020B0604020202020204" pitchFamily="34" charset="0"/>
              <a:buChar char="•"/>
              <a:defRPr/>
            </a:pPr>
            <a:r>
              <a:rPr lang="pt-BR" sz="1290" b="1" dirty="0">
                <a:solidFill>
                  <a:srgbClr val="00A1DE"/>
                </a:solidFill>
                <a:latin typeface="+mn-lt"/>
                <a:cs typeface="Arial" panose="020B0604020202020204" pitchFamily="34" charset="0"/>
              </a:rPr>
              <a:t>32</a:t>
            </a:r>
            <a:r>
              <a:rPr lang="pt-BR" sz="1290" kern="0" dirty="0">
                <a:solidFill>
                  <a:srgbClr val="002776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pt-BR" sz="1290" dirty="0">
                <a:solidFill>
                  <a:schemeClr val="accent1"/>
                </a:solidFill>
                <a:latin typeface="+mn-lt"/>
                <a:cs typeface="Arial" panose="020B0604020202020204" pitchFamily="34" charset="0"/>
              </a:rPr>
              <a:t>Gestão Interna</a:t>
            </a:r>
          </a:p>
        </p:txBody>
      </p:sp>
      <p:sp>
        <p:nvSpPr>
          <p:cNvPr id="56" name="Rectangle 146"/>
          <p:cNvSpPr/>
          <p:nvPr/>
        </p:nvSpPr>
        <p:spPr>
          <a:xfrm>
            <a:off x="6816473" y="3212976"/>
            <a:ext cx="2673033" cy="7965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9133" lvl="1">
              <a:spcBef>
                <a:spcPct val="20000"/>
              </a:spcBef>
              <a:buClr>
                <a:srgbClr val="72C7E7"/>
              </a:buClr>
              <a:buSzPct val="90000"/>
              <a:defRPr/>
            </a:pPr>
            <a:r>
              <a:rPr lang="pt-BR" sz="1480" b="1" dirty="0">
                <a:solidFill>
                  <a:srgbClr val="00A1DE"/>
                </a:solidFill>
                <a:latin typeface="+mn-lt"/>
                <a:cs typeface="Arial" panose="020B0604020202020204" pitchFamily="34" charset="0"/>
              </a:rPr>
              <a:t>59</a:t>
            </a:r>
            <a:r>
              <a:rPr lang="pt-BR" sz="1280" dirty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pt-BR" sz="1290" dirty="0">
                <a:solidFill>
                  <a:schemeClr val="accent1"/>
                </a:solidFill>
                <a:latin typeface="+mn-lt"/>
                <a:cs typeface="Arial" panose="020B0604020202020204" pitchFamily="34" charset="0"/>
              </a:rPr>
              <a:t>processos redesenhados</a:t>
            </a:r>
          </a:p>
          <a:p>
            <a:pPr marL="255588" lvl="2" indent="-136525">
              <a:spcBef>
                <a:spcPct val="20000"/>
              </a:spcBef>
              <a:buClr>
                <a:srgbClr val="002776"/>
              </a:buClr>
              <a:buFont typeface="Arial" panose="020B0604020202020204" pitchFamily="34" charset="0"/>
              <a:buChar char="•"/>
              <a:defRPr/>
            </a:pPr>
            <a:r>
              <a:rPr lang="pt-BR" sz="1290" b="1" dirty="0">
                <a:solidFill>
                  <a:srgbClr val="00A1DE"/>
                </a:solidFill>
                <a:latin typeface="+mn-lt"/>
                <a:cs typeface="Arial" panose="020B0604020202020204" pitchFamily="34" charset="0"/>
              </a:rPr>
              <a:t>29</a:t>
            </a:r>
            <a:r>
              <a:rPr lang="pt-BR" sz="1290" kern="0" dirty="0">
                <a:solidFill>
                  <a:srgbClr val="002776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pt-BR" sz="1290" dirty="0">
                <a:solidFill>
                  <a:schemeClr val="accent1"/>
                </a:solidFill>
                <a:latin typeface="+mn-lt"/>
                <a:cs typeface="Arial" panose="020B0604020202020204" pitchFamily="34" charset="0"/>
              </a:rPr>
              <a:t>Logístico Portuários</a:t>
            </a:r>
          </a:p>
          <a:p>
            <a:pPr marL="255588" lvl="2" indent="-136525">
              <a:spcBef>
                <a:spcPct val="20000"/>
              </a:spcBef>
              <a:buClr>
                <a:srgbClr val="002776"/>
              </a:buClr>
              <a:buFont typeface="Arial" panose="020B0604020202020204" pitchFamily="34" charset="0"/>
              <a:buChar char="•"/>
              <a:defRPr/>
            </a:pPr>
            <a:r>
              <a:rPr lang="pt-BR" sz="1290" b="1" dirty="0">
                <a:solidFill>
                  <a:srgbClr val="00A1DE"/>
                </a:solidFill>
                <a:latin typeface="+mn-lt"/>
                <a:cs typeface="Arial" panose="020B0604020202020204" pitchFamily="34" charset="0"/>
              </a:rPr>
              <a:t>30</a:t>
            </a:r>
            <a:r>
              <a:rPr lang="pt-BR" sz="1290" dirty="0">
                <a:solidFill>
                  <a:schemeClr val="accent1"/>
                </a:solidFill>
                <a:latin typeface="+mn-lt"/>
                <a:cs typeface="Arial" panose="020B0604020202020204" pitchFamily="34" charset="0"/>
              </a:rPr>
              <a:t> Gestão Interna</a:t>
            </a:r>
          </a:p>
        </p:txBody>
      </p:sp>
      <p:pic>
        <p:nvPicPr>
          <p:cNvPr id="51" name="Picture 9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8389" y="995084"/>
            <a:ext cx="688349" cy="6391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2" name="Picture 11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80925" y="981637"/>
            <a:ext cx="919621" cy="6391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4" name="Picture 12"/>
          <p:cNvPicPr>
            <a:picLocks noChangeAspect="1" noChangeArrowheads="1"/>
          </p:cNvPicPr>
          <p:nvPr/>
        </p:nvPicPr>
        <p:blipFill>
          <a:blip r:embed="rId9">
            <a:clrChange>
              <a:clrFrom>
                <a:srgbClr val="F6F6F6"/>
              </a:clrFrom>
              <a:clrTo>
                <a:srgbClr val="F6F6F6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03" t="26819" r="84846" b="60909"/>
          <a:stretch>
            <a:fillRect/>
          </a:stretch>
        </p:blipFill>
        <p:spPr bwMode="auto">
          <a:xfrm>
            <a:off x="6858192" y="956760"/>
            <a:ext cx="502604" cy="6865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7" name="Rounded Rectangle 135"/>
          <p:cNvSpPr/>
          <p:nvPr/>
        </p:nvSpPr>
        <p:spPr bwMode="auto">
          <a:xfrm>
            <a:off x="1026288" y="955413"/>
            <a:ext cx="2709179" cy="715076"/>
          </a:xfrm>
          <a:prstGeom prst="round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ctr" anchorCtr="0" compatLnSpc="1">
            <a:prstTxWarp prst="textNoShape">
              <a:avLst/>
            </a:prstTxWarp>
          </a:bodyPr>
          <a:lstStyle/>
          <a:p>
            <a:pPr marL="739775"/>
            <a:r>
              <a:rPr lang="pt-BR" sz="2000" b="1" dirty="0">
                <a:solidFill>
                  <a:srgbClr val="00277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CODESP</a:t>
            </a: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Rounded Rectangle 136"/>
          <p:cNvSpPr/>
          <p:nvPr/>
        </p:nvSpPr>
        <p:spPr bwMode="auto">
          <a:xfrm>
            <a:off x="3896789" y="955413"/>
            <a:ext cx="2709179" cy="715076"/>
          </a:xfrm>
          <a:prstGeom prst="round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34" tIns="45718" rIns="91434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739775"/>
            <a:r>
              <a:rPr lang="pt-BR" sz="1400" b="1" dirty="0">
                <a:solidFill>
                  <a:srgbClr val="00277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</a:t>
            </a:r>
            <a:r>
              <a:rPr lang="pt-BR" sz="2000" b="1" dirty="0">
                <a:solidFill>
                  <a:srgbClr val="00277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DRJ</a:t>
            </a:r>
            <a:endParaRPr lang="en-US" sz="2000" b="1" dirty="0">
              <a:solidFill>
                <a:srgbClr val="00277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Rounded Rectangle 137"/>
          <p:cNvSpPr/>
          <p:nvPr/>
        </p:nvSpPr>
        <p:spPr bwMode="auto">
          <a:xfrm>
            <a:off x="6780327" y="955413"/>
            <a:ext cx="2709179" cy="715076"/>
          </a:xfrm>
          <a:prstGeom prst="round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91434" tIns="45718" rIns="91434" bIns="4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739775"/>
            <a:r>
              <a:rPr lang="pt-BR" sz="1400" b="1" dirty="0">
                <a:solidFill>
                  <a:srgbClr val="00277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</a:t>
            </a:r>
            <a:r>
              <a:rPr lang="pt-BR" sz="2000" b="1" dirty="0">
                <a:solidFill>
                  <a:srgbClr val="00277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DP</a:t>
            </a:r>
            <a:endParaRPr lang="en-US" sz="2000" b="1" dirty="0">
              <a:solidFill>
                <a:srgbClr val="00277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77291317"/>
      </p:ext>
    </p:extLst>
  </p:cSld>
  <p:clrMapOvr>
    <a:masterClrMapping/>
  </p:clrMapOvr>
  <p:transition spd="med" advClick="0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mph" presetSubtype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 rctx="PPT">
                                        <p:cTn id="6" dur="59000"/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7" dur="590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mph" presetSubtype="0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 rctx="PPT">
                                        <p:cTn id="9" dur="59000"/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10" dur="590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9" presetClass="emph" presetSubtype="0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 rctx="PPT">
                                        <p:cTn id="12" dur="59000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13" dur="59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9" presetClass="emph" presetSubtype="0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 rctx="PPT">
                                        <p:cTn id="15" dur="59000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16" dur="59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9" presetClass="emph" presetSubtype="0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 rctx="PPT">
                                        <p:cTn id="18" dur="59000"/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19" dur="590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9" presetClass="emph" presetSubtype="0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 rctx="PPT">
                                        <p:cTn id="21" dur="59000"/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22" dur="59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9" presetClass="emph" presetSubtype="0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 rctx="PPT">
                                        <p:cTn id="24" dur="59000"/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25" dur="59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9" presetClass="emph" presetSubtype="0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 rctx="PPT">
                                        <p:cTn id="27" dur="59000"/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28" dur="590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9" presetClass="emph" presetSubtype="0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 rctx="PPT">
                                        <p:cTn id="30" dur="59000"/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31" dur="590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9" presetClass="emph" presetSubtype="0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 rctx="PPT">
                                        <p:cTn id="33" dur="59000"/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34" dur="590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9" presetClass="emph" presetSubtype="0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 rctx="PPT">
                                        <p:cTn id="36" dur="59000"/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37" dur="590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9" presetClass="emph" presetSubtype="0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 rctx="PPT">
                                        <p:cTn id="39" dur="59000"/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40" dur="590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9" presetClass="emph" presetSubtype="0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 rctx="PPT">
                                        <p:cTn id="42" dur="59000"/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43" dur="590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9" presetClass="emph" presetSubtype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 rctx="PPT">
                                        <p:cTn id="45" dur="59000"/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46" dur="590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8" grpId="0"/>
      <p:bldP spid="33" grpId="0"/>
      <p:bldP spid="34" grpId="0"/>
      <p:bldP spid="47" grpId="0"/>
      <p:bldP spid="48" grpId="0"/>
      <p:bldP spid="49" grpId="0"/>
      <p:bldP spid="50" grpId="0"/>
      <p:bldP spid="53" grpId="0"/>
      <p:bldP spid="56" grpId="0"/>
      <p:bldP spid="57" grpId="0" animBg="1"/>
      <p:bldP spid="59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843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2" name="Textfeld 305"/>
          <p:cNvSpPr txBox="1"/>
          <p:nvPr/>
        </p:nvSpPr>
        <p:spPr bwMode="gray">
          <a:xfrm>
            <a:off x="4358700" y="2474197"/>
            <a:ext cx="2106468" cy="369332"/>
          </a:xfrm>
          <a:prstGeom prst="rect">
            <a:avLst/>
          </a:prstGeom>
          <a:solidFill>
            <a:schemeClr val="accent3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ctr">
            <a:spAutoFit/>
          </a:bodyPr>
          <a:lstStyle>
            <a:defPPr>
              <a:defRPr lang="en-US"/>
            </a:defPPr>
            <a:lvl1pPr algn="ctr">
              <a:defRPr sz="900" b="1">
                <a:solidFill>
                  <a:schemeClr val="bg2"/>
                </a:solidFill>
                <a:latin typeface="Calibri" panose="020F0502020204030204" pitchFamily="34" charset="0"/>
              </a:defRPr>
            </a:lvl1pPr>
          </a:lstStyle>
          <a:p>
            <a:r>
              <a:rPr lang="de-DE" sz="1800" noProof="1"/>
              <a:t>Estratégicos</a:t>
            </a:r>
          </a:p>
        </p:txBody>
      </p:sp>
      <p:sp>
        <p:nvSpPr>
          <p:cNvPr id="233" name="Textfeld 305"/>
          <p:cNvSpPr txBox="1"/>
          <p:nvPr/>
        </p:nvSpPr>
        <p:spPr bwMode="gray">
          <a:xfrm>
            <a:off x="6609184" y="2483489"/>
            <a:ext cx="2232248" cy="369332"/>
          </a:xfrm>
          <a:prstGeom prst="rect">
            <a:avLst/>
          </a:prstGeom>
          <a:solidFill>
            <a:schemeClr val="accent3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ctr">
            <a:spAutoFit/>
          </a:bodyPr>
          <a:lstStyle>
            <a:defPPr>
              <a:defRPr lang="en-US"/>
            </a:defPPr>
            <a:lvl1pPr algn="ctr">
              <a:defRPr sz="900" b="1">
                <a:solidFill>
                  <a:schemeClr val="bg2"/>
                </a:solidFill>
                <a:latin typeface="Calibri" panose="020F0502020204030204" pitchFamily="34" charset="0"/>
              </a:defRPr>
            </a:lvl1pPr>
          </a:lstStyle>
          <a:p>
            <a:r>
              <a:rPr lang="de-DE" sz="1800" noProof="1"/>
              <a:t>Táticos/ Operacionais</a:t>
            </a:r>
          </a:p>
        </p:txBody>
      </p:sp>
      <p:sp>
        <p:nvSpPr>
          <p:cNvPr id="234" name="Textfeld 305"/>
          <p:cNvSpPr txBox="1"/>
          <p:nvPr/>
        </p:nvSpPr>
        <p:spPr bwMode="gray">
          <a:xfrm>
            <a:off x="1885406" y="2468100"/>
            <a:ext cx="2244365" cy="369332"/>
          </a:xfrm>
          <a:prstGeom prst="rect">
            <a:avLst/>
          </a:prstGeom>
          <a:solidFill>
            <a:schemeClr val="accent3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ctr">
            <a:spAutoFit/>
          </a:bodyPr>
          <a:lstStyle>
            <a:defPPr>
              <a:defRPr lang="en-US"/>
            </a:defPPr>
            <a:lvl1pPr algn="ctr">
              <a:defRPr sz="900" b="1">
                <a:solidFill>
                  <a:schemeClr val="bg2"/>
                </a:solidFill>
                <a:latin typeface="Calibri" panose="020F0502020204030204" pitchFamily="34" charset="0"/>
              </a:defRPr>
            </a:lvl1pPr>
          </a:lstStyle>
          <a:p>
            <a:r>
              <a:rPr lang="de-DE" sz="1800" noProof="1"/>
              <a:t>Política </a:t>
            </a:r>
            <a:r>
              <a:rPr lang="de-DE" sz="1800" noProof="1" smtClean="0"/>
              <a:t>Setorial*</a:t>
            </a:r>
            <a:endParaRPr lang="de-DE" sz="1800" noProof="1"/>
          </a:p>
        </p:txBody>
      </p:sp>
      <p:pic>
        <p:nvPicPr>
          <p:cNvPr id="235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220" y="3068962"/>
            <a:ext cx="867396" cy="8078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6" name="Picture 4"/>
          <p:cNvPicPr>
            <a:picLocks noChangeAspect="1" noChangeArrowheads="1"/>
          </p:cNvPicPr>
          <p:nvPr/>
        </p:nvPicPr>
        <p:blipFill rotWithShape="1">
          <a:blip r:embed="rId8">
            <a:clrChange>
              <a:clrFrom>
                <a:srgbClr val="F6F6F6"/>
              </a:clrFrom>
              <a:clrTo>
                <a:srgbClr val="F6F6F6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03" t="26819" r="84847" b="60909"/>
          <a:stretch/>
        </p:blipFill>
        <p:spPr bwMode="auto">
          <a:xfrm>
            <a:off x="802387" y="5032784"/>
            <a:ext cx="703062" cy="7988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7" name="Picture 2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528" y="4058265"/>
            <a:ext cx="981992" cy="6838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68" name="Rechteckige Legende 106"/>
          <p:cNvSpPr/>
          <p:nvPr/>
        </p:nvSpPr>
        <p:spPr bwMode="gray">
          <a:xfrm>
            <a:off x="2525977" y="4226925"/>
            <a:ext cx="1059838" cy="522605"/>
          </a:xfrm>
          <a:prstGeom prst="rect">
            <a:avLst/>
          </a:prstGeom>
          <a:noFill/>
          <a:ln w="6350">
            <a:noFill/>
            <a:round/>
            <a:headEnd/>
            <a:tailEnd/>
          </a:ln>
          <a:effectLst/>
        </p:spPr>
        <p:txBody>
          <a:bodyPr lIns="72000" tIns="0" rIns="72000" bIns="0" rtlCol="0" anchor="ctr"/>
          <a:lstStyle/>
          <a:p>
            <a:pPr algn="ctr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de-DE" sz="2800" b="1" kern="0" dirty="0">
                <a:solidFill>
                  <a:srgbClr val="2A79FF">
                    <a:lumMod val="50000"/>
                  </a:srgbClr>
                </a:solidFill>
                <a:latin typeface="Calibri"/>
              </a:rPr>
              <a:t>50</a:t>
            </a:r>
            <a:endParaRPr lang="de-DE" sz="1800" kern="0" dirty="0">
              <a:solidFill>
                <a:srgbClr val="2A79FF">
                  <a:lumMod val="50000"/>
                </a:srgbClr>
              </a:solidFill>
              <a:latin typeface="Calibri"/>
            </a:endParaRPr>
          </a:p>
        </p:txBody>
      </p:sp>
      <p:sp>
        <p:nvSpPr>
          <p:cNvPr id="269" name="Rechteckige Legende 106"/>
          <p:cNvSpPr/>
          <p:nvPr/>
        </p:nvSpPr>
        <p:spPr bwMode="gray">
          <a:xfrm>
            <a:off x="2525977" y="3225252"/>
            <a:ext cx="1059838" cy="522605"/>
          </a:xfrm>
          <a:prstGeom prst="rect">
            <a:avLst/>
          </a:prstGeom>
          <a:noFill/>
          <a:ln w="6350">
            <a:noFill/>
            <a:round/>
            <a:headEnd/>
            <a:tailEnd/>
          </a:ln>
          <a:effectLst/>
        </p:spPr>
        <p:txBody>
          <a:bodyPr lIns="72000" tIns="0" rIns="72000" bIns="0" rtlCol="0" anchor="ctr"/>
          <a:lstStyle/>
          <a:p>
            <a:pPr algn="ctr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de-DE" sz="2800" b="1" kern="0" dirty="0">
                <a:solidFill>
                  <a:srgbClr val="2A79FF">
                    <a:lumMod val="50000"/>
                  </a:srgbClr>
                </a:solidFill>
                <a:latin typeface="Calibri"/>
              </a:rPr>
              <a:t>50</a:t>
            </a:r>
            <a:endParaRPr lang="de-DE" sz="1800" kern="0" dirty="0">
              <a:solidFill>
                <a:srgbClr val="2A79FF">
                  <a:lumMod val="50000"/>
                </a:srgbClr>
              </a:solidFill>
              <a:latin typeface="Calibri"/>
            </a:endParaRPr>
          </a:p>
        </p:txBody>
      </p:sp>
      <p:sp>
        <p:nvSpPr>
          <p:cNvPr id="270" name="Rechteckige Legende 106"/>
          <p:cNvSpPr/>
          <p:nvPr/>
        </p:nvSpPr>
        <p:spPr bwMode="gray">
          <a:xfrm>
            <a:off x="2525977" y="5292992"/>
            <a:ext cx="1059838" cy="522605"/>
          </a:xfrm>
          <a:prstGeom prst="rect">
            <a:avLst/>
          </a:prstGeom>
          <a:noFill/>
          <a:ln w="6350">
            <a:noFill/>
            <a:round/>
            <a:headEnd/>
            <a:tailEnd/>
          </a:ln>
          <a:effectLst/>
        </p:spPr>
        <p:txBody>
          <a:bodyPr lIns="72000" tIns="0" rIns="72000" bIns="0" rtlCol="0" anchor="ctr"/>
          <a:lstStyle/>
          <a:p>
            <a:pPr algn="ctr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de-DE" sz="2800" b="1" kern="0" dirty="0">
                <a:solidFill>
                  <a:srgbClr val="2A79FF">
                    <a:lumMod val="50000"/>
                  </a:srgbClr>
                </a:solidFill>
                <a:latin typeface="Calibri"/>
              </a:rPr>
              <a:t>50</a:t>
            </a:r>
            <a:endParaRPr lang="de-DE" sz="1800" kern="0" dirty="0">
              <a:solidFill>
                <a:srgbClr val="2A79FF">
                  <a:lumMod val="50000"/>
                </a:srgbClr>
              </a:solidFill>
              <a:latin typeface="Calibri"/>
            </a:endParaRPr>
          </a:p>
        </p:txBody>
      </p:sp>
      <p:sp>
        <p:nvSpPr>
          <p:cNvPr id="272" name="Rechteckige Legende 106"/>
          <p:cNvSpPr/>
          <p:nvPr/>
        </p:nvSpPr>
        <p:spPr bwMode="gray">
          <a:xfrm>
            <a:off x="4839016" y="4260296"/>
            <a:ext cx="1059838" cy="522605"/>
          </a:xfrm>
          <a:prstGeom prst="rect">
            <a:avLst/>
          </a:prstGeom>
          <a:noFill/>
          <a:ln w="6350">
            <a:noFill/>
            <a:round/>
            <a:headEnd/>
            <a:tailEnd/>
          </a:ln>
          <a:effectLst/>
        </p:spPr>
        <p:txBody>
          <a:bodyPr lIns="72000" tIns="0" rIns="72000" bIns="0" rtlCol="0" anchor="ctr"/>
          <a:lstStyle/>
          <a:p>
            <a:pPr algn="ctr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de-DE" sz="2800" b="1" kern="0" dirty="0">
                <a:solidFill>
                  <a:srgbClr val="2A79FF">
                    <a:lumMod val="50000"/>
                  </a:srgbClr>
                </a:solidFill>
                <a:latin typeface="Calibri"/>
              </a:rPr>
              <a:t>17</a:t>
            </a:r>
            <a:endParaRPr lang="de-DE" sz="1800" kern="0" dirty="0">
              <a:solidFill>
                <a:srgbClr val="2A79FF">
                  <a:lumMod val="50000"/>
                </a:srgbClr>
              </a:solidFill>
              <a:latin typeface="Calibri"/>
            </a:endParaRPr>
          </a:p>
        </p:txBody>
      </p:sp>
      <p:sp>
        <p:nvSpPr>
          <p:cNvPr id="275" name="Rechteckige Legende 106"/>
          <p:cNvSpPr/>
          <p:nvPr/>
        </p:nvSpPr>
        <p:spPr bwMode="gray">
          <a:xfrm>
            <a:off x="4839016" y="3258623"/>
            <a:ext cx="1059838" cy="522605"/>
          </a:xfrm>
          <a:prstGeom prst="rect">
            <a:avLst/>
          </a:prstGeom>
          <a:noFill/>
          <a:ln w="6350">
            <a:noFill/>
            <a:round/>
            <a:headEnd/>
            <a:tailEnd/>
          </a:ln>
          <a:effectLst/>
        </p:spPr>
        <p:txBody>
          <a:bodyPr lIns="72000" tIns="0" rIns="72000" bIns="0" rtlCol="0" anchor="ctr"/>
          <a:lstStyle/>
          <a:p>
            <a:pPr algn="ctr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de-DE" sz="2800" b="1" kern="0" dirty="0">
                <a:solidFill>
                  <a:srgbClr val="2A79FF">
                    <a:lumMod val="50000"/>
                  </a:srgbClr>
                </a:solidFill>
                <a:latin typeface="Calibri"/>
              </a:rPr>
              <a:t>19</a:t>
            </a:r>
            <a:endParaRPr lang="de-DE" sz="1800" kern="0" dirty="0">
              <a:solidFill>
                <a:srgbClr val="2A79FF">
                  <a:lumMod val="50000"/>
                </a:srgbClr>
              </a:solidFill>
              <a:latin typeface="Calibri"/>
            </a:endParaRPr>
          </a:p>
        </p:txBody>
      </p:sp>
      <p:sp>
        <p:nvSpPr>
          <p:cNvPr id="276" name="Rechteckige Legende 106"/>
          <p:cNvSpPr/>
          <p:nvPr/>
        </p:nvSpPr>
        <p:spPr bwMode="gray">
          <a:xfrm>
            <a:off x="4839016" y="5326363"/>
            <a:ext cx="1059838" cy="522605"/>
          </a:xfrm>
          <a:prstGeom prst="rect">
            <a:avLst/>
          </a:prstGeom>
          <a:noFill/>
          <a:ln w="6350">
            <a:noFill/>
            <a:round/>
            <a:headEnd/>
            <a:tailEnd/>
          </a:ln>
          <a:effectLst/>
        </p:spPr>
        <p:txBody>
          <a:bodyPr lIns="72000" tIns="0" rIns="72000" bIns="0" rtlCol="0" anchor="ctr"/>
          <a:lstStyle/>
          <a:p>
            <a:pPr algn="ctr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de-DE" sz="2800" b="1" kern="0" dirty="0">
                <a:solidFill>
                  <a:srgbClr val="2A79FF">
                    <a:lumMod val="50000"/>
                  </a:srgbClr>
                </a:solidFill>
                <a:latin typeface="Calibri"/>
              </a:rPr>
              <a:t>32</a:t>
            </a:r>
            <a:endParaRPr lang="de-DE" sz="1800" kern="0" dirty="0">
              <a:solidFill>
                <a:srgbClr val="2A79FF">
                  <a:lumMod val="50000"/>
                </a:srgbClr>
              </a:solidFill>
              <a:latin typeface="Calibri"/>
            </a:endParaRPr>
          </a:p>
        </p:txBody>
      </p:sp>
      <p:sp>
        <p:nvSpPr>
          <p:cNvPr id="277" name="Rechteckige Legende 106"/>
          <p:cNvSpPr/>
          <p:nvPr/>
        </p:nvSpPr>
        <p:spPr bwMode="gray">
          <a:xfrm>
            <a:off x="7228159" y="4260296"/>
            <a:ext cx="1059838" cy="522605"/>
          </a:xfrm>
          <a:prstGeom prst="rect">
            <a:avLst/>
          </a:prstGeom>
          <a:noFill/>
          <a:ln w="6350">
            <a:noFill/>
            <a:round/>
            <a:headEnd/>
            <a:tailEnd/>
          </a:ln>
          <a:effectLst/>
        </p:spPr>
        <p:txBody>
          <a:bodyPr lIns="72000" tIns="0" rIns="72000" bIns="0" rtlCol="0" anchor="ctr"/>
          <a:lstStyle/>
          <a:p>
            <a:pPr algn="ctr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de-DE" sz="2800" b="1" kern="0" dirty="0">
                <a:solidFill>
                  <a:srgbClr val="2A79FF">
                    <a:lumMod val="50000"/>
                  </a:srgbClr>
                </a:solidFill>
                <a:latin typeface="Calibri"/>
              </a:rPr>
              <a:t>137</a:t>
            </a:r>
            <a:endParaRPr lang="de-DE" sz="1800" kern="0" dirty="0">
              <a:solidFill>
                <a:srgbClr val="2A79FF">
                  <a:lumMod val="50000"/>
                </a:srgbClr>
              </a:solidFill>
              <a:latin typeface="Calibri"/>
            </a:endParaRPr>
          </a:p>
        </p:txBody>
      </p:sp>
      <p:sp>
        <p:nvSpPr>
          <p:cNvPr id="278" name="Rechteckige Legende 106"/>
          <p:cNvSpPr/>
          <p:nvPr/>
        </p:nvSpPr>
        <p:spPr bwMode="gray">
          <a:xfrm>
            <a:off x="7228159" y="3258623"/>
            <a:ext cx="1059838" cy="522605"/>
          </a:xfrm>
          <a:prstGeom prst="rect">
            <a:avLst/>
          </a:prstGeom>
          <a:noFill/>
          <a:ln w="6350">
            <a:noFill/>
            <a:round/>
            <a:headEnd/>
            <a:tailEnd/>
          </a:ln>
          <a:effectLst/>
        </p:spPr>
        <p:txBody>
          <a:bodyPr lIns="72000" tIns="0" rIns="72000" bIns="0" rtlCol="0" anchor="ctr"/>
          <a:lstStyle/>
          <a:p>
            <a:pPr algn="ctr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de-DE" sz="2800" b="1" kern="0" dirty="0">
                <a:solidFill>
                  <a:srgbClr val="2A79FF">
                    <a:lumMod val="50000"/>
                  </a:srgbClr>
                </a:solidFill>
                <a:latin typeface="Calibri"/>
              </a:rPr>
              <a:t>154</a:t>
            </a:r>
            <a:endParaRPr lang="de-DE" sz="1800" kern="0" dirty="0">
              <a:solidFill>
                <a:srgbClr val="2A79FF">
                  <a:lumMod val="50000"/>
                </a:srgbClr>
              </a:solidFill>
              <a:latin typeface="Calibri"/>
            </a:endParaRPr>
          </a:p>
        </p:txBody>
      </p:sp>
      <p:sp>
        <p:nvSpPr>
          <p:cNvPr id="279" name="Rechteckige Legende 106"/>
          <p:cNvSpPr/>
          <p:nvPr/>
        </p:nvSpPr>
        <p:spPr bwMode="gray">
          <a:xfrm>
            <a:off x="7228159" y="5326363"/>
            <a:ext cx="1059838" cy="522605"/>
          </a:xfrm>
          <a:prstGeom prst="rect">
            <a:avLst/>
          </a:prstGeom>
          <a:noFill/>
          <a:ln w="6350">
            <a:noFill/>
            <a:round/>
            <a:headEnd/>
            <a:tailEnd/>
          </a:ln>
          <a:effectLst/>
        </p:spPr>
        <p:txBody>
          <a:bodyPr lIns="72000" tIns="0" rIns="72000" bIns="0" rtlCol="0" anchor="ctr"/>
          <a:lstStyle/>
          <a:p>
            <a:pPr algn="ctr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de-DE" sz="2800" b="1" kern="0" dirty="0">
                <a:solidFill>
                  <a:srgbClr val="2A79FF">
                    <a:lumMod val="50000"/>
                  </a:srgbClr>
                </a:solidFill>
                <a:latin typeface="Calibri"/>
              </a:rPr>
              <a:t>91</a:t>
            </a:r>
            <a:endParaRPr lang="de-DE" sz="1800" kern="0" dirty="0">
              <a:solidFill>
                <a:srgbClr val="2A79FF">
                  <a:lumMod val="50000"/>
                </a:srgbClr>
              </a:solidFill>
              <a:latin typeface="Calibri"/>
            </a:endParaRPr>
          </a:p>
        </p:txBody>
      </p:sp>
      <p:sp>
        <p:nvSpPr>
          <p:cNvPr id="118" name="Title 1"/>
          <p:cNvSpPr>
            <a:spLocks noGrp="1"/>
          </p:cNvSpPr>
          <p:nvPr>
            <p:ph type="title"/>
          </p:nvPr>
        </p:nvSpPr>
        <p:spPr>
          <a:xfrm>
            <a:off x="2" y="0"/>
            <a:ext cx="9905999" cy="836712"/>
          </a:xfrm>
          <a:solidFill>
            <a:schemeClr val="accent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glow rad="25400">
              <a:schemeClr val="accent1"/>
            </a:glow>
            <a:softEdge rad="0"/>
          </a:effectLst>
          <a:scene3d>
            <a:camera prst="orthographicFront"/>
            <a:lightRig rig="freezing" dir="t"/>
          </a:scene3d>
          <a:sp3d prstMaterial="plastic">
            <a:bevelT prst="angle"/>
            <a:bevelB prst="angle"/>
          </a:sp3d>
        </p:spPr>
        <p:txBody>
          <a:bodyPr rot="0" spcFirstLastPara="0" vertOverflow="overflow" horzOverflow="overflow" vert="horz" wrap="square" lIns="91434" tIns="0" rIns="91434" bIns="45718" numCol="1" spcCol="0" rtlCol="0" fromWordArt="0" anchor="ctr" anchorCtr="0" forceAA="0" compatLnSpc="1">
            <a:prstTxWarp prst="textNoShape">
              <a:avLst/>
            </a:prstTxWarp>
            <a:noAutofit/>
            <a:sp3d/>
          </a:bodyPr>
          <a:lstStyle/>
          <a:p>
            <a:r>
              <a:rPr lang="pt-BR" sz="3200" b="0" kern="1200" dirty="0">
                <a:solidFill>
                  <a:schemeClr val="bg1">
                    <a:lumMod val="95000"/>
                  </a:schemeClr>
                </a:solidFill>
                <a:effectLst>
                  <a:glow>
                    <a:schemeClr val="accent1">
                      <a:alpha val="40000"/>
                    </a:schemeClr>
                  </a:glow>
                </a:effectLst>
                <a:latin typeface="Comic Sans MS" charset="0"/>
                <a:ea typeface="Comic Sans MS" charset="0"/>
                <a:cs typeface="Comic Sans MS" charset="0"/>
              </a:rPr>
              <a:t>Indicadores de Desempenho</a:t>
            </a:r>
          </a:p>
        </p:txBody>
      </p:sp>
      <p:sp>
        <p:nvSpPr>
          <p:cNvPr id="120" name="Retângulo 119"/>
          <p:cNvSpPr/>
          <p:nvPr/>
        </p:nvSpPr>
        <p:spPr>
          <a:xfrm>
            <a:off x="2648744" y="1133805"/>
            <a:ext cx="4536504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800" i="1" dirty="0">
                <a:latin typeface="Comic Sans MS" charset="0"/>
                <a:ea typeface="Comic Sans MS" charset="0"/>
                <a:cs typeface="Comic Sans MS" charset="0"/>
              </a:rPr>
              <a:t>"Quem não mede, não gerencia.</a:t>
            </a:r>
          </a:p>
          <a:p>
            <a:r>
              <a:rPr lang="pt-BR" sz="1800" i="1" dirty="0">
                <a:latin typeface="Comic Sans MS" charset="0"/>
                <a:ea typeface="Comic Sans MS" charset="0"/>
                <a:cs typeface="Comic Sans MS" charset="0"/>
              </a:rPr>
              <a:t> Quem não gerencia, não melhora." </a:t>
            </a:r>
          </a:p>
          <a:p>
            <a:pPr algn="r"/>
            <a:r>
              <a:rPr lang="pt-BR" sz="1800" i="1" dirty="0">
                <a:latin typeface="Comic Sans MS" charset="0"/>
                <a:ea typeface="Comic Sans MS" charset="0"/>
                <a:cs typeface="Comic Sans MS" charset="0"/>
              </a:rPr>
              <a:t>(Joseph </a:t>
            </a:r>
            <a:r>
              <a:rPr lang="pt-BR" sz="1800" i="1" dirty="0" err="1">
                <a:latin typeface="Comic Sans MS" charset="0"/>
                <a:ea typeface="Comic Sans MS" charset="0"/>
                <a:cs typeface="Comic Sans MS" charset="0"/>
              </a:rPr>
              <a:t>Juran</a:t>
            </a:r>
            <a:r>
              <a:rPr lang="pt-BR" sz="1800" i="1" dirty="0">
                <a:latin typeface="Comic Sans MS" charset="0"/>
                <a:ea typeface="Comic Sans MS" charset="0"/>
                <a:cs typeface="Comic Sans MS" charset="0"/>
              </a:rPr>
              <a:t>)</a:t>
            </a:r>
          </a:p>
        </p:txBody>
      </p:sp>
      <p:sp>
        <p:nvSpPr>
          <p:cNvPr id="2" name="Retângulo Arredondado 1"/>
          <p:cNvSpPr/>
          <p:nvPr/>
        </p:nvSpPr>
        <p:spPr bwMode="auto">
          <a:xfrm>
            <a:off x="1784648" y="2204864"/>
            <a:ext cx="2446420" cy="3744416"/>
          </a:xfrm>
          <a:prstGeom prst="roundRect">
            <a:avLst/>
          </a:prstGeom>
          <a:noFill/>
          <a:ln w="57150" cap="flat" cmpd="sng" algn="ctr">
            <a:solidFill>
              <a:schemeClr val="accent2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3" name="CaixaDeTexto 2"/>
          <p:cNvSpPr txBox="1"/>
          <p:nvPr/>
        </p:nvSpPr>
        <p:spPr>
          <a:xfrm>
            <a:off x="560512" y="6093296"/>
            <a:ext cx="871296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0000"/>
              </a:lnSpc>
            </a:pPr>
            <a:r>
              <a:rPr lang="pt-BR" spc="-1" dirty="0">
                <a:solidFill>
                  <a:srgbClr val="002776"/>
                </a:solidFill>
                <a:uFill>
                  <a:solidFill>
                    <a:srgbClr val="FFFFFF"/>
                  </a:solidFill>
                </a:uFill>
                <a:latin typeface="Verdana"/>
              </a:rPr>
              <a:t>* Os indicadores de política setorial foram definidos em alinhamento aos indicadores do Plano Nacional de Logística Portuária (PNLP) conforme orientação da </a:t>
            </a:r>
            <a:r>
              <a:rPr lang="pt-BR" spc="-1" dirty="0" smtClean="0">
                <a:solidFill>
                  <a:srgbClr val="002776"/>
                </a:solidFill>
                <a:uFill>
                  <a:solidFill>
                    <a:srgbClr val="FFFFFF"/>
                  </a:solidFill>
                </a:uFill>
                <a:latin typeface="Verdana"/>
              </a:rPr>
              <a:t>SNP </a:t>
            </a:r>
            <a:r>
              <a:rPr lang="pt-BR" spc="-1" dirty="0">
                <a:solidFill>
                  <a:srgbClr val="002776"/>
                </a:solidFill>
                <a:uFill>
                  <a:solidFill>
                    <a:srgbClr val="FFFFFF"/>
                  </a:solidFill>
                </a:uFill>
                <a:latin typeface="Verdana"/>
              </a:rPr>
              <a:t>e as necessidades de monitoramento definidas pela ANTAQ.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903825467"/>
      </p:ext>
    </p:extLst>
  </p:cSld>
  <p:clrMapOvr>
    <a:masterClrMapping/>
  </p:clrMapOvr>
  <p:transition spd="med" advClick="0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1250"/>
                                        <p:tgtEl>
                                          <p:spTgt spid="1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0" grpId="0"/>
      <p:bldP spid="2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/>
        </p:nvGrpSpPr>
        <p:grpSpPr>
          <a:xfrm>
            <a:off x="216985" y="1060312"/>
            <a:ext cx="9472032" cy="5662687"/>
            <a:chOff x="202819" y="1786847"/>
            <a:chExt cx="4966205" cy="2362233"/>
          </a:xfrm>
        </p:grpSpPr>
        <p:pic>
          <p:nvPicPr>
            <p:cNvPr id="43" name="Picture 42"/>
            <p:cNvPicPr/>
            <p:nvPr/>
          </p:nvPicPr>
          <p:blipFill>
            <a:blip r:embed="rId3"/>
            <a:stretch>
              <a:fillRect/>
            </a:stretch>
          </p:blipFill>
          <p:spPr>
            <a:xfrm>
              <a:off x="404619" y="2070601"/>
              <a:ext cx="4502232" cy="1883213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  <a:effectLst/>
          </p:spPr>
        </p:pic>
        <p:grpSp>
          <p:nvGrpSpPr>
            <p:cNvPr id="44" name="Group 43"/>
            <p:cNvGrpSpPr>
              <a:grpSpLocks noChangeAspect="1"/>
            </p:cNvGrpSpPr>
            <p:nvPr/>
          </p:nvGrpSpPr>
          <p:grpSpPr bwMode="auto">
            <a:xfrm rot="2976109">
              <a:off x="4249171" y="2021442"/>
              <a:ext cx="837046" cy="807677"/>
              <a:chOff x="5841" y="3192"/>
              <a:chExt cx="399" cy="385"/>
            </a:xfrm>
          </p:grpSpPr>
          <p:sp>
            <p:nvSpPr>
              <p:cNvPr id="45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5841" y="3192"/>
                <a:ext cx="399" cy="38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/>
              </a:p>
            </p:txBody>
          </p:sp>
          <p:grpSp>
            <p:nvGrpSpPr>
              <p:cNvPr id="46" name="Group 7"/>
              <p:cNvGrpSpPr>
                <a:grpSpLocks/>
              </p:cNvGrpSpPr>
              <p:nvPr/>
            </p:nvGrpSpPr>
            <p:grpSpPr bwMode="auto">
              <a:xfrm>
                <a:off x="5841" y="3235"/>
                <a:ext cx="395" cy="338"/>
                <a:chOff x="5841" y="3235"/>
                <a:chExt cx="395" cy="338"/>
              </a:xfrm>
            </p:grpSpPr>
            <p:sp>
              <p:nvSpPr>
                <p:cNvPr id="136" name="Freeform 5"/>
                <p:cNvSpPr>
                  <a:spLocks/>
                </p:cNvSpPr>
                <p:nvPr/>
              </p:nvSpPr>
              <p:spPr bwMode="auto">
                <a:xfrm>
                  <a:off x="5841" y="3260"/>
                  <a:ext cx="370" cy="313"/>
                </a:xfrm>
                <a:custGeom>
                  <a:avLst/>
                  <a:gdLst>
                    <a:gd name="T0" fmla="*/ 92 w 370"/>
                    <a:gd name="T1" fmla="*/ 313 h 313"/>
                    <a:gd name="T2" fmla="*/ 370 w 370"/>
                    <a:gd name="T3" fmla="*/ 204 h 313"/>
                    <a:gd name="T4" fmla="*/ 278 w 370"/>
                    <a:gd name="T5" fmla="*/ 0 h 313"/>
                    <a:gd name="T6" fmla="*/ 0 w 370"/>
                    <a:gd name="T7" fmla="*/ 106 h 313"/>
                    <a:gd name="T8" fmla="*/ 92 w 370"/>
                    <a:gd name="T9" fmla="*/ 313 h 3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70" h="313">
                      <a:moveTo>
                        <a:pt x="92" y="313"/>
                      </a:moveTo>
                      <a:lnTo>
                        <a:pt x="370" y="204"/>
                      </a:lnTo>
                      <a:lnTo>
                        <a:pt x="278" y="0"/>
                      </a:lnTo>
                      <a:lnTo>
                        <a:pt x="0" y="106"/>
                      </a:lnTo>
                      <a:lnTo>
                        <a:pt x="92" y="313"/>
                      </a:lnTo>
                      <a:close/>
                    </a:path>
                  </a:pathLst>
                </a:custGeom>
                <a:solidFill>
                  <a:srgbClr val="80808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  <p:sp>
              <p:nvSpPr>
                <p:cNvPr id="137" name="Freeform 6"/>
                <p:cNvSpPr>
                  <a:spLocks/>
                </p:cNvSpPr>
                <p:nvPr/>
              </p:nvSpPr>
              <p:spPr bwMode="auto">
                <a:xfrm>
                  <a:off x="5865" y="3235"/>
                  <a:ext cx="371" cy="313"/>
                </a:xfrm>
                <a:custGeom>
                  <a:avLst/>
                  <a:gdLst>
                    <a:gd name="T0" fmla="*/ 92 w 371"/>
                    <a:gd name="T1" fmla="*/ 313 h 313"/>
                    <a:gd name="T2" fmla="*/ 371 w 371"/>
                    <a:gd name="T3" fmla="*/ 204 h 313"/>
                    <a:gd name="T4" fmla="*/ 279 w 371"/>
                    <a:gd name="T5" fmla="*/ 0 h 313"/>
                    <a:gd name="T6" fmla="*/ 0 w 371"/>
                    <a:gd name="T7" fmla="*/ 106 h 313"/>
                    <a:gd name="T8" fmla="*/ 92 w 371"/>
                    <a:gd name="T9" fmla="*/ 313 h 3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71" h="313">
                      <a:moveTo>
                        <a:pt x="92" y="313"/>
                      </a:moveTo>
                      <a:lnTo>
                        <a:pt x="371" y="204"/>
                      </a:lnTo>
                      <a:lnTo>
                        <a:pt x="279" y="0"/>
                      </a:lnTo>
                      <a:lnTo>
                        <a:pt x="0" y="106"/>
                      </a:lnTo>
                      <a:lnTo>
                        <a:pt x="92" y="313"/>
                      </a:lnTo>
                      <a:close/>
                    </a:path>
                  </a:pathLst>
                </a:custGeom>
                <a:solidFill>
                  <a:srgbClr val="FFFF9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</p:grpSp>
          <p:sp>
            <p:nvSpPr>
              <p:cNvPr id="47" name="Rectangle 8"/>
              <p:cNvSpPr>
                <a:spLocks noChangeArrowheads="1"/>
              </p:cNvSpPr>
              <p:nvPr/>
            </p:nvSpPr>
            <p:spPr bwMode="auto">
              <a:xfrm rot="20340000">
                <a:off x="5993" y="3345"/>
                <a:ext cx="169" cy="5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r>
                  <a:rPr lang="pt-BR" altLang="pt-BR" sz="800" b="1">
                    <a:solidFill>
                      <a:srgbClr val="000066"/>
                    </a:solidFill>
                  </a:rPr>
                  <a:t>Exemplo</a:t>
                </a:r>
                <a:endParaRPr lang="pt-BR" altLang="pt-BR" sz="1800"/>
              </a:p>
            </p:txBody>
          </p:sp>
          <p:grpSp>
            <p:nvGrpSpPr>
              <p:cNvPr id="48" name="Group 34"/>
              <p:cNvGrpSpPr>
                <a:grpSpLocks/>
              </p:cNvGrpSpPr>
              <p:nvPr/>
            </p:nvGrpSpPr>
            <p:grpSpPr bwMode="auto">
              <a:xfrm>
                <a:off x="6127" y="3196"/>
                <a:ext cx="95" cy="87"/>
                <a:chOff x="6127" y="3196"/>
                <a:chExt cx="95" cy="87"/>
              </a:xfrm>
            </p:grpSpPr>
            <p:sp>
              <p:nvSpPr>
                <p:cNvPr id="111" name="Freeform 9"/>
                <p:cNvSpPr>
                  <a:spLocks/>
                </p:cNvSpPr>
                <p:nvPr/>
              </p:nvSpPr>
              <p:spPr bwMode="auto">
                <a:xfrm>
                  <a:off x="6127" y="3241"/>
                  <a:ext cx="95" cy="42"/>
                </a:xfrm>
                <a:custGeom>
                  <a:avLst/>
                  <a:gdLst>
                    <a:gd name="T0" fmla="*/ 70 w 95"/>
                    <a:gd name="T1" fmla="*/ 5 h 42"/>
                    <a:gd name="T2" fmla="*/ 70 w 95"/>
                    <a:gd name="T3" fmla="*/ 3 h 42"/>
                    <a:gd name="T4" fmla="*/ 81 w 95"/>
                    <a:gd name="T5" fmla="*/ 0 h 42"/>
                    <a:gd name="T6" fmla="*/ 87 w 95"/>
                    <a:gd name="T7" fmla="*/ 3 h 42"/>
                    <a:gd name="T8" fmla="*/ 92 w 95"/>
                    <a:gd name="T9" fmla="*/ 8 h 42"/>
                    <a:gd name="T10" fmla="*/ 92 w 95"/>
                    <a:gd name="T11" fmla="*/ 11 h 42"/>
                    <a:gd name="T12" fmla="*/ 95 w 95"/>
                    <a:gd name="T13" fmla="*/ 17 h 42"/>
                    <a:gd name="T14" fmla="*/ 95 w 95"/>
                    <a:gd name="T15" fmla="*/ 22 h 42"/>
                    <a:gd name="T16" fmla="*/ 92 w 95"/>
                    <a:gd name="T17" fmla="*/ 22 h 42"/>
                    <a:gd name="T18" fmla="*/ 83 w 95"/>
                    <a:gd name="T19" fmla="*/ 25 h 42"/>
                    <a:gd name="T20" fmla="*/ 81 w 95"/>
                    <a:gd name="T21" fmla="*/ 25 h 42"/>
                    <a:gd name="T22" fmla="*/ 78 w 95"/>
                    <a:gd name="T23" fmla="*/ 25 h 42"/>
                    <a:gd name="T24" fmla="*/ 73 w 95"/>
                    <a:gd name="T25" fmla="*/ 25 h 42"/>
                    <a:gd name="T26" fmla="*/ 67 w 95"/>
                    <a:gd name="T27" fmla="*/ 28 h 42"/>
                    <a:gd name="T28" fmla="*/ 67 w 95"/>
                    <a:gd name="T29" fmla="*/ 31 h 42"/>
                    <a:gd name="T30" fmla="*/ 64 w 95"/>
                    <a:gd name="T31" fmla="*/ 34 h 42"/>
                    <a:gd name="T32" fmla="*/ 62 w 95"/>
                    <a:gd name="T33" fmla="*/ 36 h 42"/>
                    <a:gd name="T34" fmla="*/ 62 w 95"/>
                    <a:gd name="T35" fmla="*/ 39 h 42"/>
                    <a:gd name="T36" fmla="*/ 56 w 95"/>
                    <a:gd name="T37" fmla="*/ 42 h 42"/>
                    <a:gd name="T38" fmla="*/ 50 w 95"/>
                    <a:gd name="T39" fmla="*/ 42 h 42"/>
                    <a:gd name="T40" fmla="*/ 45 w 95"/>
                    <a:gd name="T41" fmla="*/ 39 h 42"/>
                    <a:gd name="T42" fmla="*/ 36 w 95"/>
                    <a:gd name="T43" fmla="*/ 31 h 42"/>
                    <a:gd name="T44" fmla="*/ 34 w 95"/>
                    <a:gd name="T45" fmla="*/ 28 h 42"/>
                    <a:gd name="T46" fmla="*/ 28 w 95"/>
                    <a:gd name="T47" fmla="*/ 31 h 42"/>
                    <a:gd name="T48" fmla="*/ 0 w 95"/>
                    <a:gd name="T49" fmla="*/ 36 h 42"/>
                    <a:gd name="T50" fmla="*/ 0 w 95"/>
                    <a:gd name="T51" fmla="*/ 34 h 42"/>
                    <a:gd name="T52" fmla="*/ 14 w 95"/>
                    <a:gd name="T53" fmla="*/ 31 h 42"/>
                    <a:gd name="T54" fmla="*/ 31 w 95"/>
                    <a:gd name="T55" fmla="*/ 22 h 42"/>
                    <a:gd name="T56" fmla="*/ 31 w 95"/>
                    <a:gd name="T57" fmla="*/ 17 h 42"/>
                    <a:gd name="T58" fmla="*/ 31 w 95"/>
                    <a:gd name="T59" fmla="*/ 11 h 42"/>
                    <a:gd name="T60" fmla="*/ 36 w 95"/>
                    <a:gd name="T61" fmla="*/ 5 h 42"/>
                    <a:gd name="T62" fmla="*/ 39 w 95"/>
                    <a:gd name="T63" fmla="*/ 3 h 42"/>
                    <a:gd name="T64" fmla="*/ 45 w 95"/>
                    <a:gd name="T65" fmla="*/ 3 h 42"/>
                    <a:gd name="T66" fmla="*/ 47 w 95"/>
                    <a:gd name="T67" fmla="*/ 3 h 42"/>
                    <a:gd name="T68" fmla="*/ 53 w 95"/>
                    <a:gd name="T69" fmla="*/ 5 h 42"/>
                    <a:gd name="T70" fmla="*/ 56 w 95"/>
                    <a:gd name="T71" fmla="*/ 8 h 42"/>
                    <a:gd name="T72" fmla="*/ 56 w 95"/>
                    <a:gd name="T73" fmla="*/ 11 h 42"/>
                    <a:gd name="T74" fmla="*/ 67 w 95"/>
                    <a:gd name="T75" fmla="*/ 5 h 42"/>
                    <a:gd name="T76" fmla="*/ 70 w 95"/>
                    <a:gd name="T77" fmla="*/ 5 h 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</a:cxnLst>
                  <a:rect l="0" t="0" r="r" b="b"/>
                  <a:pathLst>
                    <a:path w="95" h="42">
                      <a:moveTo>
                        <a:pt x="70" y="5"/>
                      </a:moveTo>
                      <a:lnTo>
                        <a:pt x="70" y="3"/>
                      </a:lnTo>
                      <a:lnTo>
                        <a:pt x="81" y="0"/>
                      </a:lnTo>
                      <a:lnTo>
                        <a:pt x="87" y="3"/>
                      </a:lnTo>
                      <a:lnTo>
                        <a:pt x="92" y="8"/>
                      </a:lnTo>
                      <a:lnTo>
                        <a:pt x="92" y="11"/>
                      </a:lnTo>
                      <a:lnTo>
                        <a:pt x="95" y="17"/>
                      </a:lnTo>
                      <a:lnTo>
                        <a:pt x="95" y="22"/>
                      </a:lnTo>
                      <a:lnTo>
                        <a:pt x="92" y="22"/>
                      </a:lnTo>
                      <a:lnTo>
                        <a:pt x="83" y="25"/>
                      </a:lnTo>
                      <a:lnTo>
                        <a:pt x="81" y="25"/>
                      </a:lnTo>
                      <a:lnTo>
                        <a:pt x="78" y="25"/>
                      </a:lnTo>
                      <a:lnTo>
                        <a:pt x="73" y="25"/>
                      </a:lnTo>
                      <a:lnTo>
                        <a:pt x="67" y="28"/>
                      </a:lnTo>
                      <a:lnTo>
                        <a:pt x="67" y="31"/>
                      </a:lnTo>
                      <a:lnTo>
                        <a:pt x="64" y="34"/>
                      </a:lnTo>
                      <a:lnTo>
                        <a:pt x="62" y="36"/>
                      </a:lnTo>
                      <a:lnTo>
                        <a:pt x="62" y="39"/>
                      </a:lnTo>
                      <a:lnTo>
                        <a:pt x="56" y="42"/>
                      </a:lnTo>
                      <a:lnTo>
                        <a:pt x="50" y="42"/>
                      </a:lnTo>
                      <a:lnTo>
                        <a:pt x="45" y="39"/>
                      </a:lnTo>
                      <a:lnTo>
                        <a:pt x="36" y="31"/>
                      </a:lnTo>
                      <a:lnTo>
                        <a:pt x="34" y="28"/>
                      </a:lnTo>
                      <a:lnTo>
                        <a:pt x="28" y="31"/>
                      </a:lnTo>
                      <a:lnTo>
                        <a:pt x="0" y="36"/>
                      </a:lnTo>
                      <a:lnTo>
                        <a:pt x="0" y="34"/>
                      </a:lnTo>
                      <a:lnTo>
                        <a:pt x="14" y="31"/>
                      </a:lnTo>
                      <a:lnTo>
                        <a:pt x="31" y="22"/>
                      </a:lnTo>
                      <a:lnTo>
                        <a:pt x="31" y="17"/>
                      </a:lnTo>
                      <a:lnTo>
                        <a:pt x="31" y="11"/>
                      </a:lnTo>
                      <a:lnTo>
                        <a:pt x="36" y="5"/>
                      </a:lnTo>
                      <a:lnTo>
                        <a:pt x="39" y="3"/>
                      </a:lnTo>
                      <a:lnTo>
                        <a:pt x="45" y="3"/>
                      </a:lnTo>
                      <a:lnTo>
                        <a:pt x="47" y="3"/>
                      </a:lnTo>
                      <a:lnTo>
                        <a:pt x="53" y="5"/>
                      </a:lnTo>
                      <a:lnTo>
                        <a:pt x="56" y="8"/>
                      </a:lnTo>
                      <a:lnTo>
                        <a:pt x="56" y="11"/>
                      </a:lnTo>
                      <a:lnTo>
                        <a:pt x="67" y="5"/>
                      </a:lnTo>
                      <a:lnTo>
                        <a:pt x="70" y="5"/>
                      </a:lnTo>
                      <a:close/>
                    </a:path>
                  </a:pathLst>
                </a:custGeom>
                <a:solidFill>
                  <a:srgbClr val="C0C27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  <p:grpSp>
              <p:nvGrpSpPr>
                <p:cNvPr id="112" name="Group 12"/>
                <p:cNvGrpSpPr>
                  <a:grpSpLocks/>
                </p:cNvGrpSpPr>
                <p:nvPr/>
              </p:nvGrpSpPr>
              <p:grpSpPr bwMode="auto">
                <a:xfrm>
                  <a:off x="6127" y="3235"/>
                  <a:ext cx="31" cy="45"/>
                  <a:chOff x="6127" y="3235"/>
                  <a:chExt cx="31" cy="45"/>
                </a:xfrm>
              </p:grpSpPr>
              <p:sp>
                <p:nvSpPr>
                  <p:cNvPr id="134" name="Freeform 10"/>
                  <p:cNvSpPr>
                    <a:spLocks/>
                  </p:cNvSpPr>
                  <p:nvPr/>
                </p:nvSpPr>
                <p:spPr bwMode="auto">
                  <a:xfrm>
                    <a:off x="6127" y="3235"/>
                    <a:ext cx="31" cy="45"/>
                  </a:xfrm>
                  <a:custGeom>
                    <a:avLst/>
                    <a:gdLst>
                      <a:gd name="T0" fmla="*/ 25 w 31"/>
                      <a:gd name="T1" fmla="*/ 0 h 45"/>
                      <a:gd name="T2" fmla="*/ 0 w 31"/>
                      <a:gd name="T3" fmla="*/ 45 h 45"/>
                      <a:gd name="T4" fmla="*/ 31 w 31"/>
                      <a:gd name="T5" fmla="*/ 3 h 45"/>
                      <a:gd name="T6" fmla="*/ 25 w 31"/>
                      <a:gd name="T7" fmla="*/ 0 h 4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31" h="45">
                        <a:moveTo>
                          <a:pt x="25" y="0"/>
                        </a:moveTo>
                        <a:lnTo>
                          <a:pt x="0" y="45"/>
                        </a:lnTo>
                        <a:lnTo>
                          <a:pt x="31" y="3"/>
                        </a:lnTo>
                        <a:lnTo>
                          <a:pt x="25" y="0"/>
                        </a:lnTo>
                        <a:close/>
                      </a:path>
                    </a:pathLst>
                  </a:custGeom>
                  <a:solidFill>
                    <a:srgbClr val="C1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/>
                  </a:p>
                </p:txBody>
              </p:sp>
              <p:sp>
                <p:nvSpPr>
                  <p:cNvPr id="135" name="Freeform 11"/>
                  <p:cNvSpPr>
                    <a:spLocks/>
                  </p:cNvSpPr>
                  <p:nvPr/>
                </p:nvSpPr>
                <p:spPr bwMode="auto">
                  <a:xfrm>
                    <a:off x="6127" y="3235"/>
                    <a:ext cx="31" cy="45"/>
                  </a:xfrm>
                  <a:custGeom>
                    <a:avLst/>
                    <a:gdLst>
                      <a:gd name="T0" fmla="*/ 25 w 31"/>
                      <a:gd name="T1" fmla="*/ 0 h 45"/>
                      <a:gd name="T2" fmla="*/ 0 w 31"/>
                      <a:gd name="T3" fmla="*/ 45 h 45"/>
                      <a:gd name="T4" fmla="*/ 31 w 31"/>
                      <a:gd name="T5" fmla="*/ 3 h 45"/>
                      <a:gd name="T6" fmla="*/ 25 w 31"/>
                      <a:gd name="T7" fmla="*/ 0 h 4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31" h="45">
                        <a:moveTo>
                          <a:pt x="25" y="0"/>
                        </a:moveTo>
                        <a:lnTo>
                          <a:pt x="0" y="45"/>
                        </a:lnTo>
                        <a:lnTo>
                          <a:pt x="31" y="3"/>
                        </a:lnTo>
                        <a:lnTo>
                          <a:pt x="25" y="0"/>
                        </a:lnTo>
                      </a:path>
                    </a:pathLst>
                  </a:custGeom>
                  <a:noFill/>
                  <a:ln w="4763" cap="rnd">
                    <a:solidFill>
                      <a:srgbClr val="4F4F4F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/>
                  </a:p>
                </p:txBody>
              </p:sp>
            </p:grpSp>
            <p:grpSp>
              <p:nvGrpSpPr>
                <p:cNvPr id="113" name="Group 15"/>
                <p:cNvGrpSpPr>
                  <a:grpSpLocks/>
                </p:cNvGrpSpPr>
                <p:nvPr/>
              </p:nvGrpSpPr>
              <p:grpSpPr bwMode="auto">
                <a:xfrm>
                  <a:off x="6136" y="3218"/>
                  <a:ext cx="36" cy="42"/>
                  <a:chOff x="6136" y="3218"/>
                  <a:chExt cx="36" cy="42"/>
                </a:xfrm>
              </p:grpSpPr>
              <p:sp>
                <p:nvSpPr>
                  <p:cNvPr id="132" name="Freeform 13"/>
                  <p:cNvSpPr>
                    <a:spLocks/>
                  </p:cNvSpPr>
                  <p:nvPr/>
                </p:nvSpPr>
                <p:spPr bwMode="auto">
                  <a:xfrm>
                    <a:off x="6136" y="3218"/>
                    <a:ext cx="36" cy="42"/>
                  </a:xfrm>
                  <a:custGeom>
                    <a:avLst/>
                    <a:gdLst>
                      <a:gd name="T0" fmla="*/ 5 w 36"/>
                      <a:gd name="T1" fmla="*/ 3 h 42"/>
                      <a:gd name="T2" fmla="*/ 2 w 36"/>
                      <a:gd name="T3" fmla="*/ 6 h 42"/>
                      <a:gd name="T4" fmla="*/ 0 w 36"/>
                      <a:gd name="T5" fmla="*/ 12 h 42"/>
                      <a:gd name="T6" fmla="*/ 5 w 36"/>
                      <a:gd name="T7" fmla="*/ 28 h 42"/>
                      <a:gd name="T8" fmla="*/ 19 w 36"/>
                      <a:gd name="T9" fmla="*/ 40 h 42"/>
                      <a:gd name="T10" fmla="*/ 25 w 36"/>
                      <a:gd name="T11" fmla="*/ 42 h 42"/>
                      <a:gd name="T12" fmla="*/ 30 w 36"/>
                      <a:gd name="T13" fmla="*/ 42 h 42"/>
                      <a:gd name="T14" fmla="*/ 33 w 36"/>
                      <a:gd name="T15" fmla="*/ 37 h 42"/>
                      <a:gd name="T16" fmla="*/ 36 w 36"/>
                      <a:gd name="T17" fmla="*/ 31 h 42"/>
                      <a:gd name="T18" fmla="*/ 30 w 36"/>
                      <a:gd name="T19" fmla="*/ 15 h 42"/>
                      <a:gd name="T20" fmla="*/ 16 w 36"/>
                      <a:gd name="T21" fmla="*/ 3 h 42"/>
                      <a:gd name="T22" fmla="*/ 11 w 36"/>
                      <a:gd name="T23" fmla="*/ 0 h 42"/>
                      <a:gd name="T24" fmla="*/ 5 w 36"/>
                      <a:gd name="T25" fmla="*/ 3 h 4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36" h="42">
                        <a:moveTo>
                          <a:pt x="5" y="3"/>
                        </a:moveTo>
                        <a:lnTo>
                          <a:pt x="2" y="6"/>
                        </a:lnTo>
                        <a:lnTo>
                          <a:pt x="0" y="12"/>
                        </a:lnTo>
                        <a:lnTo>
                          <a:pt x="5" y="28"/>
                        </a:lnTo>
                        <a:lnTo>
                          <a:pt x="19" y="40"/>
                        </a:lnTo>
                        <a:lnTo>
                          <a:pt x="25" y="42"/>
                        </a:lnTo>
                        <a:lnTo>
                          <a:pt x="30" y="42"/>
                        </a:lnTo>
                        <a:lnTo>
                          <a:pt x="33" y="37"/>
                        </a:lnTo>
                        <a:lnTo>
                          <a:pt x="36" y="31"/>
                        </a:lnTo>
                        <a:lnTo>
                          <a:pt x="30" y="15"/>
                        </a:lnTo>
                        <a:lnTo>
                          <a:pt x="16" y="3"/>
                        </a:lnTo>
                        <a:lnTo>
                          <a:pt x="11" y="0"/>
                        </a:lnTo>
                        <a:lnTo>
                          <a:pt x="5" y="3"/>
                        </a:lnTo>
                        <a:close/>
                      </a:path>
                    </a:pathLst>
                  </a:custGeom>
                  <a:solidFill>
                    <a:srgbClr val="C2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/>
                  </a:p>
                </p:txBody>
              </p:sp>
              <p:sp>
                <p:nvSpPr>
                  <p:cNvPr id="133" name="Freeform 14"/>
                  <p:cNvSpPr>
                    <a:spLocks/>
                  </p:cNvSpPr>
                  <p:nvPr/>
                </p:nvSpPr>
                <p:spPr bwMode="auto">
                  <a:xfrm>
                    <a:off x="6136" y="3218"/>
                    <a:ext cx="36" cy="42"/>
                  </a:xfrm>
                  <a:custGeom>
                    <a:avLst/>
                    <a:gdLst>
                      <a:gd name="T0" fmla="*/ 5 w 36"/>
                      <a:gd name="T1" fmla="*/ 3 h 42"/>
                      <a:gd name="T2" fmla="*/ 2 w 36"/>
                      <a:gd name="T3" fmla="*/ 6 h 42"/>
                      <a:gd name="T4" fmla="*/ 0 w 36"/>
                      <a:gd name="T5" fmla="*/ 12 h 42"/>
                      <a:gd name="T6" fmla="*/ 5 w 36"/>
                      <a:gd name="T7" fmla="*/ 28 h 42"/>
                      <a:gd name="T8" fmla="*/ 19 w 36"/>
                      <a:gd name="T9" fmla="*/ 40 h 42"/>
                      <a:gd name="T10" fmla="*/ 25 w 36"/>
                      <a:gd name="T11" fmla="*/ 42 h 42"/>
                      <a:gd name="T12" fmla="*/ 30 w 36"/>
                      <a:gd name="T13" fmla="*/ 42 h 42"/>
                      <a:gd name="T14" fmla="*/ 33 w 36"/>
                      <a:gd name="T15" fmla="*/ 37 h 42"/>
                      <a:gd name="T16" fmla="*/ 36 w 36"/>
                      <a:gd name="T17" fmla="*/ 31 h 42"/>
                      <a:gd name="T18" fmla="*/ 30 w 36"/>
                      <a:gd name="T19" fmla="*/ 15 h 42"/>
                      <a:gd name="T20" fmla="*/ 16 w 36"/>
                      <a:gd name="T21" fmla="*/ 3 h 42"/>
                      <a:gd name="T22" fmla="*/ 11 w 36"/>
                      <a:gd name="T23" fmla="*/ 0 h 42"/>
                      <a:gd name="T24" fmla="*/ 5 w 36"/>
                      <a:gd name="T25" fmla="*/ 3 h 4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36" h="42">
                        <a:moveTo>
                          <a:pt x="5" y="3"/>
                        </a:moveTo>
                        <a:lnTo>
                          <a:pt x="2" y="6"/>
                        </a:lnTo>
                        <a:lnTo>
                          <a:pt x="0" y="12"/>
                        </a:lnTo>
                        <a:lnTo>
                          <a:pt x="5" y="28"/>
                        </a:lnTo>
                        <a:lnTo>
                          <a:pt x="19" y="40"/>
                        </a:lnTo>
                        <a:lnTo>
                          <a:pt x="25" y="42"/>
                        </a:lnTo>
                        <a:lnTo>
                          <a:pt x="30" y="42"/>
                        </a:lnTo>
                        <a:lnTo>
                          <a:pt x="33" y="37"/>
                        </a:lnTo>
                        <a:lnTo>
                          <a:pt x="36" y="31"/>
                        </a:lnTo>
                        <a:lnTo>
                          <a:pt x="30" y="15"/>
                        </a:lnTo>
                        <a:lnTo>
                          <a:pt x="16" y="3"/>
                        </a:lnTo>
                        <a:lnTo>
                          <a:pt x="11" y="0"/>
                        </a:lnTo>
                        <a:lnTo>
                          <a:pt x="5" y="3"/>
                        </a:lnTo>
                      </a:path>
                    </a:pathLst>
                  </a:custGeom>
                  <a:noFill/>
                  <a:ln w="4763" cap="rnd">
                    <a:solidFill>
                      <a:srgbClr val="C2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/>
                  </a:p>
                </p:txBody>
              </p:sp>
            </p:grpSp>
            <p:grpSp>
              <p:nvGrpSpPr>
                <p:cNvPr id="114" name="Group 18"/>
                <p:cNvGrpSpPr>
                  <a:grpSpLocks/>
                </p:cNvGrpSpPr>
                <p:nvPr/>
              </p:nvGrpSpPr>
              <p:grpSpPr bwMode="auto">
                <a:xfrm>
                  <a:off x="6138" y="3216"/>
                  <a:ext cx="34" cy="42"/>
                  <a:chOff x="6138" y="3216"/>
                  <a:chExt cx="34" cy="42"/>
                </a:xfrm>
              </p:grpSpPr>
              <p:sp>
                <p:nvSpPr>
                  <p:cNvPr id="130" name="Freeform 16"/>
                  <p:cNvSpPr>
                    <a:spLocks/>
                  </p:cNvSpPr>
                  <p:nvPr/>
                </p:nvSpPr>
                <p:spPr bwMode="auto">
                  <a:xfrm>
                    <a:off x="6138" y="3216"/>
                    <a:ext cx="34" cy="42"/>
                  </a:xfrm>
                  <a:custGeom>
                    <a:avLst/>
                    <a:gdLst>
                      <a:gd name="T0" fmla="*/ 3 w 34"/>
                      <a:gd name="T1" fmla="*/ 2 h 42"/>
                      <a:gd name="T2" fmla="*/ 0 w 34"/>
                      <a:gd name="T3" fmla="*/ 5 h 42"/>
                      <a:gd name="T4" fmla="*/ 0 w 34"/>
                      <a:gd name="T5" fmla="*/ 14 h 42"/>
                      <a:gd name="T6" fmla="*/ 9 w 34"/>
                      <a:gd name="T7" fmla="*/ 28 h 42"/>
                      <a:gd name="T8" fmla="*/ 23 w 34"/>
                      <a:gd name="T9" fmla="*/ 39 h 42"/>
                      <a:gd name="T10" fmla="*/ 28 w 34"/>
                      <a:gd name="T11" fmla="*/ 42 h 42"/>
                      <a:gd name="T12" fmla="*/ 34 w 34"/>
                      <a:gd name="T13" fmla="*/ 39 h 42"/>
                      <a:gd name="T14" fmla="*/ 34 w 34"/>
                      <a:gd name="T15" fmla="*/ 36 h 42"/>
                      <a:gd name="T16" fmla="*/ 34 w 34"/>
                      <a:gd name="T17" fmla="*/ 30 h 42"/>
                      <a:gd name="T18" fmla="*/ 28 w 34"/>
                      <a:gd name="T19" fmla="*/ 14 h 42"/>
                      <a:gd name="T20" fmla="*/ 14 w 34"/>
                      <a:gd name="T21" fmla="*/ 2 h 42"/>
                      <a:gd name="T22" fmla="*/ 9 w 34"/>
                      <a:gd name="T23" fmla="*/ 0 h 42"/>
                      <a:gd name="T24" fmla="*/ 3 w 34"/>
                      <a:gd name="T25" fmla="*/ 2 h 4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34" h="42">
                        <a:moveTo>
                          <a:pt x="3" y="2"/>
                        </a:moveTo>
                        <a:lnTo>
                          <a:pt x="0" y="5"/>
                        </a:lnTo>
                        <a:lnTo>
                          <a:pt x="0" y="14"/>
                        </a:lnTo>
                        <a:lnTo>
                          <a:pt x="9" y="28"/>
                        </a:lnTo>
                        <a:lnTo>
                          <a:pt x="23" y="39"/>
                        </a:lnTo>
                        <a:lnTo>
                          <a:pt x="28" y="42"/>
                        </a:lnTo>
                        <a:lnTo>
                          <a:pt x="34" y="39"/>
                        </a:lnTo>
                        <a:lnTo>
                          <a:pt x="34" y="36"/>
                        </a:lnTo>
                        <a:lnTo>
                          <a:pt x="34" y="30"/>
                        </a:lnTo>
                        <a:lnTo>
                          <a:pt x="28" y="14"/>
                        </a:lnTo>
                        <a:lnTo>
                          <a:pt x="14" y="2"/>
                        </a:lnTo>
                        <a:lnTo>
                          <a:pt x="9" y="0"/>
                        </a:lnTo>
                        <a:lnTo>
                          <a:pt x="3" y="2"/>
                        </a:lnTo>
                        <a:close/>
                      </a:path>
                    </a:pathLst>
                  </a:custGeom>
                  <a:solidFill>
                    <a:srgbClr val="FF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/>
                  </a:p>
                </p:txBody>
              </p:sp>
              <p:sp>
                <p:nvSpPr>
                  <p:cNvPr id="131" name="Freeform 17"/>
                  <p:cNvSpPr>
                    <a:spLocks/>
                  </p:cNvSpPr>
                  <p:nvPr/>
                </p:nvSpPr>
                <p:spPr bwMode="auto">
                  <a:xfrm>
                    <a:off x="6138" y="3216"/>
                    <a:ext cx="34" cy="42"/>
                  </a:xfrm>
                  <a:custGeom>
                    <a:avLst/>
                    <a:gdLst>
                      <a:gd name="T0" fmla="*/ 3 w 34"/>
                      <a:gd name="T1" fmla="*/ 2 h 42"/>
                      <a:gd name="T2" fmla="*/ 0 w 34"/>
                      <a:gd name="T3" fmla="*/ 5 h 42"/>
                      <a:gd name="T4" fmla="*/ 0 w 34"/>
                      <a:gd name="T5" fmla="*/ 14 h 42"/>
                      <a:gd name="T6" fmla="*/ 9 w 34"/>
                      <a:gd name="T7" fmla="*/ 28 h 42"/>
                      <a:gd name="T8" fmla="*/ 23 w 34"/>
                      <a:gd name="T9" fmla="*/ 39 h 42"/>
                      <a:gd name="T10" fmla="*/ 28 w 34"/>
                      <a:gd name="T11" fmla="*/ 42 h 42"/>
                      <a:gd name="T12" fmla="*/ 34 w 34"/>
                      <a:gd name="T13" fmla="*/ 39 h 42"/>
                      <a:gd name="T14" fmla="*/ 34 w 34"/>
                      <a:gd name="T15" fmla="*/ 36 h 42"/>
                      <a:gd name="T16" fmla="*/ 34 w 34"/>
                      <a:gd name="T17" fmla="*/ 30 h 42"/>
                      <a:gd name="T18" fmla="*/ 28 w 34"/>
                      <a:gd name="T19" fmla="*/ 14 h 42"/>
                      <a:gd name="T20" fmla="*/ 14 w 34"/>
                      <a:gd name="T21" fmla="*/ 2 h 42"/>
                      <a:gd name="T22" fmla="*/ 9 w 34"/>
                      <a:gd name="T23" fmla="*/ 0 h 42"/>
                      <a:gd name="T24" fmla="*/ 3 w 34"/>
                      <a:gd name="T25" fmla="*/ 2 h 4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34" h="42">
                        <a:moveTo>
                          <a:pt x="3" y="2"/>
                        </a:moveTo>
                        <a:lnTo>
                          <a:pt x="0" y="5"/>
                        </a:lnTo>
                        <a:lnTo>
                          <a:pt x="0" y="14"/>
                        </a:lnTo>
                        <a:lnTo>
                          <a:pt x="9" y="28"/>
                        </a:lnTo>
                        <a:lnTo>
                          <a:pt x="23" y="39"/>
                        </a:lnTo>
                        <a:lnTo>
                          <a:pt x="28" y="42"/>
                        </a:lnTo>
                        <a:lnTo>
                          <a:pt x="34" y="39"/>
                        </a:lnTo>
                        <a:lnTo>
                          <a:pt x="34" y="36"/>
                        </a:lnTo>
                        <a:lnTo>
                          <a:pt x="34" y="30"/>
                        </a:lnTo>
                        <a:lnTo>
                          <a:pt x="28" y="14"/>
                        </a:lnTo>
                        <a:lnTo>
                          <a:pt x="14" y="2"/>
                        </a:lnTo>
                        <a:lnTo>
                          <a:pt x="9" y="0"/>
                        </a:lnTo>
                        <a:lnTo>
                          <a:pt x="3" y="2"/>
                        </a:lnTo>
                      </a:path>
                    </a:pathLst>
                  </a:custGeom>
                  <a:noFill/>
                  <a:ln w="4763" cap="rnd">
                    <a:solidFill>
                      <a:srgbClr val="FF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/>
                  </a:p>
                </p:txBody>
              </p:sp>
            </p:grpSp>
            <p:sp>
              <p:nvSpPr>
                <p:cNvPr id="115" name="Freeform 19"/>
                <p:cNvSpPr>
                  <a:spLocks/>
                </p:cNvSpPr>
                <p:nvPr/>
              </p:nvSpPr>
              <p:spPr bwMode="auto">
                <a:xfrm>
                  <a:off x="6149" y="3207"/>
                  <a:ext cx="23" cy="34"/>
                </a:xfrm>
                <a:custGeom>
                  <a:avLst/>
                  <a:gdLst>
                    <a:gd name="T0" fmla="*/ 0 w 23"/>
                    <a:gd name="T1" fmla="*/ 20 h 34"/>
                    <a:gd name="T2" fmla="*/ 3 w 23"/>
                    <a:gd name="T3" fmla="*/ 31 h 34"/>
                    <a:gd name="T4" fmla="*/ 9 w 23"/>
                    <a:gd name="T5" fmla="*/ 34 h 34"/>
                    <a:gd name="T6" fmla="*/ 23 w 23"/>
                    <a:gd name="T7" fmla="*/ 11 h 34"/>
                    <a:gd name="T8" fmla="*/ 12 w 23"/>
                    <a:gd name="T9" fmla="*/ 0 h 34"/>
                    <a:gd name="T10" fmla="*/ 0 w 23"/>
                    <a:gd name="T11" fmla="*/ 20 h 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3" h="34">
                      <a:moveTo>
                        <a:pt x="0" y="20"/>
                      </a:moveTo>
                      <a:lnTo>
                        <a:pt x="3" y="31"/>
                      </a:lnTo>
                      <a:lnTo>
                        <a:pt x="9" y="34"/>
                      </a:lnTo>
                      <a:lnTo>
                        <a:pt x="23" y="11"/>
                      </a:lnTo>
                      <a:lnTo>
                        <a:pt x="12" y="0"/>
                      </a:lnTo>
                      <a:lnTo>
                        <a:pt x="0" y="20"/>
                      </a:lnTo>
                      <a:close/>
                    </a:path>
                  </a:pathLst>
                </a:custGeom>
                <a:solidFill>
                  <a:srgbClr val="FF407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  <p:grpSp>
              <p:nvGrpSpPr>
                <p:cNvPr id="116" name="Group 22"/>
                <p:cNvGrpSpPr>
                  <a:grpSpLocks/>
                </p:cNvGrpSpPr>
                <p:nvPr/>
              </p:nvGrpSpPr>
              <p:grpSpPr bwMode="auto">
                <a:xfrm>
                  <a:off x="6158" y="3196"/>
                  <a:ext cx="22" cy="28"/>
                  <a:chOff x="6158" y="3196"/>
                  <a:chExt cx="22" cy="28"/>
                </a:xfrm>
              </p:grpSpPr>
              <p:sp>
                <p:nvSpPr>
                  <p:cNvPr id="128" name="Freeform 20"/>
                  <p:cNvSpPr>
                    <a:spLocks/>
                  </p:cNvSpPr>
                  <p:nvPr/>
                </p:nvSpPr>
                <p:spPr bwMode="auto">
                  <a:xfrm>
                    <a:off x="6158" y="3196"/>
                    <a:ext cx="22" cy="28"/>
                  </a:xfrm>
                  <a:custGeom>
                    <a:avLst/>
                    <a:gdLst>
                      <a:gd name="T0" fmla="*/ 3 w 22"/>
                      <a:gd name="T1" fmla="*/ 6 h 28"/>
                      <a:gd name="T2" fmla="*/ 0 w 22"/>
                      <a:gd name="T3" fmla="*/ 9 h 28"/>
                      <a:gd name="T4" fmla="*/ 3 w 22"/>
                      <a:gd name="T5" fmla="*/ 14 h 28"/>
                      <a:gd name="T6" fmla="*/ 5 w 22"/>
                      <a:gd name="T7" fmla="*/ 20 h 28"/>
                      <a:gd name="T8" fmla="*/ 5 w 22"/>
                      <a:gd name="T9" fmla="*/ 22 h 28"/>
                      <a:gd name="T10" fmla="*/ 16 w 22"/>
                      <a:gd name="T11" fmla="*/ 28 h 28"/>
                      <a:gd name="T12" fmla="*/ 22 w 22"/>
                      <a:gd name="T13" fmla="*/ 22 h 28"/>
                      <a:gd name="T14" fmla="*/ 19 w 22"/>
                      <a:gd name="T15" fmla="*/ 14 h 28"/>
                      <a:gd name="T16" fmla="*/ 8 w 22"/>
                      <a:gd name="T17" fmla="*/ 0 h 28"/>
                      <a:gd name="T18" fmla="*/ 3 w 22"/>
                      <a:gd name="T19" fmla="*/ 6 h 2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22" h="28">
                        <a:moveTo>
                          <a:pt x="3" y="6"/>
                        </a:moveTo>
                        <a:lnTo>
                          <a:pt x="0" y="9"/>
                        </a:lnTo>
                        <a:lnTo>
                          <a:pt x="3" y="14"/>
                        </a:lnTo>
                        <a:lnTo>
                          <a:pt x="5" y="20"/>
                        </a:lnTo>
                        <a:lnTo>
                          <a:pt x="5" y="22"/>
                        </a:lnTo>
                        <a:lnTo>
                          <a:pt x="16" y="28"/>
                        </a:lnTo>
                        <a:lnTo>
                          <a:pt x="22" y="22"/>
                        </a:lnTo>
                        <a:lnTo>
                          <a:pt x="19" y="14"/>
                        </a:lnTo>
                        <a:lnTo>
                          <a:pt x="8" y="0"/>
                        </a:lnTo>
                        <a:lnTo>
                          <a:pt x="3" y="6"/>
                        </a:lnTo>
                        <a:close/>
                      </a:path>
                    </a:pathLst>
                  </a:custGeom>
                  <a:solidFill>
                    <a:srgbClr val="FF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/>
                  </a:p>
                </p:txBody>
              </p:sp>
              <p:sp>
                <p:nvSpPr>
                  <p:cNvPr id="129" name="Freeform 21"/>
                  <p:cNvSpPr>
                    <a:spLocks/>
                  </p:cNvSpPr>
                  <p:nvPr/>
                </p:nvSpPr>
                <p:spPr bwMode="auto">
                  <a:xfrm>
                    <a:off x="6158" y="3196"/>
                    <a:ext cx="22" cy="28"/>
                  </a:xfrm>
                  <a:custGeom>
                    <a:avLst/>
                    <a:gdLst>
                      <a:gd name="T0" fmla="*/ 3 w 22"/>
                      <a:gd name="T1" fmla="*/ 6 h 28"/>
                      <a:gd name="T2" fmla="*/ 0 w 22"/>
                      <a:gd name="T3" fmla="*/ 9 h 28"/>
                      <a:gd name="T4" fmla="*/ 3 w 22"/>
                      <a:gd name="T5" fmla="*/ 14 h 28"/>
                      <a:gd name="T6" fmla="*/ 5 w 22"/>
                      <a:gd name="T7" fmla="*/ 20 h 28"/>
                      <a:gd name="T8" fmla="*/ 5 w 22"/>
                      <a:gd name="T9" fmla="*/ 22 h 28"/>
                      <a:gd name="T10" fmla="*/ 16 w 22"/>
                      <a:gd name="T11" fmla="*/ 28 h 28"/>
                      <a:gd name="T12" fmla="*/ 22 w 22"/>
                      <a:gd name="T13" fmla="*/ 22 h 28"/>
                      <a:gd name="T14" fmla="*/ 19 w 22"/>
                      <a:gd name="T15" fmla="*/ 14 h 28"/>
                      <a:gd name="T16" fmla="*/ 8 w 22"/>
                      <a:gd name="T17" fmla="*/ 0 h 28"/>
                      <a:gd name="T18" fmla="*/ 3 w 22"/>
                      <a:gd name="T19" fmla="*/ 6 h 2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22" h="28">
                        <a:moveTo>
                          <a:pt x="3" y="6"/>
                        </a:moveTo>
                        <a:lnTo>
                          <a:pt x="0" y="9"/>
                        </a:lnTo>
                        <a:lnTo>
                          <a:pt x="3" y="14"/>
                        </a:lnTo>
                        <a:lnTo>
                          <a:pt x="5" y="20"/>
                        </a:lnTo>
                        <a:lnTo>
                          <a:pt x="5" y="22"/>
                        </a:lnTo>
                        <a:lnTo>
                          <a:pt x="16" y="28"/>
                        </a:lnTo>
                        <a:lnTo>
                          <a:pt x="22" y="22"/>
                        </a:lnTo>
                        <a:lnTo>
                          <a:pt x="19" y="14"/>
                        </a:lnTo>
                        <a:lnTo>
                          <a:pt x="8" y="0"/>
                        </a:lnTo>
                        <a:lnTo>
                          <a:pt x="3" y="6"/>
                        </a:lnTo>
                      </a:path>
                    </a:pathLst>
                  </a:custGeom>
                  <a:noFill/>
                  <a:ln w="4763" cap="rnd">
                    <a:solidFill>
                      <a:srgbClr val="FF407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/>
                  </a:p>
                </p:txBody>
              </p:sp>
            </p:grpSp>
            <p:grpSp>
              <p:nvGrpSpPr>
                <p:cNvPr id="117" name="Group 25"/>
                <p:cNvGrpSpPr>
                  <a:grpSpLocks/>
                </p:cNvGrpSpPr>
                <p:nvPr/>
              </p:nvGrpSpPr>
              <p:grpSpPr bwMode="auto">
                <a:xfrm>
                  <a:off x="6149" y="3210"/>
                  <a:ext cx="37" cy="45"/>
                  <a:chOff x="6149" y="3210"/>
                  <a:chExt cx="37" cy="45"/>
                </a:xfrm>
              </p:grpSpPr>
              <p:sp>
                <p:nvSpPr>
                  <p:cNvPr id="126" name="Freeform 23"/>
                  <p:cNvSpPr>
                    <a:spLocks/>
                  </p:cNvSpPr>
                  <p:nvPr/>
                </p:nvSpPr>
                <p:spPr bwMode="auto">
                  <a:xfrm>
                    <a:off x="6149" y="3210"/>
                    <a:ext cx="37" cy="45"/>
                  </a:xfrm>
                  <a:custGeom>
                    <a:avLst/>
                    <a:gdLst>
                      <a:gd name="T0" fmla="*/ 23 w 37"/>
                      <a:gd name="T1" fmla="*/ 0 h 45"/>
                      <a:gd name="T2" fmla="*/ 25 w 37"/>
                      <a:gd name="T3" fmla="*/ 8 h 45"/>
                      <a:gd name="T4" fmla="*/ 20 w 37"/>
                      <a:gd name="T5" fmla="*/ 11 h 45"/>
                      <a:gd name="T6" fmla="*/ 14 w 37"/>
                      <a:gd name="T7" fmla="*/ 6 h 45"/>
                      <a:gd name="T8" fmla="*/ 17 w 37"/>
                      <a:gd name="T9" fmla="*/ 8 h 45"/>
                      <a:gd name="T10" fmla="*/ 20 w 37"/>
                      <a:gd name="T11" fmla="*/ 14 h 45"/>
                      <a:gd name="T12" fmla="*/ 20 w 37"/>
                      <a:gd name="T13" fmla="*/ 17 h 45"/>
                      <a:gd name="T14" fmla="*/ 17 w 37"/>
                      <a:gd name="T15" fmla="*/ 23 h 45"/>
                      <a:gd name="T16" fmla="*/ 14 w 37"/>
                      <a:gd name="T17" fmla="*/ 25 h 45"/>
                      <a:gd name="T18" fmla="*/ 12 w 37"/>
                      <a:gd name="T19" fmla="*/ 28 h 45"/>
                      <a:gd name="T20" fmla="*/ 9 w 37"/>
                      <a:gd name="T21" fmla="*/ 31 h 45"/>
                      <a:gd name="T22" fmla="*/ 3 w 37"/>
                      <a:gd name="T23" fmla="*/ 25 h 45"/>
                      <a:gd name="T24" fmla="*/ 0 w 37"/>
                      <a:gd name="T25" fmla="*/ 20 h 45"/>
                      <a:gd name="T26" fmla="*/ 0 w 37"/>
                      <a:gd name="T27" fmla="*/ 25 h 45"/>
                      <a:gd name="T28" fmla="*/ 6 w 37"/>
                      <a:gd name="T29" fmla="*/ 31 h 45"/>
                      <a:gd name="T30" fmla="*/ 9 w 37"/>
                      <a:gd name="T31" fmla="*/ 34 h 45"/>
                      <a:gd name="T32" fmla="*/ 14 w 37"/>
                      <a:gd name="T33" fmla="*/ 34 h 45"/>
                      <a:gd name="T34" fmla="*/ 17 w 37"/>
                      <a:gd name="T35" fmla="*/ 36 h 45"/>
                      <a:gd name="T36" fmla="*/ 14 w 37"/>
                      <a:gd name="T37" fmla="*/ 42 h 45"/>
                      <a:gd name="T38" fmla="*/ 9 w 37"/>
                      <a:gd name="T39" fmla="*/ 42 h 45"/>
                      <a:gd name="T40" fmla="*/ 3 w 37"/>
                      <a:gd name="T41" fmla="*/ 39 h 45"/>
                      <a:gd name="T42" fmla="*/ 0 w 37"/>
                      <a:gd name="T43" fmla="*/ 34 h 45"/>
                      <a:gd name="T44" fmla="*/ 3 w 37"/>
                      <a:gd name="T45" fmla="*/ 39 h 45"/>
                      <a:gd name="T46" fmla="*/ 14 w 37"/>
                      <a:gd name="T47" fmla="*/ 45 h 45"/>
                      <a:gd name="T48" fmla="*/ 20 w 37"/>
                      <a:gd name="T49" fmla="*/ 45 h 45"/>
                      <a:gd name="T50" fmla="*/ 23 w 37"/>
                      <a:gd name="T51" fmla="*/ 42 h 45"/>
                      <a:gd name="T52" fmla="*/ 23 w 37"/>
                      <a:gd name="T53" fmla="*/ 34 h 45"/>
                      <a:gd name="T54" fmla="*/ 20 w 37"/>
                      <a:gd name="T55" fmla="*/ 28 h 45"/>
                      <a:gd name="T56" fmla="*/ 25 w 37"/>
                      <a:gd name="T57" fmla="*/ 17 h 45"/>
                      <a:gd name="T58" fmla="*/ 31 w 37"/>
                      <a:gd name="T59" fmla="*/ 17 h 45"/>
                      <a:gd name="T60" fmla="*/ 37 w 37"/>
                      <a:gd name="T61" fmla="*/ 8 h 45"/>
                      <a:gd name="T62" fmla="*/ 34 w 37"/>
                      <a:gd name="T63" fmla="*/ 0 h 45"/>
                      <a:gd name="T64" fmla="*/ 34 w 37"/>
                      <a:gd name="T65" fmla="*/ 8 h 45"/>
                      <a:gd name="T66" fmla="*/ 23 w 37"/>
                      <a:gd name="T67" fmla="*/ 0 h 4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</a:cxnLst>
                    <a:rect l="0" t="0" r="r" b="b"/>
                    <a:pathLst>
                      <a:path w="37" h="45">
                        <a:moveTo>
                          <a:pt x="23" y="0"/>
                        </a:moveTo>
                        <a:lnTo>
                          <a:pt x="25" y="8"/>
                        </a:lnTo>
                        <a:lnTo>
                          <a:pt x="20" y="11"/>
                        </a:lnTo>
                        <a:lnTo>
                          <a:pt x="14" y="6"/>
                        </a:lnTo>
                        <a:lnTo>
                          <a:pt x="17" y="8"/>
                        </a:lnTo>
                        <a:lnTo>
                          <a:pt x="20" y="14"/>
                        </a:lnTo>
                        <a:lnTo>
                          <a:pt x="20" y="17"/>
                        </a:lnTo>
                        <a:lnTo>
                          <a:pt x="17" y="23"/>
                        </a:lnTo>
                        <a:lnTo>
                          <a:pt x="14" y="25"/>
                        </a:lnTo>
                        <a:lnTo>
                          <a:pt x="12" y="28"/>
                        </a:lnTo>
                        <a:lnTo>
                          <a:pt x="9" y="31"/>
                        </a:lnTo>
                        <a:lnTo>
                          <a:pt x="3" y="25"/>
                        </a:lnTo>
                        <a:lnTo>
                          <a:pt x="0" y="20"/>
                        </a:lnTo>
                        <a:lnTo>
                          <a:pt x="0" y="25"/>
                        </a:lnTo>
                        <a:lnTo>
                          <a:pt x="6" y="31"/>
                        </a:lnTo>
                        <a:lnTo>
                          <a:pt x="9" y="34"/>
                        </a:lnTo>
                        <a:lnTo>
                          <a:pt x="14" y="34"/>
                        </a:lnTo>
                        <a:lnTo>
                          <a:pt x="17" y="36"/>
                        </a:lnTo>
                        <a:lnTo>
                          <a:pt x="14" y="42"/>
                        </a:lnTo>
                        <a:lnTo>
                          <a:pt x="9" y="42"/>
                        </a:lnTo>
                        <a:lnTo>
                          <a:pt x="3" y="39"/>
                        </a:lnTo>
                        <a:lnTo>
                          <a:pt x="0" y="34"/>
                        </a:lnTo>
                        <a:lnTo>
                          <a:pt x="3" y="39"/>
                        </a:lnTo>
                        <a:lnTo>
                          <a:pt x="14" y="45"/>
                        </a:lnTo>
                        <a:lnTo>
                          <a:pt x="20" y="45"/>
                        </a:lnTo>
                        <a:lnTo>
                          <a:pt x="23" y="42"/>
                        </a:lnTo>
                        <a:lnTo>
                          <a:pt x="23" y="34"/>
                        </a:lnTo>
                        <a:lnTo>
                          <a:pt x="20" y="28"/>
                        </a:lnTo>
                        <a:lnTo>
                          <a:pt x="25" y="17"/>
                        </a:lnTo>
                        <a:lnTo>
                          <a:pt x="31" y="17"/>
                        </a:lnTo>
                        <a:lnTo>
                          <a:pt x="37" y="8"/>
                        </a:lnTo>
                        <a:lnTo>
                          <a:pt x="34" y="0"/>
                        </a:lnTo>
                        <a:lnTo>
                          <a:pt x="34" y="8"/>
                        </a:lnTo>
                        <a:lnTo>
                          <a:pt x="23" y="0"/>
                        </a:lnTo>
                        <a:close/>
                      </a:path>
                    </a:pathLst>
                  </a:custGeom>
                  <a:solidFill>
                    <a:srgbClr val="81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/>
                  </a:p>
                </p:txBody>
              </p:sp>
              <p:sp>
                <p:nvSpPr>
                  <p:cNvPr id="127" name="Freeform 24"/>
                  <p:cNvSpPr>
                    <a:spLocks/>
                  </p:cNvSpPr>
                  <p:nvPr/>
                </p:nvSpPr>
                <p:spPr bwMode="auto">
                  <a:xfrm>
                    <a:off x="6149" y="3210"/>
                    <a:ext cx="37" cy="45"/>
                  </a:xfrm>
                  <a:custGeom>
                    <a:avLst/>
                    <a:gdLst>
                      <a:gd name="T0" fmla="*/ 23 w 37"/>
                      <a:gd name="T1" fmla="*/ 0 h 45"/>
                      <a:gd name="T2" fmla="*/ 25 w 37"/>
                      <a:gd name="T3" fmla="*/ 8 h 45"/>
                      <a:gd name="T4" fmla="*/ 20 w 37"/>
                      <a:gd name="T5" fmla="*/ 11 h 45"/>
                      <a:gd name="T6" fmla="*/ 14 w 37"/>
                      <a:gd name="T7" fmla="*/ 6 h 45"/>
                      <a:gd name="T8" fmla="*/ 17 w 37"/>
                      <a:gd name="T9" fmla="*/ 8 h 45"/>
                      <a:gd name="T10" fmla="*/ 20 w 37"/>
                      <a:gd name="T11" fmla="*/ 14 h 45"/>
                      <a:gd name="T12" fmla="*/ 20 w 37"/>
                      <a:gd name="T13" fmla="*/ 17 h 45"/>
                      <a:gd name="T14" fmla="*/ 17 w 37"/>
                      <a:gd name="T15" fmla="*/ 23 h 45"/>
                      <a:gd name="T16" fmla="*/ 14 w 37"/>
                      <a:gd name="T17" fmla="*/ 25 h 45"/>
                      <a:gd name="T18" fmla="*/ 12 w 37"/>
                      <a:gd name="T19" fmla="*/ 28 h 45"/>
                      <a:gd name="T20" fmla="*/ 9 w 37"/>
                      <a:gd name="T21" fmla="*/ 31 h 45"/>
                      <a:gd name="T22" fmla="*/ 3 w 37"/>
                      <a:gd name="T23" fmla="*/ 25 h 45"/>
                      <a:gd name="T24" fmla="*/ 0 w 37"/>
                      <a:gd name="T25" fmla="*/ 20 h 45"/>
                      <a:gd name="T26" fmla="*/ 0 w 37"/>
                      <a:gd name="T27" fmla="*/ 25 h 45"/>
                      <a:gd name="T28" fmla="*/ 6 w 37"/>
                      <a:gd name="T29" fmla="*/ 31 h 45"/>
                      <a:gd name="T30" fmla="*/ 9 w 37"/>
                      <a:gd name="T31" fmla="*/ 34 h 45"/>
                      <a:gd name="T32" fmla="*/ 14 w 37"/>
                      <a:gd name="T33" fmla="*/ 34 h 45"/>
                      <a:gd name="T34" fmla="*/ 17 w 37"/>
                      <a:gd name="T35" fmla="*/ 36 h 45"/>
                      <a:gd name="T36" fmla="*/ 14 w 37"/>
                      <a:gd name="T37" fmla="*/ 42 h 45"/>
                      <a:gd name="T38" fmla="*/ 9 w 37"/>
                      <a:gd name="T39" fmla="*/ 42 h 45"/>
                      <a:gd name="T40" fmla="*/ 3 w 37"/>
                      <a:gd name="T41" fmla="*/ 39 h 45"/>
                      <a:gd name="T42" fmla="*/ 0 w 37"/>
                      <a:gd name="T43" fmla="*/ 34 h 45"/>
                      <a:gd name="T44" fmla="*/ 3 w 37"/>
                      <a:gd name="T45" fmla="*/ 39 h 45"/>
                      <a:gd name="T46" fmla="*/ 14 w 37"/>
                      <a:gd name="T47" fmla="*/ 45 h 45"/>
                      <a:gd name="T48" fmla="*/ 20 w 37"/>
                      <a:gd name="T49" fmla="*/ 45 h 45"/>
                      <a:gd name="T50" fmla="*/ 23 w 37"/>
                      <a:gd name="T51" fmla="*/ 42 h 45"/>
                      <a:gd name="T52" fmla="*/ 23 w 37"/>
                      <a:gd name="T53" fmla="*/ 34 h 45"/>
                      <a:gd name="T54" fmla="*/ 20 w 37"/>
                      <a:gd name="T55" fmla="*/ 28 h 45"/>
                      <a:gd name="T56" fmla="*/ 25 w 37"/>
                      <a:gd name="T57" fmla="*/ 17 h 45"/>
                      <a:gd name="T58" fmla="*/ 31 w 37"/>
                      <a:gd name="T59" fmla="*/ 17 h 45"/>
                      <a:gd name="T60" fmla="*/ 37 w 37"/>
                      <a:gd name="T61" fmla="*/ 8 h 45"/>
                      <a:gd name="T62" fmla="*/ 34 w 37"/>
                      <a:gd name="T63" fmla="*/ 0 h 45"/>
                      <a:gd name="T64" fmla="*/ 34 w 37"/>
                      <a:gd name="T65" fmla="*/ 8 h 45"/>
                      <a:gd name="T66" fmla="*/ 23 w 37"/>
                      <a:gd name="T67" fmla="*/ 0 h 4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</a:cxnLst>
                    <a:rect l="0" t="0" r="r" b="b"/>
                    <a:pathLst>
                      <a:path w="37" h="45">
                        <a:moveTo>
                          <a:pt x="23" y="0"/>
                        </a:moveTo>
                        <a:lnTo>
                          <a:pt x="25" y="8"/>
                        </a:lnTo>
                        <a:lnTo>
                          <a:pt x="20" y="11"/>
                        </a:lnTo>
                        <a:lnTo>
                          <a:pt x="14" y="6"/>
                        </a:lnTo>
                        <a:lnTo>
                          <a:pt x="17" y="8"/>
                        </a:lnTo>
                        <a:lnTo>
                          <a:pt x="20" y="14"/>
                        </a:lnTo>
                        <a:lnTo>
                          <a:pt x="20" y="17"/>
                        </a:lnTo>
                        <a:lnTo>
                          <a:pt x="17" y="23"/>
                        </a:lnTo>
                        <a:lnTo>
                          <a:pt x="14" y="25"/>
                        </a:lnTo>
                        <a:lnTo>
                          <a:pt x="12" y="28"/>
                        </a:lnTo>
                        <a:lnTo>
                          <a:pt x="9" y="31"/>
                        </a:lnTo>
                        <a:lnTo>
                          <a:pt x="3" y="25"/>
                        </a:lnTo>
                        <a:lnTo>
                          <a:pt x="0" y="20"/>
                        </a:lnTo>
                        <a:lnTo>
                          <a:pt x="0" y="25"/>
                        </a:lnTo>
                        <a:lnTo>
                          <a:pt x="6" y="31"/>
                        </a:lnTo>
                        <a:lnTo>
                          <a:pt x="9" y="34"/>
                        </a:lnTo>
                        <a:lnTo>
                          <a:pt x="14" y="34"/>
                        </a:lnTo>
                        <a:lnTo>
                          <a:pt x="17" y="36"/>
                        </a:lnTo>
                        <a:lnTo>
                          <a:pt x="14" y="42"/>
                        </a:lnTo>
                        <a:lnTo>
                          <a:pt x="9" y="42"/>
                        </a:lnTo>
                        <a:lnTo>
                          <a:pt x="3" y="39"/>
                        </a:lnTo>
                        <a:lnTo>
                          <a:pt x="0" y="34"/>
                        </a:lnTo>
                        <a:lnTo>
                          <a:pt x="3" y="39"/>
                        </a:lnTo>
                        <a:lnTo>
                          <a:pt x="14" y="45"/>
                        </a:lnTo>
                        <a:lnTo>
                          <a:pt x="20" y="45"/>
                        </a:lnTo>
                        <a:lnTo>
                          <a:pt x="23" y="42"/>
                        </a:lnTo>
                        <a:lnTo>
                          <a:pt x="23" y="34"/>
                        </a:lnTo>
                        <a:lnTo>
                          <a:pt x="20" y="28"/>
                        </a:lnTo>
                        <a:lnTo>
                          <a:pt x="25" y="17"/>
                        </a:lnTo>
                        <a:lnTo>
                          <a:pt x="31" y="17"/>
                        </a:lnTo>
                        <a:lnTo>
                          <a:pt x="37" y="8"/>
                        </a:lnTo>
                        <a:lnTo>
                          <a:pt x="34" y="0"/>
                        </a:lnTo>
                        <a:lnTo>
                          <a:pt x="34" y="8"/>
                        </a:lnTo>
                        <a:lnTo>
                          <a:pt x="23" y="0"/>
                        </a:lnTo>
                      </a:path>
                    </a:pathLst>
                  </a:custGeom>
                  <a:noFill/>
                  <a:ln w="4763" cap="rnd">
                    <a:solidFill>
                      <a:srgbClr val="81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/>
                  </a:p>
                </p:txBody>
              </p:sp>
            </p:grpSp>
            <p:grpSp>
              <p:nvGrpSpPr>
                <p:cNvPr id="118" name="Group 28"/>
                <p:cNvGrpSpPr>
                  <a:grpSpLocks/>
                </p:cNvGrpSpPr>
                <p:nvPr/>
              </p:nvGrpSpPr>
              <p:grpSpPr bwMode="auto">
                <a:xfrm>
                  <a:off x="6163" y="3196"/>
                  <a:ext cx="23" cy="22"/>
                  <a:chOff x="6163" y="3196"/>
                  <a:chExt cx="23" cy="22"/>
                </a:xfrm>
              </p:grpSpPr>
              <p:sp>
                <p:nvSpPr>
                  <p:cNvPr id="124" name="Freeform 26"/>
                  <p:cNvSpPr>
                    <a:spLocks/>
                  </p:cNvSpPr>
                  <p:nvPr/>
                </p:nvSpPr>
                <p:spPr bwMode="auto">
                  <a:xfrm>
                    <a:off x="6163" y="3196"/>
                    <a:ext cx="23" cy="22"/>
                  </a:xfrm>
                  <a:custGeom>
                    <a:avLst/>
                    <a:gdLst>
                      <a:gd name="T0" fmla="*/ 23 w 23"/>
                      <a:gd name="T1" fmla="*/ 22 h 22"/>
                      <a:gd name="T2" fmla="*/ 14 w 23"/>
                      <a:gd name="T3" fmla="*/ 6 h 22"/>
                      <a:gd name="T4" fmla="*/ 0 w 23"/>
                      <a:gd name="T5" fmla="*/ 0 h 22"/>
                      <a:gd name="T6" fmla="*/ 9 w 23"/>
                      <a:gd name="T7" fmla="*/ 17 h 22"/>
                      <a:gd name="T8" fmla="*/ 23 w 23"/>
                      <a:gd name="T9" fmla="*/ 22 h 2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3" h="22">
                        <a:moveTo>
                          <a:pt x="23" y="22"/>
                        </a:moveTo>
                        <a:lnTo>
                          <a:pt x="14" y="6"/>
                        </a:lnTo>
                        <a:lnTo>
                          <a:pt x="0" y="0"/>
                        </a:lnTo>
                        <a:lnTo>
                          <a:pt x="9" y="17"/>
                        </a:lnTo>
                        <a:lnTo>
                          <a:pt x="23" y="22"/>
                        </a:lnTo>
                        <a:close/>
                      </a:path>
                    </a:pathLst>
                  </a:custGeom>
                  <a:solidFill>
                    <a:srgbClr val="C2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/>
                  </a:p>
                </p:txBody>
              </p:sp>
              <p:sp>
                <p:nvSpPr>
                  <p:cNvPr id="125" name="Freeform 27"/>
                  <p:cNvSpPr>
                    <a:spLocks/>
                  </p:cNvSpPr>
                  <p:nvPr/>
                </p:nvSpPr>
                <p:spPr bwMode="auto">
                  <a:xfrm>
                    <a:off x="6163" y="3196"/>
                    <a:ext cx="23" cy="22"/>
                  </a:xfrm>
                  <a:custGeom>
                    <a:avLst/>
                    <a:gdLst>
                      <a:gd name="T0" fmla="*/ 23 w 23"/>
                      <a:gd name="T1" fmla="*/ 22 h 22"/>
                      <a:gd name="T2" fmla="*/ 14 w 23"/>
                      <a:gd name="T3" fmla="*/ 6 h 22"/>
                      <a:gd name="T4" fmla="*/ 0 w 23"/>
                      <a:gd name="T5" fmla="*/ 0 h 22"/>
                      <a:gd name="T6" fmla="*/ 9 w 23"/>
                      <a:gd name="T7" fmla="*/ 17 h 22"/>
                      <a:gd name="T8" fmla="*/ 23 w 23"/>
                      <a:gd name="T9" fmla="*/ 22 h 2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23" h="22">
                        <a:moveTo>
                          <a:pt x="23" y="22"/>
                        </a:moveTo>
                        <a:lnTo>
                          <a:pt x="14" y="6"/>
                        </a:lnTo>
                        <a:lnTo>
                          <a:pt x="0" y="0"/>
                        </a:lnTo>
                        <a:lnTo>
                          <a:pt x="9" y="17"/>
                        </a:lnTo>
                        <a:lnTo>
                          <a:pt x="23" y="22"/>
                        </a:lnTo>
                      </a:path>
                    </a:pathLst>
                  </a:custGeom>
                  <a:noFill/>
                  <a:ln w="4763" cap="rnd">
                    <a:solidFill>
                      <a:srgbClr val="C20000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/>
                  </a:p>
                </p:txBody>
              </p:sp>
            </p:grpSp>
            <p:sp>
              <p:nvSpPr>
                <p:cNvPr id="119" name="Freeform 29"/>
                <p:cNvSpPr>
                  <a:spLocks/>
                </p:cNvSpPr>
                <p:nvPr/>
              </p:nvSpPr>
              <p:spPr bwMode="auto">
                <a:xfrm>
                  <a:off x="6163" y="3207"/>
                  <a:ext cx="6" cy="9"/>
                </a:xfrm>
                <a:custGeom>
                  <a:avLst/>
                  <a:gdLst>
                    <a:gd name="T0" fmla="*/ 3 w 6"/>
                    <a:gd name="T1" fmla="*/ 0 h 9"/>
                    <a:gd name="T2" fmla="*/ 6 w 6"/>
                    <a:gd name="T3" fmla="*/ 6 h 9"/>
                    <a:gd name="T4" fmla="*/ 6 w 6"/>
                    <a:gd name="T5" fmla="*/ 9 h 9"/>
                    <a:gd name="T6" fmla="*/ 3 w 6"/>
                    <a:gd name="T7" fmla="*/ 3 h 9"/>
                    <a:gd name="T8" fmla="*/ 0 w 6"/>
                    <a:gd name="T9" fmla="*/ 0 h 9"/>
                    <a:gd name="T10" fmla="*/ 3 w 6"/>
                    <a:gd name="T11" fmla="*/ 0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6" h="9">
                      <a:moveTo>
                        <a:pt x="3" y="0"/>
                      </a:moveTo>
                      <a:lnTo>
                        <a:pt x="6" y="6"/>
                      </a:lnTo>
                      <a:lnTo>
                        <a:pt x="6" y="9"/>
                      </a:lnTo>
                      <a:lnTo>
                        <a:pt x="3" y="3"/>
                      </a:lnTo>
                      <a:lnTo>
                        <a:pt x="0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  <p:grpSp>
              <p:nvGrpSpPr>
                <p:cNvPr id="120" name="Group 32"/>
                <p:cNvGrpSpPr>
                  <a:grpSpLocks/>
                </p:cNvGrpSpPr>
                <p:nvPr/>
              </p:nvGrpSpPr>
              <p:grpSpPr bwMode="auto">
                <a:xfrm>
                  <a:off x="6152" y="3216"/>
                  <a:ext cx="11" cy="17"/>
                  <a:chOff x="6152" y="3216"/>
                  <a:chExt cx="11" cy="17"/>
                </a:xfrm>
              </p:grpSpPr>
              <p:sp>
                <p:nvSpPr>
                  <p:cNvPr id="122" name="Freeform 30"/>
                  <p:cNvSpPr>
                    <a:spLocks/>
                  </p:cNvSpPr>
                  <p:nvPr/>
                </p:nvSpPr>
                <p:spPr bwMode="auto">
                  <a:xfrm>
                    <a:off x="6152" y="3216"/>
                    <a:ext cx="11" cy="17"/>
                  </a:xfrm>
                  <a:custGeom>
                    <a:avLst/>
                    <a:gdLst>
                      <a:gd name="T0" fmla="*/ 0 w 11"/>
                      <a:gd name="T1" fmla="*/ 17 h 17"/>
                      <a:gd name="T2" fmla="*/ 11 w 11"/>
                      <a:gd name="T3" fmla="*/ 2 h 17"/>
                      <a:gd name="T4" fmla="*/ 9 w 11"/>
                      <a:gd name="T5" fmla="*/ 0 h 17"/>
                      <a:gd name="T6" fmla="*/ 0 w 11"/>
                      <a:gd name="T7" fmla="*/ 17 h 1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11" h="17">
                        <a:moveTo>
                          <a:pt x="0" y="17"/>
                        </a:moveTo>
                        <a:lnTo>
                          <a:pt x="11" y="2"/>
                        </a:lnTo>
                        <a:lnTo>
                          <a:pt x="9" y="0"/>
                        </a:lnTo>
                        <a:lnTo>
                          <a:pt x="0" y="17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/>
                  </a:p>
                </p:txBody>
              </p:sp>
              <p:sp>
                <p:nvSpPr>
                  <p:cNvPr id="123" name="Freeform 31"/>
                  <p:cNvSpPr>
                    <a:spLocks/>
                  </p:cNvSpPr>
                  <p:nvPr/>
                </p:nvSpPr>
                <p:spPr bwMode="auto">
                  <a:xfrm>
                    <a:off x="6152" y="3216"/>
                    <a:ext cx="11" cy="17"/>
                  </a:xfrm>
                  <a:custGeom>
                    <a:avLst/>
                    <a:gdLst>
                      <a:gd name="T0" fmla="*/ 0 w 11"/>
                      <a:gd name="T1" fmla="*/ 17 h 17"/>
                      <a:gd name="T2" fmla="*/ 11 w 11"/>
                      <a:gd name="T3" fmla="*/ 2 h 17"/>
                      <a:gd name="T4" fmla="*/ 9 w 11"/>
                      <a:gd name="T5" fmla="*/ 0 h 17"/>
                      <a:gd name="T6" fmla="*/ 0 w 11"/>
                      <a:gd name="T7" fmla="*/ 17 h 1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11" h="17">
                        <a:moveTo>
                          <a:pt x="0" y="17"/>
                        </a:moveTo>
                        <a:lnTo>
                          <a:pt x="11" y="2"/>
                        </a:lnTo>
                        <a:lnTo>
                          <a:pt x="9" y="0"/>
                        </a:lnTo>
                        <a:lnTo>
                          <a:pt x="0" y="17"/>
                        </a:lnTo>
                      </a:path>
                    </a:pathLst>
                  </a:custGeom>
                  <a:noFill/>
                  <a:ln w="4763" cap="rnd">
                    <a:solidFill>
                      <a:srgbClr val="FFFFFF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pt-BR"/>
                  </a:p>
                </p:txBody>
              </p:sp>
            </p:grpSp>
            <p:sp>
              <p:nvSpPr>
                <p:cNvPr id="121" name="Freeform 33"/>
                <p:cNvSpPr>
                  <a:spLocks/>
                </p:cNvSpPr>
                <p:nvPr/>
              </p:nvSpPr>
              <p:spPr bwMode="auto">
                <a:xfrm>
                  <a:off x="6141" y="3224"/>
                  <a:ext cx="8" cy="17"/>
                </a:xfrm>
                <a:custGeom>
                  <a:avLst/>
                  <a:gdLst>
                    <a:gd name="T0" fmla="*/ 6 w 8"/>
                    <a:gd name="T1" fmla="*/ 9 h 17"/>
                    <a:gd name="T2" fmla="*/ 8 w 8"/>
                    <a:gd name="T3" fmla="*/ 14 h 17"/>
                    <a:gd name="T4" fmla="*/ 6 w 8"/>
                    <a:gd name="T5" fmla="*/ 17 h 17"/>
                    <a:gd name="T6" fmla="*/ 0 w 8"/>
                    <a:gd name="T7" fmla="*/ 6 h 17"/>
                    <a:gd name="T8" fmla="*/ 0 w 8"/>
                    <a:gd name="T9" fmla="*/ 0 h 17"/>
                    <a:gd name="T10" fmla="*/ 3 w 8"/>
                    <a:gd name="T11" fmla="*/ 0 h 17"/>
                    <a:gd name="T12" fmla="*/ 6 w 8"/>
                    <a:gd name="T13" fmla="*/ 3 h 17"/>
                    <a:gd name="T14" fmla="*/ 6 w 8"/>
                    <a:gd name="T15" fmla="*/ 9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8" h="17">
                      <a:moveTo>
                        <a:pt x="6" y="9"/>
                      </a:moveTo>
                      <a:lnTo>
                        <a:pt x="8" y="14"/>
                      </a:lnTo>
                      <a:lnTo>
                        <a:pt x="6" y="17"/>
                      </a:lnTo>
                      <a:lnTo>
                        <a:pt x="0" y="6"/>
                      </a:lnTo>
                      <a:lnTo>
                        <a:pt x="0" y="0"/>
                      </a:lnTo>
                      <a:lnTo>
                        <a:pt x="3" y="0"/>
                      </a:lnTo>
                      <a:lnTo>
                        <a:pt x="6" y="3"/>
                      </a:lnTo>
                      <a:lnTo>
                        <a:pt x="6" y="9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</p:grpSp>
          <p:grpSp>
            <p:nvGrpSpPr>
              <p:cNvPr id="49" name="Group 37"/>
              <p:cNvGrpSpPr>
                <a:grpSpLocks/>
              </p:cNvGrpSpPr>
              <p:nvPr/>
            </p:nvGrpSpPr>
            <p:grpSpPr bwMode="auto">
              <a:xfrm>
                <a:off x="5841" y="3235"/>
                <a:ext cx="395" cy="338"/>
                <a:chOff x="5841" y="3235"/>
                <a:chExt cx="395" cy="338"/>
              </a:xfrm>
            </p:grpSpPr>
            <p:sp>
              <p:nvSpPr>
                <p:cNvPr id="109" name="Freeform 35"/>
                <p:cNvSpPr>
                  <a:spLocks/>
                </p:cNvSpPr>
                <p:nvPr/>
              </p:nvSpPr>
              <p:spPr bwMode="auto">
                <a:xfrm>
                  <a:off x="5841" y="3260"/>
                  <a:ext cx="370" cy="313"/>
                </a:xfrm>
                <a:custGeom>
                  <a:avLst/>
                  <a:gdLst>
                    <a:gd name="T0" fmla="*/ 92 w 370"/>
                    <a:gd name="T1" fmla="*/ 313 h 313"/>
                    <a:gd name="T2" fmla="*/ 370 w 370"/>
                    <a:gd name="T3" fmla="*/ 204 h 313"/>
                    <a:gd name="T4" fmla="*/ 278 w 370"/>
                    <a:gd name="T5" fmla="*/ 0 h 313"/>
                    <a:gd name="T6" fmla="*/ 0 w 370"/>
                    <a:gd name="T7" fmla="*/ 106 h 313"/>
                    <a:gd name="T8" fmla="*/ 92 w 370"/>
                    <a:gd name="T9" fmla="*/ 313 h 3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70" h="313">
                      <a:moveTo>
                        <a:pt x="92" y="313"/>
                      </a:moveTo>
                      <a:lnTo>
                        <a:pt x="370" y="204"/>
                      </a:lnTo>
                      <a:lnTo>
                        <a:pt x="278" y="0"/>
                      </a:lnTo>
                      <a:lnTo>
                        <a:pt x="0" y="106"/>
                      </a:lnTo>
                      <a:lnTo>
                        <a:pt x="92" y="313"/>
                      </a:lnTo>
                      <a:close/>
                    </a:path>
                  </a:pathLst>
                </a:custGeom>
                <a:solidFill>
                  <a:srgbClr val="80808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  <p:sp>
              <p:nvSpPr>
                <p:cNvPr id="110" name="Freeform 36"/>
                <p:cNvSpPr>
                  <a:spLocks/>
                </p:cNvSpPr>
                <p:nvPr/>
              </p:nvSpPr>
              <p:spPr bwMode="auto">
                <a:xfrm>
                  <a:off x="5865" y="3235"/>
                  <a:ext cx="371" cy="313"/>
                </a:xfrm>
                <a:custGeom>
                  <a:avLst/>
                  <a:gdLst>
                    <a:gd name="T0" fmla="*/ 92 w 371"/>
                    <a:gd name="T1" fmla="*/ 313 h 313"/>
                    <a:gd name="T2" fmla="*/ 371 w 371"/>
                    <a:gd name="T3" fmla="*/ 204 h 313"/>
                    <a:gd name="T4" fmla="*/ 279 w 371"/>
                    <a:gd name="T5" fmla="*/ 0 h 313"/>
                    <a:gd name="T6" fmla="*/ 0 w 371"/>
                    <a:gd name="T7" fmla="*/ 106 h 313"/>
                    <a:gd name="T8" fmla="*/ 92 w 371"/>
                    <a:gd name="T9" fmla="*/ 313 h 3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71" h="313">
                      <a:moveTo>
                        <a:pt x="92" y="313"/>
                      </a:moveTo>
                      <a:lnTo>
                        <a:pt x="371" y="204"/>
                      </a:lnTo>
                      <a:lnTo>
                        <a:pt x="279" y="0"/>
                      </a:lnTo>
                      <a:lnTo>
                        <a:pt x="0" y="106"/>
                      </a:lnTo>
                      <a:lnTo>
                        <a:pt x="92" y="313"/>
                      </a:lnTo>
                      <a:close/>
                    </a:path>
                  </a:pathLst>
                </a:custGeom>
                <a:solidFill>
                  <a:srgbClr val="FFFF9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</p:grpSp>
          <p:sp>
            <p:nvSpPr>
              <p:cNvPr id="50" name="Rectangle 38"/>
              <p:cNvSpPr>
                <a:spLocks noChangeArrowheads="1"/>
              </p:cNvSpPr>
              <p:nvPr/>
            </p:nvSpPr>
            <p:spPr bwMode="auto">
              <a:xfrm rot="20340000">
                <a:off x="5936" y="3357"/>
                <a:ext cx="232" cy="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ctr" anchorCtr="0" compatLnSpc="1">
                <a:prstTxWarp prst="textNoShape">
                  <a:avLst/>
                </a:prstTxWarp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algn="ctr"/>
                <a:r>
                  <a:rPr lang="pt-BR" altLang="pt-BR" sz="1100" b="1" dirty="0">
                    <a:solidFill>
                      <a:srgbClr val="000066"/>
                    </a:solidFill>
                  </a:rPr>
                  <a:t>Exemplo</a:t>
                </a:r>
                <a:endParaRPr lang="pt-BR" altLang="pt-BR" sz="3200" dirty="0"/>
              </a:p>
            </p:txBody>
          </p:sp>
          <p:sp>
            <p:nvSpPr>
              <p:cNvPr id="51" name="Freeform 39"/>
              <p:cNvSpPr>
                <a:spLocks/>
              </p:cNvSpPr>
              <p:nvPr/>
            </p:nvSpPr>
            <p:spPr bwMode="auto">
              <a:xfrm>
                <a:off x="6127" y="3241"/>
                <a:ext cx="95" cy="42"/>
              </a:xfrm>
              <a:custGeom>
                <a:avLst/>
                <a:gdLst>
                  <a:gd name="T0" fmla="*/ 70 w 95"/>
                  <a:gd name="T1" fmla="*/ 5 h 42"/>
                  <a:gd name="T2" fmla="*/ 70 w 95"/>
                  <a:gd name="T3" fmla="*/ 3 h 42"/>
                  <a:gd name="T4" fmla="*/ 81 w 95"/>
                  <a:gd name="T5" fmla="*/ 0 h 42"/>
                  <a:gd name="T6" fmla="*/ 87 w 95"/>
                  <a:gd name="T7" fmla="*/ 3 h 42"/>
                  <a:gd name="T8" fmla="*/ 92 w 95"/>
                  <a:gd name="T9" fmla="*/ 8 h 42"/>
                  <a:gd name="T10" fmla="*/ 92 w 95"/>
                  <a:gd name="T11" fmla="*/ 11 h 42"/>
                  <a:gd name="T12" fmla="*/ 95 w 95"/>
                  <a:gd name="T13" fmla="*/ 17 h 42"/>
                  <a:gd name="T14" fmla="*/ 95 w 95"/>
                  <a:gd name="T15" fmla="*/ 22 h 42"/>
                  <a:gd name="T16" fmla="*/ 92 w 95"/>
                  <a:gd name="T17" fmla="*/ 22 h 42"/>
                  <a:gd name="T18" fmla="*/ 83 w 95"/>
                  <a:gd name="T19" fmla="*/ 25 h 42"/>
                  <a:gd name="T20" fmla="*/ 81 w 95"/>
                  <a:gd name="T21" fmla="*/ 25 h 42"/>
                  <a:gd name="T22" fmla="*/ 78 w 95"/>
                  <a:gd name="T23" fmla="*/ 25 h 42"/>
                  <a:gd name="T24" fmla="*/ 73 w 95"/>
                  <a:gd name="T25" fmla="*/ 25 h 42"/>
                  <a:gd name="T26" fmla="*/ 67 w 95"/>
                  <a:gd name="T27" fmla="*/ 28 h 42"/>
                  <a:gd name="T28" fmla="*/ 67 w 95"/>
                  <a:gd name="T29" fmla="*/ 31 h 42"/>
                  <a:gd name="T30" fmla="*/ 64 w 95"/>
                  <a:gd name="T31" fmla="*/ 34 h 42"/>
                  <a:gd name="T32" fmla="*/ 62 w 95"/>
                  <a:gd name="T33" fmla="*/ 36 h 42"/>
                  <a:gd name="T34" fmla="*/ 62 w 95"/>
                  <a:gd name="T35" fmla="*/ 39 h 42"/>
                  <a:gd name="T36" fmla="*/ 56 w 95"/>
                  <a:gd name="T37" fmla="*/ 42 h 42"/>
                  <a:gd name="T38" fmla="*/ 50 w 95"/>
                  <a:gd name="T39" fmla="*/ 42 h 42"/>
                  <a:gd name="T40" fmla="*/ 45 w 95"/>
                  <a:gd name="T41" fmla="*/ 39 h 42"/>
                  <a:gd name="T42" fmla="*/ 36 w 95"/>
                  <a:gd name="T43" fmla="*/ 31 h 42"/>
                  <a:gd name="T44" fmla="*/ 34 w 95"/>
                  <a:gd name="T45" fmla="*/ 28 h 42"/>
                  <a:gd name="T46" fmla="*/ 28 w 95"/>
                  <a:gd name="T47" fmla="*/ 31 h 42"/>
                  <a:gd name="T48" fmla="*/ 0 w 95"/>
                  <a:gd name="T49" fmla="*/ 36 h 42"/>
                  <a:gd name="T50" fmla="*/ 0 w 95"/>
                  <a:gd name="T51" fmla="*/ 34 h 42"/>
                  <a:gd name="T52" fmla="*/ 14 w 95"/>
                  <a:gd name="T53" fmla="*/ 31 h 42"/>
                  <a:gd name="T54" fmla="*/ 31 w 95"/>
                  <a:gd name="T55" fmla="*/ 22 h 42"/>
                  <a:gd name="T56" fmla="*/ 31 w 95"/>
                  <a:gd name="T57" fmla="*/ 17 h 42"/>
                  <a:gd name="T58" fmla="*/ 31 w 95"/>
                  <a:gd name="T59" fmla="*/ 11 h 42"/>
                  <a:gd name="T60" fmla="*/ 36 w 95"/>
                  <a:gd name="T61" fmla="*/ 5 h 42"/>
                  <a:gd name="T62" fmla="*/ 39 w 95"/>
                  <a:gd name="T63" fmla="*/ 3 h 42"/>
                  <a:gd name="T64" fmla="*/ 45 w 95"/>
                  <a:gd name="T65" fmla="*/ 3 h 42"/>
                  <a:gd name="T66" fmla="*/ 47 w 95"/>
                  <a:gd name="T67" fmla="*/ 3 h 42"/>
                  <a:gd name="T68" fmla="*/ 53 w 95"/>
                  <a:gd name="T69" fmla="*/ 5 h 42"/>
                  <a:gd name="T70" fmla="*/ 56 w 95"/>
                  <a:gd name="T71" fmla="*/ 8 h 42"/>
                  <a:gd name="T72" fmla="*/ 56 w 95"/>
                  <a:gd name="T73" fmla="*/ 11 h 42"/>
                  <a:gd name="T74" fmla="*/ 67 w 95"/>
                  <a:gd name="T75" fmla="*/ 5 h 42"/>
                  <a:gd name="T76" fmla="*/ 70 w 95"/>
                  <a:gd name="T77" fmla="*/ 5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95" h="42">
                    <a:moveTo>
                      <a:pt x="70" y="5"/>
                    </a:moveTo>
                    <a:lnTo>
                      <a:pt x="70" y="3"/>
                    </a:lnTo>
                    <a:lnTo>
                      <a:pt x="81" y="0"/>
                    </a:lnTo>
                    <a:lnTo>
                      <a:pt x="87" y="3"/>
                    </a:lnTo>
                    <a:lnTo>
                      <a:pt x="92" y="8"/>
                    </a:lnTo>
                    <a:lnTo>
                      <a:pt x="92" y="11"/>
                    </a:lnTo>
                    <a:lnTo>
                      <a:pt x="95" y="17"/>
                    </a:lnTo>
                    <a:lnTo>
                      <a:pt x="95" y="22"/>
                    </a:lnTo>
                    <a:lnTo>
                      <a:pt x="92" y="22"/>
                    </a:lnTo>
                    <a:lnTo>
                      <a:pt x="83" y="25"/>
                    </a:lnTo>
                    <a:lnTo>
                      <a:pt x="81" y="25"/>
                    </a:lnTo>
                    <a:lnTo>
                      <a:pt x="78" y="25"/>
                    </a:lnTo>
                    <a:lnTo>
                      <a:pt x="73" y="25"/>
                    </a:lnTo>
                    <a:lnTo>
                      <a:pt x="67" y="28"/>
                    </a:lnTo>
                    <a:lnTo>
                      <a:pt x="67" y="31"/>
                    </a:lnTo>
                    <a:lnTo>
                      <a:pt x="64" y="34"/>
                    </a:lnTo>
                    <a:lnTo>
                      <a:pt x="62" y="36"/>
                    </a:lnTo>
                    <a:lnTo>
                      <a:pt x="62" y="39"/>
                    </a:lnTo>
                    <a:lnTo>
                      <a:pt x="56" y="42"/>
                    </a:lnTo>
                    <a:lnTo>
                      <a:pt x="50" y="42"/>
                    </a:lnTo>
                    <a:lnTo>
                      <a:pt x="45" y="39"/>
                    </a:lnTo>
                    <a:lnTo>
                      <a:pt x="36" y="31"/>
                    </a:lnTo>
                    <a:lnTo>
                      <a:pt x="34" y="28"/>
                    </a:lnTo>
                    <a:lnTo>
                      <a:pt x="28" y="31"/>
                    </a:lnTo>
                    <a:lnTo>
                      <a:pt x="0" y="36"/>
                    </a:lnTo>
                    <a:lnTo>
                      <a:pt x="0" y="34"/>
                    </a:lnTo>
                    <a:lnTo>
                      <a:pt x="14" y="31"/>
                    </a:lnTo>
                    <a:lnTo>
                      <a:pt x="31" y="22"/>
                    </a:lnTo>
                    <a:lnTo>
                      <a:pt x="31" y="17"/>
                    </a:lnTo>
                    <a:lnTo>
                      <a:pt x="31" y="11"/>
                    </a:lnTo>
                    <a:lnTo>
                      <a:pt x="36" y="5"/>
                    </a:lnTo>
                    <a:lnTo>
                      <a:pt x="39" y="3"/>
                    </a:lnTo>
                    <a:lnTo>
                      <a:pt x="45" y="3"/>
                    </a:lnTo>
                    <a:lnTo>
                      <a:pt x="47" y="3"/>
                    </a:lnTo>
                    <a:lnTo>
                      <a:pt x="53" y="5"/>
                    </a:lnTo>
                    <a:lnTo>
                      <a:pt x="56" y="8"/>
                    </a:lnTo>
                    <a:lnTo>
                      <a:pt x="56" y="11"/>
                    </a:lnTo>
                    <a:lnTo>
                      <a:pt x="67" y="5"/>
                    </a:lnTo>
                    <a:lnTo>
                      <a:pt x="70" y="5"/>
                    </a:lnTo>
                    <a:close/>
                  </a:path>
                </a:pathLst>
              </a:custGeom>
              <a:solidFill>
                <a:srgbClr val="C0C27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/>
              </a:p>
            </p:txBody>
          </p:sp>
          <p:grpSp>
            <p:nvGrpSpPr>
              <p:cNvPr id="52" name="Group 42"/>
              <p:cNvGrpSpPr>
                <a:grpSpLocks/>
              </p:cNvGrpSpPr>
              <p:nvPr/>
            </p:nvGrpSpPr>
            <p:grpSpPr bwMode="auto">
              <a:xfrm>
                <a:off x="6127" y="3235"/>
                <a:ext cx="31" cy="45"/>
                <a:chOff x="6127" y="3235"/>
                <a:chExt cx="31" cy="45"/>
              </a:xfrm>
            </p:grpSpPr>
            <p:sp>
              <p:nvSpPr>
                <p:cNvPr id="106" name="Freeform 40"/>
                <p:cNvSpPr>
                  <a:spLocks/>
                </p:cNvSpPr>
                <p:nvPr/>
              </p:nvSpPr>
              <p:spPr bwMode="auto">
                <a:xfrm>
                  <a:off x="6127" y="3235"/>
                  <a:ext cx="31" cy="45"/>
                </a:xfrm>
                <a:custGeom>
                  <a:avLst/>
                  <a:gdLst>
                    <a:gd name="T0" fmla="*/ 25 w 31"/>
                    <a:gd name="T1" fmla="*/ 0 h 45"/>
                    <a:gd name="T2" fmla="*/ 0 w 31"/>
                    <a:gd name="T3" fmla="*/ 45 h 45"/>
                    <a:gd name="T4" fmla="*/ 31 w 31"/>
                    <a:gd name="T5" fmla="*/ 3 h 45"/>
                    <a:gd name="T6" fmla="*/ 25 w 31"/>
                    <a:gd name="T7" fmla="*/ 0 h 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1" h="45">
                      <a:moveTo>
                        <a:pt x="25" y="0"/>
                      </a:moveTo>
                      <a:lnTo>
                        <a:pt x="0" y="45"/>
                      </a:lnTo>
                      <a:lnTo>
                        <a:pt x="31" y="3"/>
                      </a:lnTo>
                      <a:lnTo>
                        <a:pt x="25" y="0"/>
                      </a:lnTo>
                      <a:close/>
                    </a:path>
                  </a:pathLst>
                </a:custGeom>
                <a:solidFill>
                  <a:srgbClr val="C1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  <p:sp>
              <p:nvSpPr>
                <p:cNvPr id="108" name="Freeform 41"/>
                <p:cNvSpPr>
                  <a:spLocks/>
                </p:cNvSpPr>
                <p:nvPr/>
              </p:nvSpPr>
              <p:spPr bwMode="auto">
                <a:xfrm>
                  <a:off x="6127" y="3235"/>
                  <a:ext cx="31" cy="45"/>
                </a:xfrm>
                <a:custGeom>
                  <a:avLst/>
                  <a:gdLst>
                    <a:gd name="T0" fmla="*/ 25 w 31"/>
                    <a:gd name="T1" fmla="*/ 0 h 45"/>
                    <a:gd name="T2" fmla="*/ 0 w 31"/>
                    <a:gd name="T3" fmla="*/ 45 h 45"/>
                    <a:gd name="T4" fmla="*/ 31 w 31"/>
                    <a:gd name="T5" fmla="*/ 3 h 45"/>
                    <a:gd name="T6" fmla="*/ 25 w 31"/>
                    <a:gd name="T7" fmla="*/ 0 h 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1" h="45">
                      <a:moveTo>
                        <a:pt x="25" y="0"/>
                      </a:moveTo>
                      <a:lnTo>
                        <a:pt x="0" y="45"/>
                      </a:lnTo>
                      <a:lnTo>
                        <a:pt x="31" y="3"/>
                      </a:lnTo>
                      <a:lnTo>
                        <a:pt x="25" y="0"/>
                      </a:lnTo>
                    </a:path>
                  </a:pathLst>
                </a:custGeom>
                <a:noFill/>
                <a:ln w="4763" cap="rnd">
                  <a:solidFill>
                    <a:srgbClr val="4F4F4F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</p:grpSp>
          <p:grpSp>
            <p:nvGrpSpPr>
              <p:cNvPr id="53" name="Group 45"/>
              <p:cNvGrpSpPr>
                <a:grpSpLocks/>
              </p:cNvGrpSpPr>
              <p:nvPr/>
            </p:nvGrpSpPr>
            <p:grpSpPr bwMode="auto">
              <a:xfrm>
                <a:off x="6136" y="3218"/>
                <a:ext cx="36" cy="42"/>
                <a:chOff x="6136" y="3218"/>
                <a:chExt cx="36" cy="42"/>
              </a:xfrm>
            </p:grpSpPr>
            <p:sp>
              <p:nvSpPr>
                <p:cNvPr id="104" name="Freeform 43"/>
                <p:cNvSpPr>
                  <a:spLocks/>
                </p:cNvSpPr>
                <p:nvPr/>
              </p:nvSpPr>
              <p:spPr bwMode="auto">
                <a:xfrm>
                  <a:off x="6136" y="3218"/>
                  <a:ext cx="36" cy="42"/>
                </a:xfrm>
                <a:custGeom>
                  <a:avLst/>
                  <a:gdLst>
                    <a:gd name="T0" fmla="*/ 5 w 36"/>
                    <a:gd name="T1" fmla="*/ 3 h 42"/>
                    <a:gd name="T2" fmla="*/ 2 w 36"/>
                    <a:gd name="T3" fmla="*/ 6 h 42"/>
                    <a:gd name="T4" fmla="*/ 0 w 36"/>
                    <a:gd name="T5" fmla="*/ 12 h 42"/>
                    <a:gd name="T6" fmla="*/ 5 w 36"/>
                    <a:gd name="T7" fmla="*/ 28 h 42"/>
                    <a:gd name="T8" fmla="*/ 19 w 36"/>
                    <a:gd name="T9" fmla="*/ 40 h 42"/>
                    <a:gd name="T10" fmla="*/ 25 w 36"/>
                    <a:gd name="T11" fmla="*/ 42 h 42"/>
                    <a:gd name="T12" fmla="*/ 30 w 36"/>
                    <a:gd name="T13" fmla="*/ 42 h 42"/>
                    <a:gd name="T14" fmla="*/ 33 w 36"/>
                    <a:gd name="T15" fmla="*/ 37 h 42"/>
                    <a:gd name="T16" fmla="*/ 36 w 36"/>
                    <a:gd name="T17" fmla="*/ 31 h 42"/>
                    <a:gd name="T18" fmla="*/ 30 w 36"/>
                    <a:gd name="T19" fmla="*/ 15 h 42"/>
                    <a:gd name="T20" fmla="*/ 16 w 36"/>
                    <a:gd name="T21" fmla="*/ 3 h 42"/>
                    <a:gd name="T22" fmla="*/ 11 w 36"/>
                    <a:gd name="T23" fmla="*/ 0 h 42"/>
                    <a:gd name="T24" fmla="*/ 5 w 36"/>
                    <a:gd name="T25" fmla="*/ 3 h 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36" h="42">
                      <a:moveTo>
                        <a:pt x="5" y="3"/>
                      </a:moveTo>
                      <a:lnTo>
                        <a:pt x="2" y="6"/>
                      </a:lnTo>
                      <a:lnTo>
                        <a:pt x="0" y="12"/>
                      </a:lnTo>
                      <a:lnTo>
                        <a:pt x="5" y="28"/>
                      </a:lnTo>
                      <a:lnTo>
                        <a:pt x="19" y="40"/>
                      </a:lnTo>
                      <a:lnTo>
                        <a:pt x="25" y="42"/>
                      </a:lnTo>
                      <a:lnTo>
                        <a:pt x="30" y="42"/>
                      </a:lnTo>
                      <a:lnTo>
                        <a:pt x="33" y="37"/>
                      </a:lnTo>
                      <a:lnTo>
                        <a:pt x="36" y="31"/>
                      </a:lnTo>
                      <a:lnTo>
                        <a:pt x="30" y="15"/>
                      </a:lnTo>
                      <a:lnTo>
                        <a:pt x="16" y="3"/>
                      </a:lnTo>
                      <a:lnTo>
                        <a:pt x="11" y="0"/>
                      </a:lnTo>
                      <a:lnTo>
                        <a:pt x="5" y="3"/>
                      </a:lnTo>
                      <a:close/>
                    </a:path>
                  </a:pathLst>
                </a:custGeom>
                <a:solidFill>
                  <a:srgbClr val="C2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  <p:sp>
              <p:nvSpPr>
                <p:cNvPr id="105" name="Freeform 44"/>
                <p:cNvSpPr>
                  <a:spLocks/>
                </p:cNvSpPr>
                <p:nvPr/>
              </p:nvSpPr>
              <p:spPr bwMode="auto">
                <a:xfrm>
                  <a:off x="6136" y="3218"/>
                  <a:ext cx="36" cy="42"/>
                </a:xfrm>
                <a:custGeom>
                  <a:avLst/>
                  <a:gdLst>
                    <a:gd name="T0" fmla="*/ 5 w 36"/>
                    <a:gd name="T1" fmla="*/ 3 h 42"/>
                    <a:gd name="T2" fmla="*/ 2 w 36"/>
                    <a:gd name="T3" fmla="*/ 6 h 42"/>
                    <a:gd name="T4" fmla="*/ 0 w 36"/>
                    <a:gd name="T5" fmla="*/ 12 h 42"/>
                    <a:gd name="T6" fmla="*/ 5 w 36"/>
                    <a:gd name="T7" fmla="*/ 28 h 42"/>
                    <a:gd name="T8" fmla="*/ 19 w 36"/>
                    <a:gd name="T9" fmla="*/ 40 h 42"/>
                    <a:gd name="T10" fmla="*/ 25 w 36"/>
                    <a:gd name="T11" fmla="*/ 42 h 42"/>
                    <a:gd name="T12" fmla="*/ 30 w 36"/>
                    <a:gd name="T13" fmla="*/ 42 h 42"/>
                    <a:gd name="T14" fmla="*/ 33 w 36"/>
                    <a:gd name="T15" fmla="*/ 37 h 42"/>
                    <a:gd name="T16" fmla="*/ 36 w 36"/>
                    <a:gd name="T17" fmla="*/ 31 h 42"/>
                    <a:gd name="T18" fmla="*/ 30 w 36"/>
                    <a:gd name="T19" fmla="*/ 15 h 42"/>
                    <a:gd name="T20" fmla="*/ 16 w 36"/>
                    <a:gd name="T21" fmla="*/ 3 h 42"/>
                    <a:gd name="T22" fmla="*/ 11 w 36"/>
                    <a:gd name="T23" fmla="*/ 0 h 42"/>
                    <a:gd name="T24" fmla="*/ 5 w 36"/>
                    <a:gd name="T25" fmla="*/ 3 h 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36" h="42">
                      <a:moveTo>
                        <a:pt x="5" y="3"/>
                      </a:moveTo>
                      <a:lnTo>
                        <a:pt x="2" y="6"/>
                      </a:lnTo>
                      <a:lnTo>
                        <a:pt x="0" y="12"/>
                      </a:lnTo>
                      <a:lnTo>
                        <a:pt x="5" y="28"/>
                      </a:lnTo>
                      <a:lnTo>
                        <a:pt x="19" y="40"/>
                      </a:lnTo>
                      <a:lnTo>
                        <a:pt x="25" y="42"/>
                      </a:lnTo>
                      <a:lnTo>
                        <a:pt x="30" y="42"/>
                      </a:lnTo>
                      <a:lnTo>
                        <a:pt x="33" y="37"/>
                      </a:lnTo>
                      <a:lnTo>
                        <a:pt x="36" y="31"/>
                      </a:lnTo>
                      <a:lnTo>
                        <a:pt x="30" y="15"/>
                      </a:lnTo>
                      <a:lnTo>
                        <a:pt x="16" y="3"/>
                      </a:lnTo>
                      <a:lnTo>
                        <a:pt x="11" y="0"/>
                      </a:lnTo>
                      <a:lnTo>
                        <a:pt x="5" y="3"/>
                      </a:lnTo>
                    </a:path>
                  </a:pathLst>
                </a:custGeom>
                <a:noFill/>
                <a:ln w="4763" cap="rnd">
                  <a:solidFill>
                    <a:srgbClr val="C2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</p:grpSp>
          <p:grpSp>
            <p:nvGrpSpPr>
              <p:cNvPr id="54" name="Group 48"/>
              <p:cNvGrpSpPr>
                <a:grpSpLocks/>
              </p:cNvGrpSpPr>
              <p:nvPr/>
            </p:nvGrpSpPr>
            <p:grpSpPr bwMode="auto">
              <a:xfrm>
                <a:off x="6138" y="3216"/>
                <a:ext cx="34" cy="42"/>
                <a:chOff x="6138" y="3216"/>
                <a:chExt cx="34" cy="42"/>
              </a:xfrm>
            </p:grpSpPr>
            <p:sp>
              <p:nvSpPr>
                <p:cNvPr id="102" name="Freeform 46"/>
                <p:cNvSpPr>
                  <a:spLocks/>
                </p:cNvSpPr>
                <p:nvPr/>
              </p:nvSpPr>
              <p:spPr bwMode="auto">
                <a:xfrm>
                  <a:off x="6138" y="3216"/>
                  <a:ext cx="34" cy="42"/>
                </a:xfrm>
                <a:custGeom>
                  <a:avLst/>
                  <a:gdLst>
                    <a:gd name="T0" fmla="*/ 3 w 34"/>
                    <a:gd name="T1" fmla="*/ 2 h 42"/>
                    <a:gd name="T2" fmla="*/ 0 w 34"/>
                    <a:gd name="T3" fmla="*/ 5 h 42"/>
                    <a:gd name="T4" fmla="*/ 0 w 34"/>
                    <a:gd name="T5" fmla="*/ 14 h 42"/>
                    <a:gd name="T6" fmla="*/ 9 w 34"/>
                    <a:gd name="T7" fmla="*/ 28 h 42"/>
                    <a:gd name="T8" fmla="*/ 23 w 34"/>
                    <a:gd name="T9" fmla="*/ 39 h 42"/>
                    <a:gd name="T10" fmla="*/ 28 w 34"/>
                    <a:gd name="T11" fmla="*/ 42 h 42"/>
                    <a:gd name="T12" fmla="*/ 34 w 34"/>
                    <a:gd name="T13" fmla="*/ 39 h 42"/>
                    <a:gd name="T14" fmla="*/ 34 w 34"/>
                    <a:gd name="T15" fmla="*/ 36 h 42"/>
                    <a:gd name="T16" fmla="*/ 34 w 34"/>
                    <a:gd name="T17" fmla="*/ 30 h 42"/>
                    <a:gd name="T18" fmla="*/ 28 w 34"/>
                    <a:gd name="T19" fmla="*/ 14 h 42"/>
                    <a:gd name="T20" fmla="*/ 14 w 34"/>
                    <a:gd name="T21" fmla="*/ 2 h 42"/>
                    <a:gd name="T22" fmla="*/ 9 w 34"/>
                    <a:gd name="T23" fmla="*/ 0 h 42"/>
                    <a:gd name="T24" fmla="*/ 3 w 34"/>
                    <a:gd name="T25" fmla="*/ 2 h 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34" h="42">
                      <a:moveTo>
                        <a:pt x="3" y="2"/>
                      </a:moveTo>
                      <a:lnTo>
                        <a:pt x="0" y="5"/>
                      </a:lnTo>
                      <a:lnTo>
                        <a:pt x="0" y="14"/>
                      </a:lnTo>
                      <a:lnTo>
                        <a:pt x="9" y="28"/>
                      </a:lnTo>
                      <a:lnTo>
                        <a:pt x="23" y="39"/>
                      </a:lnTo>
                      <a:lnTo>
                        <a:pt x="28" y="42"/>
                      </a:lnTo>
                      <a:lnTo>
                        <a:pt x="34" y="39"/>
                      </a:lnTo>
                      <a:lnTo>
                        <a:pt x="34" y="36"/>
                      </a:lnTo>
                      <a:lnTo>
                        <a:pt x="34" y="30"/>
                      </a:lnTo>
                      <a:lnTo>
                        <a:pt x="28" y="14"/>
                      </a:lnTo>
                      <a:lnTo>
                        <a:pt x="14" y="2"/>
                      </a:lnTo>
                      <a:lnTo>
                        <a:pt x="9" y="0"/>
                      </a:lnTo>
                      <a:lnTo>
                        <a:pt x="3" y="2"/>
                      </a:lnTo>
                      <a:close/>
                    </a:path>
                  </a:pathLst>
                </a:custGeom>
                <a:solidFill>
                  <a:srgbClr val="FF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  <p:sp>
              <p:nvSpPr>
                <p:cNvPr id="103" name="Freeform 47"/>
                <p:cNvSpPr>
                  <a:spLocks/>
                </p:cNvSpPr>
                <p:nvPr/>
              </p:nvSpPr>
              <p:spPr bwMode="auto">
                <a:xfrm>
                  <a:off x="6138" y="3216"/>
                  <a:ext cx="34" cy="42"/>
                </a:xfrm>
                <a:custGeom>
                  <a:avLst/>
                  <a:gdLst>
                    <a:gd name="T0" fmla="*/ 3 w 34"/>
                    <a:gd name="T1" fmla="*/ 2 h 42"/>
                    <a:gd name="T2" fmla="*/ 0 w 34"/>
                    <a:gd name="T3" fmla="*/ 5 h 42"/>
                    <a:gd name="T4" fmla="*/ 0 w 34"/>
                    <a:gd name="T5" fmla="*/ 14 h 42"/>
                    <a:gd name="T6" fmla="*/ 9 w 34"/>
                    <a:gd name="T7" fmla="*/ 28 h 42"/>
                    <a:gd name="T8" fmla="*/ 23 w 34"/>
                    <a:gd name="T9" fmla="*/ 39 h 42"/>
                    <a:gd name="T10" fmla="*/ 28 w 34"/>
                    <a:gd name="T11" fmla="*/ 42 h 42"/>
                    <a:gd name="T12" fmla="*/ 34 w 34"/>
                    <a:gd name="T13" fmla="*/ 39 h 42"/>
                    <a:gd name="T14" fmla="*/ 34 w 34"/>
                    <a:gd name="T15" fmla="*/ 36 h 42"/>
                    <a:gd name="T16" fmla="*/ 34 w 34"/>
                    <a:gd name="T17" fmla="*/ 30 h 42"/>
                    <a:gd name="T18" fmla="*/ 28 w 34"/>
                    <a:gd name="T19" fmla="*/ 14 h 42"/>
                    <a:gd name="T20" fmla="*/ 14 w 34"/>
                    <a:gd name="T21" fmla="*/ 2 h 42"/>
                    <a:gd name="T22" fmla="*/ 9 w 34"/>
                    <a:gd name="T23" fmla="*/ 0 h 42"/>
                    <a:gd name="T24" fmla="*/ 3 w 34"/>
                    <a:gd name="T25" fmla="*/ 2 h 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34" h="42">
                      <a:moveTo>
                        <a:pt x="3" y="2"/>
                      </a:moveTo>
                      <a:lnTo>
                        <a:pt x="0" y="5"/>
                      </a:lnTo>
                      <a:lnTo>
                        <a:pt x="0" y="14"/>
                      </a:lnTo>
                      <a:lnTo>
                        <a:pt x="9" y="28"/>
                      </a:lnTo>
                      <a:lnTo>
                        <a:pt x="23" y="39"/>
                      </a:lnTo>
                      <a:lnTo>
                        <a:pt x="28" y="42"/>
                      </a:lnTo>
                      <a:lnTo>
                        <a:pt x="34" y="39"/>
                      </a:lnTo>
                      <a:lnTo>
                        <a:pt x="34" y="36"/>
                      </a:lnTo>
                      <a:lnTo>
                        <a:pt x="34" y="30"/>
                      </a:lnTo>
                      <a:lnTo>
                        <a:pt x="28" y="14"/>
                      </a:lnTo>
                      <a:lnTo>
                        <a:pt x="14" y="2"/>
                      </a:lnTo>
                      <a:lnTo>
                        <a:pt x="9" y="0"/>
                      </a:lnTo>
                      <a:lnTo>
                        <a:pt x="3" y="2"/>
                      </a:lnTo>
                    </a:path>
                  </a:pathLst>
                </a:custGeom>
                <a:noFill/>
                <a:ln w="4763" cap="rnd">
                  <a:solidFill>
                    <a:srgbClr val="FF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</p:grpSp>
          <p:sp>
            <p:nvSpPr>
              <p:cNvPr id="55" name="Freeform 49"/>
              <p:cNvSpPr>
                <a:spLocks/>
              </p:cNvSpPr>
              <p:nvPr/>
            </p:nvSpPr>
            <p:spPr bwMode="auto">
              <a:xfrm>
                <a:off x="6149" y="3207"/>
                <a:ext cx="23" cy="34"/>
              </a:xfrm>
              <a:custGeom>
                <a:avLst/>
                <a:gdLst>
                  <a:gd name="T0" fmla="*/ 0 w 23"/>
                  <a:gd name="T1" fmla="*/ 20 h 34"/>
                  <a:gd name="T2" fmla="*/ 3 w 23"/>
                  <a:gd name="T3" fmla="*/ 31 h 34"/>
                  <a:gd name="T4" fmla="*/ 9 w 23"/>
                  <a:gd name="T5" fmla="*/ 34 h 34"/>
                  <a:gd name="T6" fmla="*/ 23 w 23"/>
                  <a:gd name="T7" fmla="*/ 11 h 34"/>
                  <a:gd name="T8" fmla="*/ 12 w 23"/>
                  <a:gd name="T9" fmla="*/ 0 h 34"/>
                  <a:gd name="T10" fmla="*/ 0 w 23"/>
                  <a:gd name="T11" fmla="*/ 2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3" h="34">
                    <a:moveTo>
                      <a:pt x="0" y="20"/>
                    </a:moveTo>
                    <a:lnTo>
                      <a:pt x="3" y="31"/>
                    </a:lnTo>
                    <a:lnTo>
                      <a:pt x="9" y="34"/>
                    </a:lnTo>
                    <a:lnTo>
                      <a:pt x="23" y="11"/>
                    </a:lnTo>
                    <a:lnTo>
                      <a:pt x="12" y="0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FF407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/>
              </a:p>
            </p:txBody>
          </p:sp>
          <p:grpSp>
            <p:nvGrpSpPr>
              <p:cNvPr id="56" name="Group 52"/>
              <p:cNvGrpSpPr>
                <a:grpSpLocks/>
              </p:cNvGrpSpPr>
              <p:nvPr/>
            </p:nvGrpSpPr>
            <p:grpSpPr bwMode="auto">
              <a:xfrm>
                <a:off x="6158" y="3196"/>
                <a:ext cx="22" cy="28"/>
                <a:chOff x="6158" y="3196"/>
                <a:chExt cx="22" cy="28"/>
              </a:xfrm>
            </p:grpSpPr>
            <p:sp>
              <p:nvSpPr>
                <p:cNvPr id="100" name="Freeform 50"/>
                <p:cNvSpPr>
                  <a:spLocks/>
                </p:cNvSpPr>
                <p:nvPr/>
              </p:nvSpPr>
              <p:spPr bwMode="auto">
                <a:xfrm>
                  <a:off x="6158" y="3196"/>
                  <a:ext cx="22" cy="28"/>
                </a:xfrm>
                <a:custGeom>
                  <a:avLst/>
                  <a:gdLst>
                    <a:gd name="T0" fmla="*/ 3 w 22"/>
                    <a:gd name="T1" fmla="*/ 6 h 28"/>
                    <a:gd name="T2" fmla="*/ 0 w 22"/>
                    <a:gd name="T3" fmla="*/ 9 h 28"/>
                    <a:gd name="T4" fmla="*/ 3 w 22"/>
                    <a:gd name="T5" fmla="*/ 14 h 28"/>
                    <a:gd name="T6" fmla="*/ 5 w 22"/>
                    <a:gd name="T7" fmla="*/ 20 h 28"/>
                    <a:gd name="T8" fmla="*/ 5 w 22"/>
                    <a:gd name="T9" fmla="*/ 22 h 28"/>
                    <a:gd name="T10" fmla="*/ 16 w 22"/>
                    <a:gd name="T11" fmla="*/ 28 h 28"/>
                    <a:gd name="T12" fmla="*/ 22 w 22"/>
                    <a:gd name="T13" fmla="*/ 22 h 28"/>
                    <a:gd name="T14" fmla="*/ 19 w 22"/>
                    <a:gd name="T15" fmla="*/ 14 h 28"/>
                    <a:gd name="T16" fmla="*/ 8 w 22"/>
                    <a:gd name="T17" fmla="*/ 0 h 28"/>
                    <a:gd name="T18" fmla="*/ 3 w 22"/>
                    <a:gd name="T19" fmla="*/ 6 h 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22" h="28">
                      <a:moveTo>
                        <a:pt x="3" y="6"/>
                      </a:moveTo>
                      <a:lnTo>
                        <a:pt x="0" y="9"/>
                      </a:lnTo>
                      <a:lnTo>
                        <a:pt x="3" y="14"/>
                      </a:lnTo>
                      <a:lnTo>
                        <a:pt x="5" y="20"/>
                      </a:lnTo>
                      <a:lnTo>
                        <a:pt x="5" y="22"/>
                      </a:lnTo>
                      <a:lnTo>
                        <a:pt x="16" y="28"/>
                      </a:lnTo>
                      <a:lnTo>
                        <a:pt x="22" y="22"/>
                      </a:lnTo>
                      <a:lnTo>
                        <a:pt x="19" y="14"/>
                      </a:lnTo>
                      <a:lnTo>
                        <a:pt x="8" y="0"/>
                      </a:lnTo>
                      <a:lnTo>
                        <a:pt x="3" y="6"/>
                      </a:lnTo>
                      <a:close/>
                    </a:path>
                  </a:pathLst>
                </a:custGeom>
                <a:solidFill>
                  <a:srgbClr val="FF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  <p:sp>
              <p:nvSpPr>
                <p:cNvPr id="101" name="Freeform 51"/>
                <p:cNvSpPr>
                  <a:spLocks/>
                </p:cNvSpPr>
                <p:nvPr/>
              </p:nvSpPr>
              <p:spPr bwMode="auto">
                <a:xfrm>
                  <a:off x="6158" y="3196"/>
                  <a:ext cx="22" cy="28"/>
                </a:xfrm>
                <a:custGeom>
                  <a:avLst/>
                  <a:gdLst>
                    <a:gd name="T0" fmla="*/ 3 w 22"/>
                    <a:gd name="T1" fmla="*/ 6 h 28"/>
                    <a:gd name="T2" fmla="*/ 0 w 22"/>
                    <a:gd name="T3" fmla="*/ 9 h 28"/>
                    <a:gd name="T4" fmla="*/ 3 w 22"/>
                    <a:gd name="T5" fmla="*/ 14 h 28"/>
                    <a:gd name="T6" fmla="*/ 5 w 22"/>
                    <a:gd name="T7" fmla="*/ 20 h 28"/>
                    <a:gd name="T8" fmla="*/ 5 w 22"/>
                    <a:gd name="T9" fmla="*/ 22 h 28"/>
                    <a:gd name="T10" fmla="*/ 16 w 22"/>
                    <a:gd name="T11" fmla="*/ 28 h 28"/>
                    <a:gd name="T12" fmla="*/ 22 w 22"/>
                    <a:gd name="T13" fmla="*/ 22 h 28"/>
                    <a:gd name="T14" fmla="*/ 19 w 22"/>
                    <a:gd name="T15" fmla="*/ 14 h 28"/>
                    <a:gd name="T16" fmla="*/ 8 w 22"/>
                    <a:gd name="T17" fmla="*/ 0 h 28"/>
                    <a:gd name="T18" fmla="*/ 3 w 22"/>
                    <a:gd name="T19" fmla="*/ 6 h 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22" h="28">
                      <a:moveTo>
                        <a:pt x="3" y="6"/>
                      </a:moveTo>
                      <a:lnTo>
                        <a:pt x="0" y="9"/>
                      </a:lnTo>
                      <a:lnTo>
                        <a:pt x="3" y="14"/>
                      </a:lnTo>
                      <a:lnTo>
                        <a:pt x="5" y="20"/>
                      </a:lnTo>
                      <a:lnTo>
                        <a:pt x="5" y="22"/>
                      </a:lnTo>
                      <a:lnTo>
                        <a:pt x="16" y="28"/>
                      </a:lnTo>
                      <a:lnTo>
                        <a:pt x="22" y="22"/>
                      </a:lnTo>
                      <a:lnTo>
                        <a:pt x="19" y="14"/>
                      </a:lnTo>
                      <a:lnTo>
                        <a:pt x="8" y="0"/>
                      </a:lnTo>
                      <a:lnTo>
                        <a:pt x="3" y="6"/>
                      </a:lnTo>
                    </a:path>
                  </a:pathLst>
                </a:custGeom>
                <a:noFill/>
                <a:ln w="4763" cap="rnd">
                  <a:solidFill>
                    <a:srgbClr val="FF407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</p:grpSp>
          <p:grpSp>
            <p:nvGrpSpPr>
              <p:cNvPr id="57" name="Group 55"/>
              <p:cNvGrpSpPr>
                <a:grpSpLocks/>
              </p:cNvGrpSpPr>
              <p:nvPr/>
            </p:nvGrpSpPr>
            <p:grpSpPr bwMode="auto">
              <a:xfrm>
                <a:off x="6149" y="3210"/>
                <a:ext cx="37" cy="45"/>
                <a:chOff x="6149" y="3210"/>
                <a:chExt cx="37" cy="45"/>
              </a:xfrm>
            </p:grpSpPr>
            <p:sp>
              <p:nvSpPr>
                <p:cNvPr id="98" name="Freeform 53"/>
                <p:cNvSpPr>
                  <a:spLocks/>
                </p:cNvSpPr>
                <p:nvPr/>
              </p:nvSpPr>
              <p:spPr bwMode="auto">
                <a:xfrm>
                  <a:off x="6149" y="3210"/>
                  <a:ext cx="37" cy="45"/>
                </a:xfrm>
                <a:custGeom>
                  <a:avLst/>
                  <a:gdLst>
                    <a:gd name="T0" fmla="*/ 23 w 37"/>
                    <a:gd name="T1" fmla="*/ 0 h 45"/>
                    <a:gd name="T2" fmla="*/ 25 w 37"/>
                    <a:gd name="T3" fmla="*/ 8 h 45"/>
                    <a:gd name="T4" fmla="*/ 20 w 37"/>
                    <a:gd name="T5" fmla="*/ 11 h 45"/>
                    <a:gd name="T6" fmla="*/ 14 w 37"/>
                    <a:gd name="T7" fmla="*/ 6 h 45"/>
                    <a:gd name="T8" fmla="*/ 17 w 37"/>
                    <a:gd name="T9" fmla="*/ 8 h 45"/>
                    <a:gd name="T10" fmla="*/ 20 w 37"/>
                    <a:gd name="T11" fmla="*/ 14 h 45"/>
                    <a:gd name="T12" fmla="*/ 20 w 37"/>
                    <a:gd name="T13" fmla="*/ 17 h 45"/>
                    <a:gd name="T14" fmla="*/ 17 w 37"/>
                    <a:gd name="T15" fmla="*/ 23 h 45"/>
                    <a:gd name="T16" fmla="*/ 14 w 37"/>
                    <a:gd name="T17" fmla="*/ 25 h 45"/>
                    <a:gd name="T18" fmla="*/ 12 w 37"/>
                    <a:gd name="T19" fmla="*/ 28 h 45"/>
                    <a:gd name="T20" fmla="*/ 9 w 37"/>
                    <a:gd name="T21" fmla="*/ 31 h 45"/>
                    <a:gd name="T22" fmla="*/ 3 w 37"/>
                    <a:gd name="T23" fmla="*/ 25 h 45"/>
                    <a:gd name="T24" fmla="*/ 0 w 37"/>
                    <a:gd name="T25" fmla="*/ 20 h 45"/>
                    <a:gd name="T26" fmla="*/ 0 w 37"/>
                    <a:gd name="T27" fmla="*/ 25 h 45"/>
                    <a:gd name="T28" fmla="*/ 6 w 37"/>
                    <a:gd name="T29" fmla="*/ 31 h 45"/>
                    <a:gd name="T30" fmla="*/ 9 w 37"/>
                    <a:gd name="T31" fmla="*/ 34 h 45"/>
                    <a:gd name="T32" fmla="*/ 14 w 37"/>
                    <a:gd name="T33" fmla="*/ 34 h 45"/>
                    <a:gd name="T34" fmla="*/ 17 w 37"/>
                    <a:gd name="T35" fmla="*/ 36 h 45"/>
                    <a:gd name="T36" fmla="*/ 14 w 37"/>
                    <a:gd name="T37" fmla="*/ 42 h 45"/>
                    <a:gd name="T38" fmla="*/ 9 w 37"/>
                    <a:gd name="T39" fmla="*/ 42 h 45"/>
                    <a:gd name="T40" fmla="*/ 3 w 37"/>
                    <a:gd name="T41" fmla="*/ 39 h 45"/>
                    <a:gd name="T42" fmla="*/ 0 w 37"/>
                    <a:gd name="T43" fmla="*/ 34 h 45"/>
                    <a:gd name="T44" fmla="*/ 3 w 37"/>
                    <a:gd name="T45" fmla="*/ 39 h 45"/>
                    <a:gd name="T46" fmla="*/ 14 w 37"/>
                    <a:gd name="T47" fmla="*/ 45 h 45"/>
                    <a:gd name="T48" fmla="*/ 20 w 37"/>
                    <a:gd name="T49" fmla="*/ 45 h 45"/>
                    <a:gd name="T50" fmla="*/ 23 w 37"/>
                    <a:gd name="T51" fmla="*/ 42 h 45"/>
                    <a:gd name="T52" fmla="*/ 23 w 37"/>
                    <a:gd name="T53" fmla="*/ 34 h 45"/>
                    <a:gd name="T54" fmla="*/ 20 w 37"/>
                    <a:gd name="T55" fmla="*/ 28 h 45"/>
                    <a:gd name="T56" fmla="*/ 25 w 37"/>
                    <a:gd name="T57" fmla="*/ 17 h 45"/>
                    <a:gd name="T58" fmla="*/ 31 w 37"/>
                    <a:gd name="T59" fmla="*/ 17 h 45"/>
                    <a:gd name="T60" fmla="*/ 37 w 37"/>
                    <a:gd name="T61" fmla="*/ 8 h 45"/>
                    <a:gd name="T62" fmla="*/ 34 w 37"/>
                    <a:gd name="T63" fmla="*/ 0 h 45"/>
                    <a:gd name="T64" fmla="*/ 34 w 37"/>
                    <a:gd name="T65" fmla="*/ 8 h 45"/>
                    <a:gd name="T66" fmla="*/ 23 w 37"/>
                    <a:gd name="T67" fmla="*/ 0 h 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37" h="45">
                      <a:moveTo>
                        <a:pt x="23" y="0"/>
                      </a:moveTo>
                      <a:lnTo>
                        <a:pt x="25" y="8"/>
                      </a:lnTo>
                      <a:lnTo>
                        <a:pt x="20" y="11"/>
                      </a:lnTo>
                      <a:lnTo>
                        <a:pt x="14" y="6"/>
                      </a:lnTo>
                      <a:lnTo>
                        <a:pt x="17" y="8"/>
                      </a:lnTo>
                      <a:lnTo>
                        <a:pt x="20" y="14"/>
                      </a:lnTo>
                      <a:lnTo>
                        <a:pt x="20" y="17"/>
                      </a:lnTo>
                      <a:lnTo>
                        <a:pt x="17" y="23"/>
                      </a:lnTo>
                      <a:lnTo>
                        <a:pt x="14" y="25"/>
                      </a:lnTo>
                      <a:lnTo>
                        <a:pt x="12" y="28"/>
                      </a:lnTo>
                      <a:lnTo>
                        <a:pt x="9" y="31"/>
                      </a:lnTo>
                      <a:lnTo>
                        <a:pt x="3" y="25"/>
                      </a:lnTo>
                      <a:lnTo>
                        <a:pt x="0" y="20"/>
                      </a:lnTo>
                      <a:lnTo>
                        <a:pt x="0" y="25"/>
                      </a:lnTo>
                      <a:lnTo>
                        <a:pt x="6" y="31"/>
                      </a:lnTo>
                      <a:lnTo>
                        <a:pt x="9" y="34"/>
                      </a:lnTo>
                      <a:lnTo>
                        <a:pt x="14" y="34"/>
                      </a:lnTo>
                      <a:lnTo>
                        <a:pt x="17" y="36"/>
                      </a:lnTo>
                      <a:lnTo>
                        <a:pt x="14" y="42"/>
                      </a:lnTo>
                      <a:lnTo>
                        <a:pt x="9" y="42"/>
                      </a:lnTo>
                      <a:lnTo>
                        <a:pt x="3" y="39"/>
                      </a:lnTo>
                      <a:lnTo>
                        <a:pt x="0" y="34"/>
                      </a:lnTo>
                      <a:lnTo>
                        <a:pt x="3" y="39"/>
                      </a:lnTo>
                      <a:lnTo>
                        <a:pt x="14" y="45"/>
                      </a:lnTo>
                      <a:lnTo>
                        <a:pt x="20" y="45"/>
                      </a:lnTo>
                      <a:lnTo>
                        <a:pt x="23" y="42"/>
                      </a:lnTo>
                      <a:lnTo>
                        <a:pt x="23" y="34"/>
                      </a:lnTo>
                      <a:lnTo>
                        <a:pt x="20" y="28"/>
                      </a:lnTo>
                      <a:lnTo>
                        <a:pt x="25" y="17"/>
                      </a:lnTo>
                      <a:lnTo>
                        <a:pt x="31" y="17"/>
                      </a:lnTo>
                      <a:lnTo>
                        <a:pt x="37" y="8"/>
                      </a:lnTo>
                      <a:lnTo>
                        <a:pt x="34" y="0"/>
                      </a:lnTo>
                      <a:lnTo>
                        <a:pt x="34" y="8"/>
                      </a:lnTo>
                      <a:lnTo>
                        <a:pt x="23" y="0"/>
                      </a:lnTo>
                      <a:close/>
                    </a:path>
                  </a:pathLst>
                </a:custGeom>
                <a:solidFill>
                  <a:srgbClr val="81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  <p:sp>
              <p:nvSpPr>
                <p:cNvPr id="99" name="Freeform 54"/>
                <p:cNvSpPr>
                  <a:spLocks/>
                </p:cNvSpPr>
                <p:nvPr/>
              </p:nvSpPr>
              <p:spPr bwMode="auto">
                <a:xfrm>
                  <a:off x="6149" y="3210"/>
                  <a:ext cx="37" cy="45"/>
                </a:xfrm>
                <a:custGeom>
                  <a:avLst/>
                  <a:gdLst>
                    <a:gd name="T0" fmla="*/ 23 w 37"/>
                    <a:gd name="T1" fmla="*/ 0 h 45"/>
                    <a:gd name="T2" fmla="*/ 25 w 37"/>
                    <a:gd name="T3" fmla="*/ 8 h 45"/>
                    <a:gd name="T4" fmla="*/ 20 w 37"/>
                    <a:gd name="T5" fmla="*/ 11 h 45"/>
                    <a:gd name="T6" fmla="*/ 14 w 37"/>
                    <a:gd name="T7" fmla="*/ 6 h 45"/>
                    <a:gd name="T8" fmla="*/ 17 w 37"/>
                    <a:gd name="T9" fmla="*/ 8 h 45"/>
                    <a:gd name="T10" fmla="*/ 20 w 37"/>
                    <a:gd name="T11" fmla="*/ 14 h 45"/>
                    <a:gd name="T12" fmla="*/ 20 w 37"/>
                    <a:gd name="T13" fmla="*/ 17 h 45"/>
                    <a:gd name="T14" fmla="*/ 17 w 37"/>
                    <a:gd name="T15" fmla="*/ 23 h 45"/>
                    <a:gd name="T16" fmla="*/ 14 w 37"/>
                    <a:gd name="T17" fmla="*/ 25 h 45"/>
                    <a:gd name="T18" fmla="*/ 12 w 37"/>
                    <a:gd name="T19" fmla="*/ 28 h 45"/>
                    <a:gd name="T20" fmla="*/ 9 w 37"/>
                    <a:gd name="T21" fmla="*/ 31 h 45"/>
                    <a:gd name="T22" fmla="*/ 3 w 37"/>
                    <a:gd name="T23" fmla="*/ 25 h 45"/>
                    <a:gd name="T24" fmla="*/ 0 w 37"/>
                    <a:gd name="T25" fmla="*/ 20 h 45"/>
                    <a:gd name="T26" fmla="*/ 0 w 37"/>
                    <a:gd name="T27" fmla="*/ 25 h 45"/>
                    <a:gd name="T28" fmla="*/ 6 w 37"/>
                    <a:gd name="T29" fmla="*/ 31 h 45"/>
                    <a:gd name="T30" fmla="*/ 9 w 37"/>
                    <a:gd name="T31" fmla="*/ 34 h 45"/>
                    <a:gd name="T32" fmla="*/ 14 w 37"/>
                    <a:gd name="T33" fmla="*/ 34 h 45"/>
                    <a:gd name="T34" fmla="*/ 17 w 37"/>
                    <a:gd name="T35" fmla="*/ 36 h 45"/>
                    <a:gd name="T36" fmla="*/ 14 w 37"/>
                    <a:gd name="T37" fmla="*/ 42 h 45"/>
                    <a:gd name="T38" fmla="*/ 9 w 37"/>
                    <a:gd name="T39" fmla="*/ 42 h 45"/>
                    <a:gd name="T40" fmla="*/ 3 w 37"/>
                    <a:gd name="T41" fmla="*/ 39 h 45"/>
                    <a:gd name="T42" fmla="*/ 0 w 37"/>
                    <a:gd name="T43" fmla="*/ 34 h 45"/>
                    <a:gd name="T44" fmla="*/ 3 w 37"/>
                    <a:gd name="T45" fmla="*/ 39 h 45"/>
                    <a:gd name="T46" fmla="*/ 14 w 37"/>
                    <a:gd name="T47" fmla="*/ 45 h 45"/>
                    <a:gd name="T48" fmla="*/ 20 w 37"/>
                    <a:gd name="T49" fmla="*/ 45 h 45"/>
                    <a:gd name="T50" fmla="*/ 23 w 37"/>
                    <a:gd name="T51" fmla="*/ 42 h 45"/>
                    <a:gd name="T52" fmla="*/ 23 w 37"/>
                    <a:gd name="T53" fmla="*/ 34 h 45"/>
                    <a:gd name="T54" fmla="*/ 20 w 37"/>
                    <a:gd name="T55" fmla="*/ 28 h 45"/>
                    <a:gd name="T56" fmla="*/ 25 w 37"/>
                    <a:gd name="T57" fmla="*/ 17 h 45"/>
                    <a:gd name="T58" fmla="*/ 31 w 37"/>
                    <a:gd name="T59" fmla="*/ 17 h 45"/>
                    <a:gd name="T60" fmla="*/ 37 w 37"/>
                    <a:gd name="T61" fmla="*/ 8 h 45"/>
                    <a:gd name="T62" fmla="*/ 34 w 37"/>
                    <a:gd name="T63" fmla="*/ 0 h 45"/>
                    <a:gd name="T64" fmla="*/ 34 w 37"/>
                    <a:gd name="T65" fmla="*/ 8 h 45"/>
                    <a:gd name="T66" fmla="*/ 23 w 37"/>
                    <a:gd name="T67" fmla="*/ 0 h 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37" h="45">
                      <a:moveTo>
                        <a:pt x="23" y="0"/>
                      </a:moveTo>
                      <a:lnTo>
                        <a:pt x="25" y="8"/>
                      </a:lnTo>
                      <a:lnTo>
                        <a:pt x="20" y="11"/>
                      </a:lnTo>
                      <a:lnTo>
                        <a:pt x="14" y="6"/>
                      </a:lnTo>
                      <a:lnTo>
                        <a:pt x="17" y="8"/>
                      </a:lnTo>
                      <a:lnTo>
                        <a:pt x="20" y="14"/>
                      </a:lnTo>
                      <a:lnTo>
                        <a:pt x="20" y="17"/>
                      </a:lnTo>
                      <a:lnTo>
                        <a:pt x="17" y="23"/>
                      </a:lnTo>
                      <a:lnTo>
                        <a:pt x="14" y="25"/>
                      </a:lnTo>
                      <a:lnTo>
                        <a:pt x="12" y="28"/>
                      </a:lnTo>
                      <a:lnTo>
                        <a:pt x="9" y="31"/>
                      </a:lnTo>
                      <a:lnTo>
                        <a:pt x="3" y="25"/>
                      </a:lnTo>
                      <a:lnTo>
                        <a:pt x="0" y="20"/>
                      </a:lnTo>
                      <a:lnTo>
                        <a:pt x="0" y="25"/>
                      </a:lnTo>
                      <a:lnTo>
                        <a:pt x="6" y="31"/>
                      </a:lnTo>
                      <a:lnTo>
                        <a:pt x="9" y="34"/>
                      </a:lnTo>
                      <a:lnTo>
                        <a:pt x="14" y="34"/>
                      </a:lnTo>
                      <a:lnTo>
                        <a:pt x="17" y="36"/>
                      </a:lnTo>
                      <a:lnTo>
                        <a:pt x="14" y="42"/>
                      </a:lnTo>
                      <a:lnTo>
                        <a:pt x="9" y="42"/>
                      </a:lnTo>
                      <a:lnTo>
                        <a:pt x="3" y="39"/>
                      </a:lnTo>
                      <a:lnTo>
                        <a:pt x="0" y="34"/>
                      </a:lnTo>
                      <a:lnTo>
                        <a:pt x="3" y="39"/>
                      </a:lnTo>
                      <a:lnTo>
                        <a:pt x="14" y="45"/>
                      </a:lnTo>
                      <a:lnTo>
                        <a:pt x="20" y="45"/>
                      </a:lnTo>
                      <a:lnTo>
                        <a:pt x="23" y="42"/>
                      </a:lnTo>
                      <a:lnTo>
                        <a:pt x="23" y="34"/>
                      </a:lnTo>
                      <a:lnTo>
                        <a:pt x="20" y="28"/>
                      </a:lnTo>
                      <a:lnTo>
                        <a:pt x="25" y="17"/>
                      </a:lnTo>
                      <a:lnTo>
                        <a:pt x="31" y="17"/>
                      </a:lnTo>
                      <a:lnTo>
                        <a:pt x="37" y="8"/>
                      </a:lnTo>
                      <a:lnTo>
                        <a:pt x="34" y="0"/>
                      </a:lnTo>
                      <a:lnTo>
                        <a:pt x="34" y="8"/>
                      </a:lnTo>
                      <a:lnTo>
                        <a:pt x="23" y="0"/>
                      </a:lnTo>
                    </a:path>
                  </a:pathLst>
                </a:custGeom>
                <a:noFill/>
                <a:ln w="4763" cap="rnd">
                  <a:solidFill>
                    <a:srgbClr val="81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</p:grpSp>
          <p:grpSp>
            <p:nvGrpSpPr>
              <p:cNvPr id="58" name="Group 58"/>
              <p:cNvGrpSpPr>
                <a:grpSpLocks/>
              </p:cNvGrpSpPr>
              <p:nvPr/>
            </p:nvGrpSpPr>
            <p:grpSpPr bwMode="auto">
              <a:xfrm>
                <a:off x="6163" y="3196"/>
                <a:ext cx="23" cy="22"/>
                <a:chOff x="6163" y="3196"/>
                <a:chExt cx="23" cy="22"/>
              </a:xfrm>
            </p:grpSpPr>
            <p:sp>
              <p:nvSpPr>
                <p:cNvPr id="96" name="Freeform 95"/>
                <p:cNvSpPr>
                  <a:spLocks/>
                </p:cNvSpPr>
                <p:nvPr/>
              </p:nvSpPr>
              <p:spPr bwMode="auto">
                <a:xfrm>
                  <a:off x="6163" y="3196"/>
                  <a:ext cx="23" cy="22"/>
                </a:xfrm>
                <a:custGeom>
                  <a:avLst/>
                  <a:gdLst>
                    <a:gd name="T0" fmla="*/ 23 w 23"/>
                    <a:gd name="T1" fmla="*/ 22 h 22"/>
                    <a:gd name="T2" fmla="*/ 14 w 23"/>
                    <a:gd name="T3" fmla="*/ 6 h 22"/>
                    <a:gd name="T4" fmla="*/ 0 w 23"/>
                    <a:gd name="T5" fmla="*/ 0 h 22"/>
                    <a:gd name="T6" fmla="*/ 9 w 23"/>
                    <a:gd name="T7" fmla="*/ 17 h 22"/>
                    <a:gd name="T8" fmla="*/ 23 w 23"/>
                    <a:gd name="T9" fmla="*/ 22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3" h="22">
                      <a:moveTo>
                        <a:pt x="23" y="22"/>
                      </a:moveTo>
                      <a:lnTo>
                        <a:pt x="14" y="6"/>
                      </a:lnTo>
                      <a:lnTo>
                        <a:pt x="0" y="0"/>
                      </a:lnTo>
                      <a:lnTo>
                        <a:pt x="9" y="17"/>
                      </a:lnTo>
                      <a:lnTo>
                        <a:pt x="23" y="22"/>
                      </a:lnTo>
                      <a:close/>
                    </a:path>
                  </a:pathLst>
                </a:custGeom>
                <a:solidFill>
                  <a:srgbClr val="C2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  <p:sp>
              <p:nvSpPr>
                <p:cNvPr id="97" name="Freeform 96"/>
                <p:cNvSpPr>
                  <a:spLocks/>
                </p:cNvSpPr>
                <p:nvPr/>
              </p:nvSpPr>
              <p:spPr bwMode="auto">
                <a:xfrm>
                  <a:off x="6163" y="3196"/>
                  <a:ext cx="23" cy="22"/>
                </a:xfrm>
                <a:custGeom>
                  <a:avLst/>
                  <a:gdLst>
                    <a:gd name="T0" fmla="*/ 23 w 23"/>
                    <a:gd name="T1" fmla="*/ 22 h 22"/>
                    <a:gd name="T2" fmla="*/ 14 w 23"/>
                    <a:gd name="T3" fmla="*/ 6 h 22"/>
                    <a:gd name="T4" fmla="*/ 0 w 23"/>
                    <a:gd name="T5" fmla="*/ 0 h 22"/>
                    <a:gd name="T6" fmla="*/ 9 w 23"/>
                    <a:gd name="T7" fmla="*/ 17 h 22"/>
                    <a:gd name="T8" fmla="*/ 23 w 23"/>
                    <a:gd name="T9" fmla="*/ 22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3" h="22">
                      <a:moveTo>
                        <a:pt x="23" y="22"/>
                      </a:moveTo>
                      <a:lnTo>
                        <a:pt x="14" y="6"/>
                      </a:lnTo>
                      <a:lnTo>
                        <a:pt x="0" y="0"/>
                      </a:lnTo>
                      <a:lnTo>
                        <a:pt x="9" y="17"/>
                      </a:lnTo>
                      <a:lnTo>
                        <a:pt x="23" y="22"/>
                      </a:lnTo>
                    </a:path>
                  </a:pathLst>
                </a:custGeom>
                <a:noFill/>
                <a:ln w="4763" cap="rnd">
                  <a:solidFill>
                    <a:srgbClr val="C20000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</p:grpSp>
          <p:sp>
            <p:nvSpPr>
              <p:cNvPr id="59" name="Freeform 59"/>
              <p:cNvSpPr>
                <a:spLocks/>
              </p:cNvSpPr>
              <p:nvPr/>
            </p:nvSpPr>
            <p:spPr bwMode="auto">
              <a:xfrm>
                <a:off x="6163" y="3207"/>
                <a:ext cx="6" cy="9"/>
              </a:xfrm>
              <a:custGeom>
                <a:avLst/>
                <a:gdLst>
                  <a:gd name="T0" fmla="*/ 3 w 6"/>
                  <a:gd name="T1" fmla="*/ 0 h 9"/>
                  <a:gd name="T2" fmla="*/ 6 w 6"/>
                  <a:gd name="T3" fmla="*/ 6 h 9"/>
                  <a:gd name="T4" fmla="*/ 6 w 6"/>
                  <a:gd name="T5" fmla="*/ 9 h 9"/>
                  <a:gd name="T6" fmla="*/ 3 w 6"/>
                  <a:gd name="T7" fmla="*/ 3 h 9"/>
                  <a:gd name="T8" fmla="*/ 0 w 6"/>
                  <a:gd name="T9" fmla="*/ 0 h 9"/>
                  <a:gd name="T10" fmla="*/ 3 w 6"/>
                  <a:gd name="T11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9">
                    <a:moveTo>
                      <a:pt x="3" y="0"/>
                    </a:moveTo>
                    <a:lnTo>
                      <a:pt x="6" y="6"/>
                    </a:lnTo>
                    <a:lnTo>
                      <a:pt x="6" y="9"/>
                    </a:lnTo>
                    <a:lnTo>
                      <a:pt x="3" y="3"/>
                    </a:lnTo>
                    <a:lnTo>
                      <a:pt x="0" y="0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/>
              </a:p>
            </p:txBody>
          </p:sp>
          <p:grpSp>
            <p:nvGrpSpPr>
              <p:cNvPr id="60" name="Group 62"/>
              <p:cNvGrpSpPr>
                <a:grpSpLocks/>
              </p:cNvGrpSpPr>
              <p:nvPr/>
            </p:nvGrpSpPr>
            <p:grpSpPr bwMode="auto">
              <a:xfrm>
                <a:off x="6152" y="3216"/>
                <a:ext cx="11" cy="17"/>
                <a:chOff x="6152" y="3216"/>
                <a:chExt cx="11" cy="17"/>
              </a:xfrm>
            </p:grpSpPr>
            <p:sp>
              <p:nvSpPr>
                <p:cNvPr id="94" name="Freeform 60"/>
                <p:cNvSpPr>
                  <a:spLocks/>
                </p:cNvSpPr>
                <p:nvPr/>
              </p:nvSpPr>
              <p:spPr bwMode="auto">
                <a:xfrm>
                  <a:off x="6152" y="3216"/>
                  <a:ext cx="11" cy="17"/>
                </a:xfrm>
                <a:custGeom>
                  <a:avLst/>
                  <a:gdLst>
                    <a:gd name="T0" fmla="*/ 0 w 11"/>
                    <a:gd name="T1" fmla="*/ 17 h 17"/>
                    <a:gd name="T2" fmla="*/ 11 w 11"/>
                    <a:gd name="T3" fmla="*/ 2 h 17"/>
                    <a:gd name="T4" fmla="*/ 9 w 11"/>
                    <a:gd name="T5" fmla="*/ 0 h 17"/>
                    <a:gd name="T6" fmla="*/ 0 w 11"/>
                    <a:gd name="T7" fmla="*/ 17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1" h="17">
                      <a:moveTo>
                        <a:pt x="0" y="17"/>
                      </a:moveTo>
                      <a:lnTo>
                        <a:pt x="11" y="2"/>
                      </a:lnTo>
                      <a:lnTo>
                        <a:pt x="9" y="0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  <p:sp>
              <p:nvSpPr>
                <p:cNvPr id="95" name="Freeform 61"/>
                <p:cNvSpPr>
                  <a:spLocks/>
                </p:cNvSpPr>
                <p:nvPr/>
              </p:nvSpPr>
              <p:spPr bwMode="auto">
                <a:xfrm>
                  <a:off x="6152" y="3216"/>
                  <a:ext cx="11" cy="17"/>
                </a:xfrm>
                <a:custGeom>
                  <a:avLst/>
                  <a:gdLst>
                    <a:gd name="T0" fmla="*/ 0 w 11"/>
                    <a:gd name="T1" fmla="*/ 17 h 17"/>
                    <a:gd name="T2" fmla="*/ 11 w 11"/>
                    <a:gd name="T3" fmla="*/ 2 h 17"/>
                    <a:gd name="T4" fmla="*/ 9 w 11"/>
                    <a:gd name="T5" fmla="*/ 0 h 17"/>
                    <a:gd name="T6" fmla="*/ 0 w 11"/>
                    <a:gd name="T7" fmla="*/ 17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1" h="17">
                      <a:moveTo>
                        <a:pt x="0" y="17"/>
                      </a:moveTo>
                      <a:lnTo>
                        <a:pt x="11" y="2"/>
                      </a:lnTo>
                      <a:lnTo>
                        <a:pt x="9" y="0"/>
                      </a:lnTo>
                      <a:lnTo>
                        <a:pt x="0" y="17"/>
                      </a:lnTo>
                    </a:path>
                  </a:pathLst>
                </a:custGeom>
                <a:noFill/>
                <a:ln w="4763" cap="rnd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pt-BR"/>
                </a:p>
              </p:txBody>
            </p:sp>
          </p:grpSp>
          <p:sp>
            <p:nvSpPr>
              <p:cNvPr id="61" name="Freeform 63"/>
              <p:cNvSpPr>
                <a:spLocks/>
              </p:cNvSpPr>
              <p:nvPr/>
            </p:nvSpPr>
            <p:spPr bwMode="auto">
              <a:xfrm>
                <a:off x="6141" y="3224"/>
                <a:ext cx="8" cy="17"/>
              </a:xfrm>
              <a:custGeom>
                <a:avLst/>
                <a:gdLst>
                  <a:gd name="T0" fmla="*/ 6 w 8"/>
                  <a:gd name="T1" fmla="*/ 9 h 17"/>
                  <a:gd name="T2" fmla="*/ 8 w 8"/>
                  <a:gd name="T3" fmla="*/ 14 h 17"/>
                  <a:gd name="T4" fmla="*/ 6 w 8"/>
                  <a:gd name="T5" fmla="*/ 17 h 17"/>
                  <a:gd name="T6" fmla="*/ 0 w 8"/>
                  <a:gd name="T7" fmla="*/ 6 h 17"/>
                  <a:gd name="T8" fmla="*/ 0 w 8"/>
                  <a:gd name="T9" fmla="*/ 0 h 17"/>
                  <a:gd name="T10" fmla="*/ 3 w 8"/>
                  <a:gd name="T11" fmla="*/ 0 h 17"/>
                  <a:gd name="T12" fmla="*/ 6 w 8"/>
                  <a:gd name="T13" fmla="*/ 3 h 17"/>
                  <a:gd name="T14" fmla="*/ 6 w 8"/>
                  <a:gd name="T15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" h="17">
                    <a:moveTo>
                      <a:pt x="6" y="9"/>
                    </a:moveTo>
                    <a:lnTo>
                      <a:pt x="8" y="14"/>
                    </a:lnTo>
                    <a:lnTo>
                      <a:pt x="6" y="17"/>
                    </a:lnTo>
                    <a:lnTo>
                      <a:pt x="0" y="6"/>
                    </a:lnTo>
                    <a:lnTo>
                      <a:pt x="0" y="0"/>
                    </a:lnTo>
                    <a:lnTo>
                      <a:pt x="3" y="0"/>
                    </a:lnTo>
                    <a:lnTo>
                      <a:pt x="6" y="3"/>
                    </a:lnTo>
                    <a:lnTo>
                      <a:pt x="6" y="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/>
              </a:p>
            </p:txBody>
          </p:sp>
          <p:sp>
            <p:nvSpPr>
              <p:cNvPr id="62" name="Freeform 64"/>
              <p:cNvSpPr>
                <a:spLocks/>
              </p:cNvSpPr>
              <p:nvPr/>
            </p:nvSpPr>
            <p:spPr bwMode="auto">
              <a:xfrm>
                <a:off x="6127" y="3241"/>
                <a:ext cx="95" cy="42"/>
              </a:xfrm>
              <a:custGeom>
                <a:avLst/>
                <a:gdLst>
                  <a:gd name="T0" fmla="*/ 70 w 95"/>
                  <a:gd name="T1" fmla="*/ 5 h 42"/>
                  <a:gd name="T2" fmla="*/ 70 w 95"/>
                  <a:gd name="T3" fmla="*/ 3 h 42"/>
                  <a:gd name="T4" fmla="*/ 81 w 95"/>
                  <a:gd name="T5" fmla="*/ 0 h 42"/>
                  <a:gd name="T6" fmla="*/ 87 w 95"/>
                  <a:gd name="T7" fmla="*/ 3 h 42"/>
                  <a:gd name="T8" fmla="*/ 92 w 95"/>
                  <a:gd name="T9" fmla="*/ 8 h 42"/>
                  <a:gd name="T10" fmla="*/ 92 w 95"/>
                  <a:gd name="T11" fmla="*/ 11 h 42"/>
                  <a:gd name="T12" fmla="*/ 95 w 95"/>
                  <a:gd name="T13" fmla="*/ 17 h 42"/>
                  <a:gd name="T14" fmla="*/ 95 w 95"/>
                  <a:gd name="T15" fmla="*/ 22 h 42"/>
                  <a:gd name="T16" fmla="*/ 92 w 95"/>
                  <a:gd name="T17" fmla="*/ 22 h 42"/>
                  <a:gd name="T18" fmla="*/ 83 w 95"/>
                  <a:gd name="T19" fmla="*/ 25 h 42"/>
                  <a:gd name="T20" fmla="*/ 81 w 95"/>
                  <a:gd name="T21" fmla="*/ 25 h 42"/>
                  <a:gd name="T22" fmla="*/ 78 w 95"/>
                  <a:gd name="T23" fmla="*/ 25 h 42"/>
                  <a:gd name="T24" fmla="*/ 73 w 95"/>
                  <a:gd name="T25" fmla="*/ 25 h 42"/>
                  <a:gd name="T26" fmla="*/ 67 w 95"/>
                  <a:gd name="T27" fmla="*/ 28 h 42"/>
                  <a:gd name="T28" fmla="*/ 67 w 95"/>
                  <a:gd name="T29" fmla="*/ 31 h 42"/>
                  <a:gd name="T30" fmla="*/ 64 w 95"/>
                  <a:gd name="T31" fmla="*/ 34 h 42"/>
                  <a:gd name="T32" fmla="*/ 62 w 95"/>
                  <a:gd name="T33" fmla="*/ 36 h 42"/>
                  <a:gd name="T34" fmla="*/ 62 w 95"/>
                  <a:gd name="T35" fmla="*/ 39 h 42"/>
                  <a:gd name="T36" fmla="*/ 56 w 95"/>
                  <a:gd name="T37" fmla="*/ 42 h 42"/>
                  <a:gd name="T38" fmla="*/ 50 w 95"/>
                  <a:gd name="T39" fmla="*/ 42 h 42"/>
                  <a:gd name="T40" fmla="*/ 45 w 95"/>
                  <a:gd name="T41" fmla="*/ 39 h 42"/>
                  <a:gd name="T42" fmla="*/ 36 w 95"/>
                  <a:gd name="T43" fmla="*/ 31 h 42"/>
                  <a:gd name="T44" fmla="*/ 34 w 95"/>
                  <a:gd name="T45" fmla="*/ 28 h 42"/>
                  <a:gd name="T46" fmla="*/ 28 w 95"/>
                  <a:gd name="T47" fmla="*/ 31 h 42"/>
                  <a:gd name="T48" fmla="*/ 0 w 95"/>
                  <a:gd name="T49" fmla="*/ 36 h 42"/>
                  <a:gd name="T50" fmla="*/ 0 w 95"/>
                  <a:gd name="T51" fmla="*/ 34 h 42"/>
                  <a:gd name="T52" fmla="*/ 14 w 95"/>
                  <a:gd name="T53" fmla="*/ 31 h 42"/>
                  <a:gd name="T54" fmla="*/ 31 w 95"/>
                  <a:gd name="T55" fmla="*/ 22 h 42"/>
                  <a:gd name="T56" fmla="*/ 31 w 95"/>
                  <a:gd name="T57" fmla="*/ 17 h 42"/>
                  <a:gd name="T58" fmla="*/ 31 w 95"/>
                  <a:gd name="T59" fmla="*/ 11 h 42"/>
                  <a:gd name="T60" fmla="*/ 36 w 95"/>
                  <a:gd name="T61" fmla="*/ 5 h 42"/>
                  <a:gd name="T62" fmla="*/ 39 w 95"/>
                  <a:gd name="T63" fmla="*/ 3 h 42"/>
                  <a:gd name="T64" fmla="*/ 45 w 95"/>
                  <a:gd name="T65" fmla="*/ 3 h 42"/>
                  <a:gd name="T66" fmla="*/ 47 w 95"/>
                  <a:gd name="T67" fmla="*/ 3 h 42"/>
                  <a:gd name="T68" fmla="*/ 53 w 95"/>
                  <a:gd name="T69" fmla="*/ 5 h 42"/>
                  <a:gd name="T70" fmla="*/ 56 w 95"/>
                  <a:gd name="T71" fmla="*/ 8 h 42"/>
                  <a:gd name="T72" fmla="*/ 56 w 95"/>
                  <a:gd name="T73" fmla="*/ 11 h 42"/>
                  <a:gd name="T74" fmla="*/ 67 w 95"/>
                  <a:gd name="T75" fmla="*/ 5 h 42"/>
                  <a:gd name="T76" fmla="*/ 70 w 95"/>
                  <a:gd name="T77" fmla="*/ 5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95" h="42">
                    <a:moveTo>
                      <a:pt x="70" y="5"/>
                    </a:moveTo>
                    <a:lnTo>
                      <a:pt x="70" y="3"/>
                    </a:lnTo>
                    <a:lnTo>
                      <a:pt x="81" y="0"/>
                    </a:lnTo>
                    <a:lnTo>
                      <a:pt x="87" y="3"/>
                    </a:lnTo>
                    <a:lnTo>
                      <a:pt x="92" y="8"/>
                    </a:lnTo>
                    <a:lnTo>
                      <a:pt x="92" y="11"/>
                    </a:lnTo>
                    <a:lnTo>
                      <a:pt x="95" y="17"/>
                    </a:lnTo>
                    <a:lnTo>
                      <a:pt x="95" y="22"/>
                    </a:lnTo>
                    <a:lnTo>
                      <a:pt x="92" y="22"/>
                    </a:lnTo>
                    <a:lnTo>
                      <a:pt x="83" y="25"/>
                    </a:lnTo>
                    <a:lnTo>
                      <a:pt x="81" y="25"/>
                    </a:lnTo>
                    <a:lnTo>
                      <a:pt x="78" y="25"/>
                    </a:lnTo>
                    <a:lnTo>
                      <a:pt x="73" y="25"/>
                    </a:lnTo>
                    <a:lnTo>
                      <a:pt x="67" y="28"/>
                    </a:lnTo>
                    <a:lnTo>
                      <a:pt x="67" y="31"/>
                    </a:lnTo>
                    <a:lnTo>
                      <a:pt x="64" y="34"/>
                    </a:lnTo>
                    <a:lnTo>
                      <a:pt x="62" y="36"/>
                    </a:lnTo>
                    <a:lnTo>
                      <a:pt x="62" y="39"/>
                    </a:lnTo>
                    <a:lnTo>
                      <a:pt x="56" y="42"/>
                    </a:lnTo>
                    <a:lnTo>
                      <a:pt x="50" y="42"/>
                    </a:lnTo>
                    <a:lnTo>
                      <a:pt x="45" y="39"/>
                    </a:lnTo>
                    <a:lnTo>
                      <a:pt x="36" y="31"/>
                    </a:lnTo>
                    <a:lnTo>
                      <a:pt x="34" y="28"/>
                    </a:lnTo>
                    <a:lnTo>
                      <a:pt x="28" y="31"/>
                    </a:lnTo>
                    <a:lnTo>
                      <a:pt x="0" y="36"/>
                    </a:lnTo>
                    <a:lnTo>
                      <a:pt x="0" y="34"/>
                    </a:lnTo>
                    <a:lnTo>
                      <a:pt x="14" y="31"/>
                    </a:lnTo>
                    <a:lnTo>
                      <a:pt x="31" y="22"/>
                    </a:lnTo>
                    <a:lnTo>
                      <a:pt x="31" y="17"/>
                    </a:lnTo>
                    <a:lnTo>
                      <a:pt x="31" y="11"/>
                    </a:lnTo>
                    <a:lnTo>
                      <a:pt x="36" y="5"/>
                    </a:lnTo>
                    <a:lnTo>
                      <a:pt x="39" y="3"/>
                    </a:lnTo>
                    <a:lnTo>
                      <a:pt x="45" y="3"/>
                    </a:lnTo>
                    <a:lnTo>
                      <a:pt x="47" y="3"/>
                    </a:lnTo>
                    <a:lnTo>
                      <a:pt x="53" y="5"/>
                    </a:lnTo>
                    <a:lnTo>
                      <a:pt x="56" y="8"/>
                    </a:lnTo>
                    <a:lnTo>
                      <a:pt x="56" y="11"/>
                    </a:lnTo>
                    <a:lnTo>
                      <a:pt x="67" y="5"/>
                    </a:lnTo>
                    <a:lnTo>
                      <a:pt x="70" y="5"/>
                    </a:lnTo>
                    <a:close/>
                  </a:path>
                </a:pathLst>
              </a:custGeom>
              <a:solidFill>
                <a:srgbClr val="C0C27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/>
              </a:p>
            </p:txBody>
          </p:sp>
          <p:sp>
            <p:nvSpPr>
              <p:cNvPr id="63" name="Freeform 65"/>
              <p:cNvSpPr>
                <a:spLocks/>
              </p:cNvSpPr>
              <p:nvPr/>
            </p:nvSpPr>
            <p:spPr bwMode="auto">
              <a:xfrm>
                <a:off x="6127" y="3235"/>
                <a:ext cx="31" cy="45"/>
              </a:xfrm>
              <a:custGeom>
                <a:avLst/>
                <a:gdLst>
                  <a:gd name="T0" fmla="*/ 25 w 31"/>
                  <a:gd name="T1" fmla="*/ 0 h 45"/>
                  <a:gd name="T2" fmla="*/ 0 w 31"/>
                  <a:gd name="T3" fmla="*/ 45 h 45"/>
                  <a:gd name="T4" fmla="*/ 31 w 31"/>
                  <a:gd name="T5" fmla="*/ 3 h 45"/>
                  <a:gd name="T6" fmla="*/ 25 w 31"/>
                  <a:gd name="T7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1" h="45">
                    <a:moveTo>
                      <a:pt x="25" y="0"/>
                    </a:moveTo>
                    <a:lnTo>
                      <a:pt x="0" y="45"/>
                    </a:lnTo>
                    <a:lnTo>
                      <a:pt x="31" y="3"/>
                    </a:lnTo>
                    <a:lnTo>
                      <a:pt x="25" y="0"/>
                    </a:lnTo>
                    <a:close/>
                  </a:path>
                </a:pathLst>
              </a:custGeom>
              <a:solidFill>
                <a:srgbClr val="C1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/>
              </a:p>
            </p:txBody>
          </p:sp>
          <p:sp>
            <p:nvSpPr>
              <p:cNvPr id="64" name="Freeform 66"/>
              <p:cNvSpPr>
                <a:spLocks/>
              </p:cNvSpPr>
              <p:nvPr/>
            </p:nvSpPr>
            <p:spPr bwMode="auto">
              <a:xfrm>
                <a:off x="6127" y="3235"/>
                <a:ext cx="31" cy="45"/>
              </a:xfrm>
              <a:custGeom>
                <a:avLst/>
                <a:gdLst>
                  <a:gd name="T0" fmla="*/ 25 w 31"/>
                  <a:gd name="T1" fmla="*/ 0 h 45"/>
                  <a:gd name="T2" fmla="*/ 0 w 31"/>
                  <a:gd name="T3" fmla="*/ 45 h 45"/>
                  <a:gd name="T4" fmla="*/ 31 w 31"/>
                  <a:gd name="T5" fmla="*/ 3 h 45"/>
                  <a:gd name="T6" fmla="*/ 25 w 31"/>
                  <a:gd name="T7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1" h="45">
                    <a:moveTo>
                      <a:pt x="25" y="0"/>
                    </a:moveTo>
                    <a:lnTo>
                      <a:pt x="0" y="45"/>
                    </a:lnTo>
                    <a:lnTo>
                      <a:pt x="31" y="3"/>
                    </a:lnTo>
                    <a:lnTo>
                      <a:pt x="25" y="0"/>
                    </a:lnTo>
                  </a:path>
                </a:pathLst>
              </a:custGeom>
              <a:noFill/>
              <a:ln w="4763" cap="rnd">
                <a:solidFill>
                  <a:srgbClr val="4F4F4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/>
              </a:p>
            </p:txBody>
          </p:sp>
          <p:sp>
            <p:nvSpPr>
              <p:cNvPr id="65" name="Freeform 67"/>
              <p:cNvSpPr>
                <a:spLocks/>
              </p:cNvSpPr>
              <p:nvPr/>
            </p:nvSpPr>
            <p:spPr bwMode="auto">
              <a:xfrm>
                <a:off x="6127" y="3235"/>
                <a:ext cx="31" cy="45"/>
              </a:xfrm>
              <a:custGeom>
                <a:avLst/>
                <a:gdLst>
                  <a:gd name="T0" fmla="*/ 25 w 31"/>
                  <a:gd name="T1" fmla="*/ 0 h 45"/>
                  <a:gd name="T2" fmla="*/ 0 w 31"/>
                  <a:gd name="T3" fmla="*/ 45 h 45"/>
                  <a:gd name="T4" fmla="*/ 31 w 31"/>
                  <a:gd name="T5" fmla="*/ 3 h 45"/>
                  <a:gd name="T6" fmla="*/ 25 w 31"/>
                  <a:gd name="T7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1" h="45">
                    <a:moveTo>
                      <a:pt x="25" y="0"/>
                    </a:moveTo>
                    <a:lnTo>
                      <a:pt x="0" y="45"/>
                    </a:lnTo>
                    <a:lnTo>
                      <a:pt x="31" y="3"/>
                    </a:lnTo>
                    <a:lnTo>
                      <a:pt x="25" y="0"/>
                    </a:lnTo>
                    <a:close/>
                  </a:path>
                </a:pathLst>
              </a:custGeom>
              <a:solidFill>
                <a:srgbClr val="C1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/>
              </a:p>
            </p:txBody>
          </p:sp>
          <p:sp>
            <p:nvSpPr>
              <p:cNvPr id="66" name="Freeform 68"/>
              <p:cNvSpPr>
                <a:spLocks/>
              </p:cNvSpPr>
              <p:nvPr/>
            </p:nvSpPr>
            <p:spPr bwMode="auto">
              <a:xfrm>
                <a:off x="6127" y="3235"/>
                <a:ext cx="31" cy="45"/>
              </a:xfrm>
              <a:custGeom>
                <a:avLst/>
                <a:gdLst>
                  <a:gd name="T0" fmla="*/ 25 w 31"/>
                  <a:gd name="T1" fmla="*/ 0 h 45"/>
                  <a:gd name="T2" fmla="*/ 0 w 31"/>
                  <a:gd name="T3" fmla="*/ 45 h 45"/>
                  <a:gd name="T4" fmla="*/ 31 w 31"/>
                  <a:gd name="T5" fmla="*/ 3 h 45"/>
                  <a:gd name="T6" fmla="*/ 25 w 31"/>
                  <a:gd name="T7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1" h="45">
                    <a:moveTo>
                      <a:pt x="25" y="0"/>
                    </a:moveTo>
                    <a:lnTo>
                      <a:pt x="0" y="45"/>
                    </a:lnTo>
                    <a:lnTo>
                      <a:pt x="31" y="3"/>
                    </a:lnTo>
                    <a:lnTo>
                      <a:pt x="25" y="0"/>
                    </a:lnTo>
                  </a:path>
                </a:pathLst>
              </a:custGeom>
              <a:noFill/>
              <a:ln w="4763" cap="rnd">
                <a:solidFill>
                  <a:srgbClr val="4F4F4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/>
              </a:p>
            </p:txBody>
          </p:sp>
          <p:sp>
            <p:nvSpPr>
              <p:cNvPr id="67" name="Freeform 69"/>
              <p:cNvSpPr>
                <a:spLocks/>
              </p:cNvSpPr>
              <p:nvPr/>
            </p:nvSpPr>
            <p:spPr bwMode="auto">
              <a:xfrm>
                <a:off x="6136" y="3218"/>
                <a:ext cx="36" cy="42"/>
              </a:xfrm>
              <a:custGeom>
                <a:avLst/>
                <a:gdLst>
                  <a:gd name="T0" fmla="*/ 5 w 36"/>
                  <a:gd name="T1" fmla="*/ 3 h 42"/>
                  <a:gd name="T2" fmla="*/ 2 w 36"/>
                  <a:gd name="T3" fmla="*/ 6 h 42"/>
                  <a:gd name="T4" fmla="*/ 0 w 36"/>
                  <a:gd name="T5" fmla="*/ 12 h 42"/>
                  <a:gd name="T6" fmla="*/ 5 w 36"/>
                  <a:gd name="T7" fmla="*/ 28 h 42"/>
                  <a:gd name="T8" fmla="*/ 19 w 36"/>
                  <a:gd name="T9" fmla="*/ 40 h 42"/>
                  <a:gd name="T10" fmla="*/ 25 w 36"/>
                  <a:gd name="T11" fmla="*/ 42 h 42"/>
                  <a:gd name="T12" fmla="*/ 30 w 36"/>
                  <a:gd name="T13" fmla="*/ 42 h 42"/>
                  <a:gd name="T14" fmla="*/ 33 w 36"/>
                  <a:gd name="T15" fmla="*/ 37 h 42"/>
                  <a:gd name="T16" fmla="*/ 36 w 36"/>
                  <a:gd name="T17" fmla="*/ 31 h 42"/>
                  <a:gd name="T18" fmla="*/ 30 w 36"/>
                  <a:gd name="T19" fmla="*/ 15 h 42"/>
                  <a:gd name="T20" fmla="*/ 16 w 36"/>
                  <a:gd name="T21" fmla="*/ 3 h 42"/>
                  <a:gd name="T22" fmla="*/ 11 w 36"/>
                  <a:gd name="T23" fmla="*/ 0 h 42"/>
                  <a:gd name="T24" fmla="*/ 5 w 36"/>
                  <a:gd name="T25" fmla="*/ 3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6" h="42">
                    <a:moveTo>
                      <a:pt x="5" y="3"/>
                    </a:moveTo>
                    <a:lnTo>
                      <a:pt x="2" y="6"/>
                    </a:lnTo>
                    <a:lnTo>
                      <a:pt x="0" y="12"/>
                    </a:lnTo>
                    <a:lnTo>
                      <a:pt x="5" y="28"/>
                    </a:lnTo>
                    <a:lnTo>
                      <a:pt x="19" y="40"/>
                    </a:lnTo>
                    <a:lnTo>
                      <a:pt x="25" y="42"/>
                    </a:lnTo>
                    <a:lnTo>
                      <a:pt x="30" y="42"/>
                    </a:lnTo>
                    <a:lnTo>
                      <a:pt x="33" y="37"/>
                    </a:lnTo>
                    <a:lnTo>
                      <a:pt x="36" y="31"/>
                    </a:lnTo>
                    <a:lnTo>
                      <a:pt x="30" y="15"/>
                    </a:lnTo>
                    <a:lnTo>
                      <a:pt x="16" y="3"/>
                    </a:lnTo>
                    <a:lnTo>
                      <a:pt x="11" y="0"/>
                    </a:lnTo>
                    <a:lnTo>
                      <a:pt x="5" y="3"/>
                    </a:lnTo>
                    <a:close/>
                  </a:path>
                </a:pathLst>
              </a:custGeom>
              <a:solidFill>
                <a:srgbClr val="C2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/>
              </a:p>
            </p:txBody>
          </p:sp>
          <p:sp>
            <p:nvSpPr>
              <p:cNvPr id="68" name="Freeform 70"/>
              <p:cNvSpPr>
                <a:spLocks/>
              </p:cNvSpPr>
              <p:nvPr/>
            </p:nvSpPr>
            <p:spPr bwMode="auto">
              <a:xfrm>
                <a:off x="6136" y="3218"/>
                <a:ext cx="36" cy="42"/>
              </a:xfrm>
              <a:custGeom>
                <a:avLst/>
                <a:gdLst>
                  <a:gd name="T0" fmla="*/ 5 w 36"/>
                  <a:gd name="T1" fmla="*/ 3 h 42"/>
                  <a:gd name="T2" fmla="*/ 2 w 36"/>
                  <a:gd name="T3" fmla="*/ 6 h 42"/>
                  <a:gd name="T4" fmla="*/ 0 w 36"/>
                  <a:gd name="T5" fmla="*/ 12 h 42"/>
                  <a:gd name="T6" fmla="*/ 5 w 36"/>
                  <a:gd name="T7" fmla="*/ 28 h 42"/>
                  <a:gd name="T8" fmla="*/ 19 w 36"/>
                  <a:gd name="T9" fmla="*/ 40 h 42"/>
                  <a:gd name="T10" fmla="*/ 25 w 36"/>
                  <a:gd name="T11" fmla="*/ 42 h 42"/>
                  <a:gd name="T12" fmla="*/ 30 w 36"/>
                  <a:gd name="T13" fmla="*/ 42 h 42"/>
                  <a:gd name="T14" fmla="*/ 33 w 36"/>
                  <a:gd name="T15" fmla="*/ 37 h 42"/>
                  <a:gd name="T16" fmla="*/ 36 w 36"/>
                  <a:gd name="T17" fmla="*/ 31 h 42"/>
                  <a:gd name="T18" fmla="*/ 30 w 36"/>
                  <a:gd name="T19" fmla="*/ 15 h 42"/>
                  <a:gd name="T20" fmla="*/ 16 w 36"/>
                  <a:gd name="T21" fmla="*/ 3 h 42"/>
                  <a:gd name="T22" fmla="*/ 11 w 36"/>
                  <a:gd name="T23" fmla="*/ 0 h 42"/>
                  <a:gd name="T24" fmla="*/ 5 w 36"/>
                  <a:gd name="T25" fmla="*/ 3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6" h="42">
                    <a:moveTo>
                      <a:pt x="5" y="3"/>
                    </a:moveTo>
                    <a:lnTo>
                      <a:pt x="2" y="6"/>
                    </a:lnTo>
                    <a:lnTo>
                      <a:pt x="0" y="12"/>
                    </a:lnTo>
                    <a:lnTo>
                      <a:pt x="5" y="28"/>
                    </a:lnTo>
                    <a:lnTo>
                      <a:pt x="19" y="40"/>
                    </a:lnTo>
                    <a:lnTo>
                      <a:pt x="25" y="42"/>
                    </a:lnTo>
                    <a:lnTo>
                      <a:pt x="30" y="42"/>
                    </a:lnTo>
                    <a:lnTo>
                      <a:pt x="33" y="37"/>
                    </a:lnTo>
                    <a:lnTo>
                      <a:pt x="36" y="31"/>
                    </a:lnTo>
                    <a:lnTo>
                      <a:pt x="30" y="15"/>
                    </a:lnTo>
                    <a:lnTo>
                      <a:pt x="16" y="3"/>
                    </a:lnTo>
                    <a:lnTo>
                      <a:pt x="11" y="0"/>
                    </a:lnTo>
                    <a:lnTo>
                      <a:pt x="5" y="3"/>
                    </a:lnTo>
                  </a:path>
                </a:pathLst>
              </a:custGeom>
              <a:noFill/>
              <a:ln w="4763" cap="rnd">
                <a:solidFill>
                  <a:srgbClr val="C2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/>
              </a:p>
            </p:txBody>
          </p:sp>
          <p:sp>
            <p:nvSpPr>
              <p:cNvPr id="69" name="Freeform 71"/>
              <p:cNvSpPr>
                <a:spLocks/>
              </p:cNvSpPr>
              <p:nvPr/>
            </p:nvSpPr>
            <p:spPr bwMode="auto">
              <a:xfrm>
                <a:off x="6136" y="3218"/>
                <a:ext cx="36" cy="42"/>
              </a:xfrm>
              <a:custGeom>
                <a:avLst/>
                <a:gdLst>
                  <a:gd name="T0" fmla="*/ 5 w 36"/>
                  <a:gd name="T1" fmla="*/ 3 h 42"/>
                  <a:gd name="T2" fmla="*/ 2 w 36"/>
                  <a:gd name="T3" fmla="*/ 6 h 42"/>
                  <a:gd name="T4" fmla="*/ 0 w 36"/>
                  <a:gd name="T5" fmla="*/ 12 h 42"/>
                  <a:gd name="T6" fmla="*/ 5 w 36"/>
                  <a:gd name="T7" fmla="*/ 28 h 42"/>
                  <a:gd name="T8" fmla="*/ 19 w 36"/>
                  <a:gd name="T9" fmla="*/ 40 h 42"/>
                  <a:gd name="T10" fmla="*/ 25 w 36"/>
                  <a:gd name="T11" fmla="*/ 42 h 42"/>
                  <a:gd name="T12" fmla="*/ 30 w 36"/>
                  <a:gd name="T13" fmla="*/ 42 h 42"/>
                  <a:gd name="T14" fmla="*/ 33 w 36"/>
                  <a:gd name="T15" fmla="*/ 37 h 42"/>
                  <a:gd name="T16" fmla="*/ 36 w 36"/>
                  <a:gd name="T17" fmla="*/ 31 h 42"/>
                  <a:gd name="T18" fmla="*/ 30 w 36"/>
                  <a:gd name="T19" fmla="*/ 15 h 42"/>
                  <a:gd name="T20" fmla="*/ 16 w 36"/>
                  <a:gd name="T21" fmla="*/ 3 h 42"/>
                  <a:gd name="T22" fmla="*/ 11 w 36"/>
                  <a:gd name="T23" fmla="*/ 0 h 42"/>
                  <a:gd name="T24" fmla="*/ 5 w 36"/>
                  <a:gd name="T25" fmla="*/ 3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6" h="42">
                    <a:moveTo>
                      <a:pt x="5" y="3"/>
                    </a:moveTo>
                    <a:lnTo>
                      <a:pt x="2" y="6"/>
                    </a:lnTo>
                    <a:lnTo>
                      <a:pt x="0" y="12"/>
                    </a:lnTo>
                    <a:lnTo>
                      <a:pt x="5" y="28"/>
                    </a:lnTo>
                    <a:lnTo>
                      <a:pt x="19" y="40"/>
                    </a:lnTo>
                    <a:lnTo>
                      <a:pt x="25" y="42"/>
                    </a:lnTo>
                    <a:lnTo>
                      <a:pt x="30" y="42"/>
                    </a:lnTo>
                    <a:lnTo>
                      <a:pt x="33" y="37"/>
                    </a:lnTo>
                    <a:lnTo>
                      <a:pt x="36" y="31"/>
                    </a:lnTo>
                    <a:lnTo>
                      <a:pt x="30" y="15"/>
                    </a:lnTo>
                    <a:lnTo>
                      <a:pt x="16" y="3"/>
                    </a:lnTo>
                    <a:lnTo>
                      <a:pt x="11" y="0"/>
                    </a:lnTo>
                    <a:lnTo>
                      <a:pt x="5" y="3"/>
                    </a:lnTo>
                    <a:close/>
                  </a:path>
                </a:pathLst>
              </a:custGeom>
              <a:solidFill>
                <a:srgbClr val="C2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/>
              </a:p>
            </p:txBody>
          </p:sp>
          <p:sp>
            <p:nvSpPr>
              <p:cNvPr id="70" name="Freeform 72"/>
              <p:cNvSpPr>
                <a:spLocks/>
              </p:cNvSpPr>
              <p:nvPr/>
            </p:nvSpPr>
            <p:spPr bwMode="auto">
              <a:xfrm>
                <a:off x="6136" y="3218"/>
                <a:ext cx="36" cy="42"/>
              </a:xfrm>
              <a:custGeom>
                <a:avLst/>
                <a:gdLst>
                  <a:gd name="T0" fmla="*/ 5 w 36"/>
                  <a:gd name="T1" fmla="*/ 3 h 42"/>
                  <a:gd name="T2" fmla="*/ 2 w 36"/>
                  <a:gd name="T3" fmla="*/ 6 h 42"/>
                  <a:gd name="T4" fmla="*/ 0 w 36"/>
                  <a:gd name="T5" fmla="*/ 12 h 42"/>
                  <a:gd name="T6" fmla="*/ 5 w 36"/>
                  <a:gd name="T7" fmla="*/ 28 h 42"/>
                  <a:gd name="T8" fmla="*/ 19 w 36"/>
                  <a:gd name="T9" fmla="*/ 40 h 42"/>
                  <a:gd name="T10" fmla="*/ 25 w 36"/>
                  <a:gd name="T11" fmla="*/ 42 h 42"/>
                  <a:gd name="T12" fmla="*/ 30 w 36"/>
                  <a:gd name="T13" fmla="*/ 42 h 42"/>
                  <a:gd name="T14" fmla="*/ 33 w 36"/>
                  <a:gd name="T15" fmla="*/ 37 h 42"/>
                  <a:gd name="T16" fmla="*/ 36 w 36"/>
                  <a:gd name="T17" fmla="*/ 31 h 42"/>
                  <a:gd name="T18" fmla="*/ 30 w 36"/>
                  <a:gd name="T19" fmla="*/ 15 h 42"/>
                  <a:gd name="T20" fmla="*/ 16 w 36"/>
                  <a:gd name="T21" fmla="*/ 3 h 42"/>
                  <a:gd name="T22" fmla="*/ 11 w 36"/>
                  <a:gd name="T23" fmla="*/ 0 h 42"/>
                  <a:gd name="T24" fmla="*/ 5 w 36"/>
                  <a:gd name="T25" fmla="*/ 3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6" h="42">
                    <a:moveTo>
                      <a:pt x="5" y="3"/>
                    </a:moveTo>
                    <a:lnTo>
                      <a:pt x="2" y="6"/>
                    </a:lnTo>
                    <a:lnTo>
                      <a:pt x="0" y="12"/>
                    </a:lnTo>
                    <a:lnTo>
                      <a:pt x="5" y="28"/>
                    </a:lnTo>
                    <a:lnTo>
                      <a:pt x="19" y="40"/>
                    </a:lnTo>
                    <a:lnTo>
                      <a:pt x="25" y="42"/>
                    </a:lnTo>
                    <a:lnTo>
                      <a:pt x="30" y="42"/>
                    </a:lnTo>
                    <a:lnTo>
                      <a:pt x="33" y="37"/>
                    </a:lnTo>
                    <a:lnTo>
                      <a:pt x="36" y="31"/>
                    </a:lnTo>
                    <a:lnTo>
                      <a:pt x="30" y="15"/>
                    </a:lnTo>
                    <a:lnTo>
                      <a:pt x="16" y="3"/>
                    </a:lnTo>
                    <a:lnTo>
                      <a:pt x="11" y="0"/>
                    </a:lnTo>
                    <a:lnTo>
                      <a:pt x="5" y="3"/>
                    </a:lnTo>
                  </a:path>
                </a:pathLst>
              </a:custGeom>
              <a:noFill/>
              <a:ln w="4763" cap="rnd">
                <a:solidFill>
                  <a:srgbClr val="C2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/>
              </a:p>
            </p:txBody>
          </p:sp>
          <p:sp>
            <p:nvSpPr>
              <p:cNvPr id="71" name="Freeform 73"/>
              <p:cNvSpPr>
                <a:spLocks/>
              </p:cNvSpPr>
              <p:nvPr/>
            </p:nvSpPr>
            <p:spPr bwMode="auto">
              <a:xfrm>
                <a:off x="6138" y="3216"/>
                <a:ext cx="34" cy="42"/>
              </a:xfrm>
              <a:custGeom>
                <a:avLst/>
                <a:gdLst>
                  <a:gd name="T0" fmla="*/ 3 w 34"/>
                  <a:gd name="T1" fmla="*/ 2 h 42"/>
                  <a:gd name="T2" fmla="*/ 0 w 34"/>
                  <a:gd name="T3" fmla="*/ 5 h 42"/>
                  <a:gd name="T4" fmla="*/ 0 w 34"/>
                  <a:gd name="T5" fmla="*/ 14 h 42"/>
                  <a:gd name="T6" fmla="*/ 9 w 34"/>
                  <a:gd name="T7" fmla="*/ 28 h 42"/>
                  <a:gd name="T8" fmla="*/ 23 w 34"/>
                  <a:gd name="T9" fmla="*/ 39 h 42"/>
                  <a:gd name="T10" fmla="*/ 28 w 34"/>
                  <a:gd name="T11" fmla="*/ 42 h 42"/>
                  <a:gd name="T12" fmla="*/ 34 w 34"/>
                  <a:gd name="T13" fmla="*/ 39 h 42"/>
                  <a:gd name="T14" fmla="*/ 34 w 34"/>
                  <a:gd name="T15" fmla="*/ 36 h 42"/>
                  <a:gd name="T16" fmla="*/ 34 w 34"/>
                  <a:gd name="T17" fmla="*/ 30 h 42"/>
                  <a:gd name="T18" fmla="*/ 28 w 34"/>
                  <a:gd name="T19" fmla="*/ 14 h 42"/>
                  <a:gd name="T20" fmla="*/ 14 w 34"/>
                  <a:gd name="T21" fmla="*/ 2 h 42"/>
                  <a:gd name="T22" fmla="*/ 9 w 34"/>
                  <a:gd name="T23" fmla="*/ 0 h 42"/>
                  <a:gd name="T24" fmla="*/ 3 w 34"/>
                  <a:gd name="T25" fmla="*/ 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4" h="42">
                    <a:moveTo>
                      <a:pt x="3" y="2"/>
                    </a:moveTo>
                    <a:lnTo>
                      <a:pt x="0" y="5"/>
                    </a:lnTo>
                    <a:lnTo>
                      <a:pt x="0" y="14"/>
                    </a:lnTo>
                    <a:lnTo>
                      <a:pt x="9" y="28"/>
                    </a:lnTo>
                    <a:lnTo>
                      <a:pt x="23" y="39"/>
                    </a:lnTo>
                    <a:lnTo>
                      <a:pt x="28" y="42"/>
                    </a:lnTo>
                    <a:lnTo>
                      <a:pt x="34" y="39"/>
                    </a:lnTo>
                    <a:lnTo>
                      <a:pt x="34" y="36"/>
                    </a:lnTo>
                    <a:lnTo>
                      <a:pt x="34" y="30"/>
                    </a:lnTo>
                    <a:lnTo>
                      <a:pt x="28" y="14"/>
                    </a:lnTo>
                    <a:lnTo>
                      <a:pt x="14" y="2"/>
                    </a:lnTo>
                    <a:lnTo>
                      <a:pt x="9" y="0"/>
                    </a:lnTo>
                    <a:lnTo>
                      <a:pt x="3" y="2"/>
                    </a:lnTo>
                    <a:close/>
                  </a:path>
                </a:pathLst>
              </a:custGeom>
              <a:solidFill>
                <a:srgbClr val="FF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/>
              </a:p>
            </p:txBody>
          </p:sp>
          <p:sp>
            <p:nvSpPr>
              <p:cNvPr id="72" name="Freeform 74"/>
              <p:cNvSpPr>
                <a:spLocks/>
              </p:cNvSpPr>
              <p:nvPr/>
            </p:nvSpPr>
            <p:spPr bwMode="auto">
              <a:xfrm>
                <a:off x="6138" y="3216"/>
                <a:ext cx="34" cy="42"/>
              </a:xfrm>
              <a:custGeom>
                <a:avLst/>
                <a:gdLst>
                  <a:gd name="T0" fmla="*/ 3 w 34"/>
                  <a:gd name="T1" fmla="*/ 2 h 42"/>
                  <a:gd name="T2" fmla="*/ 0 w 34"/>
                  <a:gd name="T3" fmla="*/ 5 h 42"/>
                  <a:gd name="T4" fmla="*/ 0 w 34"/>
                  <a:gd name="T5" fmla="*/ 14 h 42"/>
                  <a:gd name="T6" fmla="*/ 9 w 34"/>
                  <a:gd name="T7" fmla="*/ 28 h 42"/>
                  <a:gd name="T8" fmla="*/ 23 w 34"/>
                  <a:gd name="T9" fmla="*/ 39 h 42"/>
                  <a:gd name="T10" fmla="*/ 28 w 34"/>
                  <a:gd name="T11" fmla="*/ 42 h 42"/>
                  <a:gd name="T12" fmla="*/ 34 w 34"/>
                  <a:gd name="T13" fmla="*/ 39 h 42"/>
                  <a:gd name="T14" fmla="*/ 34 w 34"/>
                  <a:gd name="T15" fmla="*/ 36 h 42"/>
                  <a:gd name="T16" fmla="*/ 34 w 34"/>
                  <a:gd name="T17" fmla="*/ 30 h 42"/>
                  <a:gd name="T18" fmla="*/ 28 w 34"/>
                  <a:gd name="T19" fmla="*/ 14 h 42"/>
                  <a:gd name="T20" fmla="*/ 14 w 34"/>
                  <a:gd name="T21" fmla="*/ 2 h 42"/>
                  <a:gd name="T22" fmla="*/ 9 w 34"/>
                  <a:gd name="T23" fmla="*/ 0 h 42"/>
                  <a:gd name="T24" fmla="*/ 3 w 34"/>
                  <a:gd name="T25" fmla="*/ 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4" h="42">
                    <a:moveTo>
                      <a:pt x="3" y="2"/>
                    </a:moveTo>
                    <a:lnTo>
                      <a:pt x="0" y="5"/>
                    </a:lnTo>
                    <a:lnTo>
                      <a:pt x="0" y="14"/>
                    </a:lnTo>
                    <a:lnTo>
                      <a:pt x="9" y="28"/>
                    </a:lnTo>
                    <a:lnTo>
                      <a:pt x="23" y="39"/>
                    </a:lnTo>
                    <a:lnTo>
                      <a:pt x="28" y="42"/>
                    </a:lnTo>
                    <a:lnTo>
                      <a:pt x="34" y="39"/>
                    </a:lnTo>
                    <a:lnTo>
                      <a:pt x="34" y="36"/>
                    </a:lnTo>
                    <a:lnTo>
                      <a:pt x="34" y="30"/>
                    </a:lnTo>
                    <a:lnTo>
                      <a:pt x="28" y="14"/>
                    </a:lnTo>
                    <a:lnTo>
                      <a:pt x="14" y="2"/>
                    </a:lnTo>
                    <a:lnTo>
                      <a:pt x="9" y="0"/>
                    </a:lnTo>
                    <a:lnTo>
                      <a:pt x="3" y="2"/>
                    </a:lnTo>
                  </a:path>
                </a:pathLst>
              </a:custGeom>
              <a:noFill/>
              <a:ln w="4763" cap="rnd">
                <a:solidFill>
                  <a:srgbClr val="FF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/>
              </a:p>
            </p:txBody>
          </p:sp>
          <p:sp>
            <p:nvSpPr>
              <p:cNvPr id="73" name="Freeform 75"/>
              <p:cNvSpPr>
                <a:spLocks/>
              </p:cNvSpPr>
              <p:nvPr/>
            </p:nvSpPr>
            <p:spPr bwMode="auto">
              <a:xfrm>
                <a:off x="6138" y="3216"/>
                <a:ext cx="34" cy="42"/>
              </a:xfrm>
              <a:custGeom>
                <a:avLst/>
                <a:gdLst>
                  <a:gd name="T0" fmla="*/ 3 w 34"/>
                  <a:gd name="T1" fmla="*/ 2 h 42"/>
                  <a:gd name="T2" fmla="*/ 0 w 34"/>
                  <a:gd name="T3" fmla="*/ 5 h 42"/>
                  <a:gd name="T4" fmla="*/ 0 w 34"/>
                  <a:gd name="T5" fmla="*/ 14 h 42"/>
                  <a:gd name="T6" fmla="*/ 9 w 34"/>
                  <a:gd name="T7" fmla="*/ 28 h 42"/>
                  <a:gd name="T8" fmla="*/ 23 w 34"/>
                  <a:gd name="T9" fmla="*/ 39 h 42"/>
                  <a:gd name="T10" fmla="*/ 28 w 34"/>
                  <a:gd name="T11" fmla="*/ 42 h 42"/>
                  <a:gd name="T12" fmla="*/ 34 w 34"/>
                  <a:gd name="T13" fmla="*/ 39 h 42"/>
                  <a:gd name="T14" fmla="*/ 34 w 34"/>
                  <a:gd name="T15" fmla="*/ 36 h 42"/>
                  <a:gd name="T16" fmla="*/ 34 w 34"/>
                  <a:gd name="T17" fmla="*/ 30 h 42"/>
                  <a:gd name="T18" fmla="*/ 28 w 34"/>
                  <a:gd name="T19" fmla="*/ 14 h 42"/>
                  <a:gd name="T20" fmla="*/ 14 w 34"/>
                  <a:gd name="T21" fmla="*/ 2 h 42"/>
                  <a:gd name="T22" fmla="*/ 9 w 34"/>
                  <a:gd name="T23" fmla="*/ 0 h 42"/>
                  <a:gd name="T24" fmla="*/ 3 w 34"/>
                  <a:gd name="T25" fmla="*/ 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4" h="42">
                    <a:moveTo>
                      <a:pt x="3" y="2"/>
                    </a:moveTo>
                    <a:lnTo>
                      <a:pt x="0" y="5"/>
                    </a:lnTo>
                    <a:lnTo>
                      <a:pt x="0" y="14"/>
                    </a:lnTo>
                    <a:lnTo>
                      <a:pt x="9" y="28"/>
                    </a:lnTo>
                    <a:lnTo>
                      <a:pt x="23" y="39"/>
                    </a:lnTo>
                    <a:lnTo>
                      <a:pt x="28" y="42"/>
                    </a:lnTo>
                    <a:lnTo>
                      <a:pt x="34" y="39"/>
                    </a:lnTo>
                    <a:lnTo>
                      <a:pt x="34" y="36"/>
                    </a:lnTo>
                    <a:lnTo>
                      <a:pt x="34" y="30"/>
                    </a:lnTo>
                    <a:lnTo>
                      <a:pt x="28" y="14"/>
                    </a:lnTo>
                    <a:lnTo>
                      <a:pt x="14" y="2"/>
                    </a:lnTo>
                    <a:lnTo>
                      <a:pt x="9" y="0"/>
                    </a:lnTo>
                    <a:lnTo>
                      <a:pt x="3" y="2"/>
                    </a:lnTo>
                    <a:close/>
                  </a:path>
                </a:pathLst>
              </a:custGeom>
              <a:solidFill>
                <a:srgbClr val="FF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/>
              </a:p>
            </p:txBody>
          </p:sp>
          <p:sp>
            <p:nvSpPr>
              <p:cNvPr id="74" name="Freeform 76"/>
              <p:cNvSpPr>
                <a:spLocks/>
              </p:cNvSpPr>
              <p:nvPr/>
            </p:nvSpPr>
            <p:spPr bwMode="auto">
              <a:xfrm>
                <a:off x="6138" y="3216"/>
                <a:ext cx="34" cy="42"/>
              </a:xfrm>
              <a:custGeom>
                <a:avLst/>
                <a:gdLst>
                  <a:gd name="T0" fmla="*/ 3 w 34"/>
                  <a:gd name="T1" fmla="*/ 2 h 42"/>
                  <a:gd name="T2" fmla="*/ 0 w 34"/>
                  <a:gd name="T3" fmla="*/ 5 h 42"/>
                  <a:gd name="T4" fmla="*/ 0 w 34"/>
                  <a:gd name="T5" fmla="*/ 14 h 42"/>
                  <a:gd name="T6" fmla="*/ 9 w 34"/>
                  <a:gd name="T7" fmla="*/ 28 h 42"/>
                  <a:gd name="T8" fmla="*/ 23 w 34"/>
                  <a:gd name="T9" fmla="*/ 39 h 42"/>
                  <a:gd name="T10" fmla="*/ 28 w 34"/>
                  <a:gd name="T11" fmla="*/ 42 h 42"/>
                  <a:gd name="T12" fmla="*/ 34 w 34"/>
                  <a:gd name="T13" fmla="*/ 39 h 42"/>
                  <a:gd name="T14" fmla="*/ 34 w 34"/>
                  <a:gd name="T15" fmla="*/ 36 h 42"/>
                  <a:gd name="T16" fmla="*/ 34 w 34"/>
                  <a:gd name="T17" fmla="*/ 30 h 42"/>
                  <a:gd name="T18" fmla="*/ 28 w 34"/>
                  <a:gd name="T19" fmla="*/ 14 h 42"/>
                  <a:gd name="T20" fmla="*/ 14 w 34"/>
                  <a:gd name="T21" fmla="*/ 2 h 42"/>
                  <a:gd name="T22" fmla="*/ 9 w 34"/>
                  <a:gd name="T23" fmla="*/ 0 h 42"/>
                  <a:gd name="T24" fmla="*/ 3 w 34"/>
                  <a:gd name="T25" fmla="*/ 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4" h="42">
                    <a:moveTo>
                      <a:pt x="3" y="2"/>
                    </a:moveTo>
                    <a:lnTo>
                      <a:pt x="0" y="5"/>
                    </a:lnTo>
                    <a:lnTo>
                      <a:pt x="0" y="14"/>
                    </a:lnTo>
                    <a:lnTo>
                      <a:pt x="9" y="28"/>
                    </a:lnTo>
                    <a:lnTo>
                      <a:pt x="23" y="39"/>
                    </a:lnTo>
                    <a:lnTo>
                      <a:pt x="28" y="42"/>
                    </a:lnTo>
                    <a:lnTo>
                      <a:pt x="34" y="39"/>
                    </a:lnTo>
                    <a:lnTo>
                      <a:pt x="34" y="36"/>
                    </a:lnTo>
                    <a:lnTo>
                      <a:pt x="34" y="30"/>
                    </a:lnTo>
                    <a:lnTo>
                      <a:pt x="28" y="14"/>
                    </a:lnTo>
                    <a:lnTo>
                      <a:pt x="14" y="2"/>
                    </a:lnTo>
                    <a:lnTo>
                      <a:pt x="9" y="0"/>
                    </a:lnTo>
                    <a:lnTo>
                      <a:pt x="3" y="2"/>
                    </a:lnTo>
                  </a:path>
                </a:pathLst>
              </a:custGeom>
              <a:noFill/>
              <a:ln w="4763" cap="rnd">
                <a:solidFill>
                  <a:srgbClr val="FF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/>
              </a:p>
            </p:txBody>
          </p:sp>
          <p:sp>
            <p:nvSpPr>
              <p:cNvPr id="75" name="Freeform 77"/>
              <p:cNvSpPr>
                <a:spLocks/>
              </p:cNvSpPr>
              <p:nvPr/>
            </p:nvSpPr>
            <p:spPr bwMode="auto">
              <a:xfrm>
                <a:off x="6149" y="3207"/>
                <a:ext cx="23" cy="34"/>
              </a:xfrm>
              <a:custGeom>
                <a:avLst/>
                <a:gdLst>
                  <a:gd name="T0" fmla="*/ 0 w 23"/>
                  <a:gd name="T1" fmla="*/ 20 h 34"/>
                  <a:gd name="T2" fmla="*/ 3 w 23"/>
                  <a:gd name="T3" fmla="*/ 31 h 34"/>
                  <a:gd name="T4" fmla="*/ 9 w 23"/>
                  <a:gd name="T5" fmla="*/ 34 h 34"/>
                  <a:gd name="T6" fmla="*/ 23 w 23"/>
                  <a:gd name="T7" fmla="*/ 11 h 34"/>
                  <a:gd name="T8" fmla="*/ 12 w 23"/>
                  <a:gd name="T9" fmla="*/ 0 h 34"/>
                  <a:gd name="T10" fmla="*/ 0 w 23"/>
                  <a:gd name="T11" fmla="*/ 2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3" h="34">
                    <a:moveTo>
                      <a:pt x="0" y="20"/>
                    </a:moveTo>
                    <a:lnTo>
                      <a:pt x="3" y="31"/>
                    </a:lnTo>
                    <a:lnTo>
                      <a:pt x="9" y="34"/>
                    </a:lnTo>
                    <a:lnTo>
                      <a:pt x="23" y="11"/>
                    </a:lnTo>
                    <a:lnTo>
                      <a:pt x="12" y="0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FF407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/>
              </a:p>
            </p:txBody>
          </p:sp>
          <p:sp>
            <p:nvSpPr>
              <p:cNvPr id="76" name="Freeform 78"/>
              <p:cNvSpPr>
                <a:spLocks/>
              </p:cNvSpPr>
              <p:nvPr/>
            </p:nvSpPr>
            <p:spPr bwMode="auto">
              <a:xfrm>
                <a:off x="6158" y="3196"/>
                <a:ext cx="22" cy="28"/>
              </a:xfrm>
              <a:custGeom>
                <a:avLst/>
                <a:gdLst>
                  <a:gd name="T0" fmla="*/ 3 w 22"/>
                  <a:gd name="T1" fmla="*/ 6 h 28"/>
                  <a:gd name="T2" fmla="*/ 0 w 22"/>
                  <a:gd name="T3" fmla="*/ 9 h 28"/>
                  <a:gd name="T4" fmla="*/ 3 w 22"/>
                  <a:gd name="T5" fmla="*/ 14 h 28"/>
                  <a:gd name="T6" fmla="*/ 5 w 22"/>
                  <a:gd name="T7" fmla="*/ 20 h 28"/>
                  <a:gd name="T8" fmla="*/ 5 w 22"/>
                  <a:gd name="T9" fmla="*/ 22 h 28"/>
                  <a:gd name="T10" fmla="*/ 16 w 22"/>
                  <a:gd name="T11" fmla="*/ 28 h 28"/>
                  <a:gd name="T12" fmla="*/ 22 w 22"/>
                  <a:gd name="T13" fmla="*/ 22 h 28"/>
                  <a:gd name="T14" fmla="*/ 19 w 22"/>
                  <a:gd name="T15" fmla="*/ 14 h 28"/>
                  <a:gd name="T16" fmla="*/ 8 w 22"/>
                  <a:gd name="T17" fmla="*/ 0 h 28"/>
                  <a:gd name="T18" fmla="*/ 3 w 22"/>
                  <a:gd name="T19" fmla="*/ 6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" h="28">
                    <a:moveTo>
                      <a:pt x="3" y="6"/>
                    </a:moveTo>
                    <a:lnTo>
                      <a:pt x="0" y="9"/>
                    </a:lnTo>
                    <a:lnTo>
                      <a:pt x="3" y="14"/>
                    </a:lnTo>
                    <a:lnTo>
                      <a:pt x="5" y="20"/>
                    </a:lnTo>
                    <a:lnTo>
                      <a:pt x="5" y="22"/>
                    </a:lnTo>
                    <a:lnTo>
                      <a:pt x="16" y="28"/>
                    </a:lnTo>
                    <a:lnTo>
                      <a:pt x="22" y="22"/>
                    </a:lnTo>
                    <a:lnTo>
                      <a:pt x="19" y="14"/>
                    </a:lnTo>
                    <a:lnTo>
                      <a:pt x="8" y="0"/>
                    </a:ln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/>
              </a:p>
            </p:txBody>
          </p:sp>
          <p:sp>
            <p:nvSpPr>
              <p:cNvPr id="77" name="Freeform 79"/>
              <p:cNvSpPr>
                <a:spLocks/>
              </p:cNvSpPr>
              <p:nvPr/>
            </p:nvSpPr>
            <p:spPr bwMode="auto">
              <a:xfrm>
                <a:off x="6158" y="3196"/>
                <a:ext cx="22" cy="28"/>
              </a:xfrm>
              <a:custGeom>
                <a:avLst/>
                <a:gdLst>
                  <a:gd name="T0" fmla="*/ 3 w 22"/>
                  <a:gd name="T1" fmla="*/ 6 h 28"/>
                  <a:gd name="T2" fmla="*/ 0 w 22"/>
                  <a:gd name="T3" fmla="*/ 9 h 28"/>
                  <a:gd name="T4" fmla="*/ 3 w 22"/>
                  <a:gd name="T5" fmla="*/ 14 h 28"/>
                  <a:gd name="T6" fmla="*/ 5 w 22"/>
                  <a:gd name="T7" fmla="*/ 20 h 28"/>
                  <a:gd name="T8" fmla="*/ 5 w 22"/>
                  <a:gd name="T9" fmla="*/ 22 h 28"/>
                  <a:gd name="T10" fmla="*/ 16 w 22"/>
                  <a:gd name="T11" fmla="*/ 28 h 28"/>
                  <a:gd name="T12" fmla="*/ 22 w 22"/>
                  <a:gd name="T13" fmla="*/ 22 h 28"/>
                  <a:gd name="T14" fmla="*/ 19 w 22"/>
                  <a:gd name="T15" fmla="*/ 14 h 28"/>
                  <a:gd name="T16" fmla="*/ 8 w 22"/>
                  <a:gd name="T17" fmla="*/ 0 h 28"/>
                  <a:gd name="T18" fmla="*/ 3 w 22"/>
                  <a:gd name="T19" fmla="*/ 6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" h="28">
                    <a:moveTo>
                      <a:pt x="3" y="6"/>
                    </a:moveTo>
                    <a:lnTo>
                      <a:pt x="0" y="9"/>
                    </a:lnTo>
                    <a:lnTo>
                      <a:pt x="3" y="14"/>
                    </a:lnTo>
                    <a:lnTo>
                      <a:pt x="5" y="20"/>
                    </a:lnTo>
                    <a:lnTo>
                      <a:pt x="5" y="22"/>
                    </a:lnTo>
                    <a:lnTo>
                      <a:pt x="16" y="28"/>
                    </a:lnTo>
                    <a:lnTo>
                      <a:pt x="22" y="22"/>
                    </a:lnTo>
                    <a:lnTo>
                      <a:pt x="19" y="14"/>
                    </a:lnTo>
                    <a:lnTo>
                      <a:pt x="8" y="0"/>
                    </a:lnTo>
                    <a:lnTo>
                      <a:pt x="3" y="6"/>
                    </a:lnTo>
                  </a:path>
                </a:pathLst>
              </a:custGeom>
              <a:noFill/>
              <a:ln w="4763" cap="rnd">
                <a:solidFill>
                  <a:srgbClr val="FF407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/>
              </a:p>
            </p:txBody>
          </p:sp>
          <p:sp>
            <p:nvSpPr>
              <p:cNvPr id="78" name="Freeform 80"/>
              <p:cNvSpPr>
                <a:spLocks/>
              </p:cNvSpPr>
              <p:nvPr/>
            </p:nvSpPr>
            <p:spPr bwMode="auto">
              <a:xfrm>
                <a:off x="6158" y="3196"/>
                <a:ext cx="22" cy="28"/>
              </a:xfrm>
              <a:custGeom>
                <a:avLst/>
                <a:gdLst>
                  <a:gd name="T0" fmla="*/ 3 w 22"/>
                  <a:gd name="T1" fmla="*/ 6 h 28"/>
                  <a:gd name="T2" fmla="*/ 0 w 22"/>
                  <a:gd name="T3" fmla="*/ 9 h 28"/>
                  <a:gd name="T4" fmla="*/ 3 w 22"/>
                  <a:gd name="T5" fmla="*/ 14 h 28"/>
                  <a:gd name="T6" fmla="*/ 5 w 22"/>
                  <a:gd name="T7" fmla="*/ 20 h 28"/>
                  <a:gd name="T8" fmla="*/ 5 w 22"/>
                  <a:gd name="T9" fmla="*/ 22 h 28"/>
                  <a:gd name="T10" fmla="*/ 16 w 22"/>
                  <a:gd name="T11" fmla="*/ 28 h 28"/>
                  <a:gd name="T12" fmla="*/ 22 w 22"/>
                  <a:gd name="T13" fmla="*/ 22 h 28"/>
                  <a:gd name="T14" fmla="*/ 19 w 22"/>
                  <a:gd name="T15" fmla="*/ 14 h 28"/>
                  <a:gd name="T16" fmla="*/ 8 w 22"/>
                  <a:gd name="T17" fmla="*/ 0 h 28"/>
                  <a:gd name="T18" fmla="*/ 3 w 22"/>
                  <a:gd name="T19" fmla="*/ 6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" h="28">
                    <a:moveTo>
                      <a:pt x="3" y="6"/>
                    </a:moveTo>
                    <a:lnTo>
                      <a:pt x="0" y="9"/>
                    </a:lnTo>
                    <a:lnTo>
                      <a:pt x="3" y="14"/>
                    </a:lnTo>
                    <a:lnTo>
                      <a:pt x="5" y="20"/>
                    </a:lnTo>
                    <a:lnTo>
                      <a:pt x="5" y="22"/>
                    </a:lnTo>
                    <a:lnTo>
                      <a:pt x="16" y="28"/>
                    </a:lnTo>
                    <a:lnTo>
                      <a:pt x="22" y="22"/>
                    </a:lnTo>
                    <a:lnTo>
                      <a:pt x="19" y="14"/>
                    </a:lnTo>
                    <a:lnTo>
                      <a:pt x="8" y="0"/>
                    </a:ln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/>
              </a:p>
            </p:txBody>
          </p:sp>
          <p:sp>
            <p:nvSpPr>
              <p:cNvPr id="79" name="Freeform 81"/>
              <p:cNvSpPr>
                <a:spLocks/>
              </p:cNvSpPr>
              <p:nvPr/>
            </p:nvSpPr>
            <p:spPr bwMode="auto">
              <a:xfrm>
                <a:off x="6158" y="3196"/>
                <a:ext cx="22" cy="28"/>
              </a:xfrm>
              <a:custGeom>
                <a:avLst/>
                <a:gdLst>
                  <a:gd name="T0" fmla="*/ 3 w 22"/>
                  <a:gd name="T1" fmla="*/ 6 h 28"/>
                  <a:gd name="T2" fmla="*/ 0 w 22"/>
                  <a:gd name="T3" fmla="*/ 9 h 28"/>
                  <a:gd name="T4" fmla="*/ 3 w 22"/>
                  <a:gd name="T5" fmla="*/ 14 h 28"/>
                  <a:gd name="T6" fmla="*/ 5 w 22"/>
                  <a:gd name="T7" fmla="*/ 20 h 28"/>
                  <a:gd name="T8" fmla="*/ 5 w 22"/>
                  <a:gd name="T9" fmla="*/ 22 h 28"/>
                  <a:gd name="T10" fmla="*/ 16 w 22"/>
                  <a:gd name="T11" fmla="*/ 28 h 28"/>
                  <a:gd name="T12" fmla="*/ 22 w 22"/>
                  <a:gd name="T13" fmla="*/ 22 h 28"/>
                  <a:gd name="T14" fmla="*/ 19 w 22"/>
                  <a:gd name="T15" fmla="*/ 14 h 28"/>
                  <a:gd name="T16" fmla="*/ 8 w 22"/>
                  <a:gd name="T17" fmla="*/ 0 h 28"/>
                  <a:gd name="T18" fmla="*/ 3 w 22"/>
                  <a:gd name="T19" fmla="*/ 6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2" h="28">
                    <a:moveTo>
                      <a:pt x="3" y="6"/>
                    </a:moveTo>
                    <a:lnTo>
                      <a:pt x="0" y="9"/>
                    </a:lnTo>
                    <a:lnTo>
                      <a:pt x="3" y="14"/>
                    </a:lnTo>
                    <a:lnTo>
                      <a:pt x="5" y="20"/>
                    </a:lnTo>
                    <a:lnTo>
                      <a:pt x="5" y="22"/>
                    </a:lnTo>
                    <a:lnTo>
                      <a:pt x="16" y="28"/>
                    </a:lnTo>
                    <a:lnTo>
                      <a:pt x="22" y="22"/>
                    </a:lnTo>
                    <a:lnTo>
                      <a:pt x="19" y="14"/>
                    </a:lnTo>
                    <a:lnTo>
                      <a:pt x="8" y="0"/>
                    </a:lnTo>
                    <a:lnTo>
                      <a:pt x="3" y="6"/>
                    </a:lnTo>
                  </a:path>
                </a:pathLst>
              </a:custGeom>
              <a:noFill/>
              <a:ln w="4763" cap="rnd">
                <a:solidFill>
                  <a:srgbClr val="FF407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/>
              </a:p>
            </p:txBody>
          </p:sp>
          <p:sp>
            <p:nvSpPr>
              <p:cNvPr id="80" name="Freeform 82"/>
              <p:cNvSpPr>
                <a:spLocks/>
              </p:cNvSpPr>
              <p:nvPr/>
            </p:nvSpPr>
            <p:spPr bwMode="auto">
              <a:xfrm>
                <a:off x="6149" y="3210"/>
                <a:ext cx="37" cy="45"/>
              </a:xfrm>
              <a:custGeom>
                <a:avLst/>
                <a:gdLst>
                  <a:gd name="T0" fmla="*/ 23 w 37"/>
                  <a:gd name="T1" fmla="*/ 0 h 45"/>
                  <a:gd name="T2" fmla="*/ 25 w 37"/>
                  <a:gd name="T3" fmla="*/ 8 h 45"/>
                  <a:gd name="T4" fmla="*/ 20 w 37"/>
                  <a:gd name="T5" fmla="*/ 11 h 45"/>
                  <a:gd name="T6" fmla="*/ 14 w 37"/>
                  <a:gd name="T7" fmla="*/ 6 h 45"/>
                  <a:gd name="T8" fmla="*/ 17 w 37"/>
                  <a:gd name="T9" fmla="*/ 8 h 45"/>
                  <a:gd name="T10" fmla="*/ 20 w 37"/>
                  <a:gd name="T11" fmla="*/ 14 h 45"/>
                  <a:gd name="T12" fmla="*/ 20 w 37"/>
                  <a:gd name="T13" fmla="*/ 17 h 45"/>
                  <a:gd name="T14" fmla="*/ 17 w 37"/>
                  <a:gd name="T15" fmla="*/ 23 h 45"/>
                  <a:gd name="T16" fmla="*/ 14 w 37"/>
                  <a:gd name="T17" fmla="*/ 25 h 45"/>
                  <a:gd name="T18" fmla="*/ 12 w 37"/>
                  <a:gd name="T19" fmla="*/ 28 h 45"/>
                  <a:gd name="T20" fmla="*/ 9 w 37"/>
                  <a:gd name="T21" fmla="*/ 31 h 45"/>
                  <a:gd name="T22" fmla="*/ 3 w 37"/>
                  <a:gd name="T23" fmla="*/ 25 h 45"/>
                  <a:gd name="T24" fmla="*/ 0 w 37"/>
                  <a:gd name="T25" fmla="*/ 20 h 45"/>
                  <a:gd name="T26" fmla="*/ 0 w 37"/>
                  <a:gd name="T27" fmla="*/ 25 h 45"/>
                  <a:gd name="T28" fmla="*/ 6 w 37"/>
                  <a:gd name="T29" fmla="*/ 31 h 45"/>
                  <a:gd name="T30" fmla="*/ 9 w 37"/>
                  <a:gd name="T31" fmla="*/ 34 h 45"/>
                  <a:gd name="T32" fmla="*/ 14 w 37"/>
                  <a:gd name="T33" fmla="*/ 34 h 45"/>
                  <a:gd name="T34" fmla="*/ 17 w 37"/>
                  <a:gd name="T35" fmla="*/ 36 h 45"/>
                  <a:gd name="T36" fmla="*/ 14 w 37"/>
                  <a:gd name="T37" fmla="*/ 42 h 45"/>
                  <a:gd name="T38" fmla="*/ 9 w 37"/>
                  <a:gd name="T39" fmla="*/ 42 h 45"/>
                  <a:gd name="T40" fmla="*/ 3 w 37"/>
                  <a:gd name="T41" fmla="*/ 39 h 45"/>
                  <a:gd name="T42" fmla="*/ 0 w 37"/>
                  <a:gd name="T43" fmla="*/ 34 h 45"/>
                  <a:gd name="T44" fmla="*/ 3 w 37"/>
                  <a:gd name="T45" fmla="*/ 39 h 45"/>
                  <a:gd name="T46" fmla="*/ 14 w 37"/>
                  <a:gd name="T47" fmla="*/ 45 h 45"/>
                  <a:gd name="T48" fmla="*/ 20 w 37"/>
                  <a:gd name="T49" fmla="*/ 45 h 45"/>
                  <a:gd name="T50" fmla="*/ 23 w 37"/>
                  <a:gd name="T51" fmla="*/ 42 h 45"/>
                  <a:gd name="T52" fmla="*/ 23 w 37"/>
                  <a:gd name="T53" fmla="*/ 34 h 45"/>
                  <a:gd name="T54" fmla="*/ 20 w 37"/>
                  <a:gd name="T55" fmla="*/ 28 h 45"/>
                  <a:gd name="T56" fmla="*/ 25 w 37"/>
                  <a:gd name="T57" fmla="*/ 17 h 45"/>
                  <a:gd name="T58" fmla="*/ 31 w 37"/>
                  <a:gd name="T59" fmla="*/ 17 h 45"/>
                  <a:gd name="T60" fmla="*/ 37 w 37"/>
                  <a:gd name="T61" fmla="*/ 8 h 45"/>
                  <a:gd name="T62" fmla="*/ 34 w 37"/>
                  <a:gd name="T63" fmla="*/ 0 h 45"/>
                  <a:gd name="T64" fmla="*/ 34 w 37"/>
                  <a:gd name="T65" fmla="*/ 8 h 45"/>
                  <a:gd name="T66" fmla="*/ 23 w 37"/>
                  <a:gd name="T67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37" h="45">
                    <a:moveTo>
                      <a:pt x="23" y="0"/>
                    </a:moveTo>
                    <a:lnTo>
                      <a:pt x="25" y="8"/>
                    </a:lnTo>
                    <a:lnTo>
                      <a:pt x="20" y="11"/>
                    </a:lnTo>
                    <a:lnTo>
                      <a:pt x="14" y="6"/>
                    </a:lnTo>
                    <a:lnTo>
                      <a:pt x="17" y="8"/>
                    </a:lnTo>
                    <a:lnTo>
                      <a:pt x="20" y="14"/>
                    </a:lnTo>
                    <a:lnTo>
                      <a:pt x="20" y="17"/>
                    </a:lnTo>
                    <a:lnTo>
                      <a:pt x="17" y="23"/>
                    </a:lnTo>
                    <a:lnTo>
                      <a:pt x="14" y="25"/>
                    </a:lnTo>
                    <a:lnTo>
                      <a:pt x="12" y="28"/>
                    </a:lnTo>
                    <a:lnTo>
                      <a:pt x="9" y="31"/>
                    </a:lnTo>
                    <a:lnTo>
                      <a:pt x="3" y="25"/>
                    </a:lnTo>
                    <a:lnTo>
                      <a:pt x="0" y="20"/>
                    </a:lnTo>
                    <a:lnTo>
                      <a:pt x="0" y="25"/>
                    </a:lnTo>
                    <a:lnTo>
                      <a:pt x="6" y="31"/>
                    </a:lnTo>
                    <a:lnTo>
                      <a:pt x="9" y="34"/>
                    </a:lnTo>
                    <a:lnTo>
                      <a:pt x="14" y="34"/>
                    </a:lnTo>
                    <a:lnTo>
                      <a:pt x="17" y="36"/>
                    </a:lnTo>
                    <a:lnTo>
                      <a:pt x="14" y="42"/>
                    </a:lnTo>
                    <a:lnTo>
                      <a:pt x="9" y="42"/>
                    </a:lnTo>
                    <a:lnTo>
                      <a:pt x="3" y="39"/>
                    </a:lnTo>
                    <a:lnTo>
                      <a:pt x="0" y="34"/>
                    </a:lnTo>
                    <a:lnTo>
                      <a:pt x="3" y="39"/>
                    </a:lnTo>
                    <a:lnTo>
                      <a:pt x="14" y="45"/>
                    </a:lnTo>
                    <a:lnTo>
                      <a:pt x="20" y="45"/>
                    </a:lnTo>
                    <a:lnTo>
                      <a:pt x="23" y="42"/>
                    </a:lnTo>
                    <a:lnTo>
                      <a:pt x="23" y="34"/>
                    </a:lnTo>
                    <a:lnTo>
                      <a:pt x="20" y="28"/>
                    </a:lnTo>
                    <a:lnTo>
                      <a:pt x="25" y="17"/>
                    </a:lnTo>
                    <a:lnTo>
                      <a:pt x="31" y="17"/>
                    </a:lnTo>
                    <a:lnTo>
                      <a:pt x="37" y="8"/>
                    </a:lnTo>
                    <a:lnTo>
                      <a:pt x="34" y="0"/>
                    </a:lnTo>
                    <a:lnTo>
                      <a:pt x="34" y="8"/>
                    </a:lnTo>
                    <a:lnTo>
                      <a:pt x="23" y="0"/>
                    </a:lnTo>
                    <a:close/>
                  </a:path>
                </a:pathLst>
              </a:custGeom>
              <a:solidFill>
                <a:srgbClr val="81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/>
              </a:p>
            </p:txBody>
          </p:sp>
          <p:sp>
            <p:nvSpPr>
              <p:cNvPr id="81" name="Freeform 83"/>
              <p:cNvSpPr>
                <a:spLocks/>
              </p:cNvSpPr>
              <p:nvPr/>
            </p:nvSpPr>
            <p:spPr bwMode="auto">
              <a:xfrm>
                <a:off x="6149" y="3210"/>
                <a:ext cx="37" cy="45"/>
              </a:xfrm>
              <a:custGeom>
                <a:avLst/>
                <a:gdLst>
                  <a:gd name="T0" fmla="*/ 23 w 37"/>
                  <a:gd name="T1" fmla="*/ 0 h 45"/>
                  <a:gd name="T2" fmla="*/ 25 w 37"/>
                  <a:gd name="T3" fmla="*/ 8 h 45"/>
                  <a:gd name="T4" fmla="*/ 20 w 37"/>
                  <a:gd name="T5" fmla="*/ 11 h 45"/>
                  <a:gd name="T6" fmla="*/ 14 w 37"/>
                  <a:gd name="T7" fmla="*/ 6 h 45"/>
                  <a:gd name="T8" fmla="*/ 17 w 37"/>
                  <a:gd name="T9" fmla="*/ 8 h 45"/>
                  <a:gd name="T10" fmla="*/ 20 w 37"/>
                  <a:gd name="T11" fmla="*/ 14 h 45"/>
                  <a:gd name="T12" fmla="*/ 20 w 37"/>
                  <a:gd name="T13" fmla="*/ 17 h 45"/>
                  <a:gd name="T14" fmla="*/ 17 w 37"/>
                  <a:gd name="T15" fmla="*/ 23 h 45"/>
                  <a:gd name="T16" fmla="*/ 14 w 37"/>
                  <a:gd name="T17" fmla="*/ 25 h 45"/>
                  <a:gd name="T18" fmla="*/ 12 w 37"/>
                  <a:gd name="T19" fmla="*/ 28 h 45"/>
                  <a:gd name="T20" fmla="*/ 9 w 37"/>
                  <a:gd name="T21" fmla="*/ 31 h 45"/>
                  <a:gd name="T22" fmla="*/ 3 w 37"/>
                  <a:gd name="T23" fmla="*/ 25 h 45"/>
                  <a:gd name="T24" fmla="*/ 0 w 37"/>
                  <a:gd name="T25" fmla="*/ 20 h 45"/>
                  <a:gd name="T26" fmla="*/ 0 w 37"/>
                  <a:gd name="T27" fmla="*/ 25 h 45"/>
                  <a:gd name="T28" fmla="*/ 6 w 37"/>
                  <a:gd name="T29" fmla="*/ 31 h 45"/>
                  <a:gd name="T30" fmla="*/ 9 w 37"/>
                  <a:gd name="T31" fmla="*/ 34 h 45"/>
                  <a:gd name="T32" fmla="*/ 14 w 37"/>
                  <a:gd name="T33" fmla="*/ 34 h 45"/>
                  <a:gd name="T34" fmla="*/ 17 w 37"/>
                  <a:gd name="T35" fmla="*/ 36 h 45"/>
                  <a:gd name="T36" fmla="*/ 14 w 37"/>
                  <a:gd name="T37" fmla="*/ 42 h 45"/>
                  <a:gd name="T38" fmla="*/ 9 w 37"/>
                  <a:gd name="T39" fmla="*/ 42 h 45"/>
                  <a:gd name="T40" fmla="*/ 3 w 37"/>
                  <a:gd name="T41" fmla="*/ 39 h 45"/>
                  <a:gd name="T42" fmla="*/ 0 w 37"/>
                  <a:gd name="T43" fmla="*/ 34 h 45"/>
                  <a:gd name="T44" fmla="*/ 3 w 37"/>
                  <a:gd name="T45" fmla="*/ 39 h 45"/>
                  <a:gd name="T46" fmla="*/ 14 w 37"/>
                  <a:gd name="T47" fmla="*/ 45 h 45"/>
                  <a:gd name="T48" fmla="*/ 20 w 37"/>
                  <a:gd name="T49" fmla="*/ 45 h 45"/>
                  <a:gd name="T50" fmla="*/ 23 w 37"/>
                  <a:gd name="T51" fmla="*/ 42 h 45"/>
                  <a:gd name="T52" fmla="*/ 23 w 37"/>
                  <a:gd name="T53" fmla="*/ 34 h 45"/>
                  <a:gd name="T54" fmla="*/ 20 w 37"/>
                  <a:gd name="T55" fmla="*/ 28 h 45"/>
                  <a:gd name="T56" fmla="*/ 25 w 37"/>
                  <a:gd name="T57" fmla="*/ 17 h 45"/>
                  <a:gd name="T58" fmla="*/ 31 w 37"/>
                  <a:gd name="T59" fmla="*/ 17 h 45"/>
                  <a:gd name="T60" fmla="*/ 37 w 37"/>
                  <a:gd name="T61" fmla="*/ 8 h 45"/>
                  <a:gd name="T62" fmla="*/ 34 w 37"/>
                  <a:gd name="T63" fmla="*/ 0 h 45"/>
                  <a:gd name="T64" fmla="*/ 34 w 37"/>
                  <a:gd name="T65" fmla="*/ 8 h 45"/>
                  <a:gd name="T66" fmla="*/ 23 w 37"/>
                  <a:gd name="T67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37" h="45">
                    <a:moveTo>
                      <a:pt x="23" y="0"/>
                    </a:moveTo>
                    <a:lnTo>
                      <a:pt x="25" y="8"/>
                    </a:lnTo>
                    <a:lnTo>
                      <a:pt x="20" y="11"/>
                    </a:lnTo>
                    <a:lnTo>
                      <a:pt x="14" y="6"/>
                    </a:lnTo>
                    <a:lnTo>
                      <a:pt x="17" y="8"/>
                    </a:lnTo>
                    <a:lnTo>
                      <a:pt x="20" y="14"/>
                    </a:lnTo>
                    <a:lnTo>
                      <a:pt x="20" y="17"/>
                    </a:lnTo>
                    <a:lnTo>
                      <a:pt x="17" y="23"/>
                    </a:lnTo>
                    <a:lnTo>
                      <a:pt x="14" y="25"/>
                    </a:lnTo>
                    <a:lnTo>
                      <a:pt x="12" y="28"/>
                    </a:lnTo>
                    <a:lnTo>
                      <a:pt x="9" y="31"/>
                    </a:lnTo>
                    <a:lnTo>
                      <a:pt x="3" y="25"/>
                    </a:lnTo>
                    <a:lnTo>
                      <a:pt x="0" y="20"/>
                    </a:lnTo>
                    <a:lnTo>
                      <a:pt x="0" y="25"/>
                    </a:lnTo>
                    <a:lnTo>
                      <a:pt x="6" y="31"/>
                    </a:lnTo>
                    <a:lnTo>
                      <a:pt x="9" y="34"/>
                    </a:lnTo>
                    <a:lnTo>
                      <a:pt x="14" y="34"/>
                    </a:lnTo>
                    <a:lnTo>
                      <a:pt x="17" y="36"/>
                    </a:lnTo>
                    <a:lnTo>
                      <a:pt x="14" y="42"/>
                    </a:lnTo>
                    <a:lnTo>
                      <a:pt x="9" y="42"/>
                    </a:lnTo>
                    <a:lnTo>
                      <a:pt x="3" y="39"/>
                    </a:lnTo>
                    <a:lnTo>
                      <a:pt x="0" y="34"/>
                    </a:lnTo>
                    <a:lnTo>
                      <a:pt x="3" y="39"/>
                    </a:lnTo>
                    <a:lnTo>
                      <a:pt x="14" y="45"/>
                    </a:lnTo>
                    <a:lnTo>
                      <a:pt x="20" y="45"/>
                    </a:lnTo>
                    <a:lnTo>
                      <a:pt x="23" y="42"/>
                    </a:lnTo>
                    <a:lnTo>
                      <a:pt x="23" y="34"/>
                    </a:lnTo>
                    <a:lnTo>
                      <a:pt x="20" y="28"/>
                    </a:lnTo>
                    <a:lnTo>
                      <a:pt x="25" y="17"/>
                    </a:lnTo>
                    <a:lnTo>
                      <a:pt x="31" y="17"/>
                    </a:lnTo>
                    <a:lnTo>
                      <a:pt x="37" y="8"/>
                    </a:lnTo>
                    <a:lnTo>
                      <a:pt x="34" y="0"/>
                    </a:lnTo>
                    <a:lnTo>
                      <a:pt x="34" y="8"/>
                    </a:lnTo>
                    <a:lnTo>
                      <a:pt x="23" y="0"/>
                    </a:lnTo>
                  </a:path>
                </a:pathLst>
              </a:custGeom>
              <a:noFill/>
              <a:ln w="4763" cap="rnd">
                <a:solidFill>
                  <a:srgbClr val="81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/>
              </a:p>
            </p:txBody>
          </p:sp>
          <p:sp>
            <p:nvSpPr>
              <p:cNvPr id="82" name="Freeform 84"/>
              <p:cNvSpPr>
                <a:spLocks/>
              </p:cNvSpPr>
              <p:nvPr/>
            </p:nvSpPr>
            <p:spPr bwMode="auto">
              <a:xfrm>
                <a:off x="6149" y="3210"/>
                <a:ext cx="37" cy="45"/>
              </a:xfrm>
              <a:custGeom>
                <a:avLst/>
                <a:gdLst>
                  <a:gd name="T0" fmla="*/ 23 w 37"/>
                  <a:gd name="T1" fmla="*/ 0 h 45"/>
                  <a:gd name="T2" fmla="*/ 25 w 37"/>
                  <a:gd name="T3" fmla="*/ 8 h 45"/>
                  <a:gd name="T4" fmla="*/ 20 w 37"/>
                  <a:gd name="T5" fmla="*/ 11 h 45"/>
                  <a:gd name="T6" fmla="*/ 14 w 37"/>
                  <a:gd name="T7" fmla="*/ 6 h 45"/>
                  <a:gd name="T8" fmla="*/ 17 w 37"/>
                  <a:gd name="T9" fmla="*/ 8 h 45"/>
                  <a:gd name="T10" fmla="*/ 20 w 37"/>
                  <a:gd name="T11" fmla="*/ 14 h 45"/>
                  <a:gd name="T12" fmla="*/ 20 w 37"/>
                  <a:gd name="T13" fmla="*/ 17 h 45"/>
                  <a:gd name="T14" fmla="*/ 17 w 37"/>
                  <a:gd name="T15" fmla="*/ 23 h 45"/>
                  <a:gd name="T16" fmla="*/ 14 w 37"/>
                  <a:gd name="T17" fmla="*/ 25 h 45"/>
                  <a:gd name="T18" fmla="*/ 12 w 37"/>
                  <a:gd name="T19" fmla="*/ 28 h 45"/>
                  <a:gd name="T20" fmla="*/ 9 w 37"/>
                  <a:gd name="T21" fmla="*/ 31 h 45"/>
                  <a:gd name="T22" fmla="*/ 3 w 37"/>
                  <a:gd name="T23" fmla="*/ 25 h 45"/>
                  <a:gd name="T24" fmla="*/ 0 w 37"/>
                  <a:gd name="T25" fmla="*/ 20 h 45"/>
                  <a:gd name="T26" fmla="*/ 0 w 37"/>
                  <a:gd name="T27" fmla="*/ 25 h 45"/>
                  <a:gd name="T28" fmla="*/ 6 w 37"/>
                  <a:gd name="T29" fmla="*/ 31 h 45"/>
                  <a:gd name="T30" fmla="*/ 9 w 37"/>
                  <a:gd name="T31" fmla="*/ 34 h 45"/>
                  <a:gd name="T32" fmla="*/ 14 w 37"/>
                  <a:gd name="T33" fmla="*/ 34 h 45"/>
                  <a:gd name="T34" fmla="*/ 17 w 37"/>
                  <a:gd name="T35" fmla="*/ 36 h 45"/>
                  <a:gd name="T36" fmla="*/ 14 w 37"/>
                  <a:gd name="T37" fmla="*/ 42 h 45"/>
                  <a:gd name="T38" fmla="*/ 9 w 37"/>
                  <a:gd name="T39" fmla="*/ 42 h 45"/>
                  <a:gd name="T40" fmla="*/ 3 w 37"/>
                  <a:gd name="T41" fmla="*/ 39 h 45"/>
                  <a:gd name="T42" fmla="*/ 0 w 37"/>
                  <a:gd name="T43" fmla="*/ 34 h 45"/>
                  <a:gd name="T44" fmla="*/ 3 w 37"/>
                  <a:gd name="T45" fmla="*/ 39 h 45"/>
                  <a:gd name="T46" fmla="*/ 14 w 37"/>
                  <a:gd name="T47" fmla="*/ 45 h 45"/>
                  <a:gd name="T48" fmla="*/ 20 w 37"/>
                  <a:gd name="T49" fmla="*/ 45 h 45"/>
                  <a:gd name="T50" fmla="*/ 23 w 37"/>
                  <a:gd name="T51" fmla="*/ 42 h 45"/>
                  <a:gd name="T52" fmla="*/ 23 w 37"/>
                  <a:gd name="T53" fmla="*/ 34 h 45"/>
                  <a:gd name="T54" fmla="*/ 20 w 37"/>
                  <a:gd name="T55" fmla="*/ 28 h 45"/>
                  <a:gd name="T56" fmla="*/ 25 w 37"/>
                  <a:gd name="T57" fmla="*/ 17 h 45"/>
                  <a:gd name="T58" fmla="*/ 31 w 37"/>
                  <a:gd name="T59" fmla="*/ 17 h 45"/>
                  <a:gd name="T60" fmla="*/ 37 w 37"/>
                  <a:gd name="T61" fmla="*/ 8 h 45"/>
                  <a:gd name="T62" fmla="*/ 34 w 37"/>
                  <a:gd name="T63" fmla="*/ 0 h 45"/>
                  <a:gd name="T64" fmla="*/ 34 w 37"/>
                  <a:gd name="T65" fmla="*/ 8 h 45"/>
                  <a:gd name="T66" fmla="*/ 23 w 37"/>
                  <a:gd name="T67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37" h="45">
                    <a:moveTo>
                      <a:pt x="23" y="0"/>
                    </a:moveTo>
                    <a:lnTo>
                      <a:pt x="25" y="8"/>
                    </a:lnTo>
                    <a:lnTo>
                      <a:pt x="20" y="11"/>
                    </a:lnTo>
                    <a:lnTo>
                      <a:pt x="14" y="6"/>
                    </a:lnTo>
                    <a:lnTo>
                      <a:pt x="17" y="8"/>
                    </a:lnTo>
                    <a:lnTo>
                      <a:pt x="20" y="14"/>
                    </a:lnTo>
                    <a:lnTo>
                      <a:pt x="20" y="17"/>
                    </a:lnTo>
                    <a:lnTo>
                      <a:pt x="17" y="23"/>
                    </a:lnTo>
                    <a:lnTo>
                      <a:pt x="14" y="25"/>
                    </a:lnTo>
                    <a:lnTo>
                      <a:pt x="12" y="28"/>
                    </a:lnTo>
                    <a:lnTo>
                      <a:pt x="9" y="31"/>
                    </a:lnTo>
                    <a:lnTo>
                      <a:pt x="3" y="25"/>
                    </a:lnTo>
                    <a:lnTo>
                      <a:pt x="0" y="20"/>
                    </a:lnTo>
                    <a:lnTo>
                      <a:pt x="0" y="25"/>
                    </a:lnTo>
                    <a:lnTo>
                      <a:pt x="6" y="31"/>
                    </a:lnTo>
                    <a:lnTo>
                      <a:pt x="9" y="34"/>
                    </a:lnTo>
                    <a:lnTo>
                      <a:pt x="14" y="34"/>
                    </a:lnTo>
                    <a:lnTo>
                      <a:pt x="17" y="36"/>
                    </a:lnTo>
                    <a:lnTo>
                      <a:pt x="14" y="42"/>
                    </a:lnTo>
                    <a:lnTo>
                      <a:pt x="9" y="42"/>
                    </a:lnTo>
                    <a:lnTo>
                      <a:pt x="3" y="39"/>
                    </a:lnTo>
                    <a:lnTo>
                      <a:pt x="0" y="34"/>
                    </a:lnTo>
                    <a:lnTo>
                      <a:pt x="3" y="39"/>
                    </a:lnTo>
                    <a:lnTo>
                      <a:pt x="14" y="45"/>
                    </a:lnTo>
                    <a:lnTo>
                      <a:pt x="20" y="45"/>
                    </a:lnTo>
                    <a:lnTo>
                      <a:pt x="23" y="42"/>
                    </a:lnTo>
                    <a:lnTo>
                      <a:pt x="23" y="34"/>
                    </a:lnTo>
                    <a:lnTo>
                      <a:pt x="20" y="28"/>
                    </a:lnTo>
                    <a:lnTo>
                      <a:pt x="25" y="17"/>
                    </a:lnTo>
                    <a:lnTo>
                      <a:pt x="31" y="17"/>
                    </a:lnTo>
                    <a:lnTo>
                      <a:pt x="37" y="8"/>
                    </a:lnTo>
                    <a:lnTo>
                      <a:pt x="34" y="0"/>
                    </a:lnTo>
                    <a:lnTo>
                      <a:pt x="34" y="8"/>
                    </a:lnTo>
                    <a:lnTo>
                      <a:pt x="23" y="0"/>
                    </a:lnTo>
                    <a:close/>
                  </a:path>
                </a:pathLst>
              </a:custGeom>
              <a:solidFill>
                <a:srgbClr val="81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/>
              </a:p>
            </p:txBody>
          </p:sp>
          <p:sp>
            <p:nvSpPr>
              <p:cNvPr id="83" name="Freeform 85"/>
              <p:cNvSpPr>
                <a:spLocks/>
              </p:cNvSpPr>
              <p:nvPr/>
            </p:nvSpPr>
            <p:spPr bwMode="auto">
              <a:xfrm>
                <a:off x="6149" y="3210"/>
                <a:ext cx="37" cy="45"/>
              </a:xfrm>
              <a:custGeom>
                <a:avLst/>
                <a:gdLst>
                  <a:gd name="T0" fmla="*/ 23 w 37"/>
                  <a:gd name="T1" fmla="*/ 0 h 45"/>
                  <a:gd name="T2" fmla="*/ 25 w 37"/>
                  <a:gd name="T3" fmla="*/ 8 h 45"/>
                  <a:gd name="T4" fmla="*/ 20 w 37"/>
                  <a:gd name="T5" fmla="*/ 11 h 45"/>
                  <a:gd name="T6" fmla="*/ 14 w 37"/>
                  <a:gd name="T7" fmla="*/ 6 h 45"/>
                  <a:gd name="T8" fmla="*/ 17 w 37"/>
                  <a:gd name="T9" fmla="*/ 8 h 45"/>
                  <a:gd name="T10" fmla="*/ 20 w 37"/>
                  <a:gd name="T11" fmla="*/ 14 h 45"/>
                  <a:gd name="T12" fmla="*/ 20 w 37"/>
                  <a:gd name="T13" fmla="*/ 17 h 45"/>
                  <a:gd name="T14" fmla="*/ 17 w 37"/>
                  <a:gd name="T15" fmla="*/ 23 h 45"/>
                  <a:gd name="T16" fmla="*/ 14 w 37"/>
                  <a:gd name="T17" fmla="*/ 25 h 45"/>
                  <a:gd name="T18" fmla="*/ 12 w 37"/>
                  <a:gd name="T19" fmla="*/ 28 h 45"/>
                  <a:gd name="T20" fmla="*/ 9 w 37"/>
                  <a:gd name="T21" fmla="*/ 31 h 45"/>
                  <a:gd name="T22" fmla="*/ 3 w 37"/>
                  <a:gd name="T23" fmla="*/ 25 h 45"/>
                  <a:gd name="T24" fmla="*/ 0 w 37"/>
                  <a:gd name="T25" fmla="*/ 20 h 45"/>
                  <a:gd name="T26" fmla="*/ 0 w 37"/>
                  <a:gd name="T27" fmla="*/ 25 h 45"/>
                  <a:gd name="T28" fmla="*/ 6 w 37"/>
                  <a:gd name="T29" fmla="*/ 31 h 45"/>
                  <a:gd name="T30" fmla="*/ 9 w 37"/>
                  <a:gd name="T31" fmla="*/ 34 h 45"/>
                  <a:gd name="T32" fmla="*/ 14 w 37"/>
                  <a:gd name="T33" fmla="*/ 34 h 45"/>
                  <a:gd name="T34" fmla="*/ 17 w 37"/>
                  <a:gd name="T35" fmla="*/ 36 h 45"/>
                  <a:gd name="T36" fmla="*/ 14 w 37"/>
                  <a:gd name="T37" fmla="*/ 42 h 45"/>
                  <a:gd name="T38" fmla="*/ 9 w 37"/>
                  <a:gd name="T39" fmla="*/ 42 h 45"/>
                  <a:gd name="T40" fmla="*/ 3 w 37"/>
                  <a:gd name="T41" fmla="*/ 39 h 45"/>
                  <a:gd name="T42" fmla="*/ 0 w 37"/>
                  <a:gd name="T43" fmla="*/ 34 h 45"/>
                  <a:gd name="T44" fmla="*/ 3 w 37"/>
                  <a:gd name="T45" fmla="*/ 39 h 45"/>
                  <a:gd name="T46" fmla="*/ 14 w 37"/>
                  <a:gd name="T47" fmla="*/ 45 h 45"/>
                  <a:gd name="T48" fmla="*/ 20 w 37"/>
                  <a:gd name="T49" fmla="*/ 45 h 45"/>
                  <a:gd name="T50" fmla="*/ 23 w 37"/>
                  <a:gd name="T51" fmla="*/ 42 h 45"/>
                  <a:gd name="T52" fmla="*/ 23 w 37"/>
                  <a:gd name="T53" fmla="*/ 34 h 45"/>
                  <a:gd name="T54" fmla="*/ 20 w 37"/>
                  <a:gd name="T55" fmla="*/ 28 h 45"/>
                  <a:gd name="T56" fmla="*/ 25 w 37"/>
                  <a:gd name="T57" fmla="*/ 17 h 45"/>
                  <a:gd name="T58" fmla="*/ 31 w 37"/>
                  <a:gd name="T59" fmla="*/ 17 h 45"/>
                  <a:gd name="T60" fmla="*/ 37 w 37"/>
                  <a:gd name="T61" fmla="*/ 8 h 45"/>
                  <a:gd name="T62" fmla="*/ 34 w 37"/>
                  <a:gd name="T63" fmla="*/ 0 h 45"/>
                  <a:gd name="T64" fmla="*/ 34 w 37"/>
                  <a:gd name="T65" fmla="*/ 8 h 45"/>
                  <a:gd name="T66" fmla="*/ 23 w 37"/>
                  <a:gd name="T67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37" h="45">
                    <a:moveTo>
                      <a:pt x="23" y="0"/>
                    </a:moveTo>
                    <a:lnTo>
                      <a:pt x="25" y="8"/>
                    </a:lnTo>
                    <a:lnTo>
                      <a:pt x="20" y="11"/>
                    </a:lnTo>
                    <a:lnTo>
                      <a:pt x="14" y="6"/>
                    </a:lnTo>
                    <a:lnTo>
                      <a:pt x="17" y="8"/>
                    </a:lnTo>
                    <a:lnTo>
                      <a:pt x="20" y="14"/>
                    </a:lnTo>
                    <a:lnTo>
                      <a:pt x="20" y="17"/>
                    </a:lnTo>
                    <a:lnTo>
                      <a:pt x="17" y="23"/>
                    </a:lnTo>
                    <a:lnTo>
                      <a:pt x="14" y="25"/>
                    </a:lnTo>
                    <a:lnTo>
                      <a:pt x="12" y="28"/>
                    </a:lnTo>
                    <a:lnTo>
                      <a:pt x="9" y="31"/>
                    </a:lnTo>
                    <a:lnTo>
                      <a:pt x="3" y="25"/>
                    </a:lnTo>
                    <a:lnTo>
                      <a:pt x="0" y="20"/>
                    </a:lnTo>
                    <a:lnTo>
                      <a:pt x="0" y="25"/>
                    </a:lnTo>
                    <a:lnTo>
                      <a:pt x="6" y="31"/>
                    </a:lnTo>
                    <a:lnTo>
                      <a:pt x="9" y="34"/>
                    </a:lnTo>
                    <a:lnTo>
                      <a:pt x="14" y="34"/>
                    </a:lnTo>
                    <a:lnTo>
                      <a:pt x="17" y="36"/>
                    </a:lnTo>
                    <a:lnTo>
                      <a:pt x="14" y="42"/>
                    </a:lnTo>
                    <a:lnTo>
                      <a:pt x="9" y="42"/>
                    </a:lnTo>
                    <a:lnTo>
                      <a:pt x="3" y="39"/>
                    </a:lnTo>
                    <a:lnTo>
                      <a:pt x="0" y="34"/>
                    </a:lnTo>
                    <a:lnTo>
                      <a:pt x="3" y="39"/>
                    </a:lnTo>
                    <a:lnTo>
                      <a:pt x="14" y="45"/>
                    </a:lnTo>
                    <a:lnTo>
                      <a:pt x="20" y="45"/>
                    </a:lnTo>
                    <a:lnTo>
                      <a:pt x="23" y="42"/>
                    </a:lnTo>
                    <a:lnTo>
                      <a:pt x="23" y="34"/>
                    </a:lnTo>
                    <a:lnTo>
                      <a:pt x="20" y="28"/>
                    </a:lnTo>
                    <a:lnTo>
                      <a:pt x="25" y="17"/>
                    </a:lnTo>
                    <a:lnTo>
                      <a:pt x="31" y="17"/>
                    </a:lnTo>
                    <a:lnTo>
                      <a:pt x="37" y="8"/>
                    </a:lnTo>
                    <a:lnTo>
                      <a:pt x="34" y="0"/>
                    </a:lnTo>
                    <a:lnTo>
                      <a:pt x="34" y="8"/>
                    </a:lnTo>
                    <a:lnTo>
                      <a:pt x="23" y="0"/>
                    </a:lnTo>
                  </a:path>
                </a:pathLst>
              </a:custGeom>
              <a:noFill/>
              <a:ln w="4763" cap="rnd">
                <a:solidFill>
                  <a:srgbClr val="81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/>
              </a:p>
            </p:txBody>
          </p:sp>
          <p:sp>
            <p:nvSpPr>
              <p:cNvPr id="84" name="Freeform 86"/>
              <p:cNvSpPr>
                <a:spLocks/>
              </p:cNvSpPr>
              <p:nvPr/>
            </p:nvSpPr>
            <p:spPr bwMode="auto">
              <a:xfrm>
                <a:off x="6163" y="3196"/>
                <a:ext cx="23" cy="22"/>
              </a:xfrm>
              <a:custGeom>
                <a:avLst/>
                <a:gdLst>
                  <a:gd name="T0" fmla="*/ 23 w 23"/>
                  <a:gd name="T1" fmla="*/ 22 h 22"/>
                  <a:gd name="T2" fmla="*/ 14 w 23"/>
                  <a:gd name="T3" fmla="*/ 6 h 22"/>
                  <a:gd name="T4" fmla="*/ 0 w 23"/>
                  <a:gd name="T5" fmla="*/ 0 h 22"/>
                  <a:gd name="T6" fmla="*/ 9 w 23"/>
                  <a:gd name="T7" fmla="*/ 17 h 22"/>
                  <a:gd name="T8" fmla="*/ 23 w 23"/>
                  <a:gd name="T9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22">
                    <a:moveTo>
                      <a:pt x="23" y="22"/>
                    </a:moveTo>
                    <a:lnTo>
                      <a:pt x="14" y="6"/>
                    </a:lnTo>
                    <a:lnTo>
                      <a:pt x="0" y="0"/>
                    </a:lnTo>
                    <a:lnTo>
                      <a:pt x="9" y="17"/>
                    </a:lnTo>
                    <a:lnTo>
                      <a:pt x="23" y="22"/>
                    </a:lnTo>
                    <a:close/>
                  </a:path>
                </a:pathLst>
              </a:custGeom>
              <a:solidFill>
                <a:srgbClr val="C2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/>
              </a:p>
            </p:txBody>
          </p:sp>
          <p:sp>
            <p:nvSpPr>
              <p:cNvPr id="85" name="Freeform 87"/>
              <p:cNvSpPr>
                <a:spLocks/>
              </p:cNvSpPr>
              <p:nvPr/>
            </p:nvSpPr>
            <p:spPr bwMode="auto">
              <a:xfrm>
                <a:off x="6163" y="3196"/>
                <a:ext cx="23" cy="22"/>
              </a:xfrm>
              <a:custGeom>
                <a:avLst/>
                <a:gdLst>
                  <a:gd name="T0" fmla="*/ 23 w 23"/>
                  <a:gd name="T1" fmla="*/ 22 h 22"/>
                  <a:gd name="T2" fmla="*/ 14 w 23"/>
                  <a:gd name="T3" fmla="*/ 6 h 22"/>
                  <a:gd name="T4" fmla="*/ 0 w 23"/>
                  <a:gd name="T5" fmla="*/ 0 h 22"/>
                  <a:gd name="T6" fmla="*/ 9 w 23"/>
                  <a:gd name="T7" fmla="*/ 17 h 22"/>
                  <a:gd name="T8" fmla="*/ 23 w 23"/>
                  <a:gd name="T9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22">
                    <a:moveTo>
                      <a:pt x="23" y="22"/>
                    </a:moveTo>
                    <a:lnTo>
                      <a:pt x="14" y="6"/>
                    </a:lnTo>
                    <a:lnTo>
                      <a:pt x="0" y="0"/>
                    </a:lnTo>
                    <a:lnTo>
                      <a:pt x="9" y="17"/>
                    </a:lnTo>
                    <a:lnTo>
                      <a:pt x="23" y="22"/>
                    </a:lnTo>
                  </a:path>
                </a:pathLst>
              </a:custGeom>
              <a:noFill/>
              <a:ln w="4763" cap="rnd">
                <a:solidFill>
                  <a:srgbClr val="C2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/>
              </a:p>
            </p:txBody>
          </p:sp>
          <p:sp>
            <p:nvSpPr>
              <p:cNvPr id="86" name="Freeform 88"/>
              <p:cNvSpPr>
                <a:spLocks/>
              </p:cNvSpPr>
              <p:nvPr/>
            </p:nvSpPr>
            <p:spPr bwMode="auto">
              <a:xfrm>
                <a:off x="6163" y="3196"/>
                <a:ext cx="23" cy="22"/>
              </a:xfrm>
              <a:custGeom>
                <a:avLst/>
                <a:gdLst>
                  <a:gd name="T0" fmla="*/ 23 w 23"/>
                  <a:gd name="T1" fmla="*/ 22 h 22"/>
                  <a:gd name="T2" fmla="*/ 14 w 23"/>
                  <a:gd name="T3" fmla="*/ 6 h 22"/>
                  <a:gd name="T4" fmla="*/ 0 w 23"/>
                  <a:gd name="T5" fmla="*/ 0 h 22"/>
                  <a:gd name="T6" fmla="*/ 9 w 23"/>
                  <a:gd name="T7" fmla="*/ 17 h 22"/>
                  <a:gd name="T8" fmla="*/ 23 w 23"/>
                  <a:gd name="T9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22">
                    <a:moveTo>
                      <a:pt x="23" y="22"/>
                    </a:moveTo>
                    <a:lnTo>
                      <a:pt x="14" y="6"/>
                    </a:lnTo>
                    <a:lnTo>
                      <a:pt x="0" y="0"/>
                    </a:lnTo>
                    <a:lnTo>
                      <a:pt x="9" y="17"/>
                    </a:lnTo>
                    <a:lnTo>
                      <a:pt x="23" y="22"/>
                    </a:lnTo>
                    <a:close/>
                  </a:path>
                </a:pathLst>
              </a:custGeom>
              <a:solidFill>
                <a:srgbClr val="C2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/>
              </a:p>
            </p:txBody>
          </p:sp>
          <p:sp>
            <p:nvSpPr>
              <p:cNvPr id="87" name="Freeform 89"/>
              <p:cNvSpPr>
                <a:spLocks/>
              </p:cNvSpPr>
              <p:nvPr/>
            </p:nvSpPr>
            <p:spPr bwMode="auto">
              <a:xfrm>
                <a:off x="6163" y="3196"/>
                <a:ext cx="23" cy="22"/>
              </a:xfrm>
              <a:custGeom>
                <a:avLst/>
                <a:gdLst>
                  <a:gd name="T0" fmla="*/ 23 w 23"/>
                  <a:gd name="T1" fmla="*/ 22 h 22"/>
                  <a:gd name="T2" fmla="*/ 14 w 23"/>
                  <a:gd name="T3" fmla="*/ 6 h 22"/>
                  <a:gd name="T4" fmla="*/ 0 w 23"/>
                  <a:gd name="T5" fmla="*/ 0 h 22"/>
                  <a:gd name="T6" fmla="*/ 9 w 23"/>
                  <a:gd name="T7" fmla="*/ 17 h 22"/>
                  <a:gd name="T8" fmla="*/ 23 w 23"/>
                  <a:gd name="T9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22">
                    <a:moveTo>
                      <a:pt x="23" y="22"/>
                    </a:moveTo>
                    <a:lnTo>
                      <a:pt x="14" y="6"/>
                    </a:lnTo>
                    <a:lnTo>
                      <a:pt x="0" y="0"/>
                    </a:lnTo>
                    <a:lnTo>
                      <a:pt x="9" y="17"/>
                    </a:lnTo>
                    <a:lnTo>
                      <a:pt x="23" y="22"/>
                    </a:lnTo>
                  </a:path>
                </a:pathLst>
              </a:custGeom>
              <a:noFill/>
              <a:ln w="4763" cap="rnd">
                <a:solidFill>
                  <a:srgbClr val="C2000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/>
              </a:p>
            </p:txBody>
          </p:sp>
          <p:sp>
            <p:nvSpPr>
              <p:cNvPr id="88" name="Freeform 90"/>
              <p:cNvSpPr>
                <a:spLocks/>
              </p:cNvSpPr>
              <p:nvPr/>
            </p:nvSpPr>
            <p:spPr bwMode="auto">
              <a:xfrm>
                <a:off x="6163" y="3207"/>
                <a:ext cx="6" cy="9"/>
              </a:xfrm>
              <a:custGeom>
                <a:avLst/>
                <a:gdLst>
                  <a:gd name="T0" fmla="*/ 3 w 6"/>
                  <a:gd name="T1" fmla="*/ 0 h 9"/>
                  <a:gd name="T2" fmla="*/ 6 w 6"/>
                  <a:gd name="T3" fmla="*/ 6 h 9"/>
                  <a:gd name="T4" fmla="*/ 6 w 6"/>
                  <a:gd name="T5" fmla="*/ 9 h 9"/>
                  <a:gd name="T6" fmla="*/ 3 w 6"/>
                  <a:gd name="T7" fmla="*/ 3 h 9"/>
                  <a:gd name="T8" fmla="*/ 0 w 6"/>
                  <a:gd name="T9" fmla="*/ 0 h 9"/>
                  <a:gd name="T10" fmla="*/ 3 w 6"/>
                  <a:gd name="T11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9">
                    <a:moveTo>
                      <a:pt x="3" y="0"/>
                    </a:moveTo>
                    <a:lnTo>
                      <a:pt x="6" y="6"/>
                    </a:lnTo>
                    <a:lnTo>
                      <a:pt x="6" y="9"/>
                    </a:lnTo>
                    <a:lnTo>
                      <a:pt x="3" y="3"/>
                    </a:lnTo>
                    <a:lnTo>
                      <a:pt x="0" y="0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/>
              </a:p>
            </p:txBody>
          </p:sp>
          <p:sp>
            <p:nvSpPr>
              <p:cNvPr id="89" name="Freeform 91"/>
              <p:cNvSpPr>
                <a:spLocks/>
              </p:cNvSpPr>
              <p:nvPr/>
            </p:nvSpPr>
            <p:spPr bwMode="auto">
              <a:xfrm>
                <a:off x="6152" y="3216"/>
                <a:ext cx="11" cy="17"/>
              </a:xfrm>
              <a:custGeom>
                <a:avLst/>
                <a:gdLst>
                  <a:gd name="T0" fmla="*/ 0 w 11"/>
                  <a:gd name="T1" fmla="*/ 17 h 17"/>
                  <a:gd name="T2" fmla="*/ 11 w 11"/>
                  <a:gd name="T3" fmla="*/ 2 h 17"/>
                  <a:gd name="T4" fmla="*/ 9 w 11"/>
                  <a:gd name="T5" fmla="*/ 0 h 17"/>
                  <a:gd name="T6" fmla="*/ 0 w 11"/>
                  <a:gd name="T7" fmla="*/ 1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1" h="17">
                    <a:moveTo>
                      <a:pt x="0" y="17"/>
                    </a:moveTo>
                    <a:lnTo>
                      <a:pt x="11" y="2"/>
                    </a:lnTo>
                    <a:lnTo>
                      <a:pt x="9" y="0"/>
                    </a:lnTo>
                    <a:lnTo>
                      <a:pt x="0" y="1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/>
              </a:p>
            </p:txBody>
          </p:sp>
          <p:sp>
            <p:nvSpPr>
              <p:cNvPr id="90" name="Freeform 92"/>
              <p:cNvSpPr>
                <a:spLocks/>
              </p:cNvSpPr>
              <p:nvPr/>
            </p:nvSpPr>
            <p:spPr bwMode="auto">
              <a:xfrm>
                <a:off x="6152" y="3216"/>
                <a:ext cx="11" cy="17"/>
              </a:xfrm>
              <a:custGeom>
                <a:avLst/>
                <a:gdLst>
                  <a:gd name="T0" fmla="*/ 0 w 11"/>
                  <a:gd name="T1" fmla="*/ 17 h 17"/>
                  <a:gd name="T2" fmla="*/ 11 w 11"/>
                  <a:gd name="T3" fmla="*/ 2 h 17"/>
                  <a:gd name="T4" fmla="*/ 9 w 11"/>
                  <a:gd name="T5" fmla="*/ 0 h 17"/>
                  <a:gd name="T6" fmla="*/ 0 w 11"/>
                  <a:gd name="T7" fmla="*/ 1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1" h="17">
                    <a:moveTo>
                      <a:pt x="0" y="17"/>
                    </a:moveTo>
                    <a:lnTo>
                      <a:pt x="11" y="2"/>
                    </a:lnTo>
                    <a:lnTo>
                      <a:pt x="9" y="0"/>
                    </a:lnTo>
                    <a:lnTo>
                      <a:pt x="0" y="17"/>
                    </a:lnTo>
                  </a:path>
                </a:pathLst>
              </a:custGeom>
              <a:noFill/>
              <a:ln w="4763" cap="rnd">
                <a:solidFill>
                  <a:srgbClr val="FFFFF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/>
              </a:p>
            </p:txBody>
          </p:sp>
          <p:sp>
            <p:nvSpPr>
              <p:cNvPr id="91" name="Freeform 93"/>
              <p:cNvSpPr>
                <a:spLocks/>
              </p:cNvSpPr>
              <p:nvPr/>
            </p:nvSpPr>
            <p:spPr bwMode="auto">
              <a:xfrm>
                <a:off x="6152" y="3216"/>
                <a:ext cx="11" cy="17"/>
              </a:xfrm>
              <a:custGeom>
                <a:avLst/>
                <a:gdLst>
                  <a:gd name="T0" fmla="*/ 0 w 11"/>
                  <a:gd name="T1" fmla="*/ 17 h 17"/>
                  <a:gd name="T2" fmla="*/ 11 w 11"/>
                  <a:gd name="T3" fmla="*/ 2 h 17"/>
                  <a:gd name="T4" fmla="*/ 9 w 11"/>
                  <a:gd name="T5" fmla="*/ 0 h 17"/>
                  <a:gd name="T6" fmla="*/ 0 w 11"/>
                  <a:gd name="T7" fmla="*/ 1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1" h="17">
                    <a:moveTo>
                      <a:pt x="0" y="17"/>
                    </a:moveTo>
                    <a:lnTo>
                      <a:pt x="11" y="2"/>
                    </a:lnTo>
                    <a:lnTo>
                      <a:pt x="9" y="0"/>
                    </a:lnTo>
                    <a:lnTo>
                      <a:pt x="0" y="1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/>
              </a:p>
            </p:txBody>
          </p:sp>
          <p:sp>
            <p:nvSpPr>
              <p:cNvPr id="92" name="Freeform 94"/>
              <p:cNvSpPr>
                <a:spLocks/>
              </p:cNvSpPr>
              <p:nvPr/>
            </p:nvSpPr>
            <p:spPr bwMode="auto">
              <a:xfrm>
                <a:off x="6152" y="3216"/>
                <a:ext cx="11" cy="17"/>
              </a:xfrm>
              <a:custGeom>
                <a:avLst/>
                <a:gdLst>
                  <a:gd name="T0" fmla="*/ 0 w 11"/>
                  <a:gd name="T1" fmla="*/ 17 h 17"/>
                  <a:gd name="T2" fmla="*/ 11 w 11"/>
                  <a:gd name="T3" fmla="*/ 2 h 17"/>
                  <a:gd name="T4" fmla="*/ 9 w 11"/>
                  <a:gd name="T5" fmla="*/ 0 h 17"/>
                  <a:gd name="T6" fmla="*/ 0 w 11"/>
                  <a:gd name="T7" fmla="*/ 1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1" h="17">
                    <a:moveTo>
                      <a:pt x="0" y="17"/>
                    </a:moveTo>
                    <a:lnTo>
                      <a:pt x="11" y="2"/>
                    </a:lnTo>
                    <a:lnTo>
                      <a:pt x="9" y="0"/>
                    </a:lnTo>
                    <a:lnTo>
                      <a:pt x="0" y="17"/>
                    </a:lnTo>
                  </a:path>
                </a:pathLst>
              </a:custGeom>
              <a:noFill/>
              <a:ln w="4763" cap="rnd">
                <a:solidFill>
                  <a:srgbClr val="FFFFFF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/>
              </a:p>
            </p:txBody>
          </p:sp>
          <p:sp>
            <p:nvSpPr>
              <p:cNvPr id="93" name="Freeform 95"/>
              <p:cNvSpPr>
                <a:spLocks/>
              </p:cNvSpPr>
              <p:nvPr/>
            </p:nvSpPr>
            <p:spPr bwMode="auto">
              <a:xfrm>
                <a:off x="6141" y="3224"/>
                <a:ext cx="8" cy="17"/>
              </a:xfrm>
              <a:custGeom>
                <a:avLst/>
                <a:gdLst>
                  <a:gd name="T0" fmla="*/ 6 w 8"/>
                  <a:gd name="T1" fmla="*/ 9 h 17"/>
                  <a:gd name="T2" fmla="*/ 8 w 8"/>
                  <a:gd name="T3" fmla="*/ 14 h 17"/>
                  <a:gd name="T4" fmla="*/ 6 w 8"/>
                  <a:gd name="T5" fmla="*/ 17 h 17"/>
                  <a:gd name="T6" fmla="*/ 0 w 8"/>
                  <a:gd name="T7" fmla="*/ 6 h 17"/>
                  <a:gd name="T8" fmla="*/ 0 w 8"/>
                  <a:gd name="T9" fmla="*/ 0 h 17"/>
                  <a:gd name="T10" fmla="*/ 3 w 8"/>
                  <a:gd name="T11" fmla="*/ 0 h 17"/>
                  <a:gd name="T12" fmla="*/ 6 w 8"/>
                  <a:gd name="T13" fmla="*/ 3 h 17"/>
                  <a:gd name="T14" fmla="*/ 6 w 8"/>
                  <a:gd name="T15" fmla="*/ 9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" h="17">
                    <a:moveTo>
                      <a:pt x="6" y="9"/>
                    </a:moveTo>
                    <a:lnTo>
                      <a:pt x="8" y="14"/>
                    </a:lnTo>
                    <a:lnTo>
                      <a:pt x="6" y="17"/>
                    </a:lnTo>
                    <a:lnTo>
                      <a:pt x="0" y="6"/>
                    </a:lnTo>
                    <a:lnTo>
                      <a:pt x="0" y="0"/>
                    </a:lnTo>
                    <a:lnTo>
                      <a:pt x="3" y="0"/>
                    </a:lnTo>
                    <a:lnTo>
                      <a:pt x="6" y="3"/>
                    </a:lnTo>
                    <a:lnTo>
                      <a:pt x="6" y="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/>
              </a:p>
            </p:txBody>
          </p:sp>
        </p:grpSp>
        <p:sp>
          <p:nvSpPr>
            <p:cNvPr id="139" name="Rectangle 138"/>
            <p:cNvSpPr/>
            <p:nvPr/>
          </p:nvSpPr>
          <p:spPr bwMode="auto">
            <a:xfrm>
              <a:off x="202819" y="1893742"/>
              <a:ext cx="4966205" cy="2255338"/>
            </a:xfrm>
            <a:prstGeom prst="rect">
              <a:avLst/>
            </a:prstGeom>
            <a:noFill/>
            <a:ln w="2857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34" tIns="45718" rIns="91434" bIns="45718" numCol="1" rtlCol="0" anchor="t" anchorCtr="0" compatLnSpc="1">
              <a:prstTxWarp prst="textNoShape">
                <a:avLst/>
              </a:prstTxWarp>
            </a:bodyPr>
            <a:lstStyle/>
            <a:p>
              <a:endParaRPr lang="pt-BR" dirty="0">
                <a:solidFill>
                  <a:schemeClr val="accent5">
                    <a:lumMod val="40000"/>
                    <a:lumOff val="60000"/>
                  </a:schemeClr>
                </a:solidFill>
              </a:endParaRPr>
            </a:p>
            <a:p>
              <a:endParaRPr lang="pt-BR" dirty="0">
                <a:solidFill>
                  <a:schemeClr val="accent5">
                    <a:lumMod val="40000"/>
                    <a:lumOff val="60000"/>
                  </a:schemeClr>
                </a:solidFill>
              </a:endParaRPr>
            </a:p>
          </p:txBody>
        </p:sp>
        <p:sp>
          <p:nvSpPr>
            <p:cNvPr id="140" name="TextBox 139"/>
            <p:cNvSpPr txBox="1"/>
            <p:nvPr/>
          </p:nvSpPr>
          <p:spPr>
            <a:xfrm>
              <a:off x="673410" y="1786847"/>
              <a:ext cx="3773981" cy="25446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1400" b="1" dirty="0">
                  <a:latin typeface="Arial" panose="020B0604020202020204" pitchFamily="34" charset="0"/>
                  <a:cs typeface="Arial" panose="020B0604020202020204" pitchFamily="34" charset="0"/>
                </a:rPr>
                <a:t>Planilha de Monitoramento dos Indicadores</a:t>
              </a:r>
            </a:p>
          </p:txBody>
        </p:sp>
      </p:grpSp>
      <p:sp>
        <p:nvSpPr>
          <p:cNvPr id="238" name="Retângulo 237"/>
          <p:cNvSpPr/>
          <p:nvPr/>
        </p:nvSpPr>
        <p:spPr bwMode="auto">
          <a:xfrm>
            <a:off x="7983644" y="6643710"/>
            <a:ext cx="1785950" cy="21429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34" tIns="45718" rIns="91434" bIns="45718" numCol="1" rtlCol="0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243" name="Title 1"/>
          <p:cNvSpPr>
            <a:spLocks noGrp="1"/>
          </p:cNvSpPr>
          <p:nvPr>
            <p:ph type="title" idx="4294967295"/>
          </p:nvPr>
        </p:nvSpPr>
        <p:spPr>
          <a:xfrm>
            <a:off x="2" y="0"/>
            <a:ext cx="9905999" cy="836712"/>
          </a:xfrm>
          <a:solidFill>
            <a:schemeClr val="accent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glow rad="25400">
              <a:schemeClr val="accent1"/>
            </a:glow>
            <a:softEdge rad="0"/>
          </a:effectLst>
          <a:scene3d>
            <a:camera prst="orthographicFront"/>
            <a:lightRig rig="freezing" dir="t"/>
          </a:scene3d>
          <a:sp3d prstMaterial="plastic">
            <a:bevelT prst="angle"/>
            <a:bevelB prst="angle"/>
          </a:sp3d>
        </p:spPr>
        <p:txBody>
          <a:bodyPr rot="0" spcFirstLastPara="0" vertOverflow="overflow" horzOverflow="overflow" vert="horz" wrap="square" lIns="91434" tIns="0" rIns="91434" bIns="45718" numCol="1" spcCol="0" rtlCol="0" fromWordArt="0" anchor="ctr" anchorCtr="0" forceAA="0" compatLnSpc="1">
            <a:prstTxWarp prst="textNoShape">
              <a:avLst/>
            </a:prstTxWarp>
            <a:noAutofit/>
            <a:sp3d/>
          </a:bodyPr>
          <a:lstStyle/>
          <a:p>
            <a:r>
              <a:rPr lang="pt-BR" sz="3200" b="0" kern="1200" dirty="0">
                <a:solidFill>
                  <a:schemeClr val="bg1">
                    <a:lumMod val="95000"/>
                  </a:schemeClr>
                </a:solidFill>
                <a:effectLst>
                  <a:glow>
                    <a:schemeClr val="accent1">
                      <a:alpha val="40000"/>
                    </a:schemeClr>
                  </a:glow>
                </a:effectLst>
                <a:latin typeface="Comic Sans MS" charset="0"/>
                <a:ea typeface="Comic Sans MS" charset="0"/>
                <a:cs typeface="Comic Sans MS" charset="0"/>
              </a:rPr>
              <a:t>Indicadores de Desempenho</a:t>
            </a:r>
          </a:p>
        </p:txBody>
      </p:sp>
    </p:spTree>
    <p:extLst>
      <p:ext uri="{BB962C8B-B14F-4D97-AF65-F5344CB8AC3E}">
        <p14:creationId xmlns:p14="http://schemas.microsoft.com/office/powerpoint/2010/main" val="3561246722"/>
      </p:ext>
    </p:extLst>
  </p:cSld>
  <p:clrMapOvr>
    <a:masterClrMapping/>
  </p:clrMapOvr>
  <p:transition spd="med" advClick="0"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4" name="Straight Connector 33"/>
          <p:cNvCxnSpPr>
            <a:stCxn id="443398" idx="0"/>
            <a:endCxn id="443395" idx="2"/>
          </p:cNvCxnSpPr>
          <p:nvPr/>
        </p:nvCxnSpPr>
        <p:spPr bwMode="auto">
          <a:xfrm rot="16200000" flipV="1">
            <a:off x="4616377" y="4579609"/>
            <a:ext cx="731158" cy="13778"/>
          </a:xfrm>
          <a:prstGeom prst="line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443398" name="Picture 6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8846" y="4952079"/>
            <a:ext cx="2880001" cy="905815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002776"/>
            </a:solidFill>
            <a:miter lim="800000"/>
            <a:headEnd/>
            <a:tailEnd/>
          </a:ln>
          <a:extLst/>
        </p:spPr>
      </p:pic>
      <p:sp>
        <p:nvSpPr>
          <p:cNvPr id="4" name="Text Placeholder 3"/>
          <p:cNvSpPr>
            <a:spLocks noGrp="1"/>
          </p:cNvSpPr>
          <p:nvPr>
            <p:ph type="body" idx="11"/>
          </p:nvPr>
        </p:nvSpPr>
        <p:spPr>
          <a:xfrm>
            <a:off x="281649" y="928670"/>
            <a:ext cx="9624353" cy="432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34" tIns="0" rIns="91434" bIns="0" numCol="1" anchor="t" anchorCtr="0" compatLnSpc="1">
            <a:prstTxWarp prst="textNoShape">
              <a:avLst/>
            </a:prstTxWarp>
          </a:bodyPr>
          <a:lstStyle/>
          <a:p>
            <a:r>
              <a:rPr lang="pt-BR" sz="1846" dirty="0">
                <a:solidFill>
                  <a:srgbClr val="0070C0"/>
                </a:solidFill>
              </a:rPr>
              <a:t>Modelo organizacional baseado em processos</a:t>
            </a:r>
          </a:p>
        </p:txBody>
      </p:sp>
      <p:pic>
        <p:nvPicPr>
          <p:cNvPr id="443395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8176" y="1785928"/>
            <a:ext cx="5813782" cy="2434993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002776"/>
            </a:solidFill>
            <a:miter lim="800000"/>
            <a:headEnd/>
            <a:tailEnd/>
          </a:ln>
          <a:extLst/>
        </p:spPr>
      </p:pic>
      <p:cxnSp>
        <p:nvCxnSpPr>
          <p:cNvPr id="13" name="Straight Connector 12"/>
          <p:cNvCxnSpPr>
            <a:stCxn id="443399" idx="0"/>
          </p:cNvCxnSpPr>
          <p:nvPr/>
        </p:nvCxnSpPr>
        <p:spPr bwMode="auto">
          <a:xfrm flipV="1">
            <a:off x="8049184" y="4499168"/>
            <a:ext cx="0" cy="452908"/>
          </a:xfrm>
          <a:prstGeom prst="line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0" name="Straight Connector 19"/>
          <p:cNvCxnSpPr>
            <a:stCxn id="443397" idx="0"/>
          </p:cNvCxnSpPr>
          <p:nvPr/>
        </p:nvCxnSpPr>
        <p:spPr bwMode="auto">
          <a:xfrm flipV="1">
            <a:off x="1928505" y="4499168"/>
            <a:ext cx="0" cy="452908"/>
          </a:xfrm>
          <a:prstGeom prst="line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5" name="Straight Connector 14"/>
          <p:cNvCxnSpPr/>
          <p:nvPr/>
        </p:nvCxnSpPr>
        <p:spPr bwMode="auto">
          <a:xfrm>
            <a:off x="1928504" y="4499168"/>
            <a:ext cx="6120680" cy="0"/>
          </a:xfrm>
          <a:prstGeom prst="line">
            <a:avLst/>
          </a:prstGeom>
          <a:solidFill>
            <a:schemeClr val="bg1"/>
          </a:solidFill>
          <a:ln w="12700" algn="ctr">
            <a:solidFill>
              <a:schemeClr val="tx2"/>
            </a:solidFill>
            <a:miter lim="800000"/>
            <a:headEnd/>
            <a:tailEnd/>
          </a:ln>
          <a:extLst/>
        </p:spPr>
      </p:cxnSp>
      <p:pic>
        <p:nvPicPr>
          <p:cNvPr id="443397" name="Picture 5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506" y="4952079"/>
            <a:ext cx="2880001" cy="905815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002776"/>
            </a:solidFill>
            <a:miter lim="800000"/>
            <a:headEnd/>
            <a:tailEnd/>
          </a:ln>
          <a:extLst/>
        </p:spPr>
      </p:pic>
      <p:pic>
        <p:nvPicPr>
          <p:cNvPr id="443399" name="Picture 7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09186" y="4952079"/>
            <a:ext cx="2880001" cy="905815"/>
          </a:xfrm>
          <a:prstGeom prst="rect">
            <a:avLst/>
          </a:prstGeom>
          <a:solidFill>
            <a:schemeClr val="bg1"/>
          </a:solidFill>
          <a:ln w="12700" algn="ctr">
            <a:solidFill>
              <a:srgbClr val="002776"/>
            </a:solidFill>
            <a:miter lim="800000"/>
            <a:headEnd/>
            <a:tailEnd/>
          </a:ln>
          <a:extLst/>
        </p:spPr>
      </p:pic>
      <p:sp>
        <p:nvSpPr>
          <p:cNvPr id="29" name="TextBox 28"/>
          <p:cNvSpPr txBox="1"/>
          <p:nvPr/>
        </p:nvSpPr>
        <p:spPr>
          <a:xfrm rot="20740188">
            <a:off x="1747101" y="1671295"/>
            <a:ext cx="699075" cy="243613"/>
          </a:xfrm>
          <a:prstGeom prst="roundRect">
            <a:avLst/>
          </a:prstGeom>
          <a:solidFill>
            <a:schemeClr val="accent3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ctr">
            <a:spAutoFit/>
          </a:bodyPr>
          <a:lstStyle/>
          <a:p>
            <a:pPr algn="ctr"/>
            <a:r>
              <a:rPr lang="pt-BR" sz="831" b="1" dirty="0">
                <a:solidFill>
                  <a:schemeClr val="bg2"/>
                </a:solidFill>
                <a:latin typeface="Calibri" panose="020F0502020204030204" pitchFamily="34" charset="0"/>
              </a:rPr>
              <a:t>Modelo</a:t>
            </a:r>
          </a:p>
        </p:txBody>
      </p:sp>
      <p:sp>
        <p:nvSpPr>
          <p:cNvPr id="31" name="TextBox 30"/>
          <p:cNvSpPr txBox="1"/>
          <p:nvPr/>
        </p:nvSpPr>
        <p:spPr>
          <a:xfrm rot="21317873">
            <a:off x="638496" y="4830273"/>
            <a:ext cx="699075" cy="243613"/>
          </a:xfrm>
          <a:prstGeom prst="roundRect">
            <a:avLst/>
          </a:prstGeom>
          <a:solidFill>
            <a:schemeClr val="accent3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ctr">
            <a:spAutoFit/>
          </a:bodyPr>
          <a:lstStyle/>
          <a:p>
            <a:pPr algn="ctr"/>
            <a:r>
              <a:rPr lang="pt-BR" sz="831" b="1" dirty="0">
                <a:solidFill>
                  <a:schemeClr val="bg2"/>
                </a:solidFill>
                <a:latin typeface="Calibri" panose="020F0502020204030204" pitchFamily="34" charset="0"/>
              </a:rPr>
              <a:t>CODESP</a:t>
            </a:r>
          </a:p>
        </p:txBody>
      </p:sp>
      <p:sp>
        <p:nvSpPr>
          <p:cNvPr id="32" name="TextBox 31"/>
          <p:cNvSpPr txBox="1"/>
          <p:nvPr/>
        </p:nvSpPr>
        <p:spPr>
          <a:xfrm rot="21317873">
            <a:off x="3734839" y="4830273"/>
            <a:ext cx="699075" cy="243613"/>
          </a:xfrm>
          <a:prstGeom prst="roundRect">
            <a:avLst/>
          </a:prstGeom>
          <a:solidFill>
            <a:schemeClr val="accent3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ctr">
            <a:spAutoFit/>
          </a:bodyPr>
          <a:lstStyle/>
          <a:p>
            <a:pPr algn="ctr"/>
            <a:r>
              <a:rPr lang="pt-BR" sz="831" b="1" dirty="0">
                <a:solidFill>
                  <a:schemeClr val="bg2"/>
                </a:solidFill>
                <a:latin typeface="Calibri" panose="020F0502020204030204" pitchFamily="34" charset="0"/>
              </a:rPr>
              <a:t>CDRJ</a:t>
            </a:r>
          </a:p>
        </p:txBody>
      </p:sp>
      <p:sp>
        <p:nvSpPr>
          <p:cNvPr id="33" name="TextBox 32"/>
          <p:cNvSpPr txBox="1"/>
          <p:nvPr/>
        </p:nvSpPr>
        <p:spPr>
          <a:xfrm rot="21317873">
            <a:off x="6831184" y="4830273"/>
            <a:ext cx="699075" cy="243613"/>
          </a:xfrm>
          <a:prstGeom prst="roundRect">
            <a:avLst/>
          </a:prstGeom>
          <a:solidFill>
            <a:schemeClr val="accent3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ctr">
            <a:spAutoFit/>
          </a:bodyPr>
          <a:lstStyle/>
          <a:p>
            <a:pPr algn="ctr"/>
            <a:r>
              <a:rPr lang="pt-BR" sz="831" b="1" dirty="0">
                <a:solidFill>
                  <a:schemeClr val="bg2"/>
                </a:solidFill>
                <a:latin typeface="Calibri" panose="020F0502020204030204" pitchFamily="34" charset="0"/>
              </a:rPr>
              <a:t>CDP</a:t>
            </a:r>
          </a:p>
        </p:txBody>
      </p:sp>
      <p:cxnSp>
        <p:nvCxnSpPr>
          <p:cNvPr id="27" name="Straight Arrow Connector 26"/>
          <p:cNvCxnSpPr>
            <a:endCxn id="443397" idx="0"/>
          </p:cNvCxnSpPr>
          <p:nvPr/>
        </p:nvCxnSpPr>
        <p:spPr bwMode="auto">
          <a:xfrm>
            <a:off x="1928505" y="4498421"/>
            <a:ext cx="0" cy="453657"/>
          </a:xfrm>
          <a:prstGeom prst="straightConnector1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41" name="Straight Arrow Connector 40"/>
          <p:cNvCxnSpPr/>
          <p:nvPr/>
        </p:nvCxnSpPr>
        <p:spPr bwMode="auto">
          <a:xfrm>
            <a:off x="4980627" y="4499171"/>
            <a:ext cx="0" cy="453657"/>
          </a:xfrm>
          <a:prstGeom prst="straightConnector1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42" name="Straight Arrow Connector 41"/>
          <p:cNvCxnSpPr/>
          <p:nvPr/>
        </p:nvCxnSpPr>
        <p:spPr bwMode="auto">
          <a:xfrm>
            <a:off x="8049184" y="4499171"/>
            <a:ext cx="0" cy="453657"/>
          </a:xfrm>
          <a:prstGeom prst="straightConnector1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40" name="Title 1"/>
          <p:cNvSpPr txBox="1">
            <a:spLocks/>
          </p:cNvSpPr>
          <p:nvPr/>
        </p:nvSpPr>
        <p:spPr bwMode="auto">
          <a:xfrm>
            <a:off x="-4720" y="17212"/>
            <a:ext cx="9906001" cy="806379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glow rad="25400">
              <a:schemeClr val="accent1"/>
            </a:glow>
            <a:softEdge rad="0"/>
          </a:effectLst>
          <a:scene3d>
            <a:camera prst="orthographicFront"/>
            <a:lightRig rig="freezing" dir="t"/>
          </a:scene3d>
          <a:sp3d prstMaterial="plastic">
            <a:bevelT prst="angle"/>
            <a:bevelB prst="angle"/>
          </a:sp3d>
        </p:spPr>
        <p:txBody>
          <a:bodyPr rot="0" spcFirstLastPara="0" vertOverflow="overflow" horzOverflow="overflow" vert="horz" wrap="square" lIns="91434" tIns="0" rIns="91434" bIns="45718" numCol="1" spcCol="0" rtlCol="0" fromWordArt="0" anchor="ctr" anchorCtr="0" forceAA="0" compatLnSpc="1">
            <a:prstTxWarp prst="textNoShape">
              <a:avLst/>
            </a:prstTxWarp>
            <a:noAutofit/>
            <a:sp3d/>
          </a:bodyPr>
          <a:lstStyle>
            <a:defPPr>
              <a:defRPr lang="en-US"/>
            </a:defPPr>
            <a:lvl1pPr marL="0" marR="0" indent="0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  <a:defRPr kumimoji="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</a:defRPr>
            </a:lvl1pPr>
          </a:lstStyle>
          <a:p>
            <a:r>
              <a:rPr lang="pt-BR" sz="3200" dirty="0">
                <a:solidFill>
                  <a:schemeClr val="bg1">
                    <a:lumMod val="95000"/>
                  </a:schemeClr>
                </a:solidFill>
                <a:effectLst>
                  <a:glow>
                    <a:schemeClr val="accent1">
                      <a:alpha val="40000"/>
                    </a:schemeClr>
                  </a:glow>
                </a:effectLst>
                <a:latin typeface="Comic Sans MS" charset="0"/>
                <a:ea typeface="Comic Sans MS" charset="0"/>
                <a:cs typeface="Comic Sans MS" charset="0"/>
              </a:rPr>
              <a:t>Estrutura Organizacional</a:t>
            </a:r>
          </a:p>
        </p:txBody>
      </p:sp>
    </p:spTree>
    <p:extLst>
      <p:ext uri="{BB962C8B-B14F-4D97-AF65-F5344CB8AC3E}">
        <p14:creationId xmlns:p14="http://schemas.microsoft.com/office/powerpoint/2010/main" val="116733665"/>
      </p:ext>
    </p:extLst>
  </p:cSld>
  <p:clrMapOvr>
    <a:masterClrMapping/>
  </p:clrMapOvr>
  <p:transition spd="med" advClick="0"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938" name="Imagem 1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00928" y="5994403"/>
            <a:ext cx="1984375" cy="530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9939" name="Text Box 4"/>
          <p:cNvSpPr txBox="1">
            <a:spLocks noChangeArrowheads="1"/>
          </p:cNvSpPr>
          <p:nvPr/>
        </p:nvSpPr>
        <p:spPr bwMode="auto">
          <a:xfrm>
            <a:off x="381000" y="2071688"/>
            <a:ext cx="9144000" cy="4339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pt-BR" altLang="pt-BR" sz="6000" dirty="0" smtClean="0">
                <a:solidFill>
                  <a:schemeClr val="bg1"/>
                </a:solidFill>
                <a:latin typeface="Comic Sans MS" panose="030F0702030302020204" pitchFamily="66" charset="0"/>
              </a:rPr>
              <a:t>Obrigado</a:t>
            </a:r>
            <a:r>
              <a:rPr lang="en-US" altLang="pt-BR" sz="6000" dirty="0" smtClean="0">
                <a:solidFill>
                  <a:schemeClr val="bg1"/>
                </a:solidFill>
                <a:latin typeface="Comic Sans MS" panose="030F0702030302020204" pitchFamily="66" charset="0"/>
              </a:rPr>
              <a:t>!</a:t>
            </a:r>
            <a:endParaRPr lang="en-US" altLang="pt-BR" sz="6000" dirty="0">
              <a:solidFill>
                <a:schemeClr val="bg1"/>
              </a:solidFill>
              <a:latin typeface="Comic Sans MS" panose="030F0702030302020204" pitchFamily="66" charset="0"/>
            </a:endParaRPr>
          </a:p>
          <a:p>
            <a:pPr algn="ctr">
              <a:spcBef>
                <a:spcPct val="0"/>
              </a:spcBef>
              <a:buFontTx/>
              <a:buNone/>
            </a:pPr>
            <a:endParaRPr lang="en-US" altLang="pt-BR" sz="2400" dirty="0">
              <a:solidFill>
                <a:schemeClr val="bg1"/>
              </a:solidFill>
              <a:latin typeface="Comic Sans MS" panose="030F0702030302020204" pitchFamily="66" charset="0"/>
            </a:endParaRPr>
          </a:p>
          <a:p>
            <a:pPr algn="ctr">
              <a:spcBef>
                <a:spcPct val="0"/>
              </a:spcBef>
              <a:buFontTx/>
              <a:buNone/>
            </a:pPr>
            <a:endParaRPr lang="en-US" altLang="pt-BR" sz="2400" dirty="0">
              <a:solidFill>
                <a:schemeClr val="bg1"/>
              </a:solidFill>
              <a:latin typeface="Comic Sans MS" panose="030F0702030302020204" pitchFamily="66" charset="0"/>
            </a:endParaRPr>
          </a:p>
          <a:p>
            <a:pPr algn="ctr">
              <a:spcBef>
                <a:spcPct val="0"/>
              </a:spcBef>
              <a:buFontTx/>
              <a:buNone/>
            </a:pPr>
            <a:endParaRPr lang="en-US" altLang="pt-BR" sz="2400" dirty="0">
              <a:solidFill>
                <a:schemeClr val="bg1"/>
              </a:solidFill>
              <a:latin typeface="Comic Sans MS" panose="030F0702030302020204" pitchFamily="66" charset="0"/>
            </a:endParaRPr>
          </a:p>
          <a:p>
            <a:pPr algn="ctr">
              <a:spcBef>
                <a:spcPct val="0"/>
              </a:spcBef>
              <a:buFontTx/>
              <a:buNone/>
            </a:pPr>
            <a:endParaRPr lang="en-US" altLang="pt-BR" sz="2400" dirty="0">
              <a:solidFill>
                <a:schemeClr val="bg1"/>
              </a:solidFill>
              <a:latin typeface="Comic Sans MS" panose="030F0702030302020204" pitchFamily="66" charset="0"/>
            </a:endParaRPr>
          </a:p>
          <a:p>
            <a:pPr algn="ctr">
              <a:spcBef>
                <a:spcPct val="0"/>
              </a:spcBef>
              <a:buFontTx/>
              <a:buNone/>
            </a:pPr>
            <a:endParaRPr lang="en-US" altLang="pt-BR" sz="2400" dirty="0">
              <a:solidFill>
                <a:schemeClr val="bg1"/>
              </a:solidFill>
              <a:latin typeface="Comic Sans MS" panose="030F0702030302020204" pitchFamily="66" charset="0"/>
            </a:endParaRPr>
          </a:p>
          <a:p>
            <a:pPr algn="ctr">
              <a:spcBef>
                <a:spcPct val="0"/>
              </a:spcBef>
              <a:buFontTx/>
              <a:buNone/>
            </a:pPr>
            <a:endParaRPr lang="en-US" altLang="pt-BR" sz="2400" dirty="0">
              <a:solidFill>
                <a:schemeClr val="bg1"/>
              </a:solidFill>
              <a:latin typeface="Comic Sans MS" panose="030F0702030302020204" pitchFamily="66" charset="0"/>
            </a:endParaRPr>
          </a:p>
          <a:p>
            <a:pPr algn="ctr">
              <a:spcBef>
                <a:spcPct val="0"/>
              </a:spcBef>
              <a:buFontTx/>
              <a:buNone/>
            </a:pPr>
            <a:r>
              <a:rPr lang="pt-BR" altLang="pt-BR" sz="1800" dirty="0" smtClean="0">
                <a:solidFill>
                  <a:schemeClr val="bg1"/>
                </a:solidFill>
                <a:latin typeface="Comic Sans MS" panose="030F0702030302020204" pitchFamily="66" charset="0"/>
              </a:rPr>
              <a:t>Secretaria </a:t>
            </a:r>
            <a:r>
              <a:rPr lang="pt-BR" altLang="pt-BR" sz="1800" dirty="0">
                <a:solidFill>
                  <a:schemeClr val="bg1"/>
                </a:solidFill>
                <a:latin typeface="Comic Sans MS" panose="030F0702030302020204" pitchFamily="66" charset="0"/>
              </a:rPr>
              <a:t>Nacional de Portos</a:t>
            </a:r>
          </a:p>
          <a:p>
            <a:pPr algn="ctr">
              <a:spcBef>
                <a:spcPct val="0"/>
              </a:spcBef>
              <a:buFontTx/>
              <a:buNone/>
            </a:pPr>
            <a:endParaRPr lang="pt-BR" altLang="pt-BR" sz="1800" dirty="0">
              <a:solidFill>
                <a:schemeClr val="bg1"/>
              </a:solidFill>
              <a:latin typeface="Comic Sans MS" panose="030F0702030302020204" pitchFamily="66" charset="0"/>
            </a:endParaRPr>
          </a:p>
          <a:p>
            <a:pPr algn="ctr">
              <a:spcBef>
                <a:spcPct val="0"/>
              </a:spcBef>
              <a:buFontTx/>
              <a:buNone/>
            </a:pPr>
            <a:r>
              <a:rPr lang="pt-BR" altLang="pt-BR" sz="1800" dirty="0">
                <a:solidFill>
                  <a:schemeClr val="bg1"/>
                </a:solidFill>
                <a:latin typeface="Comic Sans MS" panose="030F0702030302020204" pitchFamily="66" charset="0"/>
              </a:rPr>
              <a:t>SNP/MTPA – (61) </a:t>
            </a:r>
            <a:r>
              <a:rPr lang="pt-BR" altLang="pt-BR" sz="1800" dirty="0" smtClean="0">
                <a:solidFill>
                  <a:schemeClr val="bg1"/>
                </a:solidFill>
                <a:latin typeface="Comic Sans MS" panose="030F0702030302020204" pitchFamily="66" charset="0"/>
              </a:rPr>
              <a:t>3771.0309</a:t>
            </a:r>
            <a:endParaRPr lang="pt-BR" altLang="pt-BR" sz="1800" dirty="0">
              <a:solidFill>
                <a:schemeClr val="bg1"/>
              </a:solidFill>
              <a:latin typeface="Comic Sans MS" panose="030F0702030302020204" pitchFamily="66" charset="0"/>
            </a:endParaRPr>
          </a:p>
          <a:p>
            <a:pPr algn="ctr">
              <a:spcBef>
                <a:spcPct val="0"/>
              </a:spcBef>
              <a:buFontTx/>
              <a:buNone/>
            </a:pPr>
            <a:r>
              <a:rPr lang="pt-BR" altLang="pt-BR" sz="1800" dirty="0" smtClean="0">
                <a:solidFill>
                  <a:schemeClr val="bg1"/>
                </a:solidFill>
                <a:latin typeface="Comic Sans MS" panose="030F0702030302020204" pitchFamily="66" charset="0"/>
              </a:rPr>
              <a:t>Jose.Albuquerque@transportes.gov.br</a:t>
            </a:r>
            <a:endParaRPr lang="pt-BR" altLang="pt-BR" sz="1800" dirty="0">
              <a:solidFill>
                <a:schemeClr val="bg1"/>
              </a:solidFill>
              <a:latin typeface="Comic Sans MS" panose="030F0702030302020204" pitchFamily="66" charset="0"/>
            </a:endParaRPr>
          </a:p>
        </p:txBody>
      </p:sp>
      <p:pic>
        <p:nvPicPr>
          <p:cNvPr id="4" name="Imagem 1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0476" y="5994403"/>
            <a:ext cx="1984375" cy="530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462512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3"/>
          <p:cNvSpPr>
            <a:spLocks/>
          </p:cNvSpPr>
          <p:nvPr/>
        </p:nvSpPr>
        <p:spPr bwMode="auto">
          <a:xfrm>
            <a:off x="930275" y="1773238"/>
            <a:ext cx="8210550" cy="1985962"/>
          </a:xfrm>
          <a:prstGeom prst="rect">
            <a:avLst/>
          </a:prstGeom>
          <a:noFill/>
          <a:ln>
            <a:noFill/>
          </a:ln>
          <a:effectLst>
            <a:outerShdw dist="25399" dir="5400000" algn="ctr" rotWithShape="0">
              <a:schemeClr val="bg2">
                <a:alpha val="74997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342900" indent="-34290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90000"/>
              </a:lnSpc>
              <a:spcBef>
                <a:spcPts val="1113"/>
              </a:spcBef>
              <a:buFont typeface="Wingdings" panose="05000000000000000000" pitchFamily="2" charset="2"/>
              <a:buChar char="Ø"/>
            </a:pPr>
            <a:endParaRPr lang="pt-BR" altLang="pt-BR" sz="1800">
              <a:latin typeface="Helvetica" panose="020B0604020202020204" pitchFamily="34" charset="0"/>
              <a:ea typeface="MS PGothic" panose="020B0600070205080204" pitchFamily="34" charset="-128"/>
              <a:sym typeface="Helvetica" panose="020B0604020202020204" pitchFamily="34" charset="0"/>
            </a:endParaRPr>
          </a:p>
          <a:p>
            <a:pPr>
              <a:lnSpc>
                <a:spcPct val="90000"/>
              </a:lnSpc>
              <a:spcBef>
                <a:spcPts val="1113"/>
              </a:spcBef>
              <a:buFont typeface="Wingdings" panose="05000000000000000000" pitchFamily="2" charset="2"/>
              <a:buChar char="Ø"/>
            </a:pPr>
            <a:endParaRPr lang="pt-BR" altLang="pt-BR" sz="1800">
              <a:latin typeface="Helvetica" panose="020B0604020202020204" pitchFamily="34" charset="0"/>
              <a:ea typeface="MS PGothic" panose="020B0600070205080204" pitchFamily="34" charset="-128"/>
              <a:sym typeface="Helvetica" panose="020B0604020202020204" pitchFamily="34" charset="0"/>
            </a:endParaRPr>
          </a:p>
        </p:txBody>
      </p:sp>
      <p:sp>
        <p:nvSpPr>
          <p:cNvPr id="16387" name="Rectangle 4"/>
          <p:cNvSpPr>
            <a:spLocks/>
          </p:cNvSpPr>
          <p:nvPr/>
        </p:nvSpPr>
        <p:spPr bwMode="auto">
          <a:xfrm>
            <a:off x="1212851" y="6419851"/>
            <a:ext cx="7853363" cy="542925"/>
          </a:xfrm>
          <a:prstGeom prst="rect">
            <a:avLst/>
          </a:prstGeom>
          <a:noFill/>
          <a:ln>
            <a:noFill/>
          </a:ln>
          <a:effectLst>
            <a:outerShdw dist="25399" dir="5400000" algn="ctr" rotWithShape="0">
              <a:schemeClr val="bg2">
                <a:alpha val="74997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90000"/>
              </a:lnSpc>
              <a:spcBef>
                <a:spcPts val="1175"/>
              </a:spcBef>
              <a:buNone/>
            </a:pPr>
            <a:endParaRPr lang="es-ES_tradnl" altLang="pt-BR" sz="3100" b="1">
              <a:latin typeface="Helvetica" panose="020B0604020202020204" pitchFamily="34" charset="0"/>
              <a:ea typeface="MS PGothic" panose="020B0600070205080204" pitchFamily="34" charset="-128"/>
              <a:cs typeface="Helvetica" panose="020B0604020202020204" pitchFamily="34" charset="0"/>
              <a:sym typeface="Helvetica" panose="020B0604020202020204" pitchFamily="34" charset="0"/>
            </a:endParaRPr>
          </a:p>
        </p:txBody>
      </p:sp>
      <p:sp>
        <p:nvSpPr>
          <p:cNvPr id="16389" name="Text Placeholder 3"/>
          <p:cNvSpPr txBox="1">
            <a:spLocks/>
          </p:cNvSpPr>
          <p:nvPr/>
        </p:nvSpPr>
        <p:spPr bwMode="auto">
          <a:xfrm>
            <a:off x="381000" y="1462085"/>
            <a:ext cx="9036496" cy="4547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ts val="1200"/>
              </a:spcBef>
              <a:buNone/>
            </a:pPr>
            <a:r>
              <a:rPr lang="pt-BR" altLang="pt-BR" sz="2400" b="1" dirty="0" smtClean="0"/>
              <a:t>Ofício P-149/2017/CVT</a:t>
            </a:r>
            <a:r>
              <a:rPr lang="pt-BR" altLang="pt-BR" sz="2400" b="1" dirty="0" smtClean="0">
                <a:solidFill>
                  <a:srgbClr val="4BACC6"/>
                </a:solidFill>
              </a:rPr>
              <a:t> </a:t>
            </a:r>
            <a:r>
              <a:rPr lang="pt-BR" altLang="pt-BR" sz="2400" b="1" dirty="0" smtClean="0"/>
              <a:t>– Requerimento nº 223/2017/CVT</a:t>
            </a:r>
          </a:p>
          <a:p>
            <a:pPr>
              <a:spcBef>
                <a:spcPts val="1200"/>
              </a:spcBef>
              <a:buNone/>
            </a:pPr>
            <a:endParaRPr lang="pt-BR" altLang="pt-BR" sz="1800" b="1" dirty="0" smtClean="0">
              <a:ea typeface="MS PGothic" panose="020B0600070205080204" pitchFamily="34" charset="-128"/>
              <a:cs typeface="Helvetica" panose="020B0604020202020204" pitchFamily="34" charset="0"/>
              <a:sym typeface="Helvetica" panose="020B0604020202020204" pitchFamily="34" charset="0"/>
            </a:endParaRPr>
          </a:p>
          <a:p>
            <a:pPr>
              <a:spcBef>
                <a:spcPts val="1200"/>
              </a:spcBef>
              <a:buNone/>
            </a:pPr>
            <a:endParaRPr lang="pt-BR" altLang="pt-BR" sz="1800" b="1" dirty="0">
              <a:ea typeface="MS PGothic" panose="020B0600070205080204" pitchFamily="34" charset="-128"/>
              <a:cs typeface="Helvetica" panose="020B0604020202020204" pitchFamily="34" charset="0"/>
              <a:sym typeface="Helvetica" panose="020B0604020202020204" pitchFamily="34" charset="0"/>
            </a:endParaRPr>
          </a:p>
          <a:p>
            <a:pPr>
              <a:spcBef>
                <a:spcPts val="1200"/>
              </a:spcBef>
              <a:buNone/>
            </a:pPr>
            <a:r>
              <a:rPr lang="pt-BR" altLang="pt-BR" sz="1800" b="1" dirty="0" smtClean="0">
                <a:ea typeface="MS PGothic" panose="020B0600070205080204" pitchFamily="34" charset="-128"/>
                <a:cs typeface="Helvetica" panose="020B0604020202020204" pitchFamily="34" charset="0"/>
                <a:sym typeface="Helvetica" panose="020B0604020202020204" pitchFamily="34" charset="0"/>
              </a:rPr>
              <a:t>Convite ao Secretário Nacional de Portos, Luiz Otávio Campos, para participar de audiência pública, na qualidade de expositor, para “discutir o futuro das Companhias Docas e as funções essenciais das Autoridades Portuárias para o desenvolvimento do setor portuário nacional”.</a:t>
            </a:r>
          </a:p>
          <a:p>
            <a:pPr>
              <a:spcBef>
                <a:spcPts val="1200"/>
              </a:spcBef>
              <a:buNone/>
            </a:pPr>
            <a:endParaRPr lang="pt-BR" altLang="pt-BR" sz="1800" b="1" dirty="0" smtClean="0">
              <a:latin typeface="Arial" panose="020B0604020202020204" pitchFamily="34" charset="0"/>
              <a:ea typeface="MS PGothic" panose="020B0600070205080204" pitchFamily="34" charset="-128"/>
              <a:cs typeface="Helvetica" panose="020B0604020202020204" pitchFamily="34" charset="0"/>
              <a:sym typeface="Helvetica" panose="020B0604020202020204" pitchFamily="34" charset="0"/>
            </a:endParaRPr>
          </a:p>
          <a:p>
            <a:pPr>
              <a:spcBef>
                <a:spcPts val="1200"/>
              </a:spcBef>
              <a:buNone/>
            </a:pPr>
            <a:endParaRPr lang="pt-BR" altLang="pt-BR" sz="1800" b="1" dirty="0">
              <a:latin typeface="Arial" panose="020B0604020202020204" pitchFamily="34" charset="0"/>
              <a:ea typeface="MS PGothic" panose="020B0600070205080204" pitchFamily="34" charset="-128"/>
              <a:cs typeface="Helvetica" panose="020B0604020202020204" pitchFamily="34" charset="0"/>
              <a:sym typeface="Helvetica" panose="020B0604020202020204" pitchFamily="34" charset="0"/>
            </a:endParaRPr>
          </a:p>
          <a:p>
            <a:pPr>
              <a:spcBef>
                <a:spcPts val="1200"/>
              </a:spcBef>
              <a:buNone/>
            </a:pPr>
            <a:endParaRPr lang="pt-BR" altLang="pt-BR" sz="1800" b="1" dirty="0">
              <a:latin typeface="Arial" panose="020B0604020202020204" pitchFamily="34" charset="0"/>
              <a:ea typeface="MS PGothic" panose="020B0600070205080204" pitchFamily="34" charset="-128"/>
              <a:cs typeface="Helvetica" panose="020B0604020202020204" pitchFamily="34" charset="0"/>
              <a:sym typeface="Helvetica" panose="020B0604020202020204" pitchFamily="34" charset="0"/>
            </a:endParaRPr>
          </a:p>
          <a:p>
            <a:pPr>
              <a:spcBef>
                <a:spcPts val="1200"/>
              </a:spcBef>
              <a:buNone/>
            </a:pPr>
            <a:endParaRPr lang="pt-BR" altLang="pt-BR" sz="2800" dirty="0">
              <a:solidFill>
                <a:schemeClr val="accent2"/>
              </a:solidFill>
            </a:endParaRPr>
          </a:p>
        </p:txBody>
      </p:sp>
      <p:sp>
        <p:nvSpPr>
          <p:cNvPr id="8" name="Retângulo 7"/>
          <p:cNvSpPr/>
          <p:nvPr/>
        </p:nvSpPr>
        <p:spPr>
          <a:xfrm>
            <a:off x="381000" y="0"/>
            <a:ext cx="9144000" cy="849052"/>
          </a:xfrm>
          <a:prstGeom prst="rect">
            <a:avLst/>
          </a:prstGeom>
          <a:solidFill>
            <a:schemeClr val="tx2">
              <a:lumMod val="75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/>
            <a:lightRig rig="threePt" dir="t"/>
          </a:scene3d>
          <a:sp3d extrusionH="76200" contourW="12700" prstMaterial="dkEdge">
            <a:bevelT w="101600" prst="riblet"/>
            <a:bevelB w="101600" prst="riblet"/>
            <a:extrusionClr>
              <a:schemeClr val="accent1">
                <a:lumMod val="50000"/>
              </a:schemeClr>
            </a:extrusionClr>
            <a:contourClr>
              <a:schemeClr val="tx2">
                <a:lumMod val="50000"/>
              </a:schemeClr>
            </a:contourClr>
          </a:sp3d>
        </p:spPr>
        <p:txBody>
          <a:bodyPr anchor="ctr"/>
          <a:lstStyle/>
          <a:p>
            <a:pPr eaLnBrk="1" hangingPunct="1">
              <a:defRPr/>
            </a:pPr>
            <a:endParaRPr lang="en-US" altLang="pt-BR" sz="1800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16393" name="Retângulo 10"/>
          <p:cNvSpPr>
            <a:spLocks noChangeArrowheads="1"/>
          </p:cNvSpPr>
          <p:nvPr/>
        </p:nvSpPr>
        <p:spPr bwMode="auto">
          <a:xfrm>
            <a:off x="855664" y="120650"/>
            <a:ext cx="8358187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pt-BR" altLang="pt-BR" b="1" dirty="0" smtClean="0">
                <a:solidFill>
                  <a:schemeClr val="bg1"/>
                </a:solidFill>
                <a:ea typeface="MS PGothic" panose="020B0600070205080204" pitchFamily="34" charset="-128"/>
                <a:cs typeface="Helvetica" panose="020B0604020202020204" pitchFamily="34" charset="0"/>
              </a:rPr>
              <a:t>Comissão de Viação e Transportes</a:t>
            </a:r>
            <a:endParaRPr lang="pt-BR" altLang="pt-BR" b="1" dirty="0">
              <a:solidFill>
                <a:schemeClr val="bg1"/>
              </a:solidFill>
              <a:ea typeface="MS PGothic" panose="020B0600070205080204" pitchFamily="34" charset="-128"/>
              <a:cs typeface="Helvetica" panose="020B0604020202020204" pitchFamily="34" charset="0"/>
              <a:sym typeface="Helvetica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843074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3"/>
          <p:cNvSpPr>
            <a:spLocks/>
          </p:cNvSpPr>
          <p:nvPr/>
        </p:nvSpPr>
        <p:spPr bwMode="auto">
          <a:xfrm>
            <a:off x="930275" y="1773238"/>
            <a:ext cx="8210550" cy="1985962"/>
          </a:xfrm>
          <a:prstGeom prst="rect">
            <a:avLst/>
          </a:prstGeom>
          <a:noFill/>
          <a:ln>
            <a:noFill/>
          </a:ln>
          <a:effectLst>
            <a:outerShdw dist="25399" dir="5400000" algn="ctr" rotWithShape="0">
              <a:schemeClr val="bg2">
                <a:alpha val="74997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342900" indent="-34290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90000"/>
              </a:lnSpc>
              <a:spcBef>
                <a:spcPts val="1113"/>
              </a:spcBef>
              <a:buFont typeface="Wingdings" panose="05000000000000000000" pitchFamily="2" charset="2"/>
              <a:buChar char="Ø"/>
            </a:pPr>
            <a:endParaRPr lang="pt-BR" altLang="pt-BR" sz="1800">
              <a:latin typeface="Helvetica" panose="020B0604020202020204" pitchFamily="34" charset="0"/>
              <a:ea typeface="MS PGothic" panose="020B0600070205080204" pitchFamily="34" charset="-128"/>
              <a:sym typeface="Helvetica" panose="020B0604020202020204" pitchFamily="34" charset="0"/>
            </a:endParaRPr>
          </a:p>
          <a:p>
            <a:pPr>
              <a:lnSpc>
                <a:spcPct val="90000"/>
              </a:lnSpc>
              <a:spcBef>
                <a:spcPts val="1113"/>
              </a:spcBef>
              <a:buFont typeface="Wingdings" panose="05000000000000000000" pitchFamily="2" charset="2"/>
              <a:buChar char="Ø"/>
            </a:pPr>
            <a:endParaRPr lang="pt-BR" altLang="pt-BR" sz="1800">
              <a:latin typeface="Helvetica" panose="020B0604020202020204" pitchFamily="34" charset="0"/>
              <a:ea typeface="MS PGothic" panose="020B0600070205080204" pitchFamily="34" charset="-128"/>
              <a:sym typeface="Helvetica" panose="020B0604020202020204" pitchFamily="34" charset="0"/>
            </a:endParaRPr>
          </a:p>
        </p:txBody>
      </p:sp>
      <p:sp>
        <p:nvSpPr>
          <p:cNvPr id="16387" name="Rectangle 4"/>
          <p:cNvSpPr>
            <a:spLocks/>
          </p:cNvSpPr>
          <p:nvPr/>
        </p:nvSpPr>
        <p:spPr bwMode="auto">
          <a:xfrm>
            <a:off x="1287462" y="6453336"/>
            <a:ext cx="7853363" cy="542925"/>
          </a:xfrm>
          <a:prstGeom prst="rect">
            <a:avLst/>
          </a:prstGeom>
          <a:noFill/>
          <a:ln>
            <a:noFill/>
          </a:ln>
          <a:effectLst>
            <a:outerShdw dist="25399" dir="5400000" algn="ctr" rotWithShape="0">
              <a:schemeClr val="bg2">
                <a:alpha val="74997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90000"/>
              </a:lnSpc>
              <a:spcBef>
                <a:spcPts val="1175"/>
              </a:spcBef>
              <a:buNone/>
            </a:pPr>
            <a:endParaRPr lang="es-ES_tradnl" altLang="pt-BR" sz="3100" b="1">
              <a:latin typeface="Helvetica" panose="020B0604020202020204" pitchFamily="34" charset="0"/>
              <a:ea typeface="MS PGothic" panose="020B0600070205080204" pitchFamily="34" charset="-128"/>
              <a:cs typeface="Helvetica" panose="020B0604020202020204" pitchFamily="34" charset="0"/>
              <a:sym typeface="Helvetica" panose="020B0604020202020204" pitchFamily="34" charset="0"/>
            </a:endParaRPr>
          </a:p>
        </p:txBody>
      </p:sp>
      <p:sp>
        <p:nvSpPr>
          <p:cNvPr id="16388" name="Retângulo 10"/>
          <p:cNvSpPr>
            <a:spLocks noChangeArrowheads="1"/>
          </p:cNvSpPr>
          <p:nvPr/>
        </p:nvSpPr>
        <p:spPr bwMode="auto">
          <a:xfrm>
            <a:off x="577851" y="1516064"/>
            <a:ext cx="8685213" cy="48033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pt-BR" altLang="pt-BR" sz="1200" b="1" dirty="0"/>
              <a:t>Artigo </a:t>
            </a:r>
            <a:r>
              <a:rPr lang="pt-BR" altLang="pt-BR" sz="1200" b="1" dirty="0" smtClean="0"/>
              <a:t>3</a:t>
            </a:r>
            <a:r>
              <a:rPr lang="pt-BR" altLang="pt-BR" sz="1200" b="1" u="sng" baseline="30000" dirty="0" smtClean="0"/>
              <a:t>º</a:t>
            </a:r>
            <a:endParaRPr lang="pt-BR" altLang="pt-BR" sz="1200" b="1" dirty="0"/>
          </a:p>
          <a:p>
            <a:pPr algn="just" eaLnBrk="1" hangingPunct="1">
              <a:spcBef>
                <a:spcPct val="0"/>
              </a:spcBef>
              <a:buFontTx/>
              <a:buNone/>
            </a:pPr>
            <a:r>
              <a:rPr lang="pt-BR" altLang="pt-BR" sz="1200" i="1" dirty="0"/>
              <a:t>“A exploração dos portos organizados e instalações portuárias, como </a:t>
            </a:r>
            <a:r>
              <a:rPr lang="pt-BR" altLang="pt-BR" sz="1200" b="1" i="1" dirty="0"/>
              <a:t>objetivo de aumentar a competitividade e o desenvolvimento do País</a:t>
            </a:r>
            <a:r>
              <a:rPr lang="pt-BR" altLang="pt-BR" sz="1200" i="1" dirty="0"/>
              <a:t>, deve seguir as seguintes diretrizes</a:t>
            </a:r>
            <a:r>
              <a:rPr lang="pt-BR" altLang="pt-BR" sz="1200" i="1" dirty="0" smtClean="0"/>
              <a:t>: (...)</a:t>
            </a:r>
            <a:endParaRPr lang="pt-BR" altLang="pt-BR" sz="1200" dirty="0"/>
          </a:p>
          <a:p>
            <a:pPr algn="just">
              <a:spcBef>
                <a:spcPts val="1113"/>
              </a:spcBef>
              <a:buNone/>
            </a:pPr>
            <a:r>
              <a:rPr lang="pt-BR" altLang="pt-BR" sz="1200" i="1" dirty="0"/>
              <a:t>III- e</a:t>
            </a:r>
            <a:r>
              <a:rPr lang="pt-BR" altLang="pt-BR" sz="1200" b="1" i="1" dirty="0"/>
              <a:t>stímulo à  modernização e ao aprimoramento da gestão </a:t>
            </a:r>
            <a:r>
              <a:rPr lang="pt-BR" altLang="pt-BR" sz="1200" i="1" dirty="0"/>
              <a:t>dos portos organizados e instalações portuárias, à valorização e à qualificação da mão de obra portuária e à eficiência das atividades prestadas</a:t>
            </a:r>
            <a:r>
              <a:rPr lang="pt-BR" altLang="pt-BR" sz="1200" i="1" dirty="0" smtClean="0"/>
              <a:t>;</a:t>
            </a:r>
          </a:p>
          <a:p>
            <a:pPr algn="just">
              <a:spcBef>
                <a:spcPts val="1113"/>
              </a:spcBef>
              <a:buNone/>
            </a:pPr>
            <a:endParaRPr lang="pt-BR" altLang="pt-BR" sz="1200" i="1" dirty="0" smtClean="0"/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pt-BR" altLang="pt-BR" sz="1200" b="1" dirty="0" smtClean="0"/>
              <a:t>Artigo </a:t>
            </a:r>
            <a:r>
              <a:rPr lang="pt-BR" altLang="pt-BR" sz="1200" b="1" dirty="0"/>
              <a:t>17</a:t>
            </a:r>
            <a:r>
              <a:rPr lang="pt-BR" altLang="pt-BR" sz="1200" b="1" u="sng" baseline="30000" dirty="0"/>
              <a:t>º</a:t>
            </a:r>
          </a:p>
          <a:p>
            <a:pPr>
              <a:buNone/>
            </a:pPr>
            <a:r>
              <a:rPr lang="pt-BR" altLang="pt-BR" sz="1200" dirty="0" smtClean="0"/>
              <a:t>“</a:t>
            </a:r>
            <a:r>
              <a:rPr lang="pt-PT" sz="1200" i="1" dirty="0"/>
              <a:t>A administração do porto é exercida diretamente pela União, pela delegatária ou pela entidade concessionária do porto organizado. </a:t>
            </a:r>
            <a:r>
              <a:rPr lang="pt-PT" sz="1200" i="1" dirty="0" smtClean="0"/>
              <a:t>(...)</a:t>
            </a:r>
            <a:endParaRPr lang="pt-BR" sz="1200" i="1" dirty="0"/>
          </a:p>
          <a:p>
            <a:r>
              <a:rPr lang="pt-PT" sz="1200" i="1" dirty="0" smtClean="0"/>
              <a:t>    § </a:t>
            </a:r>
            <a:r>
              <a:rPr lang="pt-PT" sz="1200" i="1" dirty="0"/>
              <a:t>1</a:t>
            </a:r>
            <a:r>
              <a:rPr lang="pt-PT" sz="1200" i="1" u="sng" baseline="30000" dirty="0"/>
              <a:t>o</a:t>
            </a:r>
            <a:r>
              <a:rPr lang="pt-PT" sz="1200" i="1" dirty="0"/>
              <a:t>  Compete à administração do porto organizado, denominada </a:t>
            </a:r>
            <a:r>
              <a:rPr lang="pt-PT" sz="1200" b="1" i="1" dirty="0"/>
              <a:t>autoridade portuária</a:t>
            </a:r>
            <a:r>
              <a:rPr lang="pt-PT" sz="1200" i="1" dirty="0" smtClean="0"/>
              <a:t>:</a:t>
            </a:r>
          </a:p>
          <a:p>
            <a:pPr algn="just">
              <a:spcBef>
                <a:spcPts val="1113"/>
              </a:spcBef>
              <a:buNone/>
            </a:pPr>
            <a:r>
              <a:rPr lang="pt-BR" altLang="pt-BR" sz="1200" i="1" dirty="0"/>
              <a:t>IV – arrecadar os valores das tarifas relativas às suas atividades</a:t>
            </a:r>
            <a:r>
              <a:rPr lang="pt-BR" altLang="pt-BR" sz="1200" i="1" dirty="0" smtClean="0"/>
              <a:t>;</a:t>
            </a:r>
          </a:p>
          <a:p>
            <a:pPr algn="just">
              <a:spcBef>
                <a:spcPts val="1113"/>
              </a:spcBef>
              <a:buNone/>
            </a:pPr>
            <a:r>
              <a:rPr lang="pt-BR" altLang="pt-BR" sz="1200" i="1" dirty="0" smtClean="0"/>
              <a:t>V – fiscalizar ou executar as obras de construção, reforma, ampliação, melhoramento e conservação das instalações portuárias;</a:t>
            </a:r>
          </a:p>
          <a:p>
            <a:pPr algn="just">
              <a:spcBef>
                <a:spcPts val="1113"/>
              </a:spcBef>
              <a:buNone/>
            </a:pPr>
            <a:r>
              <a:rPr lang="pt-BR" altLang="pt-BR" sz="1200" i="1" dirty="0" smtClean="0"/>
              <a:t>VI – fiscalizar a operação portuária, zelando pela realização das atividades com regularidade, eficiência, segurança e respeito pelo meio ambiente;</a:t>
            </a:r>
            <a:endParaRPr lang="pt-BR" altLang="pt-BR" sz="1200" i="1" dirty="0"/>
          </a:p>
          <a:p>
            <a:pPr algn="just">
              <a:spcBef>
                <a:spcPts val="1113"/>
              </a:spcBef>
              <a:buNone/>
            </a:pPr>
            <a:r>
              <a:rPr lang="pt-BR" altLang="pt-BR" sz="1200" i="1" dirty="0"/>
              <a:t>VIII – autorizar a entrada e saída, inclusive atracação e desatracação, o fundeio e o tráfego de embarcação na área do porto, ouvidas as demais autoridades do porto;</a:t>
            </a:r>
          </a:p>
          <a:p>
            <a:pPr algn="just">
              <a:spcBef>
                <a:spcPts val="1113"/>
              </a:spcBef>
              <a:buNone/>
            </a:pPr>
            <a:r>
              <a:rPr lang="pt-BR" altLang="pt-BR" sz="1200" i="1" dirty="0"/>
              <a:t>XI – reportar infrações e representar perante a </a:t>
            </a:r>
            <a:r>
              <a:rPr lang="pt-BR" altLang="pt-BR" sz="1200" i="1" dirty="0" err="1"/>
              <a:t>Antaq</a:t>
            </a:r>
            <a:r>
              <a:rPr lang="pt-BR" altLang="pt-BR" sz="1200" i="1" dirty="0"/>
              <a:t>, visando instauração de processo administrativo e aplicação das penalidades previstas em lei, em regulamento e nos contratos</a:t>
            </a:r>
            <a:r>
              <a:rPr lang="pt-BR" altLang="pt-BR" sz="1200" i="1" dirty="0" smtClean="0"/>
              <a:t>;</a:t>
            </a:r>
          </a:p>
          <a:p>
            <a:pPr marL="285750" indent="-285750" algn="just">
              <a:spcBef>
                <a:spcPts val="1113"/>
              </a:spcBef>
            </a:pPr>
            <a:r>
              <a:rPr lang="pt-PT" sz="1200" i="1" dirty="0"/>
              <a:t>§ 2</a:t>
            </a:r>
            <a:r>
              <a:rPr lang="pt-PT" sz="1200" i="1" u="sng" baseline="30000" dirty="0"/>
              <a:t>o</a:t>
            </a:r>
            <a:r>
              <a:rPr lang="pt-PT" sz="1200" i="1" dirty="0"/>
              <a:t>  A autoridade portuária elaborará e submeterá à aprovação da Secretaria de Portos da Presidência da República o respectivo Plano de Desenvolvimento e Zoneamento do Porto. </a:t>
            </a:r>
            <a:endParaRPr lang="pt-BR" altLang="pt-BR" sz="1200" b="1" i="1" dirty="0" smtClean="0"/>
          </a:p>
        </p:txBody>
      </p:sp>
      <p:sp>
        <p:nvSpPr>
          <p:cNvPr id="16389" name="Text Placeholder 3"/>
          <p:cNvSpPr txBox="1">
            <a:spLocks/>
          </p:cNvSpPr>
          <p:nvPr/>
        </p:nvSpPr>
        <p:spPr bwMode="auto">
          <a:xfrm>
            <a:off x="381000" y="855663"/>
            <a:ext cx="3830638" cy="677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ts val="1200"/>
              </a:spcBef>
              <a:buNone/>
            </a:pPr>
            <a:r>
              <a:rPr lang="pt-BR" altLang="pt-BR" b="1" dirty="0">
                <a:latin typeface="Arial" panose="020B0604020202020204" pitchFamily="34" charset="0"/>
              </a:rPr>
              <a:t>Lei</a:t>
            </a:r>
            <a:r>
              <a:rPr lang="pt-BR" altLang="pt-BR" b="1" dirty="0">
                <a:solidFill>
                  <a:srgbClr val="4BACC6"/>
                </a:solidFill>
              </a:rPr>
              <a:t> </a:t>
            </a:r>
            <a:r>
              <a:rPr lang="pt-BR" altLang="pt-BR" b="1" dirty="0" smtClean="0">
                <a:latin typeface="Arial" panose="020B0604020202020204" pitchFamily="34" charset="0"/>
              </a:rPr>
              <a:t>12.815/2013</a:t>
            </a:r>
          </a:p>
          <a:p>
            <a:pPr>
              <a:spcBef>
                <a:spcPts val="1200"/>
              </a:spcBef>
              <a:buNone/>
            </a:pPr>
            <a:endParaRPr lang="pt-BR" altLang="pt-BR" b="1" dirty="0">
              <a:solidFill>
                <a:srgbClr val="4BACC6"/>
              </a:solidFill>
              <a:latin typeface="Arial" panose="020B0604020202020204" pitchFamily="34" charset="0"/>
              <a:ea typeface="MS PGothic" panose="020B0600070205080204" pitchFamily="34" charset="-128"/>
              <a:cs typeface="Helvetica" panose="020B0604020202020204" pitchFamily="34" charset="0"/>
              <a:sym typeface="Helvetica" panose="020B0604020202020204" pitchFamily="34" charset="0"/>
            </a:endParaRPr>
          </a:p>
          <a:p>
            <a:pPr>
              <a:spcBef>
                <a:spcPts val="1200"/>
              </a:spcBef>
              <a:buNone/>
            </a:pPr>
            <a:endParaRPr lang="pt-BR" altLang="pt-BR" b="1" dirty="0">
              <a:solidFill>
                <a:srgbClr val="4BACC6"/>
              </a:solidFill>
              <a:ea typeface="MS PGothic" panose="020B0600070205080204" pitchFamily="34" charset="-128"/>
              <a:cs typeface="Helvetica" panose="020B0604020202020204" pitchFamily="34" charset="0"/>
              <a:sym typeface="Helvetica" panose="020B0604020202020204" pitchFamily="34" charset="0"/>
            </a:endParaRPr>
          </a:p>
          <a:p>
            <a:pPr>
              <a:spcBef>
                <a:spcPts val="1200"/>
              </a:spcBef>
              <a:buNone/>
            </a:pPr>
            <a:endParaRPr lang="pt-BR" altLang="pt-BR" sz="2800" dirty="0">
              <a:solidFill>
                <a:schemeClr val="accent2"/>
              </a:solidFill>
            </a:endParaRPr>
          </a:p>
        </p:txBody>
      </p:sp>
      <p:sp>
        <p:nvSpPr>
          <p:cNvPr id="8" name="Retângulo 7"/>
          <p:cNvSpPr/>
          <p:nvPr/>
        </p:nvSpPr>
        <p:spPr>
          <a:xfrm>
            <a:off x="381000" y="0"/>
            <a:ext cx="9144000" cy="849052"/>
          </a:xfrm>
          <a:prstGeom prst="rect">
            <a:avLst/>
          </a:prstGeom>
          <a:solidFill>
            <a:schemeClr val="tx2">
              <a:lumMod val="75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/>
            <a:lightRig rig="threePt" dir="t"/>
          </a:scene3d>
          <a:sp3d extrusionH="76200" contourW="12700" prstMaterial="dkEdge">
            <a:bevelT w="101600" prst="riblet"/>
            <a:bevelB w="101600" prst="riblet"/>
            <a:extrusionClr>
              <a:schemeClr val="accent1">
                <a:lumMod val="50000"/>
              </a:schemeClr>
            </a:extrusionClr>
            <a:contourClr>
              <a:schemeClr val="tx2">
                <a:lumMod val="50000"/>
              </a:schemeClr>
            </a:contourClr>
          </a:sp3d>
        </p:spPr>
        <p:txBody>
          <a:bodyPr anchor="ctr"/>
          <a:lstStyle/>
          <a:p>
            <a:pPr eaLnBrk="1" hangingPunct="1">
              <a:defRPr/>
            </a:pPr>
            <a:endParaRPr lang="en-US" altLang="pt-BR" sz="1800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16393" name="Retângulo 10"/>
          <p:cNvSpPr>
            <a:spLocks noChangeArrowheads="1"/>
          </p:cNvSpPr>
          <p:nvPr/>
        </p:nvSpPr>
        <p:spPr bwMode="auto">
          <a:xfrm>
            <a:off x="855664" y="120650"/>
            <a:ext cx="8358187" cy="579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pt-BR" altLang="pt-BR" b="1">
                <a:solidFill>
                  <a:schemeClr val="bg1"/>
                </a:solidFill>
                <a:ea typeface="MS PGothic" panose="020B0600070205080204" pitchFamily="34" charset="-128"/>
                <a:cs typeface="Helvetica" panose="020B0604020202020204" pitchFamily="34" charset="0"/>
              </a:rPr>
              <a:t>Diretriz e Comando Legal</a:t>
            </a:r>
            <a:endParaRPr lang="pt-BR" altLang="pt-BR" b="1">
              <a:solidFill>
                <a:schemeClr val="bg1"/>
              </a:solidFill>
              <a:ea typeface="MS PGothic" panose="020B0600070205080204" pitchFamily="34" charset="-128"/>
              <a:cs typeface="Helvetica" panose="020B0604020202020204" pitchFamily="34" charset="0"/>
              <a:sym typeface="Helvetica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215891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3"/>
          <p:cNvSpPr>
            <a:spLocks/>
          </p:cNvSpPr>
          <p:nvPr/>
        </p:nvSpPr>
        <p:spPr bwMode="auto">
          <a:xfrm>
            <a:off x="930275" y="1773238"/>
            <a:ext cx="8210550" cy="1985962"/>
          </a:xfrm>
          <a:prstGeom prst="rect">
            <a:avLst/>
          </a:prstGeom>
          <a:noFill/>
          <a:ln>
            <a:noFill/>
          </a:ln>
          <a:effectLst>
            <a:outerShdw dist="25399" dir="5400000" algn="ctr" rotWithShape="0">
              <a:schemeClr val="bg2">
                <a:alpha val="74997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342900" indent="-34290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90000"/>
              </a:lnSpc>
              <a:spcBef>
                <a:spcPts val="1113"/>
              </a:spcBef>
              <a:buFont typeface="Wingdings" panose="05000000000000000000" pitchFamily="2" charset="2"/>
              <a:buChar char="Ø"/>
            </a:pPr>
            <a:endParaRPr lang="pt-BR" altLang="pt-BR" sz="1800">
              <a:latin typeface="Helvetica" panose="020B0604020202020204" pitchFamily="34" charset="0"/>
              <a:ea typeface="MS PGothic" panose="020B0600070205080204" pitchFamily="34" charset="-128"/>
              <a:sym typeface="Helvetica" panose="020B0604020202020204" pitchFamily="34" charset="0"/>
            </a:endParaRPr>
          </a:p>
          <a:p>
            <a:pPr>
              <a:lnSpc>
                <a:spcPct val="90000"/>
              </a:lnSpc>
              <a:spcBef>
                <a:spcPts val="1113"/>
              </a:spcBef>
              <a:buFont typeface="Wingdings" panose="05000000000000000000" pitchFamily="2" charset="2"/>
              <a:buChar char="Ø"/>
            </a:pPr>
            <a:endParaRPr lang="pt-BR" altLang="pt-BR" sz="1800">
              <a:latin typeface="Helvetica" panose="020B0604020202020204" pitchFamily="34" charset="0"/>
              <a:ea typeface="MS PGothic" panose="020B0600070205080204" pitchFamily="34" charset="-128"/>
              <a:sym typeface="Helvetica" panose="020B0604020202020204" pitchFamily="34" charset="0"/>
            </a:endParaRPr>
          </a:p>
        </p:txBody>
      </p:sp>
      <p:sp>
        <p:nvSpPr>
          <p:cNvPr id="16387" name="Rectangle 4"/>
          <p:cNvSpPr>
            <a:spLocks/>
          </p:cNvSpPr>
          <p:nvPr/>
        </p:nvSpPr>
        <p:spPr bwMode="auto">
          <a:xfrm>
            <a:off x="1212851" y="6419851"/>
            <a:ext cx="7853363" cy="542925"/>
          </a:xfrm>
          <a:prstGeom prst="rect">
            <a:avLst/>
          </a:prstGeom>
          <a:noFill/>
          <a:ln>
            <a:noFill/>
          </a:ln>
          <a:effectLst>
            <a:outerShdw dist="25399" dir="5400000" algn="ctr" rotWithShape="0">
              <a:schemeClr val="bg2">
                <a:alpha val="74997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90000"/>
              </a:lnSpc>
              <a:spcBef>
                <a:spcPts val="1175"/>
              </a:spcBef>
              <a:buNone/>
            </a:pPr>
            <a:endParaRPr lang="es-ES_tradnl" altLang="pt-BR" sz="3100" b="1">
              <a:latin typeface="Helvetica" panose="020B0604020202020204" pitchFamily="34" charset="0"/>
              <a:ea typeface="MS PGothic" panose="020B0600070205080204" pitchFamily="34" charset="-128"/>
              <a:cs typeface="Helvetica" panose="020B0604020202020204" pitchFamily="34" charset="0"/>
              <a:sym typeface="Helvetica" panose="020B0604020202020204" pitchFamily="34" charset="0"/>
            </a:endParaRPr>
          </a:p>
        </p:txBody>
      </p:sp>
      <p:sp>
        <p:nvSpPr>
          <p:cNvPr id="16388" name="Retângulo 10"/>
          <p:cNvSpPr>
            <a:spLocks noChangeArrowheads="1"/>
          </p:cNvSpPr>
          <p:nvPr/>
        </p:nvSpPr>
        <p:spPr bwMode="auto">
          <a:xfrm>
            <a:off x="577851" y="1516064"/>
            <a:ext cx="8685213" cy="29546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pt-BR" altLang="pt-BR" sz="1400" b="1" i="1" dirty="0">
              <a:latin typeface="Arial" panose="020B0604020202020204" pitchFamily="34" charset="0"/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endParaRPr lang="pt-BR" altLang="pt-BR" sz="1400" b="1" i="1" dirty="0" smtClean="0">
              <a:latin typeface="Arial" panose="020B0604020202020204" pitchFamily="34" charset="0"/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endParaRPr lang="pt-BR" altLang="pt-BR" sz="1400" b="1" i="1" dirty="0">
              <a:latin typeface="Arial" panose="020B0604020202020204" pitchFamily="34" charset="0"/>
            </a:endParaRPr>
          </a:p>
          <a:p>
            <a:pPr>
              <a:spcBef>
                <a:spcPct val="0"/>
              </a:spcBef>
              <a:buNone/>
            </a:pPr>
            <a:r>
              <a:rPr lang="pt-BR" altLang="pt-BR" sz="1400" b="1" dirty="0" smtClean="0"/>
              <a:t>Artigo 64</a:t>
            </a:r>
            <a:r>
              <a:rPr lang="pt-BR" altLang="pt-BR" sz="1400" b="1" u="sng" baseline="30000" dirty="0" smtClean="0"/>
              <a:t>º</a:t>
            </a:r>
          </a:p>
          <a:p>
            <a:pPr>
              <a:spcBef>
                <a:spcPct val="0"/>
              </a:spcBef>
              <a:buNone/>
            </a:pPr>
            <a:endParaRPr lang="pt-BR" altLang="pt-BR" sz="1400" b="1" u="sng" baseline="30000" dirty="0"/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pt-BR" altLang="pt-BR" sz="1400" i="1" dirty="0" smtClean="0"/>
              <a:t>“</a:t>
            </a:r>
            <a:r>
              <a:rPr lang="pt-BR" altLang="pt-BR" sz="1400" i="1" dirty="0"/>
              <a:t>As Companhias Docas firmarão com a Secretaria de Portos da Presidência da República </a:t>
            </a:r>
            <a:r>
              <a:rPr lang="pt-BR" altLang="pt-BR" sz="1400" b="1" i="1" dirty="0"/>
              <a:t>compromissos de metas e desempenho empresarial </a:t>
            </a:r>
            <a:r>
              <a:rPr lang="pt-BR" altLang="pt-BR" sz="1400" i="1" dirty="0"/>
              <a:t>que estabelecerão, nos termos do regulamento:</a:t>
            </a:r>
          </a:p>
          <a:p>
            <a:pPr>
              <a:spcBef>
                <a:spcPts val="1113"/>
              </a:spcBef>
              <a:buNone/>
            </a:pPr>
            <a:r>
              <a:rPr lang="pt-BR" altLang="pt-BR" sz="1400" i="1" dirty="0"/>
              <a:t>I-</a:t>
            </a:r>
            <a:r>
              <a:rPr lang="pt-BR" altLang="pt-BR" sz="1400" b="1" i="1" dirty="0"/>
              <a:t>objetivos, metas e resultados </a:t>
            </a:r>
            <a:r>
              <a:rPr lang="pt-BR" altLang="pt-BR" sz="1400" i="1" dirty="0"/>
              <a:t>a serem atingidos, e prazos para sua consecução;</a:t>
            </a:r>
          </a:p>
          <a:p>
            <a:pPr>
              <a:spcBef>
                <a:spcPts val="1113"/>
              </a:spcBef>
              <a:buNone/>
            </a:pPr>
            <a:r>
              <a:rPr lang="pt-BR" altLang="pt-BR" sz="1400" i="1" dirty="0"/>
              <a:t>II-indicadores e critérios de </a:t>
            </a:r>
            <a:r>
              <a:rPr lang="pt-BR" altLang="pt-BR" sz="1400" b="1" i="1" dirty="0"/>
              <a:t>avaliação de desempenho</a:t>
            </a:r>
            <a:r>
              <a:rPr lang="pt-BR" altLang="pt-BR" sz="1400" i="1" dirty="0"/>
              <a:t>;</a:t>
            </a:r>
          </a:p>
          <a:p>
            <a:pPr>
              <a:spcBef>
                <a:spcPts val="1113"/>
              </a:spcBef>
              <a:buNone/>
            </a:pPr>
            <a:r>
              <a:rPr lang="pt-BR" altLang="pt-BR" sz="1400" i="1" dirty="0"/>
              <a:t>III-</a:t>
            </a:r>
            <a:r>
              <a:rPr lang="pt-BR" altLang="pt-BR" sz="1400" b="1" i="1" dirty="0"/>
              <a:t>retribuição adicional </a:t>
            </a:r>
            <a:r>
              <a:rPr lang="pt-BR" altLang="pt-BR" sz="1400" i="1" dirty="0"/>
              <a:t>em virtude do seu cumprimento; e</a:t>
            </a:r>
          </a:p>
          <a:p>
            <a:pPr>
              <a:spcBef>
                <a:spcPts val="1113"/>
              </a:spcBef>
              <a:buNone/>
            </a:pPr>
            <a:r>
              <a:rPr lang="pt-BR" altLang="pt-BR" sz="1400" i="1" dirty="0"/>
              <a:t>IV-critérios para a </a:t>
            </a:r>
            <a:r>
              <a:rPr lang="pt-BR" altLang="pt-BR" sz="1400" b="1" i="1" dirty="0"/>
              <a:t>profissionalização da gestão </a:t>
            </a:r>
            <a:r>
              <a:rPr lang="pt-BR" altLang="pt-BR" sz="1400" i="1" dirty="0"/>
              <a:t>das Docas.”</a:t>
            </a:r>
          </a:p>
        </p:txBody>
      </p:sp>
      <p:sp>
        <p:nvSpPr>
          <p:cNvPr id="16389" name="Text Placeholder 3"/>
          <p:cNvSpPr txBox="1">
            <a:spLocks/>
          </p:cNvSpPr>
          <p:nvPr/>
        </p:nvSpPr>
        <p:spPr bwMode="auto">
          <a:xfrm>
            <a:off x="381000" y="855663"/>
            <a:ext cx="3830638" cy="677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ts val="1200"/>
              </a:spcBef>
              <a:buNone/>
            </a:pPr>
            <a:r>
              <a:rPr lang="pt-BR" altLang="pt-BR" b="1" dirty="0">
                <a:latin typeface="Arial" panose="020B0604020202020204" pitchFamily="34" charset="0"/>
              </a:rPr>
              <a:t>Lei</a:t>
            </a:r>
            <a:r>
              <a:rPr lang="pt-BR" altLang="pt-BR" b="1" dirty="0">
                <a:solidFill>
                  <a:srgbClr val="4BACC6"/>
                </a:solidFill>
              </a:rPr>
              <a:t> </a:t>
            </a:r>
            <a:r>
              <a:rPr lang="pt-BR" altLang="pt-BR" b="1" dirty="0" smtClean="0">
                <a:latin typeface="Arial" panose="020B0604020202020204" pitchFamily="34" charset="0"/>
              </a:rPr>
              <a:t>12.815/2013</a:t>
            </a:r>
          </a:p>
          <a:p>
            <a:pPr>
              <a:spcBef>
                <a:spcPts val="1200"/>
              </a:spcBef>
              <a:buNone/>
            </a:pPr>
            <a:endParaRPr lang="pt-BR" altLang="pt-BR" sz="2800" dirty="0">
              <a:solidFill>
                <a:schemeClr val="accent2"/>
              </a:solidFill>
            </a:endParaRPr>
          </a:p>
        </p:txBody>
      </p:sp>
      <p:sp>
        <p:nvSpPr>
          <p:cNvPr id="8" name="Retângulo 7"/>
          <p:cNvSpPr/>
          <p:nvPr/>
        </p:nvSpPr>
        <p:spPr>
          <a:xfrm>
            <a:off x="381000" y="0"/>
            <a:ext cx="9144000" cy="849052"/>
          </a:xfrm>
          <a:prstGeom prst="rect">
            <a:avLst/>
          </a:prstGeom>
          <a:solidFill>
            <a:schemeClr val="tx2">
              <a:lumMod val="75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/>
            <a:lightRig rig="threePt" dir="t"/>
          </a:scene3d>
          <a:sp3d extrusionH="76200" contourW="12700" prstMaterial="dkEdge">
            <a:bevelT w="101600" prst="riblet"/>
            <a:bevelB w="101600" prst="riblet"/>
            <a:extrusionClr>
              <a:schemeClr val="accent1">
                <a:lumMod val="50000"/>
              </a:schemeClr>
            </a:extrusionClr>
            <a:contourClr>
              <a:schemeClr val="tx2">
                <a:lumMod val="50000"/>
              </a:schemeClr>
            </a:contourClr>
          </a:sp3d>
        </p:spPr>
        <p:txBody>
          <a:bodyPr anchor="ctr"/>
          <a:lstStyle/>
          <a:p>
            <a:pPr eaLnBrk="1" hangingPunct="1">
              <a:defRPr/>
            </a:pPr>
            <a:endParaRPr lang="en-US" altLang="pt-BR" sz="1800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16393" name="Retângulo 10"/>
          <p:cNvSpPr>
            <a:spLocks noChangeArrowheads="1"/>
          </p:cNvSpPr>
          <p:nvPr/>
        </p:nvSpPr>
        <p:spPr bwMode="auto">
          <a:xfrm>
            <a:off x="855664" y="120650"/>
            <a:ext cx="8358187" cy="579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pt-BR" altLang="pt-BR" b="1">
                <a:solidFill>
                  <a:schemeClr val="bg1"/>
                </a:solidFill>
                <a:ea typeface="MS PGothic" panose="020B0600070205080204" pitchFamily="34" charset="-128"/>
                <a:cs typeface="Helvetica" panose="020B0604020202020204" pitchFamily="34" charset="0"/>
              </a:rPr>
              <a:t>Diretriz e Comando Legal</a:t>
            </a:r>
            <a:endParaRPr lang="pt-BR" altLang="pt-BR" b="1">
              <a:solidFill>
                <a:schemeClr val="bg1"/>
              </a:solidFill>
              <a:ea typeface="MS PGothic" panose="020B0600070205080204" pitchFamily="34" charset="-128"/>
              <a:cs typeface="Helvetica" panose="020B0604020202020204" pitchFamily="34" charset="0"/>
              <a:sym typeface="Helvetica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261022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3"/>
          <p:cNvSpPr>
            <a:spLocks/>
          </p:cNvSpPr>
          <p:nvPr/>
        </p:nvSpPr>
        <p:spPr bwMode="auto">
          <a:xfrm>
            <a:off x="930275" y="1773238"/>
            <a:ext cx="8210550" cy="1985962"/>
          </a:xfrm>
          <a:prstGeom prst="rect">
            <a:avLst/>
          </a:prstGeom>
          <a:noFill/>
          <a:ln>
            <a:noFill/>
          </a:ln>
          <a:effectLst>
            <a:outerShdw dist="25399" dir="5400000" algn="ctr" rotWithShape="0">
              <a:schemeClr val="bg2">
                <a:alpha val="74997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342900" indent="-34290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90000"/>
              </a:lnSpc>
              <a:spcBef>
                <a:spcPts val="1113"/>
              </a:spcBef>
              <a:buFont typeface="Wingdings" panose="05000000000000000000" pitchFamily="2" charset="2"/>
              <a:buChar char="Ø"/>
            </a:pPr>
            <a:endParaRPr lang="pt-BR" altLang="pt-BR" sz="1800">
              <a:latin typeface="Helvetica" panose="020B0604020202020204" pitchFamily="34" charset="0"/>
              <a:ea typeface="MS PGothic" panose="020B0600070205080204" pitchFamily="34" charset="-128"/>
              <a:sym typeface="Helvetica" panose="020B0604020202020204" pitchFamily="34" charset="0"/>
            </a:endParaRPr>
          </a:p>
          <a:p>
            <a:pPr>
              <a:lnSpc>
                <a:spcPct val="90000"/>
              </a:lnSpc>
              <a:spcBef>
                <a:spcPts val="1113"/>
              </a:spcBef>
              <a:buFont typeface="Wingdings" panose="05000000000000000000" pitchFamily="2" charset="2"/>
              <a:buChar char="Ø"/>
            </a:pPr>
            <a:endParaRPr lang="pt-BR" altLang="pt-BR" sz="1800">
              <a:latin typeface="Helvetica" panose="020B0604020202020204" pitchFamily="34" charset="0"/>
              <a:ea typeface="MS PGothic" panose="020B0600070205080204" pitchFamily="34" charset="-128"/>
              <a:sym typeface="Helvetica" panose="020B0604020202020204" pitchFamily="34" charset="0"/>
            </a:endParaRPr>
          </a:p>
        </p:txBody>
      </p:sp>
      <p:sp>
        <p:nvSpPr>
          <p:cNvPr id="16387" name="Rectangle 4"/>
          <p:cNvSpPr>
            <a:spLocks/>
          </p:cNvSpPr>
          <p:nvPr/>
        </p:nvSpPr>
        <p:spPr bwMode="auto">
          <a:xfrm>
            <a:off x="1212851" y="6419851"/>
            <a:ext cx="7853363" cy="542925"/>
          </a:xfrm>
          <a:prstGeom prst="rect">
            <a:avLst/>
          </a:prstGeom>
          <a:noFill/>
          <a:ln>
            <a:noFill/>
          </a:ln>
          <a:effectLst>
            <a:outerShdw dist="25399" dir="5400000" algn="ctr" rotWithShape="0">
              <a:schemeClr val="bg2">
                <a:alpha val="74997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90000"/>
              </a:lnSpc>
              <a:spcBef>
                <a:spcPts val="1175"/>
              </a:spcBef>
              <a:buNone/>
            </a:pPr>
            <a:endParaRPr lang="es-ES_tradnl" altLang="pt-BR" sz="3100" b="1">
              <a:latin typeface="Helvetica" panose="020B0604020202020204" pitchFamily="34" charset="0"/>
              <a:ea typeface="MS PGothic" panose="020B0600070205080204" pitchFamily="34" charset="-128"/>
              <a:cs typeface="Helvetica" panose="020B0604020202020204" pitchFamily="34" charset="0"/>
              <a:sym typeface="Helvetica" panose="020B0604020202020204" pitchFamily="34" charset="0"/>
            </a:endParaRPr>
          </a:p>
        </p:txBody>
      </p:sp>
      <p:sp>
        <p:nvSpPr>
          <p:cNvPr id="16389" name="Text Placeholder 3"/>
          <p:cNvSpPr txBox="1">
            <a:spLocks/>
          </p:cNvSpPr>
          <p:nvPr/>
        </p:nvSpPr>
        <p:spPr bwMode="auto">
          <a:xfrm>
            <a:off x="381000" y="1462085"/>
            <a:ext cx="9144000" cy="47752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ts val="1200"/>
              </a:spcBef>
              <a:buNone/>
            </a:pPr>
            <a:r>
              <a:rPr lang="pt-BR" altLang="pt-BR" sz="2400" b="1" dirty="0" smtClean="0">
                <a:latin typeface="Arial" panose="020B0604020202020204" pitchFamily="34" charset="0"/>
              </a:rPr>
              <a:t>Companhias Docas:</a:t>
            </a:r>
          </a:p>
          <a:p>
            <a:pPr>
              <a:spcBef>
                <a:spcPts val="1200"/>
              </a:spcBef>
              <a:buNone/>
            </a:pPr>
            <a:r>
              <a:rPr lang="pt-BR" altLang="pt-BR" sz="2400" b="1" dirty="0" smtClean="0">
                <a:latin typeface="Arial" panose="020B0604020202020204" pitchFamily="34" charset="0"/>
              </a:rPr>
              <a:t>1.CODESP – Companhia Docas do Estado de São Paulo</a:t>
            </a:r>
          </a:p>
          <a:p>
            <a:pPr>
              <a:spcBef>
                <a:spcPts val="1200"/>
              </a:spcBef>
              <a:buNone/>
            </a:pPr>
            <a:r>
              <a:rPr lang="pt-BR" altLang="pt-BR" sz="2400" b="1" dirty="0" smtClean="0">
                <a:latin typeface="Arial" panose="020B0604020202020204" pitchFamily="34" charset="0"/>
              </a:rPr>
              <a:t>2.CDRJ – Companhia </a:t>
            </a:r>
            <a:r>
              <a:rPr lang="pt-BR" altLang="pt-BR" sz="2400" b="1" dirty="0">
                <a:latin typeface="Arial" panose="020B0604020202020204" pitchFamily="34" charset="0"/>
              </a:rPr>
              <a:t>D</a:t>
            </a:r>
            <a:r>
              <a:rPr lang="pt-BR" altLang="pt-BR" sz="2400" b="1" dirty="0" smtClean="0">
                <a:latin typeface="Arial" panose="020B0604020202020204" pitchFamily="34" charset="0"/>
              </a:rPr>
              <a:t>ocas do Estado do Rio de Janeiro</a:t>
            </a:r>
          </a:p>
          <a:p>
            <a:pPr>
              <a:spcBef>
                <a:spcPts val="1200"/>
              </a:spcBef>
              <a:buNone/>
            </a:pPr>
            <a:r>
              <a:rPr lang="pt-BR" altLang="pt-BR" sz="2400" b="1" dirty="0" smtClean="0">
                <a:latin typeface="Arial" panose="020B0604020202020204" pitchFamily="34" charset="0"/>
              </a:rPr>
              <a:t>3.CODESA -  Companhia Docas do Espírito Santo</a:t>
            </a:r>
          </a:p>
          <a:p>
            <a:pPr>
              <a:spcBef>
                <a:spcPts val="1200"/>
              </a:spcBef>
              <a:buNone/>
            </a:pPr>
            <a:r>
              <a:rPr lang="pt-BR" altLang="pt-BR" sz="2400" b="1" dirty="0" smtClean="0">
                <a:latin typeface="Arial" panose="020B0604020202020204" pitchFamily="34" charset="0"/>
              </a:rPr>
              <a:t>4.CODEBA – Companhia Docas da Bahia</a:t>
            </a:r>
          </a:p>
          <a:p>
            <a:pPr>
              <a:spcBef>
                <a:spcPts val="1200"/>
              </a:spcBef>
              <a:buNone/>
            </a:pPr>
            <a:r>
              <a:rPr lang="pt-BR" altLang="pt-BR" sz="2400" b="1" dirty="0" smtClean="0">
                <a:latin typeface="Arial" panose="020B0604020202020204" pitchFamily="34" charset="0"/>
              </a:rPr>
              <a:t>5.CODERN – Companhia Docas do Rio Grande do Norte</a:t>
            </a:r>
          </a:p>
          <a:p>
            <a:pPr>
              <a:spcBef>
                <a:spcPts val="1200"/>
              </a:spcBef>
              <a:buNone/>
            </a:pPr>
            <a:r>
              <a:rPr lang="pt-BR" altLang="pt-BR" sz="2400" b="1" dirty="0" smtClean="0">
                <a:latin typeface="Arial" panose="020B0604020202020204" pitchFamily="34" charset="0"/>
              </a:rPr>
              <a:t>6.CDC – Companhia Docas do Ceará</a:t>
            </a:r>
          </a:p>
          <a:p>
            <a:pPr>
              <a:spcBef>
                <a:spcPts val="1200"/>
              </a:spcBef>
              <a:buNone/>
            </a:pPr>
            <a:r>
              <a:rPr lang="pt-BR" altLang="pt-BR" sz="2400" b="1" dirty="0" smtClean="0">
                <a:latin typeface="Arial" panose="020B0604020202020204" pitchFamily="34" charset="0"/>
              </a:rPr>
              <a:t>7.CODOMAR – Companhia Docas do Maranhão</a:t>
            </a:r>
          </a:p>
          <a:p>
            <a:pPr>
              <a:spcBef>
                <a:spcPts val="1200"/>
              </a:spcBef>
              <a:buNone/>
            </a:pPr>
            <a:r>
              <a:rPr lang="pt-BR" altLang="pt-BR" sz="2400" b="1" dirty="0" smtClean="0">
                <a:latin typeface="Arial" panose="020B0604020202020204" pitchFamily="34" charset="0"/>
              </a:rPr>
              <a:t>8.CDP – Companhia Docas do Pará</a:t>
            </a:r>
          </a:p>
          <a:p>
            <a:pPr>
              <a:spcBef>
                <a:spcPts val="1200"/>
              </a:spcBef>
              <a:buNone/>
            </a:pPr>
            <a:endParaRPr lang="pt-BR" altLang="pt-BR" sz="2400" b="1" dirty="0" smtClean="0">
              <a:latin typeface="Arial" panose="020B0604020202020204" pitchFamily="34" charset="0"/>
            </a:endParaRPr>
          </a:p>
          <a:p>
            <a:pPr>
              <a:spcBef>
                <a:spcPts val="1200"/>
              </a:spcBef>
              <a:buNone/>
            </a:pPr>
            <a:endParaRPr lang="pt-BR" altLang="pt-BR" sz="2400" b="1" dirty="0" smtClean="0">
              <a:latin typeface="Arial" panose="020B0604020202020204" pitchFamily="34" charset="0"/>
            </a:endParaRPr>
          </a:p>
          <a:p>
            <a:pPr>
              <a:spcBef>
                <a:spcPts val="1200"/>
              </a:spcBef>
              <a:buNone/>
            </a:pPr>
            <a:endParaRPr lang="pt-BR" altLang="pt-BR" sz="1800" b="1" dirty="0" smtClean="0">
              <a:latin typeface="Arial" panose="020B0604020202020204" pitchFamily="34" charset="0"/>
              <a:ea typeface="MS PGothic" panose="020B0600070205080204" pitchFamily="34" charset="-128"/>
              <a:cs typeface="Helvetica" panose="020B0604020202020204" pitchFamily="34" charset="0"/>
              <a:sym typeface="Helvetica" panose="020B0604020202020204" pitchFamily="34" charset="0"/>
            </a:endParaRPr>
          </a:p>
          <a:p>
            <a:pPr>
              <a:spcBef>
                <a:spcPts val="1200"/>
              </a:spcBef>
              <a:buNone/>
            </a:pPr>
            <a:endParaRPr lang="pt-BR" altLang="pt-BR" sz="1800" b="1" dirty="0">
              <a:latin typeface="Arial" panose="020B0604020202020204" pitchFamily="34" charset="0"/>
              <a:ea typeface="MS PGothic" panose="020B0600070205080204" pitchFamily="34" charset="-128"/>
              <a:cs typeface="Helvetica" panose="020B0604020202020204" pitchFamily="34" charset="0"/>
              <a:sym typeface="Helvetica" panose="020B0604020202020204" pitchFamily="34" charset="0"/>
            </a:endParaRPr>
          </a:p>
          <a:p>
            <a:pPr>
              <a:spcBef>
                <a:spcPts val="1200"/>
              </a:spcBef>
              <a:buNone/>
            </a:pPr>
            <a:endParaRPr lang="pt-BR" altLang="pt-BR" sz="1800" b="1" dirty="0">
              <a:latin typeface="Arial" panose="020B0604020202020204" pitchFamily="34" charset="0"/>
              <a:ea typeface="MS PGothic" panose="020B0600070205080204" pitchFamily="34" charset="-128"/>
              <a:cs typeface="Helvetica" panose="020B0604020202020204" pitchFamily="34" charset="0"/>
              <a:sym typeface="Helvetica" panose="020B0604020202020204" pitchFamily="34" charset="0"/>
            </a:endParaRPr>
          </a:p>
          <a:p>
            <a:pPr>
              <a:spcBef>
                <a:spcPts val="1200"/>
              </a:spcBef>
              <a:buNone/>
            </a:pPr>
            <a:endParaRPr lang="pt-BR" altLang="pt-BR" sz="2800" dirty="0">
              <a:solidFill>
                <a:schemeClr val="accent2"/>
              </a:solidFill>
            </a:endParaRPr>
          </a:p>
        </p:txBody>
      </p:sp>
      <p:sp>
        <p:nvSpPr>
          <p:cNvPr id="8" name="Retângulo 7"/>
          <p:cNvSpPr/>
          <p:nvPr/>
        </p:nvSpPr>
        <p:spPr>
          <a:xfrm>
            <a:off x="381000" y="0"/>
            <a:ext cx="9144000" cy="849052"/>
          </a:xfrm>
          <a:prstGeom prst="rect">
            <a:avLst/>
          </a:prstGeom>
          <a:solidFill>
            <a:schemeClr val="tx2">
              <a:lumMod val="75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/>
            <a:lightRig rig="threePt" dir="t"/>
          </a:scene3d>
          <a:sp3d extrusionH="76200" contourW="12700" prstMaterial="dkEdge">
            <a:bevelT w="101600" prst="riblet"/>
            <a:bevelB w="101600" prst="riblet"/>
            <a:extrusionClr>
              <a:schemeClr val="accent1">
                <a:lumMod val="50000"/>
              </a:schemeClr>
            </a:extrusionClr>
            <a:contourClr>
              <a:schemeClr val="tx2">
                <a:lumMod val="50000"/>
              </a:schemeClr>
            </a:contourClr>
          </a:sp3d>
        </p:spPr>
        <p:txBody>
          <a:bodyPr anchor="ctr"/>
          <a:lstStyle/>
          <a:p>
            <a:pPr eaLnBrk="1" hangingPunct="1">
              <a:defRPr/>
            </a:pPr>
            <a:endParaRPr lang="en-US" altLang="pt-BR" sz="1800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16393" name="Retângulo 10"/>
          <p:cNvSpPr>
            <a:spLocks noChangeArrowheads="1"/>
          </p:cNvSpPr>
          <p:nvPr/>
        </p:nvSpPr>
        <p:spPr bwMode="auto">
          <a:xfrm>
            <a:off x="855664" y="120650"/>
            <a:ext cx="8358187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pt-BR" altLang="pt-BR" b="1" dirty="0" smtClean="0">
                <a:solidFill>
                  <a:schemeClr val="bg1"/>
                </a:solidFill>
                <a:ea typeface="MS PGothic" panose="020B0600070205080204" pitchFamily="34" charset="-128"/>
                <a:cs typeface="Helvetica" panose="020B0604020202020204" pitchFamily="34" charset="0"/>
              </a:rPr>
              <a:t>Comissão de Viação e Transportes</a:t>
            </a:r>
            <a:endParaRPr lang="pt-BR" altLang="pt-BR" b="1" dirty="0">
              <a:solidFill>
                <a:schemeClr val="bg1"/>
              </a:solidFill>
              <a:ea typeface="MS PGothic" panose="020B0600070205080204" pitchFamily="34" charset="-128"/>
              <a:cs typeface="Helvetica" panose="020B0604020202020204" pitchFamily="34" charset="0"/>
              <a:sym typeface="Helvetica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931740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Diagrama 20"/>
          <p:cNvGraphicFramePr/>
          <p:nvPr>
            <p:extLst>
              <p:ext uri="{D42A27DB-BD31-4B8C-83A1-F6EECF244321}">
                <p14:modId xmlns:p14="http://schemas.microsoft.com/office/powerpoint/2010/main" val="3174380530"/>
              </p:ext>
            </p:extLst>
          </p:nvPr>
        </p:nvGraphicFramePr>
        <p:xfrm>
          <a:off x="2072680" y="1700808"/>
          <a:ext cx="6143668" cy="414340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9" name="Retângulo 8"/>
          <p:cNvSpPr/>
          <p:nvPr/>
        </p:nvSpPr>
        <p:spPr>
          <a:xfrm>
            <a:off x="381000" y="0"/>
            <a:ext cx="9144000" cy="836712"/>
          </a:xfrm>
          <a:prstGeom prst="rect">
            <a:avLst/>
          </a:prstGeom>
          <a:solidFill>
            <a:schemeClr val="tx2">
              <a:lumMod val="75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/>
            <a:lightRig rig="threePt" dir="t"/>
          </a:scene3d>
          <a:sp3d extrusionH="76200" contourW="12700" prstMaterial="dkEdge">
            <a:bevelT w="101600" prst="riblet"/>
            <a:bevelB w="101600" prst="riblet"/>
            <a:extrusionClr>
              <a:schemeClr val="accent1">
                <a:lumMod val="50000"/>
              </a:schemeClr>
            </a:extrusionClr>
            <a:contourClr>
              <a:schemeClr val="tx2">
                <a:lumMod val="50000"/>
              </a:schemeClr>
            </a:contourClr>
          </a:sp3d>
        </p:spPr>
        <p:txBody>
          <a:bodyPr anchor="ctr"/>
          <a:lstStyle/>
          <a:p>
            <a:pPr eaLnBrk="1" hangingPunct="1">
              <a:defRPr/>
            </a:pPr>
            <a:endParaRPr lang="en-US" altLang="pt-BR" sz="1800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18438" name="Retângulo 10"/>
          <p:cNvSpPr>
            <a:spLocks noChangeArrowheads="1"/>
          </p:cNvSpPr>
          <p:nvPr/>
        </p:nvSpPr>
        <p:spPr bwMode="auto">
          <a:xfrm>
            <a:off x="842964" y="125414"/>
            <a:ext cx="8358187" cy="579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pt-BR" altLang="pt-BR" b="1">
                <a:solidFill>
                  <a:schemeClr val="bg1"/>
                </a:solidFill>
                <a:ea typeface="MS PGothic" panose="020B0600070205080204" pitchFamily="34" charset="-128"/>
                <a:cs typeface="Helvetica" panose="020B0604020202020204" pitchFamily="34" charset="0"/>
              </a:rPr>
              <a:t>Programa Portos Eficientes</a:t>
            </a:r>
            <a:endParaRPr lang="pt-BR" altLang="pt-BR" b="1">
              <a:solidFill>
                <a:schemeClr val="bg1"/>
              </a:solidFill>
              <a:ea typeface="MS PGothic" panose="020B0600070205080204" pitchFamily="34" charset="-128"/>
              <a:cs typeface="Helvetica" panose="020B0604020202020204" pitchFamily="34" charset="0"/>
              <a:sym typeface="Helvetica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7660220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Diagrama 2"/>
          <p:cNvGraphicFramePr/>
          <p:nvPr/>
        </p:nvGraphicFramePr>
        <p:xfrm>
          <a:off x="1719777" y="1196752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0" name="Retângulo de cantos arredondados 9"/>
          <p:cNvSpPr/>
          <p:nvPr/>
        </p:nvSpPr>
        <p:spPr>
          <a:xfrm>
            <a:off x="1720850" y="5445126"/>
            <a:ext cx="6408738" cy="1152525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Aft>
                <a:spcPts val="600"/>
              </a:spcAft>
              <a:defRPr/>
            </a:pPr>
            <a:r>
              <a:rPr lang="pt-BR" altLang="pt-BR" sz="1800" b="1">
                <a:solidFill>
                  <a:schemeClr val="tx1"/>
                </a:solidFill>
                <a:cs typeface="Arial" pitchFamily="34" charset="0"/>
              </a:rPr>
              <a:t>Metas de Gestão: Nível Tático</a:t>
            </a:r>
          </a:p>
          <a:p>
            <a:pPr algn="ctr">
              <a:spcAft>
                <a:spcPts val="1200"/>
              </a:spcAft>
              <a:defRPr/>
            </a:pPr>
            <a:endParaRPr lang="pt-BR" altLang="pt-BR" sz="1800">
              <a:solidFill>
                <a:schemeClr val="tx1"/>
              </a:solidFill>
              <a:cs typeface="Arial" pitchFamily="34" charset="0"/>
            </a:endParaRPr>
          </a:p>
          <a:p>
            <a:pPr algn="ctr">
              <a:spcAft>
                <a:spcPts val="1200"/>
              </a:spcAft>
              <a:defRPr/>
            </a:pPr>
            <a:r>
              <a:rPr lang="pt-BR" altLang="pt-BR" sz="1800" b="1">
                <a:solidFill>
                  <a:schemeClr val="tx1"/>
                </a:solidFill>
                <a:cs typeface="Arial" pitchFamily="34" charset="0"/>
              </a:rPr>
              <a:t>Metas Empresariais: Nível Estratégico</a:t>
            </a:r>
          </a:p>
        </p:txBody>
      </p:sp>
      <p:sp>
        <p:nvSpPr>
          <p:cNvPr id="7" name="Mais 6"/>
          <p:cNvSpPr/>
          <p:nvPr/>
        </p:nvSpPr>
        <p:spPr>
          <a:xfrm>
            <a:off x="4730750" y="5813425"/>
            <a:ext cx="431800" cy="452438"/>
          </a:xfrm>
          <a:prstGeom prst="mathPlu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pt-BR" sz="1800"/>
          </a:p>
        </p:txBody>
      </p:sp>
      <p:sp>
        <p:nvSpPr>
          <p:cNvPr id="11" name="Retângulo 10"/>
          <p:cNvSpPr/>
          <p:nvPr/>
        </p:nvSpPr>
        <p:spPr>
          <a:xfrm>
            <a:off x="381000" y="0"/>
            <a:ext cx="9144000" cy="836712"/>
          </a:xfrm>
          <a:prstGeom prst="rect">
            <a:avLst/>
          </a:prstGeom>
          <a:solidFill>
            <a:schemeClr val="tx2">
              <a:lumMod val="75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/>
            <a:lightRig rig="threePt" dir="t"/>
          </a:scene3d>
          <a:sp3d extrusionH="76200" contourW="12700" prstMaterial="dkEdge">
            <a:bevelT w="101600" prst="riblet"/>
            <a:bevelB w="101600" prst="riblet"/>
            <a:extrusionClr>
              <a:schemeClr val="accent1">
                <a:lumMod val="50000"/>
              </a:schemeClr>
            </a:extrusionClr>
            <a:contourClr>
              <a:schemeClr val="tx2">
                <a:lumMod val="50000"/>
              </a:schemeClr>
            </a:contourClr>
          </a:sp3d>
        </p:spPr>
        <p:txBody>
          <a:bodyPr anchor="ctr"/>
          <a:lstStyle/>
          <a:p>
            <a:pPr eaLnBrk="1" hangingPunct="1">
              <a:defRPr/>
            </a:pPr>
            <a:endParaRPr lang="en-US" altLang="pt-BR" sz="1800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22536" name="Retângulo 10"/>
          <p:cNvSpPr>
            <a:spLocks noChangeArrowheads="1"/>
          </p:cNvSpPr>
          <p:nvPr/>
        </p:nvSpPr>
        <p:spPr bwMode="auto">
          <a:xfrm>
            <a:off x="776289" y="115889"/>
            <a:ext cx="8358187" cy="579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pt-BR" altLang="pt-BR" b="1">
                <a:solidFill>
                  <a:schemeClr val="bg1"/>
                </a:solidFill>
                <a:ea typeface="MS PGothic" panose="020B0600070205080204" pitchFamily="34" charset="-128"/>
                <a:cs typeface="Helvetica" panose="020B0604020202020204" pitchFamily="34" charset="0"/>
              </a:rPr>
              <a:t>Remuneração Variável de Dirigentes</a:t>
            </a:r>
            <a:endParaRPr lang="pt-BR" altLang="pt-BR" b="1">
              <a:solidFill>
                <a:schemeClr val="bg1"/>
              </a:solidFill>
              <a:ea typeface="MS PGothic" panose="020B0600070205080204" pitchFamily="34" charset="-128"/>
              <a:cs typeface="Helvetica" panose="020B0604020202020204" pitchFamily="34" charset="0"/>
              <a:sym typeface="Helvetica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4228325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7" name="Rectangle 2"/>
          <p:cNvSpPr>
            <a:spLocks/>
          </p:cNvSpPr>
          <p:nvPr/>
        </p:nvSpPr>
        <p:spPr bwMode="auto">
          <a:xfrm>
            <a:off x="784226" y="715964"/>
            <a:ext cx="8486775" cy="6624637"/>
          </a:xfrm>
          <a:prstGeom prst="rect">
            <a:avLst/>
          </a:prstGeom>
          <a:noFill/>
          <a:ln>
            <a:noFill/>
          </a:ln>
          <a:effectLst>
            <a:outerShdw blurRad="63500" dist="25399" dir="5400000" algn="ctr" rotWithShape="0">
              <a:schemeClr val="bg2">
                <a:alpha val="74997"/>
              </a:schemeClr>
            </a:outerShdw>
          </a:effectLst>
          <a:extLst/>
        </p:spPr>
        <p:txBody>
          <a:bodyPr lIns="0" tIns="0" rIns="0" bIns="0"/>
          <a:lstStyle/>
          <a:p>
            <a:pPr marL="965200" lvl="1" algn="ctr">
              <a:lnSpc>
                <a:spcPct val="85000"/>
              </a:lnSpc>
              <a:spcAft>
                <a:spcPts val="1138"/>
              </a:spcAft>
              <a:defRPr/>
            </a:pPr>
            <a:endParaRPr lang="pt-BR" sz="1700" b="1">
              <a:latin typeface="Helvetica"/>
              <a:ea typeface="MS PGothic" pitchFamily="34" charset="-128"/>
              <a:sym typeface="Helvetica Neue Medium"/>
            </a:endParaRPr>
          </a:p>
        </p:txBody>
      </p:sp>
      <p:sp>
        <p:nvSpPr>
          <p:cNvPr id="26627" name="Rectangle 2"/>
          <p:cNvSpPr>
            <a:spLocks/>
          </p:cNvSpPr>
          <p:nvPr/>
        </p:nvSpPr>
        <p:spPr bwMode="auto">
          <a:xfrm>
            <a:off x="849313" y="463551"/>
            <a:ext cx="8621712" cy="588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pt-BR" altLang="pt-BR" sz="4400" b="1">
                <a:solidFill>
                  <a:schemeClr val="bg1"/>
                </a:solidFill>
                <a:ea typeface="MS PGothic" panose="020B0600070205080204" pitchFamily="34" charset="-128"/>
                <a:cs typeface="Helvetica" panose="020B0604020202020204" pitchFamily="34" charset="0"/>
                <a:sym typeface="Helvetica" panose="020B0604020202020204" pitchFamily="34" charset="0"/>
              </a:rPr>
              <a:t>Novo Marco do Setor Portuário</a:t>
            </a:r>
          </a:p>
        </p:txBody>
      </p:sp>
      <p:sp>
        <p:nvSpPr>
          <p:cNvPr id="9" name="Retângulo 8"/>
          <p:cNvSpPr/>
          <p:nvPr/>
        </p:nvSpPr>
        <p:spPr>
          <a:xfrm>
            <a:off x="381000" y="0"/>
            <a:ext cx="9144000" cy="836712"/>
          </a:xfrm>
          <a:prstGeom prst="rect">
            <a:avLst/>
          </a:prstGeom>
          <a:solidFill>
            <a:schemeClr val="tx2">
              <a:lumMod val="75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/>
            <a:lightRig rig="threePt" dir="t"/>
          </a:scene3d>
          <a:sp3d extrusionH="76200" contourW="12700" prstMaterial="dkEdge">
            <a:bevelT w="101600" prst="riblet"/>
            <a:bevelB w="101600" prst="riblet"/>
            <a:extrusionClr>
              <a:schemeClr val="accent1">
                <a:lumMod val="50000"/>
              </a:schemeClr>
            </a:extrusionClr>
            <a:contourClr>
              <a:schemeClr val="tx2">
                <a:lumMod val="50000"/>
              </a:schemeClr>
            </a:contourClr>
          </a:sp3d>
        </p:spPr>
        <p:txBody>
          <a:bodyPr anchor="ctr"/>
          <a:lstStyle/>
          <a:p>
            <a:pPr eaLnBrk="1" hangingPunct="1">
              <a:defRPr/>
            </a:pPr>
            <a:endParaRPr lang="en-US" altLang="pt-BR" sz="1800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26631" name="Retângulo 10"/>
          <p:cNvSpPr>
            <a:spLocks noChangeArrowheads="1"/>
          </p:cNvSpPr>
          <p:nvPr/>
        </p:nvSpPr>
        <p:spPr bwMode="auto">
          <a:xfrm>
            <a:off x="879475" y="114300"/>
            <a:ext cx="8358188" cy="579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pt-BR" altLang="pt-BR" b="1">
                <a:solidFill>
                  <a:schemeClr val="bg1"/>
                </a:solidFill>
                <a:ea typeface="MS PGothic" panose="020B0600070205080204" pitchFamily="34" charset="-128"/>
                <a:cs typeface="Helvetica" panose="020B0604020202020204" pitchFamily="34" charset="0"/>
              </a:rPr>
              <a:t>Metas de Gestão</a:t>
            </a:r>
            <a:endParaRPr lang="pt-BR" altLang="pt-BR" b="1">
              <a:solidFill>
                <a:schemeClr val="bg1"/>
              </a:solidFill>
              <a:ea typeface="MS PGothic" panose="020B0600070205080204" pitchFamily="34" charset="-128"/>
              <a:cs typeface="Helvetica" panose="020B0604020202020204" pitchFamily="34" charset="0"/>
              <a:sym typeface="Helvetica" panose="020B0604020202020204" pitchFamily="34" charset="0"/>
            </a:endParaRPr>
          </a:p>
        </p:txBody>
      </p:sp>
      <p:graphicFrame>
        <p:nvGraphicFramePr>
          <p:cNvPr id="21" name="Diagrama 20"/>
          <p:cNvGraphicFramePr/>
          <p:nvPr>
            <p:extLst>
              <p:ext uri="{D42A27DB-BD31-4B8C-83A1-F6EECF244321}">
                <p14:modId xmlns:p14="http://schemas.microsoft.com/office/powerpoint/2010/main" val="1120875729"/>
              </p:ext>
            </p:extLst>
          </p:nvPr>
        </p:nvGraphicFramePr>
        <p:xfrm>
          <a:off x="2214586" y="1150950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2" name="Retângulo de cantos arredondados 21"/>
          <p:cNvSpPr/>
          <p:nvPr/>
        </p:nvSpPr>
        <p:spPr>
          <a:xfrm>
            <a:off x="1238251" y="5229200"/>
            <a:ext cx="7929563" cy="151216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285750" indent="-285750" algn="ctr">
              <a:buFont typeface="Arial" panose="020B0604020202020204" pitchFamily="34" charset="0"/>
              <a:buChar char="•"/>
              <a:defRPr/>
            </a:pPr>
            <a:r>
              <a:rPr lang="pt-BR" sz="1600" dirty="0">
                <a:solidFill>
                  <a:schemeClr val="tx1"/>
                </a:solidFill>
              </a:rPr>
              <a:t>Gestão da </a:t>
            </a:r>
            <a:r>
              <a:rPr lang="pt-BR" sz="1600" dirty="0" smtClean="0">
                <a:solidFill>
                  <a:schemeClr val="tx1"/>
                </a:solidFill>
              </a:rPr>
              <a:t>SNP </a:t>
            </a:r>
            <a:r>
              <a:rPr lang="pt-BR" sz="1600" dirty="0">
                <a:solidFill>
                  <a:schemeClr val="tx1"/>
                </a:solidFill>
              </a:rPr>
              <a:t>nas Docas se dá por meio dos Conselhos de Administração e Fiscal.</a:t>
            </a:r>
          </a:p>
          <a:p>
            <a:pPr marL="285750" indent="-285750" algn="ctr">
              <a:buFont typeface="Arial" panose="020B0604020202020204" pitchFamily="34" charset="0"/>
              <a:buChar char="•"/>
              <a:defRPr/>
            </a:pPr>
            <a:r>
              <a:rPr lang="pt-BR" sz="1600" dirty="0">
                <a:solidFill>
                  <a:schemeClr val="tx1"/>
                </a:solidFill>
              </a:rPr>
              <a:t>Participação mais efetiva dos Conselheiros na administração superior das Cias.</a:t>
            </a:r>
          </a:p>
          <a:p>
            <a:pPr marL="285750" indent="-285750" algn="ctr">
              <a:buFont typeface="Arial" panose="020B0604020202020204" pitchFamily="34" charset="0"/>
              <a:buChar char="•"/>
              <a:defRPr/>
            </a:pPr>
            <a:r>
              <a:rPr lang="pt-BR" sz="1600" dirty="0">
                <a:solidFill>
                  <a:schemeClr val="tx1"/>
                </a:solidFill>
              </a:rPr>
              <a:t>Maior alinhamento das ações empresariais com a estratégia setorial.</a:t>
            </a:r>
          </a:p>
          <a:p>
            <a:pPr marL="285750" indent="-285750" algn="ctr">
              <a:buFont typeface="Arial" panose="020B0604020202020204" pitchFamily="34" charset="0"/>
              <a:buChar char="•"/>
              <a:defRPr/>
            </a:pPr>
            <a:r>
              <a:rPr lang="pt-BR" sz="1600" dirty="0">
                <a:solidFill>
                  <a:schemeClr val="tx1"/>
                </a:solidFill>
              </a:rPr>
              <a:t>Envolvimento dos demais partícipes na governança das empresas.</a:t>
            </a:r>
          </a:p>
        </p:txBody>
      </p:sp>
    </p:spTree>
    <p:extLst>
      <p:ext uri="{BB962C8B-B14F-4D97-AF65-F5344CB8AC3E}">
        <p14:creationId xmlns:p14="http://schemas.microsoft.com/office/powerpoint/2010/main" val="108556764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2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740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2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Imagem 1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1234894"/>
            <a:ext cx="9906000" cy="5052139"/>
          </a:xfrm>
          <a:prstGeom prst="rect">
            <a:avLst/>
          </a:prstGeom>
        </p:spPr>
      </p:pic>
      <p:sp>
        <p:nvSpPr>
          <p:cNvPr id="8" name="Title 1"/>
          <p:cNvSpPr txBox="1">
            <a:spLocks/>
          </p:cNvSpPr>
          <p:nvPr/>
        </p:nvSpPr>
        <p:spPr bwMode="auto">
          <a:xfrm>
            <a:off x="-12577" y="0"/>
            <a:ext cx="9906001" cy="806379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glow rad="25400">
              <a:schemeClr val="accent1"/>
            </a:glow>
            <a:softEdge rad="0"/>
          </a:effectLst>
          <a:scene3d>
            <a:camera prst="orthographicFront"/>
            <a:lightRig rig="freezing" dir="t"/>
          </a:scene3d>
          <a:sp3d prstMaterial="plastic">
            <a:bevelT prst="angle"/>
            <a:bevelB prst="angle"/>
          </a:sp3d>
        </p:spPr>
        <p:txBody>
          <a:bodyPr rot="0" spcFirstLastPara="0" vertOverflow="overflow" horzOverflow="overflow" vert="horz" wrap="square" lIns="91434" tIns="0" rIns="91434" bIns="45718" numCol="1" spcCol="0" rtlCol="0" fromWordArt="0" anchor="ctr" anchorCtr="0" forceAA="0" compatLnSpc="1">
            <a:prstTxWarp prst="textNoShape">
              <a:avLst/>
            </a:prstTxWarp>
            <a:noAutofit/>
            <a:sp3d/>
          </a:bodyPr>
          <a:lstStyle>
            <a:defPPr>
              <a:defRPr lang="en-US"/>
            </a:defPPr>
            <a:lvl1pPr marL="0" marR="0" indent="0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  <a:defRPr kumimoji="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</a:defRPr>
            </a:lvl1pPr>
          </a:lstStyle>
          <a:p>
            <a:r>
              <a:rPr lang="pt-BR" sz="3200" dirty="0">
                <a:solidFill>
                  <a:schemeClr val="bg1">
                    <a:lumMod val="95000"/>
                  </a:schemeClr>
                </a:solidFill>
                <a:effectLst>
                  <a:glow>
                    <a:schemeClr val="accent1">
                      <a:alpha val="40000"/>
                    </a:schemeClr>
                  </a:glow>
                </a:effectLst>
                <a:latin typeface="Comic Sans MS" charset="0"/>
                <a:ea typeface="Comic Sans MS" charset="0"/>
                <a:cs typeface="Comic Sans MS" charset="0"/>
              </a:rPr>
              <a:t>Projeto de Moderniza</a:t>
            </a:r>
            <a:r>
              <a:rPr lang="en-US" sz="3200" dirty="0" err="1">
                <a:solidFill>
                  <a:schemeClr val="bg1">
                    <a:lumMod val="95000"/>
                  </a:schemeClr>
                </a:solidFill>
                <a:effectLst>
                  <a:glow>
                    <a:schemeClr val="accent1">
                      <a:alpha val="40000"/>
                    </a:schemeClr>
                  </a:glow>
                </a:effectLst>
                <a:latin typeface="Comic Sans MS" charset="0"/>
                <a:ea typeface="Comic Sans MS" charset="0"/>
                <a:cs typeface="Comic Sans MS" charset="0"/>
              </a:rPr>
              <a:t>ção</a:t>
            </a:r>
            <a:r>
              <a:rPr lang="en-US" sz="3200" dirty="0">
                <a:solidFill>
                  <a:schemeClr val="bg1">
                    <a:lumMod val="95000"/>
                  </a:schemeClr>
                </a:solidFill>
                <a:effectLst>
                  <a:glow>
                    <a:schemeClr val="accent1">
                      <a:alpha val="40000"/>
                    </a:schemeClr>
                  </a:glow>
                </a:effectLst>
                <a:latin typeface="Comic Sans MS" charset="0"/>
                <a:ea typeface="Comic Sans MS" charset="0"/>
                <a:cs typeface="Comic Sans MS" charset="0"/>
              </a:rPr>
              <a:t> da </a:t>
            </a:r>
            <a:r>
              <a:rPr lang="en-US" sz="2800" dirty="0" err="1">
                <a:solidFill>
                  <a:schemeClr val="bg1">
                    <a:lumMod val="95000"/>
                  </a:schemeClr>
                </a:solidFill>
                <a:effectLst>
                  <a:glow>
                    <a:schemeClr val="accent1">
                      <a:alpha val="40000"/>
                    </a:schemeClr>
                  </a:glow>
                </a:effectLst>
                <a:latin typeface="Comic Sans MS" charset="0"/>
                <a:ea typeface="Comic Sans MS" charset="0"/>
                <a:cs typeface="Comic Sans MS" charset="0"/>
              </a:rPr>
              <a:t>Gestão</a:t>
            </a:r>
            <a:r>
              <a:rPr lang="en-US" sz="3200" dirty="0">
                <a:solidFill>
                  <a:schemeClr val="bg1">
                    <a:lumMod val="95000"/>
                  </a:schemeClr>
                </a:solidFill>
                <a:effectLst>
                  <a:glow>
                    <a:schemeClr val="accent1">
                      <a:alpha val="40000"/>
                    </a:schemeClr>
                  </a:glow>
                </a:effectLst>
                <a:latin typeface="Comic Sans MS" charset="0"/>
                <a:ea typeface="Comic Sans MS" charset="0"/>
                <a:cs typeface="Comic Sans MS" charset="0"/>
              </a:rPr>
              <a:t> </a:t>
            </a:r>
            <a:r>
              <a:rPr lang="en-US" sz="3200" dirty="0" err="1" smtClean="0">
                <a:solidFill>
                  <a:schemeClr val="bg1">
                    <a:lumMod val="95000"/>
                  </a:schemeClr>
                </a:solidFill>
                <a:effectLst>
                  <a:glow>
                    <a:schemeClr val="accent1">
                      <a:alpha val="40000"/>
                    </a:schemeClr>
                  </a:glow>
                </a:effectLst>
                <a:latin typeface="Comic Sans MS" charset="0"/>
                <a:ea typeface="Comic Sans MS" charset="0"/>
                <a:cs typeface="Comic Sans MS" charset="0"/>
              </a:rPr>
              <a:t>Portuária</a:t>
            </a:r>
            <a:r>
              <a:rPr lang="en-US" sz="3200" dirty="0" smtClean="0">
                <a:solidFill>
                  <a:schemeClr val="bg1">
                    <a:lumMod val="95000"/>
                  </a:schemeClr>
                </a:solidFill>
                <a:effectLst>
                  <a:glow>
                    <a:schemeClr val="accent1">
                      <a:alpha val="40000"/>
                    </a:schemeClr>
                  </a:glow>
                </a:effectLst>
                <a:latin typeface="Comic Sans MS" charset="0"/>
                <a:ea typeface="Comic Sans MS" charset="0"/>
                <a:cs typeface="Comic Sans MS" charset="0"/>
              </a:rPr>
              <a:t>-PMGP</a:t>
            </a:r>
            <a:endParaRPr lang="pt-BR" sz="3200" dirty="0">
              <a:solidFill>
                <a:schemeClr val="bg1">
                  <a:lumMod val="95000"/>
                </a:schemeClr>
              </a:solidFill>
              <a:effectLst>
                <a:glow>
                  <a:schemeClr val="accent1">
                    <a:alpha val="40000"/>
                  </a:schemeClr>
                </a:glow>
              </a:effectLst>
              <a:latin typeface="Comic Sans MS" charset="0"/>
              <a:ea typeface="Comic Sans MS" charset="0"/>
              <a:cs typeface="Comic Sans M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83829107"/>
      </p:ext>
    </p:extLst>
  </p:cSld>
  <p:clrMapOvr>
    <a:masterClrMapping/>
  </p:clrMapOvr>
  <p:transition spd="med" advClick="0"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17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chDecimalSymbol17909&gt;.&lt;/m_chDecimalSymbol17909&gt;&lt;m_nGroupingDigits17909 val=&quot;3&quot;/&gt;&lt;m_chGroupingSymbol17909&gt;,&lt;/m_chGroupingSymbol17909&gt;&lt;m_strSuffix17909&gt;%&lt;/m_strSuffix17909&gt;&lt;/m_precDefaultPercent&gt;&lt;m_precDefaultDate/&gt;&lt;m_precDefaultYear/&gt;&lt;m_precDefaultQuarter/&gt;&lt;m_precDefaultMonth/&gt;&lt;m_precDefaultWeek/&gt;&lt;m_precDefaultDay/&gt;&lt;m_mruColor&gt;&lt;m_vecMRU length=&quot;0&quot;/&gt;&lt;/m_mruColor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EgruCkQ2UeTnWd5fN2c1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plate Proposta DTT CE - FY10 - Português">
  <a:themeElements>
    <a:clrScheme name="Template cores Maio 2009">
      <a:dk1>
        <a:srgbClr val="000000"/>
      </a:dk1>
      <a:lt1>
        <a:srgbClr val="FFFFFF"/>
      </a:lt1>
      <a:dk2>
        <a:srgbClr val="002776"/>
      </a:dk2>
      <a:lt2>
        <a:srgbClr val="FFFFFF"/>
      </a:lt2>
      <a:accent1>
        <a:srgbClr val="002776"/>
      </a:accent1>
      <a:accent2>
        <a:srgbClr val="92D400"/>
      </a:accent2>
      <a:accent3>
        <a:srgbClr val="00A1DE"/>
      </a:accent3>
      <a:accent4>
        <a:srgbClr val="3C8A2E"/>
      </a:accent4>
      <a:accent5>
        <a:srgbClr val="72C7E7"/>
      </a:accent5>
      <a:accent6>
        <a:srgbClr val="C9DD03"/>
      </a:accent6>
      <a:hlink>
        <a:srgbClr val="00A1DE"/>
      </a:hlink>
      <a:folHlink>
        <a:srgbClr val="72C7E7"/>
      </a:folHlink>
    </a:clrScheme>
    <a:fontScheme name="Template_Proposta_Tecnica_DTT">
      <a:majorFont>
        <a:latin typeface="Times New Roman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34" tIns="45718" rIns="91434" bIns="45718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2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34" tIns="45718" rIns="91434" bIns="45718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2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Template_Proposta_Tecnica_DT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_Proposta_Tecnica_DT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_Proposta_Tecnica_DT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_Proposta_Tecnica_DT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_Proposta_Tecnica_DT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_Proposta_Tecnica_DT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emplate_Proposta_Tecnica_DT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emplate_Proposta_Tecnica_DT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emplate_Proposta_Tecnica_DT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emplate_Proposta_Tecnica_DT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emplate_Proposta_Tecnica_DT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emplate_Proposta_Tecnica_DT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emplate_Proposta_Tecnica_DTT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E5E5CC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F0F0E2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_Proposta_Tecnica_DTT 14">
        <a:dk1>
          <a:srgbClr val="000000"/>
        </a:dk1>
        <a:lt1>
          <a:srgbClr val="FFFFFF"/>
        </a:lt1>
        <a:dk2>
          <a:srgbClr val="000066"/>
        </a:dk2>
        <a:lt2>
          <a:srgbClr val="808080"/>
        </a:lt2>
        <a:accent1>
          <a:srgbClr val="E5E5CC"/>
        </a:accent1>
        <a:accent2>
          <a:srgbClr val="003399"/>
        </a:accent2>
        <a:accent3>
          <a:srgbClr val="FFFFFF"/>
        </a:accent3>
        <a:accent4>
          <a:srgbClr val="000000"/>
        </a:accent4>
        <a:accent5>
          <a:srgbClr val="F0F0E2"/>
        </a:accent5>
        <a:accent6>
          <a:srgbClr val="002D8A"/>
        </a:accent6>
        <a:hlink>
          <a:srgbClr val="6666FF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8779</TotalTime>
  <Words>907</Words>
  <Application>Microsoft Office PowerPoint</Application>
  <PresentationFormat>Papel A4 (210 x 297 mm)</PresentationFormat>
  <Paragraphs>253</Paragraphs>
  <Slides>19</Slides>
  <Notes>14</Notes>
  <HiddenSlides>1</HiddenSlides>
  <MMClips>0</MMClips>
  <ScaleCrop>false</ScaleCrop>
  <HeadingPairs>
    <vt:vector size="8" baseType="variant">
      <vt:variant>
        <vt:lpstr>Fontes usadas</vt:lpstr>
      </vt:variant>
      <vt:variant>
        <vt:i4>11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19</vt:i4>
      </vt:variant>
    </vt:vector>
  </HeadingPairs>
  <TitlesOfParts>
    <vt:vector size="32" baseType="lpstr">
      <vt:lpstr>MS PGothic</vt:lpstr>
      <vt:lpstr>Arial</vt:lpstr>
      <vt:lpstr>Calibri</vt:lpstr>
      <vt:lpstr>Comic Sans MS</vt:lpstr>
      <vt:lpstr>Gill Sans</vt:lpstr>
      <vt:lpstr>Helvetica</vt:lpstr>
      <vt:lpstr>Helvetica Neue Medium</vt:lpstr>
      <vt:lpstr>Times New Roman</vt:lpstr>
      <vt:lpstr>Verdana</vt:lpstr>
      <vt:lpstr>Wingdings</vt:lpstr>
      <vt:lpstr>ヒラギノ角ゴ ProN W3</vt:lpstr>
      <vt:lpstr>Template Proposta DTT CE - FY10 - Português</vt:lpstr>
      <vt:lpstr>think-cell Slide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Indicadores de Desempenho</vt:lpstr>
      <vt:lpstr>Indicadores de Desempenho</vt:lpstr>
      <vt:lpstr>Apresentação do PowerPoint</vt:lpstr>
      <vt:lpstr>Apresentação do PowerPoint</vt:lpstr>
    </vt:vector>
  </TitlesOfParts>
  <Company>Deloitte Touch Tohmatsu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ovo Modelo de Governança, Organização e Gestão na VALEC</dc:title>
  <dc:creator>Deloitte Touch Tohmatsu</dc:creator>
  <cp:lastModifiedBy>32649860006 José Alfredo de Albuquerque</cp:lastModifiedBy>
  <cp:revision>2849</cp:revision>
  <cp:lastPrinted>2017-07-03T21:40:38Z</cp:lastPrinted>
  <dcterms:created xsi:type="dcterms:W3CDTF">2010-10-05T19:33:51Z</dcterms:created>
  <dcterms:modified xsi:type="dcterms:W3CDTF">2017-07-03T21:45:03Z</dcterms:modified>
</cp:coreProperties>
</file>